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1"/>
    <p:sldMasterId id="2147483668" r:id="rId2"/>
  </p:sldMasterIdLst>
  <p:notesMasterIdLst>
    <p:notesMasterId r:id="rId19"/>
  </p:notesMasterIdLst>
  <p:handoutMasterIdLst>
    <p:handoutMasterId r:id="rId20"/>
  </p:handoutMasterIdLst>
  <p:sldIdLst>
    <p:sldId id="291" r:id="rId3"/>
    <p:sldId id="292" r:id="rId4"/>
    <p:sldId id="287" r:id="rId5"/>
    <p:sldId id="288" r:id="rId6"/>
    <p:sldId id="275" r:id="rId7"/>
    <p:sldId id="278" r:id="rId8"/>
    <p:sldId id="257" r:id="rId9"/>
    <p:sldId id="282" r:id="rId10"/>
    <p:sldId id="289" r:id="rId11"/>
    <p:sldId id="259" r:id="rId12"/>
    <p:sldId id="285" r:id="rId13"/>
    <p:sldId id="283" r:id="rId14"/>
    <p:sldId id="284" r:id="rId15"/>
    <p:sldId id="279" r:id="rId16"/>
    <p:sldId id="269" r:id="rId17"/>
    <p:sldId id="290" r:id="rId18"/>
  </p:sldIdLst>
  <p:sldSz cx="9144000" cy="6858000" type="screen4x3"/>
  <p:notesSz cx="6797675" cy="9928225"/>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8C00"/>
    <a:srgbClr val="EEB500"/>
    <a:srgbClr val="0078DC"/>
    <a:srgbClr val="5E5E5E"/>
    <a:srgbClr val="FFFFFF"/>
    <a:srgbClr val="FFEA00"/>
    <a:srgbClr val="FFE600"/>
    <a:srgbClr val="E625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p:cViewPr>
        <p:scale>
          <a:sx n="95" d="100"/>
          <a:sy n="95" d="100"/>
        </p:scale>
        <p:origin x="-1032" y="-30"/>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82" d="100"/>
          <a:sy n="82" d="100"/>
        </p:scale>
        <p:origin x="-2820" y="-96"/>
      </p:cViewPr>
      <p:guideLst>
        <p:guide orient="horz" pos="3127"/>
        <p:guide pos="2141"/>
      </p:guideLst>
    </p:cSldViewPr>
  </p:notesViewPr>
  <p:gridSpacing cx="50800" cy="50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O3778\AppData\Local\Microsoft\Windows\Temporary%20Internet%20Files\Content.IE5\WC791ZCF\UniperSE_kursdaten.xls" TargetMode="External"/></Relationships>
</file>

<file path=ppt/charts/_rels/chart3.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chartUserShapes" Target="../drawings/drawing1.xml"/><Relationship Id="rId1" Type="http://schemas.openxmlformats.org/officeDocument/2006/relationships/package" Target="../embeddings/Microsoft_Excel_Worksheet2.xlsx"/><Relationship Id="rId4"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oleObject" Target="file:///\\Fravnascti0050\45ad4687\Pres\170330_Gas%20Deep%20Dive\170421_Second%20Draft\Excel\Phoenix_GasDeepDive_Back-up_v0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605088542190041E-2"/>
          <c:y val="0.18347354612686709"/>
          <c:w val="0.91423480600807672"/>
          <c:h val="0.4878673712654108"/>
        </c:manualLayout>
      </c:layout>
      <c:barChart>
        <c:barDir val="col"/>
        <c:grouping val="stacked"/>
        <c:varyColors val="0"/>
        <c:ser>
          <c:idx val="0"/>
          <c:order val="0"/>
          <c:tx>
            <c:strRef>
              <c:f>Tabelle1!$B$1</c:f>
              <c:strCache>
                <c:ptCount val="1"/>
                <c:pt idx="0">
                  <c:v>Employees</c:v>
                </c:pt>
              </c:strCache>
            </c:strRef>
          </c:tx>
          <c:spPr>
            <a:solidFill>
              <a:srgbClr val="0097EE"/>
            </a:solidFill>
          </c:spPr>
          <c:invertIfNegative val="0"/>
          <c:dPt>
            <c:idx val="1"/>
            <c:invertIfNegative val="0"/>
            <c:bubble3D val="0"/>
            <c:spPr>
              <a:solidFill>
                <a:srgbClr val="00B050"/>
              </a:solidFill>
            </c:spPr>
            <c:extLst xmlns:c16r2="http://schemas.microsoft.com/office/drawing/2015/06/chart">
              <c:ext xmlns:c16="http://schemas.microsoft.com/office/drawing/2014/chart" uri="{C3380CC4-5D6E-409C-BE32-E72D297353CC}">
                <c16:uniqueId val="{00000001-5CC1-4CCD-9E0F-8AAE72D8A884}"/>
              </c:ext>
            </c:extLst>
          </c:dPt>
          <c:dPt>
            <c:idx val="2"/>
            <c:invertIfNegative val="0"/>
            <c:bubble3D val="0"/>
            <c:spPr>
              <a:solidFill>
                <a:srgbClr val="E6252E"/>
              </a:solidFill>
            </c:spPr>
            <c:extLst xmlns:c16r2="http://schemas.microsoft.com/office/drawing/2015/06/chart">
              <c:ext xmlns:c16="http://schemas.microsoft.com/office/drawing/2014/chart" uri="{C3380CC4-5D6E-409C-BE32-E72D297353CC}">
                <c16:uniqueId val="{00000003-5CC1-4CCD-9E0F-8AAE72D8A884}"/>
              </c:ext>
            </c:extLst>
          </c:dPt>
          <c:dPt>
            <c:idx val="3"/>
            <c:invertIfNegative val="0"/>
            <c:bubble3D val="0"/>
            <c:spPr>
              <a:solidFill>
                <a:srgbClr val="FFFF00"/>
              </a:solidFill>
            </c:spPr>
            <c:extLst xmlns:c16r2="http://schemas.microsoft.com/office/drawing/2015/06/chart">
              <c:ext xmlns:c16="http://schemas.microsoft.com/office/drawing/2014/chart" uri="{C3380CC4-5D6E-409C-BE32-E72D297353CC}">
                <c16:uniqueId val="{00000005-5CC1-4CCD-9E0F-8AAE72D8A884}"/>
              </c:ext>
            </c:extLst>
          </c:dPt>
          <c:dPt>
            <c:idx val="4"/>
            <c:invertIfNegative val="0"/>
            <c:bubble3D val="0"/>
            <c:spPr>
              <a:solidFill>
                <a:srgbClr val="FFC000"/>
              </a:solidFill>
            </c:spPr>
            <c:extLst xmlns:c16r2="http://schemas.microsoft.com/office/drawing/2015/06/chart">
              <c:ext xmlns:c16="http://schemas.microsoft.com/office/drawing/2014/chart" uri="{C3380CC4-5D6E-409C-BE32-E72D297353CC}">
                <c16:uniqueId val="{00000007-5CC1-4CCD-9E0F-8AAE72D8A884}"/>
              </c:ext>
            </c:extLst>
          </c:dPt>
          <c:cat>
            <c:strRef>
              <c:f>Tabelle1!$A$2:$A$6</c:f>
              <c:strCache>
                <c:ptCount val="5"/>
                <c:pt idx="0">
                  <c:v>Germany</c:v>
                </c:pt>
                <c:pt idx="1">
                  <c:v>United Kingdom</c:v>
                </c:pt>
                <c:pt idx="2">
                  <c:v>Russia</c:v>
                </c:pt>
                <c:pt idx="3">
                  <c:v>Sweden</c:v>
                </c:pt>
                <c:pt idx="4">
                  <c:v>Other</c:v>
                </c:pt>
              </c:strCache>
            </c:strRef>
          </c:cat>
          <c:val>
            <c:numRef>
              <c:f>Tabelle1!$B$2:$B$6</c:f>
              <c:numCache>
                <c:formatCode>0</c:formatCode>
                <c:ptCount val="5"/>
                <c:pt idx="0">
                  <c:v>4687</c:v>
                </c:pt>
                <c:pt idx="1">
                  <c:v>976</c:v>
                </c:pt>
                <c:pt idx="2">
                  <c:v>4264</c:v>
                </c:pt>
                <c:pt idx="3">
                  <c:v>1068</c:v>
                </c:pt>
                <c:pt idx="4">
                  <c:v>1185</c:v>
                </c:pt>
              </c:numCache>
            </c:numRef>
          </c:val>
          <c:extLst xmlns:c16r2="http://schemas.microsoft.com/office/drawing/2015/06/chart">
            <c:ext xmlns:c16="http://schemas.microsoft.com/office/drawing/2014/chart" uri="{C3380CC4-5D6E-409C-BE32-E72D297353CC}">
              <c16:uniqueId val="{00000008-5CC1-4CCD-9E0F-8AAE72D8A884}"/>
            </c:ext>
          </c:extLst>
        </c:ser>
        <c:dLbls>
          <c:showLegendKey val="0"/>
          <c:showVal val="0"/>
          <c:showCatName val="0"/>
          <c:showSerName val="0"/>
          <c:showPercent val="0"/>
          <c:showBubbleSize val="0"/>
        </c:dLbls>
        <c:gapWidth val="101"/>
        <c:overlap val="100"/>
        <c:axId val="181933184"/>
        <c:axId val="181934720"/>
      </c:barChart>
      <c:catAx>
        <c:axId val="181933184"/>
        <c:scaling>
          <c:orientation val="minMax"/>
        </c:scaling>
        <c:delete val="0"/>
        <c:axPos val="b"/>
        <c:numFmt formatCode="General" sourceLinked="0"/>
        <c:majorTickMark val="none"/>
        <c:minorTickMark val="none"/>
        <c:tickLblPos val="low"/>
        <c:txPr>
          <a:bodyPr/>
          <a:lstStyle/>
          <a:p>
            <a:pPr rtl="0">
              <a:defRPr sz="800" b="0" i="0" baseline="0">
                <a:solidFill>
                  <a:srgbClr val="5E5E5E"/>
                </a:solidFill>
              </a:defRPr>
            </a:pPr>
            <a:endParaRPr lang="ru-RU"/>
          </a:p>
        </c:txPr>
        <c:crossAx val="181934720"/>
        <c:crosses val="autoZero"/>
        <c:auto val="1"/>
        <c:lblAlgn val="ctr"/>
        <c:lblOffset val="100"/>
        <c:noMultiLvlLbl val="0"/>
      </c:catAx>
      <c:valAx>
        <c:axId val="181934720"/>
        <c:scaling>
          <c:orientation val="minMax"/>
        </c:scaling>
        <c:delete val="0"/>
        <c:axPos val="l"/>
        <c:numFmt formatCode="0" sourceLinked="0"/>
        <c:majorTickMark val="out"/>
        <c:minorTickMark val="none"/>
        <c:tickLblPos val="nextTo"/>
        <c:txPr>
          <a:bodyPr/>
          <a:lstStyle/>
          <a:p>
            <a:pPr rtl="0">
              <a:defRPr b="0">
                <a:solidFill>
                  <a:schemeClr val="tx1">
                    <a:lumMod val="50000"/>
                  </a:schemeClr>
                </a:solidFill>
              </a:defRPr>
            </a:pPr>
            <a:endParaRPr lang="ru-RU"/>
          </a:p>
        </c:txPr>
        <c:crossAx val="181933184"/>
        <c:crosses val="autoZero"/>
        <c:crossBetween val="between"/>
        <c:majorUnit val="1000"/>
        <c:minorUnit val="100"/>
      </c:valAx>
      <c:spPr>
        <a:noFill/>
        <a:ln w="25400">
          <a:noFill/>
        </a:ln>
      </c:spPr>
    </c:plotArea>
    <c:plotVisOnly val="1"/>
    <c:dispBlanksAs val="gap"/>
    <c:showDLblsOverMax val="0"/>
  </c:chart>
  <c:txPr>
    <a:bodyPr/>
    <a:lstStyle/>
    <a:p>
      <a:pPr marL="0" lvl="1" algn="l" defTabSz="914400" rtl="0" eaLnBrk="1" fontAlgn="base" latinLnBrk="0" hangingPunct="1">
        <a:lnSpc>
          <a:spcPct val="110000"/>
        </a:lnSpc>
        <a:spcBef>
          <a:spcPts val="100"/>
        </a:spcBef>
        <a:spcAft>
          <a:spcPts val="100"/>
        </a:spcAft>
        <a:buClr>
          <a:srgbClr val="0078DC"/>
        </a:buClr>
        <a:buSzPct val="100000"/>
        <a:tabLst>
          <a:tab pos="1076325" algn="l"/>
        </a:tabLst>
        <a:defRPr sz="1000" b="1" kern="1200">
          <a:solidFill>
            <a:srgbClr val="0097EE"/>
          </a:solidFill>
          <a:latin typeface="+mn-lt"/>
          <a:ea typeface="+mn-ea"/>
          <a:cs typeface="+mn-cs"/>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19050" cap="rnd">
              <a:solidFill>
                <a:srgbClr val="0078DC"/>
              </a:solidFill>
              <a:round/>
            </a:ln>
            <a:effectLst/>
          </c:spPr>
          <c:marker>
            <c:symbol val="none"/>
          </c:marker>
          <c:cat>
            <c:numRef>
              <c:f>[UniperSE_kursdaten.xls]Sheet1!$A$2:$A$378</c:f>
              <c:numCache>
                <c:formatCode>dd\.mm\.yyyy</c:formatCode>
                <c:ptCount val="377"/>
                <c:pt idx="0">
                  <c:v>42625</c:v>
                </c:pt>
                <c:pt idx="1">
                  <c:v>42626</c:v>
                </c:pt>
                <c:pt idx="2">
                  <c:v>42627</c:v>
                </c:pt>
                <c:pt idx="3">
                  <c:v>42628</c:v>
                </c:pt>
                <c:pt idx="4">
                  <c:v>42629</c:v>
                </c:pt>
                <c:pt idx="5">
                  <c:v>42632</c:v>
                </c:pt>
                <c:pt idx="6">
                  <c:v>42633</c:v>
                </c:pt>
                <c:pt idx="7">
                  <c:v>42634</c:v>
                </c:pt>
                <c:pt idx="8">
                  <c:v>42635</c:v>
                </c:pt>
                <c:pt idx="9">
                  <c:v>42636</c:v>
                </c:pt>
                <c:pt idx="10">
                  <c:v>42639</c:v>
                </c:pt>
                <c:pt idx="11">
                  <c:v>42640</c:v>
                </c:pt>
                <c:pt idx="12">
                  <c:v>42641</c:v>
                </c:pt>
                <c:pt idx="13">
                  <c:v>42642</c:v>
                </c:pt>
                <c:pt idx="14">
                  <c:v>42643</c:v>
                </c:pt>
                <c:pt idx="15">
                  <c:v>42647</c:v>
                </c:pt>
                <c:pt idx="16">
                  <c:v>42648</c:v>
                </c:pt>
                <c:pt idx="17">
                  <c:v>42649</c:v>
                </c:pt>
                <c:pt idx="18">
                  <c:v>42650</c:v>
                </c:pt>
                <c:pt idx="19">
                  <c:v>42653</c:v>
                </c:pt>
                <c:pt idx="20">
                  <c:v>42654</c:v>
                </c:pt>
                <c:pt idx="21">
                  <c:v>42655</c:v>
                </c:pt>
                <c:pt idx="22">
                  <c:v>42656</c:v>
                </c:pt>
                <c:pt idx="23">
                  <c:v>42657</c:v>
                </c:pt>
                <c:pt idx="24">
                  <c:v>42660</c:v>
                </c:pt>
                <c:pt idx="25">
                  <c:v>42661</c:v>
                </c:pt>
                <c:pt idx="26">
                  <c:v>42662</c:v>
                </c:pt>
                <c:pt idx="27">
                  <c:v>42663</c:v>
                </c:pt>
                <c:pt idx="28">
                  <c:v>42664</c:v>
                </c:pt>
                <c:pt idx="29">
                  <c:v>42667</c:v>
                </c:pt>
                <c:pt idx="30">
                  <c:v>42668</c:v>
                </c:pt>
                <c:pt idx="31">
                  <c:v>42669</c:v>
                </c:pt>
                <c:pt idx="32">
                  <c:v>42670</c:v>
                </c:pt>
                <c:pt idx="33">
                  <c:v>42671</c:v>
                </c:pt>
                <c:pt idx="34">
                  <c:v>42674</c:v>
                </c:pt>
                <c:pt idx="35">
                  <c:v>42675</c:v>
                </c:pt>
                <c:pt idx="36">
                  <c:v>42676</c:v>
                </c:pt>
                <c:pt idx="37">
                  <c:v>42677</c:v>
                </c:pt>
                <c:pt idx="38">
                  <c:v>42678</c:v>
                </c:pt>
                <c:pt idx="39">
                  <c:v>42681</c:v>
                </c:pt>
                <c:pt idx="40">
                  <c:v>42682</c:v>
                </c:pt>
                <c:pt idx="41">
                  <c:v>42683</c:v>
                </c:pt>
                <c:pt idx="42">
                  <c:v>42684</c:v>
                </c:pt>
                <c:pt idx="43">
                  <c:v>42685</c:v>
                </c:pt>
                <c:pt idx="44">
                  <c:v>42688</c:v>
                </c:pt>
                <c:pt idx="45">
                  <c:v>42689</c:v>
                </c:pt>
                <c:pt idx="46">
                  <c:v>42690</c:v>
                </c:pt>
                <c:pt idx="47">
                  <c:v>42691</c:v>
                </c:pt>
                <c:pt idx="48">
                  <c:v>42692</c:v>
                </c:pt>
                <c:pt idx="49">
                  <c:v>42695</c:v>
                </c:pt>
                <c:pt idx="50">
                  <c:v>42696</c:v>
                </c:pt>
                <c:pt idx="51">
                  <c:v>42697</c:v>
                </c:pt>
                <c:pt idx="52">
                  <c:v>42698</c:v>
                </c:pt>
                <c:pt idx="53">
                  <c:v>42699</c:v>
                </c:pt>
                <c:pt idx="54">
                  <c:v>42702</c:v>
                </c:pt>
                <c:pt idx="55">
                  <c:v>42703</c:v>
                </c:pt>
                <c:pt idx="56">
                  <c:v>42704</c:v>
                </c:pt>
                <c:pt idx="57">
                  <c:v>42705</c:v>
                </c:pt>
                <c:pt idx="58">
                  <c:v>42706</c:v>
                </c:pt>
                <c:pt idx="59">
                  <c:v>42709</c:v>
                </c:pt>
                <c:pt idx="60">
                  <c:v>42710</c:v>
                </c:pt>
                <c:pt idx="61">
                  <c:v>42711</c:v>
                </c:pt>
                <c:pt idx="62">
                  <c:v>42712</c:v>
                </c:pt>
                <c:pt idx="63">
                  <c:v>42713</c:v>
                </c:pt>
                <c:pt idx="64">
                  <c:v>42716</c:v>
                </c:pt>
                <c:pt idx="65">
                  <c:v>42717</c:v>
                </c:pt>
                <c:pt idx="66">
                  <c:v>42718</c:v>
                </c:pt>
                <c:pt idx="67">
                  <c:v>42719</c:v>
                </c:pt>
                <c:pt idx="68">
                  <c:v>42720</c:v>
                </c:pt>
                <c:pt idx="69">
                  <c:v>42723</c:v>
                </c:pt>
                <c:pt idx="70">
                  <c:v>42724</c:v>
                </c:pt>
                <c:pt idx="71">
                  <c:v>42725</c:v>
                </c:pt>
                <c:pt idx="72">
                  <c:v>42726</c:v>
                </c:pt>
                <c:pt idx="73">
                  <c:v>42727</c:v>
                </c:pt>
                <c:pt idx="74">
                  <c:v>42731</c:v>
                </c:pt>
                <c:pt idx="75">
                  <c:v>42732</c:v>
                </c:pt>
                <c:pt idx="76">
                  <c:v>42733</c:v>
                </c:pt>
                <c:pt idx="77">
                  <c:v>42734</c:v>
                </c:pt>
                <c:pt idx="78">
                  <c:v>42737</c:v>
                </c:pt>
                <c:pt idx="79">
                  <c:v>42738</c:v>
                </c:pt>
                <c:pt idx="80">
                  <c:v>42739</c:v>
                </c:pt>
                <c:pt idx="81">
                  <c:v>42740</c:v>
                </c:pt>
                <c:pt idx="82">
                  <c:v>42741</c:v>
                </c:pt>
                <c:pt idx="83">
                  <c:v>42744</c:v>
                </c:pt>
                <c:pt idx="84">
                  <c:v>42745</c:v>
                </c:pt>
                <c:pt idx="85">
                  <c:v>42746</c:v>
                </c:pt>
                <c:pt idx="86">
                  <c:v>42747</c:v>
                </c:pt>
                <c:pt idx="87">
                  <c:v>42748</c:v>
                </c:pt>
                <c:pt idx="88">
                  <c:v>42751</c:v>
                </c:pt>
                <c:pt idx="89">
                  <c:v>42752</c:v>
                </c:pt>
                <c:pt idx="90">
                  <c:v>42753</c:v>
                </c:pt>
                <c:pt idx="91">
                  <c:v>42754</c:v>
                </c:pt>
                <c:pt idx="92">
                  <c:v>42755</c:v>
                </c:pt>
                <c:pt idx="93">
                  <c:v>42758</c:v>
                </c:pt>
                <c:pt idx="94">
                  <c:v>42759</c:v>
                </c:pt>
                <c:pt idx="95">
                  <c:v>42760</c:v>
                </c:pt>
                <c:pt idx="96">
                  <c:v>42761</c:v>
                </c:pt>
                <c:pt idx="97">
                  <c:v>42762</c:v>
                </c:pt>
                <c:pt idx="98">
                  <c:v>42765</c:v>
                </c:pt>
                <c:pt idx="99">
                  <c:v>42766</c:v>
                </c:pt>
                <c:pt idx="100">
                  <c:v>42767</c:v>
                </c:pt>
                <c:pt idx="101">
                  <c:v>42768</c:v>
                </c:pt>
                <c:pt idx="102">
                  <c:v>42769</c:v>
                </c:pt>
                <c:pt idx="103">
                  <c:v>42772</c:v>
                </c:pt>
                <c:pt idx="104">
                  <c:v>42773</c:v>
                </c:pt>
                <c:pt idx="105">
                  <c:v>42774</c:v>
                </c:pt>
                <c:pt idx="106">
                  <c:v>42775</c:v>
                </c:pt>
                <c:pt idx="107">
                  <c:v>42776</c:v>
                </c:pt>
                <c:pt idx="108">
                  <c:v>42779</c:v>
                </c:pt>
                <c:pt idx="109">
                  <c:v>42780</c:v>
                </c:pt>
                <c:pt idx="110">
                  <c:v>42781</c:v>
                </c:pt>
                <c:pt idx="111">
                  <c:v>42782</c:v>
                </c:pt>
                <c:pt idx="112">
                  <c:v>42783</c:v>
                </c:pt>
                <c:pt idx="113">
                  <c:v>42786</c:v>
                </c:pt>
                <c:pt idx="114">
                  <c:v>42787</c:v>
                </c:pt>
                <c:pt idx="115">
                  <c:v>42788</c:v>
                </c:pt>
                <c:pt idx="116">
                  <c:v>42789</c:v>
                </c:pt>
                <c:pt idx="117">
                  <c:v>42790</c:v>
                </c:pt>
                <c:pt idx="118">
                  <c:v>42793</c:v>
                </c:pt>
                <c:pt idx="119">
                  <c:v>42794</c:v>
                </c:pt>
                <c:pt idx="120">
                  <c:v>42795</c:v>
                </c:pt>
                <c:pt idx="121">
                  <c:v>42796</c:v>
                </c:pt>
                <c:pt idx="122">
                  <c:v>42797</c:v>
                </c:pt>
                <c:pt idx="123">
                  <c:v>42800</c:v>
                </c:pt>
                <c:pt idx="124">
                  <c:v>42801</c:v>
                </c:pt>
                <c:pt idx="125">
                  <c:v>42802</c:v>
                </c:pt>
                <c:pt idx="126">
                  <c:v>42803</c:v>
                </c:pt>
                <c:pt idx="127">
                  <c:v>42804</c:v>
                </c:pt>
                <c:pt idx="128">
                  <c:v>42807</c:v>
                </c:pt>
                <c:pt idx="129">
                  <c:v>42808</c:v>
                </c:pt>
                <c:pt idx="130">
                  <c:v>42809</c:v>
                </c:pt>
                <c:pt idx="131">
                  <c:v>42810</c:v>
                </c:pt>
                <c:pt idx="132">
                  <c:v>42811</c:v>
                </c:pt>
                <c:pt idx="133">
                  <c:v>42814</c:v>
                </c:pt>
                <c:pt idx="134">
                  <c:v>42815</c:v>
                </c:pt>
                <c:pt idx="135">
                  <c:v>42816</c:v>
                </c:pt>
                <c:pt idx="136">
                  <c:v>42817</c:v>
                </c:pt>
                <c:pt idx="137">
                  <c:v>42818</c:v>
                </c:pt>
                <c:pt idx="138">
                  <c:v>42821</c:v>
                </c:pt>
                <c:pt idx="139">
                  <c:v>42822</c:v>
                </c:pt>
                <c:pt idx="140">
                  <c:v>42823</c:v>
                </c:pt>
                <c:pt idx="141">
                  <c:v>42824</c:v>
                </c:pt>
                <c:pt idx="142">
                  <c:v>42825</c:v>
                </c:pt>
                <c:pt idx="143">
                  <c:v>42828</c:v>
                </c:pt>
                <c:pt idx="144">
                  <c:v>42829</c:v>
                </c:pt>
                <c:pt idx="145">
                  <c:v>42830</c:v>
                </c:pt>
                <c:pt idx="146">
                  <c:v>42831</c:v>
                </c:pt>
                <c:pt idx="147">
                  <c:v>42832</c:v>
                </c:pt>
                <c:pt idx="148">
                  <c:v>42835</c:v>
                </c:pt>
                <c:pt idx="149">
                  <c:v>42836</c:v>
                </c:pt>
                <c:pt idx="150">
                  <c:v>42837</c:v>
                </c:pt>
                <c:pt idx="151">
                  <c:v>42838</c:v>
                </c:pt>
                <c:pt idx="152">
                  <c:v>42843</c:v>
                </c:pt>
                <c:pt idx="153">
                  <c:v>42844</c:v>
                </c:pt>
                <c:pt idx="154">
                  <c:v>42845</c:v>
                </c:pt>
                <c:pt idx="155">
                  <c:v>42846</c:v>
                </c:pt>
                <c:pt idx="156">
                  <c:v>42849</c:v>
                </c:pt>
                <c:pt idx="157">
                  <c:v>42850</c:v>
                </c:pt>
                <c:pt idx="158">
                  <c:v>42851</c:v>
                </c:pt>
                <c:pt idx="159">
                  <c:v>42852</c:v>
                </c:pt>
                <c:pt idx="160">
                  <c:v>42853</c:v>
                </c:pt>
                <c:pt idx="161">
                  <c:v>42857</c:v>
                </c:pt>
                <c:pt idx="162">
                  <c:v>42858</c:v>
                </c:pt>
                <c:pt idx="163">
                  <c:v>42859</c:v>
                </c:pt>
                <c:pt idx="164">
                  <c:v>42860</c:v>
                </c:pt>
                <c:pt idx="165">
                  <c:v>42863</c:v>
                </c:pt>
                <c:pt idx="166">
                  <c:v>42864</c:v>
                </c:pt>
                <c:pt idx="167">
                  <c:v>42865</c:v>
                </c:pt>
                <c:pt idx="168">
                  <c:v>42866</c:v>
                </c:pt>
                <c:pt idx="169">
                  <c:v>42867</c:v>
                </c:pt>
                <c:pt idx="170">
                  <c:v>42870</c:v>
                </c:pt>
                <c:pt idx="171">
                  <c:v>42871</c:v>
                </c:pt>
                <c:pt idx="172">
                  <c:v>42872</c:v>
                </c:pt>
                <c:pt idx="173">
                  <c:v>42873</c:v>
                </c:pt>
                <c:pt idx="174">
                  <c:v>42874</c:v>
                </c:pt>
                <c:pt idx="175">
                  <c:v>42877</c:v>
                </c:pt>
                <c:pt idx="176">
                  <c:v>42878</c:v>
                </c:pt>
                <c:pt idx="177">
                  <c:v>42879</c:v>
                </c:pt>
                <c:pt idx="178">
                  <c:v>42880</c:v>
                </c:pt>
                <c:pt idx="179">
                  <c:v>42881</c:v>
                </c:pt>
                <c:pt idx="180">
                  <c:v>42884</c:v>
                </c:pt>
                <c:pt idx="181">
                  <c:v>42885</c:v>
                </c:pt>
                <c:pt idx="182">
                  <c:v>42886</c:v>
                </c:pt>
                <c:pt idx="183">
                  <c:v>42887</c:v>
                </c:pt>
                <c:pt idx="184">
                  <c:v>42888</c:v>
                </c:pt>
                <c:pt idx="185">
                  <c:v>42892</c:v>
                </c:pt>
                <c:pt idx="186">
                  <c:v>42893</c:v>
                </c:pt>
                <c:pt idx="187">
                  <c:v>42894</c:v>
                </c:pt>
                <c:pt idx="188">
                  <c:v>42895</c:v>
                </c:pt>
                <c:pt idx="189">
                  <c:v>42898</c:v>
                </c:pt>
                <c:pt idx="190">
                  <c:v>42899</c:v>
                </c:pt>
                <c:pt idx="191">
                  <c:v>42900</c:v>
                </c:pt>
                <c:pt idx="192">
                  <c:v>42901</c:v>
                </c:pt>
                <c:pt idx="193">
                  <c:v>42902</c:v>
                </c:pt>
                <c:pt idx="194">
                  <c:v>42905</c:v>
                </c:pt>
                <c:pt idx="195">
                  <c:v>42906</c:v>
                </c:pt>
                <c:pt idx="196">
                  <c:v>42907</c:v>
                </c:pt>
                <c:pt idx="197">
                  <c:v>42908</c:v>
                </c:pt>
                <c:pt idx="198">
                  <c:v>42909</c:v>
                </c:pt>
                <c:pt idx="199">
                  <c:v>42912</c:v>
                </c:pt>
                <c:pt idx="200">
                  <c:v>42913</c:v>
                </c:pt>
                <c:pt idx="201">
                  <c:v>42914</c:v>
                </c:pt>
                <c:pt idx="202">
                  <c:v>42915</c:v>
                </c:pt>
                <c:pt idx="203">
                  <c:v>42916</c:v>
                </c:pt>
                <c:pt idx="204">
                  <c:v>42919</c:v>
                </c:pt>
                <c:pt idx="205">
                  <c:v>42920</c:v>
                </c:pt>
                <c:pt idx="206">
                  <c:v>42921</c:v>
                </c:pt>
                <c:pt idx="207">
                  <c:v>42922</c:v>
                </c:pt>
                <c:pt idx="208">
                  <c:v>42923</c:v>
                </c:pt>
                <c:pt idx="209">
                  <c:v>42926</c:v>
                </c:pt>
                <c:pt idx="210">
                  <c:v>42927</c:v>
                </c:pt>
                <c:pt idx="211">
                  <c:v>42928</c:v>
                </c:pt>
                <c:pt idx="212">
                  <c:v>42929</c:v>
                </c:pt>
                <c:pt idx="213">
                  <c:v>42930</c:v>
                </c:pt>
                <c:pt idx="214">
                  <c:v>42933</c:v>
                </c:pt>
                <c:pt idx="215">
                  <c:v>42934</c:v>
                </c:pt>
                <c:pt idx="216">
                  <c:v>42935</c:v>
                </c:pt>
                <c:pt idx="217">
                  <c:v>42936</c:v>
                </c:pt>
                <c:pt idx="218">
                  <c:v>42937</c:v>
                </c:pt>
                <c:pt idx="219">
                  <c:v>42940</c:v>
                </c:pt>
                <c:pt idx="220">
                  <c:v>42941</c:v>
                </c:pt>
                <c:pt idx="221">
                  <c:v>42942</c:v>
                </c:pt>
                <c:pt idx="222">
                  <c:v>42943</c:v>
                </c:pt>
                <c:pt idx="223">
                  <c:v>42944</c:v>
                </c:pt>
                <c:pt idx="224">
                  <c:v>42947</c:v>
                </c:pt>
                <c:pt idx="225">
                  <c:v>42948</c:v>
                </c:pt>
                <c:pt idx="226">
                  <c:v>42949</c:v>
                </c:pt>
                <c:pt idx="227">
                  <c:v>42950</c:v>
                </c:pt>
                <c:pt idx="228">
                  <c:v>42951</c:v>
                </c:pt>
                <c:pt idx="229">
                  <c:v>42954</c:v>
                </c:pt>
                <c:pt idx="230">
                  <c:v>42955</c:v>
                </c:pt>
                <c:pt idx="231">
                  <c:v>42956</c:v>
                </c:pt>
                <c:pt idx="232">
                  <c:v>42957</c:v>
                </c:pt>
                <c:pt idx="233">
                  <c:v>42958</c:v>
                </c:pt>
                <c:pt idx="234">
                  <c:v>42961</c:v>
                </c:pt>
                <c:pt idx="235">
                  <c:v>42962</c:v>
                </c:pt>
                <c:pt idx="236">
                  <c:v>42963</c:v>
                </c:pt>
                <c:pt idx="237">
                  <c:v>42964</c:v>
                </c:pt>
                <c:pt idx="238">
                  <c:v>42965</c:v>
                </c:pt>
                <c:pt idx="239">
                  <c:v>42968</c:v>
                </c:pt>
                <c:pt idx="240">
                  <c:v>42969</c:v>
                </c:pt>
                <c:pt idx="241">
                  <c:v>42970</c:v>
                </c:pt>
                <c:pt idx="242">
                  <c:v>42971</c:v>
                </c:pt>
                <c:pt idx="243">
                  <c:v>42972</c:v>
                </c:pt>
                <c:pt idx="244">
                  <c:v>42975</c:v>
                </c:pt>
                <c:pt idx="245">
                  <c:v>42976</c:v>
                </c:pt>
                <c:pt idx="246">
                  <c:v>42977</c:v>
                </c:pt>
                <c:pt idx="247">
                  <c:v>42978</c:v>
                </c:pt>
                <c:pt idx="248">
                  <c:v>42979</c:v>
                </c:pt>
                <c:pt idx="249">
                  <c:v>42982</c:v>
                </c:pt>
                <c:pt idx="250">
                  <c:v>42983</c:v>
                </c:pt>
                <c:pt idx="251">
                  <c:v>42984</c:v>
                </c:pt>
                <c:pt idx="252">
                  <c:v>42985</c:v>
                </c:pt>
                <c:pt idx="253">
                  <c:v>42986</c:v>
                </c:pt>
                <c:pt idx="254">
                  <c:v>42989</c:v>
                </c:pt>
                <c:pt idx="255">
                  <c:v>42990</c:v>
                </c:pt>
                <c:pt idx="256">
                  <c:v>42991</c:v>
                </c:pt>
                <c:pt idx="257">
                  <c:v>42992</c:v>
                </c:pt>
                <c:pt idx="258">
                  <c:v>42993</c:v>
                </c:pt>
                <c:pt idx="259">
                  <c:v>42996</c:v>
                </c:pt>
                <c:pt idx="260">
                  <c:v>42997</c:v>
                </c:pt>
                <c:pt idx="261">
                  <c:v>42998</c:v>
                </c:pt>
                <c:pt idx="262">
                  <c:v>42999</c:v>
                </c:pt>
                <c:pt idx="263">
                  <c:v>43000</c:v>
                </c:pt>
                <c:pt idx="264">
                  <c:v>43003</c:v>
                </c:pt>
                <c:pt idx="265">
                  <c:v>43004</c:v>
                </c:pt>
                <c:pt idx="266">
                  <c:v>43005</c:v>
                </c:pt>
                <c:pt idx="267">
                  <c:v>43006</c:v>
                </c:pt>
                <c:pt idx="268">
                  <c:v>43007</c:v>
                </c:pt>
                <c:pt idx="269">
                  <c:v>43010</c:v>
                </c:pt>
                <c:pt idx="270">
                  <c:v>43012</c:v>
                </c:pt>
                <c:pt idx="271">
                  <c:v>43013</c:v>
                </c:pt>
                <c:pt idx="272">
                  <c:v>43014</c:v>
                </c:pt>
                <c:pt idx="273">
                  <c:v>43017</c:v>
                </c:pt>
                <c:pt idx="274">
                  <c:v>43018</c:v>
                </c:pt>
                <c:pt idx="275">
                  <c:v>43019</c:v>
                </c:pt>
                <c:pt idx="276">
                  <c:v>43020</c:v>
                </c:pt>
                <c:pt idx="277">
                  <c:v>43021</c:v>
                </c:pt>
                <c:pt idx="278">
                  <c:v>43024</c:v>
                </c:pt>
                <c:pt idx="279">
                  <c:v>43025</c:v>
                </c:pt>
                <c:pt idx="280">
                  <c:v>43026</c:v>
                </c:pt>
                <c:pt idx="281">
                  <c:v>43027</c:v>
                </c:pt>
                <c:pt idx="282">
                  <c:v>43028</c:v>
                </c:pt>
                <c:pt idx="283">
                  <c:v>43031</c:v>
                </c:pt>
                <c:pt idx="284">
                  <c:v>43032</c:v>
                </c:pt>
                <c:pt idx="285">
                  <c:v>43033</c:v>
                </c:pt>
                <c:pt idx="286">
                  <c:v>43034</c:v>
                </c:pt>
                <c:pt idx="287">
                  <c:v>43035</c:v>
                </c:pt>
                <c:pt idx="288">
                  <c:v>43038</c:v>
                </c:pt>
                <c:pt idx="289">
                  <c:v>43040</c:v>
                </c:pt>
                <c:pt idx="290">
                  <c:v>43041</c:v>
                </c:pt>
                <c:pt idx="291">
                  <c:v>43042</c:v>
                </c:pt>
                <c:pt idx="292">
                  <c:v>43045</c:v>
                </c:pt>
                <c:pt idx="293">
                  <c:v>43046</c:v>
                </c:pt>
                <c:pt idx="294">
                  <c:v>43047</c:v>
                </c:pt>
                <c:pt idx="295">
                  <c:v>43048</c:v>
                </c:pt>
                <c:pt idx="296">
                  <c:v>43049</c:v>
                </c:pt>
                <c:pt idx="297">
                  <c:v>43052</c:v>
                </c:pt>
                <c:pt idx="298">
                  <c:v>43053</c:v>
                </c:pt>
                <c:pt idx="299">
                  <c:v>43054</c:v>
                </c:pt>
                <c:pt idx="300">
                  <c:v>43055</c:v>
                </c:pt>
                <c:pt idx="301">
                  <c:v>43056</c:v>
                </c:pt>
                <c:pt idx="302">
                  <c:v>43059</c:v>
                </c:pt>
                <c:pt idx="303">
                  <c:v>43060</c:v>
                </c:pt>
                <c:pt idx="304">
                  <c:v>43061</c:v>
                </c:pt>
                <c:pt idx="305">
                  <c:v>43062</c:v>
                </c:pt>
                <c:pt idx="306">
                  <c:v>43063</c:v>
                </c:pt>
                <c:pt idx="307">
                  <c:v>43066</c:v>
                </c:pt>
                <c:pt idx="308">
                  <c:v>43067</c:v>
                </c:pt>
                <c:pt idx="309">
                  <c:v>43068</c:v>
                </c:pt>
                <c:pt idx="310">
                  <c:v>43069</c:v>
                </c:pt>
                <c:pt idx="311">
                  <c:v>43070</c:v>
                </c:pt>
                <c:pt idx="312">
                  <c:v>43073</c:v>
                </c:pt>
                <c:pt idx="313">
                  <c:v>43074</c:v>
                </c:pt>
                <c:pt idx="314">
                  <c:v>43075</c:v>
                </c:pt>
                <c:pt idx="315">
                  <c:v>43076</c:v>
                </c:pt>
                <c:pt idx="316">
                  <c:v>43077</c:v>
                </c:pt>
                <c:pt idx="317">
                  <c:v>43080</c:v>
                </c:pt>
                <c:pt idx="318">
                  <c:v>43081</c:v>
                </c:pt>
                <c:pt idx="319">
                  <c:v>43082</c:v>
                </c:pt>
                <c:pt idx="320">
                  <c:v>43083</c:v>
                </c:pt>
                <c:pt idx="321">
                  <c:v>43084</c:v>
                </c:pt>
                <c:pt idx="322">
                  <c:v>43087</c:v>
                </c:pt>
                <c:pt idx="323">
                  <c:v>43088</c:v>
                </c:pt>
                <c:pt idx="324">
                  <c:v>43089</c:v>
                </c:pt>
                <c:pt idx="325">
                  <c:v>43090</c:v>
                </c:pt>
                <c:pt idx="326">
                  <c:v>43091</c:v>
                </c:pt>
                <c:pt idx="327">
                  <c:v>43096</c:v>
                </c:pt>
                <c:pt idx="328">
                  <c:v>43097</c:v>
                </c:pt>
                <c:pt idx="329">
                  <c:v>43098</c:v>
                </c:pt>
                <c:pt idx="330">
                  <c:v>43102</c:v>
                </c:pt>
                <c:pt idx="331">
                  <c:v>43103</c:v>
                </c:pt>
                <c:pt idx="332">
                  <c:v>43104</c:v>
                </c:pt>
                <c:pt idx="333">
                  <c:v>43105</c:v>
                </c:pt>
                <c:pt idx="334">
                  <c:v>43108</c:v>
                </c:pt>
                <c:pt idx="335">
                  <c:v>43109</c:v>
                </c:pt>
                <c:pt idx="336">
                  <c:v>43110</c:v>
                </c:pt>
                <c:pt idx="337">
                  <c:v>43111</c:v>
                </c:pt>
                <c:pt idx="338">
                  <c:v>43112</c:v>
                </c:pt>
                <c:pt idx="339">
                  <c:v>43115</c:v>
                </c:pt>
                <c:pt idx="340">
                  <c:v>43116</c:v>
                </c:pt>
                <c:pt idx="341">
                  <c:v>43117</c:v>
                </c:pt>
                <c:pt idx="342">
                  <c:v>43118</c:v>
                </c:pt>
                <c:pt idx="343">
                  <c:v>43119</c:v>
                </c:pt>
                <c:pt idx="344">
                  <c:v>43122</c:v>
                </c:pt>
                <c:pt idx="345">
                  <c:v>43123</c:v>
                </c:pt>
                <c:pt idx="346">
                  <c:v>43124</c:v>
                </c:pt>
                <c:pt idx="347">
                  <c:v>43125</c:v>
                </c:pt>
                <c:pt idx="348">
                  <c:v>43126</c:v>
                </c:pt>
                <c:pt idx="349">
                  <c:v>43129</c:v>
                </c:pt>
                <c:pt idx="350">
                  <c:v>43130</c:v>
                </c:pt>
                <c:pt idx="351">
                  <c:v>43131</c:v>
                </c:pt>
                <c:pt idx="352">
                  <c:v>43132</c:v>
                </c:pt>
                <c:pt idx="353">
                  <c:v>43133</c:v>
                </c:pt>
                <c:pt idx="354">
                  <c:v>43136</c:v>
                </c:pt>
                <c:pt idx="355">
                  <c:v>43137</c:v>
                </c:pt>
                <c:pt idx="356">
                  <c:v>43138</c:v>
                </c:pt>
                <c:pt idx="357">
                  <c:v>43139</c:v>
                </c:pt>
                <c:pt idx="358">
                  <c:v>43140</c:v>
                </c:pt>
                <c:pt idx="359">
                  <c:v>43143</c:v>
                </c:pt>
                <c:pt idx="360">
                  <c:v>43144</c:v>
                </c:pt>
                <c:pt idx="361">
                  <c:v>43145</c:v>
                </c:pt>
                <c:pt idx="362">
                  <c:v>43146</c:v>
                </c:pt>
                <c:pt idx="363">
                  <c:v>43147</c:v>
                </c:pt>
                <c:pt idx="364">
                  <c:v>43150</c:v>
                </c:pt>
                <c:pt idx="365">
                  <c:v>43151</c:v>
                </c:pt>
                <c:pt idx="366">
                  <c:v>43152</c:v>
                </c:pt>
                <c:pt idx="367">
                  <c:v>43153</c:v>
                </c:pt>
                <c:pt idx="368">
                  <c:v>43154</c:v>
                </c:pt>
                <c:pt idx="369">
                  <c:v>43157</c:v>
                </c:pt>
                <c:pt idx="370">
                  <c:v>43158</c:v>
                </c:pt>
                <c:pt idx="371">
                  <c:v>43159</c:v>
                </c:pt>
                <c:pt idx="372">
                  <c:v>43160</c:v>
                </c:pt>
                <c:pt idx="373">
                  <c:v>43161</c:v>
                </c:pt>
                <c:pt idx="374">
                  <c:v>43164</c:v>
                </c:pt>
                <c:pt idx="375">
                  <c:v>43165</c:v>
                </c:pt>
                <c:pt idx="376">
                  <c:v>43166</c:v>
                </c:pt>
              </c:numCache>
            </c:numRef>
          </c:cat>
          <c:val>
            <c:numRef>
              <c:f>[UniperSE_kursdaten.xls]Sheet1!$E$2:$E$378</c:f>
              <c:numCache>
                <c:formatCode>0.00</c:formatCode>
                <c:ptCount val="377"/>
                <c:pt idx="0">
                  <c:v>10.3</c:v>
                </c:pt>
                <c:pt idx="1">
                  <c:v>10.7</c:v>
                </c:pt>
                <c:pt idx="2">
                  <c:v>10.41</c:v>
                </c:pt>
                <c:pt idx="3">
                  <c:v>10.15</c:v>
                </c:pt>
                <c:pt idx="4">
                  <c:v>10.08</c:v>
                </c:pt>
                <c:pt idx="5">
                  <c:v>10.24</c:v>
                </c:pt>
                <c:pt idx="6">
                  <c:v>10.285</c:v>
                </c:pt>
                <c:pt idx="7">
                  <c:v>10.36</c:v>
                </c:pt>
                <c:pt idx="8">
                  <c:v>10.31</c:v>
                </c:pt>
                <c:pt idx="9">
                  <c:v>10.185</c:v>
                </c:pt>
                <c:pt idx="10">
                  <c:v>9.9209999999999994</c:v>
                </c:pt>
                <c:pt idx="11">
                  <c:v>9.9740000000000002</c:v>
                </c:pt>
                <c:pt idx="12">
                  <c:v>10.375</c:v>
                </c:pt>
                <c:pt idx="13">
                  <c:v>10.734999999999999</c:v>
                </c:pt>
                <c:pt idx="14">
                  <c:v>10.904999999999999</c:v>
                </c:pt>
                <c:pt idx="15">
                  <c:v>10.94</c:v>
                </c:pt>
                <c:pt idx="16">
                  <c:v>10.744999999999999</c:v>
                </c:pt>
                <c:pt idx="17">
                  <c:v>11.005000000000001</c:v>
                </c:pt>
                <c:pt idx="18">
                  <c:v>10.815</c:v>
                </c:pt>
                <c:pt idx="19">
                  <c:v>10.75</c:v>
                </c:pt>
                <c:pt idx="20">
                  <c:v>10.904999999999999</c:v>
                </c:pt>
                <c:pt idx="21">
                  <c:v>11.02</c:v>
                </c:pt>
                <c:pt idx="22">
                  <c:v>11.15</c:v>
                </c:pt>
                <c:pt idx="23">
                  <c:v>11.44</c:v>
                </c:pt>
                <c:pt idx="24">
                  <c:v>11.47</c:v>
                </c:pt>
                <c:pt idx="25">
                  <c:v>12.025</c:v>
                </c:pt>
                <c:pt idx="26">
                  <c:v>12.07</c:v>
                </c:pt>
                <c:pt idx="27">
                  <c:v>12.25</c:v>
                </c:pt>
                <c:pt idx="28">
                  <c:v>12.3</c:v>
                </c:pt>
                <c:pt idx="29">
                  <c:v>12.25</c:v>
                </c:pt>
                <c:pt idx="30">
                  <c:v>12.225</c:v>
                </c:pt>
                <c:pt idx="31">
                  <c:v>12.18</c:v>
                </c:pt>
                <c:pt idx="32">
                  <c:v>11.92</c:v>
                </c:pt>
                <c:pt idx="33">
                  <c:v>12.23</c:v>
                </c:pt>
                <c:pt idx="34">
                  <c:v>12.125</c:v>
                </c:pt>
                <c:pt idx="35">
                  <c:v>12.56</c:v>
                </c:pt>
                <c:pt idx="36">
                  <c:v>12.42</c:v>
                </c:pt>
                <c:pt idx="37">
                  <c:v>12.78</c:v>
                </c:pt>
                <c:pt idx="38">
                  <c:v>12.75</c:v>
                </c:pt>
                <c:pt idx="39">
                  <c:v>12.85</c:v>
                </c:pt>
                <c:pt idx="40">
                  <c:v>12.654999999999999</c:v>
                </c:pt>
                <c:pt idx="41">
                  <c:v>12.52</c:v>
                </c:pt>
                <c:pt idx="42">
                  <c:v>12.135</c:v>
                </c:pt>
                <c:pt idx="43">
                  <c:v>12.125</c:v>
                </c:pt>
                <c:pt idx="44">
                  <c:v>12.14</c:v>
                </c:pt>
                <c:pt idx="45">
                  <c:v>12.08</c:v>
                </c:pt>
                <c:pt idx="46">
                  <c:v>12.1</c:v>
                </c:pt>
                <c:pt idx="47">
                  <c:v>11.925000000000001</c:v>
                </c:pt>
                <c:pt idx="48">
                  <c:v>11.53</c:v>
                </c:pt>
                <c:pt idx="49">
                  <c:v>11.37</c:v>
                </c:pt>
                <c:pt idx="50">
                  <c:v>11.654999999999999</c:v>
                </c:pt>
                <c:pt idx="51">
                  <c:v>11.61</c:v>
                </c:pt>
                <c:pt idx="52">
                  <c:v>11.555</c:v>
                </c:pt>
                <c:pt idx="53">
                  <c:v>11.875</c:v>
                </c:pt>
                <c:pt idx="54">
                  <c:v>12.08</c:v>
                </c:pt>
                <c:pt idx="55">
                  <c:v>12.03</c:v>
                </c:pt>
                <c:pt idx="56">
                  <c:v>11.755000000000001</c:v>
                </c:pt>
                <c:pt idx="57">
                  <c:v>11.855</c:v>
                </c:pt>
                <c:pt idx="58">
                  <c:v>11.835000000000001</c:v>
                </c:pt>
                <c:pt idx="59">
                  <c:v>11.75</c:v>
                </c:pt>
                <c:pt idx="60">
                  <c:v>11.86</c:v>
                </c:pt>
                <c:pt idx="61">
                  <c:v>11.494999999999999</c:v>
                </c:pt>
                <c:pt idx="62">
                  <c:v>11.33</c:v>
                </c:pt>
                <c:pt idx="63">
                  <c:v>11.78</c:v>
                </c:pt>
                <c:pt idx="64">
                  <c:v>12.51</c:v>
                </c:pt>
                <c:pt idx="65">
                  <c:v>12.9</c:v>
                </c:pt>
                <c:pt idx="66">
                  <c:v>12.74</c:v>
                </c:pt>
                <c:pt idx="67">
                  <c:v>12.494999999999999</c:v>
                </c:pt>
                <c:pt idx="68">
                  <c:v>12.455</c:v>
                </c:pt>
                <c:pt idx="69">
                  <c:v>12.585000000000001</c:v>
                </c:pt>
                <c:pt idx="70">
                  <c:v>12.615</c:v>
                </c:pt>
                <c:pt idx="71">
                  <c:v>12.88</c:v>
                </c:pt>
                <c:pt idx="72">
                  <c:v>12.8</c:v>
                </c:pt>
                <c:pt idx="73">
                  <c:v>12.845000000000001</c:v>
                </c:pt>
                <c:pt idx="74">
                  <c:v>12.965</c:v>
                </c:pt>
                <c:pt idx="75">
                  <c:v>12.85</c:v>
                </c:pt>
                <c:pt idx="76">
                  <c:v>12.935</c:v>
                </c:pt>
                <c:pt idx="77">
                  <c:v>13.115</c:v>
                </c:pt>
                <c:pt idx="78">
                  <c:v>13.205</c:v>
                </c:pt>
                <c:pt idx="79">
                  <c:v>13.215</c:v>
                </c:pt>
                <c:pt idx="80">
                  <c:v>12.94</c:v>
                </c:pt>
                <c:pt idx="81">
                  <c:v>12.96</c:v>
                </c:pt>
                <c:pt idx="82">
                  <c:v>12.994999999999999</c:v>
                </c:pt>
                <c:pt idx="83">
                  <c:v>13.11</c:v>
                </c:pt>
                <c:pt idx="84">
                  <c:v>13.38</c:v>
                </c:pt>
                <c:pt idx="85">
                  <c:v>13.14</c:v>
                </c:pt>
                <c:pt idx="86">
                  <c:v>13.595000000000001</c:v>
                </c:pt>
                <c:pt idx="87">
                  <c:v>13.74</c:v>
                </c:pt>
                <c:pt idx="88">
                  <c:v>13.795</c:v>
                </c:pt>
                <c:pt idx="89">
                  <c:v>14.2</c:v>
                </c:pt>
                <c:pt idx="90">
                  <c:v>14.045</c:v>
                </c:pt>
                <c:pt idx="91">
                  <c:v>13.785</c:v>
                </c:pt>
                <c:pt idx="92">
                  <c:v>13.72</c:v>
                </c:pt>
                <c:pt idx="93">
                  <c:v>13.545</c:v>
                </c:pt>
                <c:pt idx="94">
                  <c:v>13.574999999999999</c:v>
                </c:pt>
                <c:pt idx="95">
                  <c:v>13.31</c:v>
                </c:pt>
                <c:pt idx="96">
                  <c:v>13.175000000000001</c:v>
                </c:pt>
                <c:pt idx="97">
                  <c:v>13.15</c:v>
                </c:pt>
                <c:pt idx="98">
                  <c:v>12.955</c:v>
                </c:pt>
                <c:pt idx="99">
                  <c:v>13.145</c:v>
                </c:pt>
                <c:pt idx="100">
                  <c:v>13.07</c:v>
                </c:pt>
                <c:pt idx="101">
                  <c:v>13.164999999999999</c:v>
                </c:pt>
                <c:pt idx="102">
                  <c:v>12.93</c:v>
                </c:pt>
                <c:pt idx="103">
                  <c:v>12.72</c:v>
                </c:pt>
                <c:pt idx="104">
                  <c:v>12.61</c:v>
                </c:pt>
                <c:pt idx="105">
                  <c:v>12.87</c:v>
                </c:pt>
                <c:pt idx="106">
                  <c:v>12.84</c:v>
                </c:pt>
                <c:pt idx="107">
                  <c:v>12.87</c:v>
                </c:pt>
                <c:pt idx="108">
                  <c:v>13.025</c:v>
                </c:pt>
                <c:pt idx="109">
                  <c:v>13.25</c:v>
                </c:pt>
                <c:pt idx="110">
                  <c:v>13.335000000000001</c:v>
                </c:pt>
                <c:pt idx="111">
                  <c:v>13.125</c:v>
                </c:pt>
                <c:pt idx="112">
                  <c:v>13.055</c:v>
                </c:pt>
                <c:pt idx="113">
                  <c:v>13.395</c:v>
                </c:pt>
                <c:pt idx="114">
                  <c:v>13.355</c:v>
                </c:pt>
                <c:pt idx="115">
                  <c:v>13.38</c:v>
                </c:pt>
                <c:pt idx="116">
                  <c:v>13.44</c:v>
                </c:pt>
                <c:pt idx="117">
                  <c:v>13.28</c:v>
                </c:pt>
                <c:pt idx="118">
                  <c:v>13.55</c:v>
                </c:pt>
                <c:pt idx="119">
                  <c:v>13.4</c:v>
                </c:pt>
                <c:pt idx="120">
                  <c:v>13.365</c:v>
                </c:pt>
                <c:pt idx="121">
                  <c:v>13.54</c:v>
                </c:pt>
                <c:pt idx="122">
                  <c:v>13.5</c:v>
                </c:pt>
                <c:pt idx="123">
                  <c:v>13.955</c:v>
                </c:pt>
                <c:pt idx="124">
                  <c:v>14.09</c:v>
                </c:pt>
                <c:pt idx="125">
                  <c:v>14.03</c:v>
                </c:pt>
                <c:pt idx="126">
                  <c:v>14.33</c:v>
                </c:pt>
                <c:pt idx="127">
                  <c:v>14.185</c:v>
                </c:pt>
                <c:pt idx="128">
                  <c:v>14.06</c:v>
                </c:pt>
                <c:pt idx="129">
                  <c:v>14.44</c:v>
                </c:pt>
                <c:pt idx="130">
                  <c:v>14.38</c:v>
                </c:pt>
                <c:pt idx="131">
                  <c:v>14.4</c:v>
                </c:pt>
                <c:pt idx="132">
                  <c:v>14.585000000000001</c:v>
                </c:pt>
                <c:pt idx="133">
                  <c:v>14.565</c:v>
                </c:pt>
                <c:pt idx="134">
                  <c:v>14.33</c:v>
                </c:pt>
                <c:pt idx="135">
                  <c:v>14.305</c:v>
                </c:pt>
                <c:pt idx="136">
                  <c:v>14.795</c:v>
                </c:pt>
                <c:pt idx="137">
                  <c:v>15.08</c:v>
                </c:pt>
                <c:pt idx="138">
                  <c:v>15.29</c:v>
                </c:pt>
                <c:pt idx="139">
                  <c:v>15.45</c:v>
                </c:pt>
                <c:pt idx="140">
                  <c:v>15.22</c:v>
                </c:pt>
                <c:pt idx="141">
                  <c:v>15.385</c:v>
                </c:pt>
                <c:pt idx="142">
                  <c:v>15.78</c:v>
                </c:pt>
                <c:pt idx="143">
                  <c:v>15.62</c:v>
                </c:pt>
                <c:pt idx="144">
                  <c:v>15.595000000000001</c:v>
                </c:pt>
                <c:pt idx="145">
                  <c:v>15.7</c:v>
                </c:pt>
                <c:pt idx="146">
                  <c:v>15.69</c:v>
                </c:pt>
                <c:pt idx="147">
                  <c:v>15.82</c:v>
                </c:pt>
                <c:pt idx="148">
                  <c:v>15.414999999999999</c:v>
                </c:pt>
                <c:pt idx="149">
                  <c:v>15.28</c:v>
                </c:pt>
                <c:pt idx="150">
                  <c:v>15.55</c:v>
                </c:pt>
                <c:pt idx="151">
                  <c:v>15.55</c:v>
                </c:pt>
                <c:pt idx="152">
                  <c:v>15.75</c:v>
                </c:pt>
                <c:pt idx="153">
                  <c:v>15.62</c:v>
                </c:pt>
                <c:pt idx="154">
                  <c:v>15.2</c:v>
                </c:pt>
                <c:pt idx="155">
                  <c:v>15.225</c:v>
                </c:pt>
                <c:pt idx="156">
                  <c:v>15.51</c:v>
                </c:pt>
                <c:pt idx="157">
                  <c:v>14.955</c:v>
                </c:pt>
                <c:pt idx="158">
                  <c:v>14.824999999999999</c:v>
                </c:pt>
                <c:pt idx="159">
                  <c:v>14.755000000000001</c:v>
                </c:pt>
                <c:pt idx="160">
                  <c:v>15.07</c:v>
                </c:pt>
                <c:pt idx="161">
                  <c:v>15.195</c:v>
                </c:pt>
                <c:pt idx="162">
                  <c:v>15.61</c:v>
                </c:pt>
                <c:pt idx="163">
                  <c:v>15.994999999999999</c:v>
                </c:pt>
                <c:pt idx="164">
                  <c:v>16.170000000000002</c:v>
                </c:pt>
                <c:pt idx="165">
                  <c:v>16.22</c:v>
                </c:pt>
                <c:pt idx="166">
                  <c:v>16.535</c:v>
                </c:pt>
                <c:pt idx="167">
                  <c:v>16.684999999999999</c:v>
                </c:pt>
                <c:pt idx="168">
                  <c:v>16.385000000000002</c:v>
                </c:pt>
                <c:pt idx="169">
                  <c:v>16.425000000000001</c:v>
                </c:pt>
                <c:pt idx="170">
                  <c:v>16.2</c:v>
                </c:pt>
                <c:pt idx="171">
                  <c:v>15.875</c:v>
                </c:pt>
                <c:pt idx="172">
                  <c:v>15.53</c:v>
                </c:pt>
                <c:pt idx="173">
                  <c:v>15.335000000000001</c:v>
                </c:pt>
                <c:pt idx="174">
                  <c:v>15.82</c:v>
                </c:pt>
                <c:pt idx="175">
                  <c:v>16.09</c:v>
                </c:pt>
                <c:pt idx="176">
                  <c:v>16.425000000000001</c:v>
                </c:pt>
                <c:pt idx="177">
                  <c:v>16.39</c:v>
                </c:pt>
                <c:pt idx="178">
                  <c:v>16.5</c:v>
                </c:pt>
                <c:pt idx="179">
                  <c:v>16.63</c:v>
                </c:pt>
                <c:pt idx="180">
                  <c:v>16.54</c:v>
                </c:pt>
                <c:pt idx="181">
                  <c:v>16.68</c:v>
                </c:pt>
                <c:pt idx="182">
                  <c:v>17.355</c:v>
                </c:pt>
                <c:pt idx="183">
                  <c:v>17.72</c:v>
                </c:pt>
                <c:pt idx="184">
                  <c:v>17.7</c:v>
                </c:pt>
                <c:pt idx="185">
                  <c:v>17.885000000000002</c:v>
                </c:pt>
                <c:pt idx="186">
                  <c:v>17.88</c:v>
                </c:pt>
                <c:pt idx="187">
                  <c:v>17.809999999999999</c:v>
                </c:pt>
                <c:pt idx="188">
                  <c:v>17.22</c:v>
                </c:pt>
                <c:pt idx="189">
                  <c:v>17</c:v>
                </c:pt>
                <c:pt idx="190">
                  <c:v>16.945</c:v>
                </c:pt>
                <c:pt idx="191">
                  <c:v>16.984999999999999</c:v>
                </c:pt>
                <c:pt idx="192">
                  <c:v>17.004999999999999</c:v>
                </c:pt>
                <c:pt idx="193">
                  <c:v>17.260000000000002</c:v>
                </c:pt>
                <c:pt idx="194">
                  <c:v>17.645</c:v>
                </c:pt>
                <c:pt idx="195">
                  <c:v>17.664999999999999</c:v>
                </c:pt>
                <c:pt idx="196">
                  <c:v>17.690000000000001</c:v>
                </c:pt>
                <c:pt idx="197">
                  <c:v>17.579999999999998</c:v>
                </c:pt>
                <c:pt idx="198">
                  <c:v>17.475000000000001</c:v>
                </c:pt>
                <c:pt idx="199">
                  <c:v>17.434999999999999</c:v>
                </c:pt>
                <c:pt idx="200">
                  <c:v>17.004999999999999</c:v>
                </c:pt>
                <c:pt idx="201">
                  <c:v>17.055</c:v>
                </c:pt>
                <c:pt idx="202">
                  <c:v>16.545000000000002</c:v>
                </c:pt>
                <c:pt idx="203">
                  <c:v>16.434999999999999</c:v>
                </c:pt>
                <c:pt idx="204">
                  <c:v>16.855</c:v>
                </c:pt>
                <c:pt idx="205">
                  <c:v>16.8</c:v>
                </c:pt>
                <c:pt idx="206">
                  <c:v>16.765000000000001</c:v>
                </c:pt>
                <c:pt idx="207">
                  <c:v>16.350000000000001</c:v>
                </c:pt>
                <c:pt idx="208">
                  <c:v>16.5</c:v>
                </c:pt>
                <c:pt idx="209">
                  <c:v>16.91</c:v>
                </c:pt>
                <c:pt idx="210">
                  <c:v>16.93</c:v>
                </c:pt>
                <c:pt idx="211">
                  <c:v>17.46</c:v>
                </c:pt>
                <c:pt idx="212">
                  <c:v>17.504999999999999</c:v>
                </c:pt>
                <c:pt idx="213">
                  <c:v>17.5</c:v>
                </c:pt>
                <c:pt idx="214">
                  <c:v>17.440000000000001</c:v>
                </c:pt>
                <c:pt idx="215">
                  <c:v>17.434999999999999</c:v>
                </c:pt>
                <c:pt idx="216">
                  <c:v>17.559999999999999</c:v>
                </c:pt>
                <c:pt idx="217">
                  <c:v>17.375</c:v>
                </c:pt>
                <c:pt idx="218">
                  <c:v>17.260000000000002</c:v>
                </c:pt>
                <c:pt idx="219">
                  <c:v>17.11</c:v>
                </c:pt>
                <c:pt idx="220">
                  <c:v>17.245000000000001</c:v>
                </c:pt>
                <c:pt idx="221">
                  <c:v>17.649999999999999</c:v>
                </c:pt>
                <c:pt idx="222">
                  <c:v>17.43</c:v>
                </c:pt>
                <c:pt idx="223">
                  <c:v>17.29</c:v>
                </c:pt>
                <c:pt idx="224">
                  <c:v>17.39</c:v>
                </c:pt>
                <c:pt idx="225">
                  <c:v>17.795000000000002</c:v>
                </c:pt>
                <c:pt idx="226">
                  <c:v>17.829999999999998</c:v>
                </c:pt>
                <c:pt idx="227">
                  <c:v>18.149999999999999</c:v>
                </c:pt>
                <c:pt idx="228">
                  <c:v>18.484999999999999</c:v>
                </c:pt>
                <c:pt idx="229">
                  <c:v>18.2</c:v>
                </c:pt>
                <c:pt idx="230">
                  <c:v>18.82</c:v>
                </c:pt>
                <c:pt idx="231">
                  <c:v>19.100000000000001</c:v>
                </c:pt>
                <c:pt idx="232">
                  <c:v>19.329999999999998</c:v>
                </c:pt>
                <c:pt idx="233">
                  <c:v>19.105</c:v>
                </c:pt>
                <c:pt idx="234">
                  <c:v>19.57</c:v>
                </c:pt>
                <c:pt idx="235">
                  <c:v>19.850000000000001</c:v>
                </c:pt>
                <c:pt idx="236">
                  <c:v>20.100000000000001</c:v>
                </c:pt>
                <c:pt idx="237">
                  <c:v>20.555</c:v>
                </c:pt>
                <c:pt idx="238">
                  <c:v>20.55</c:v>
                </c:pt>
                <c:pt idx="239">
                  <c:v>20.5</c:v>
                </c:pt>
                <c:pt idx="240">
                  <c:v>20.81</c:v>
                </c:pt>
                <c:pt idx="241">
                  <c:v>20.535</c:v>
                </c:pt>
                <c:pt idx="242">
                  <c:v>20.88</c:v>
                </c:pt>
                <c:pt idx="243">
                  <c:v>20.824999999999999</c:v>
                </c:pt>
                <c:pt idx="244">
                  <c:v>20.77</c:v>
                </c:pt>
                <c:pt idx="245">
                  <c:v>20.754999999999999</c:v>
                </c:pt>
                <c:pt idx="246">
                  <c:v>20.815000000000001</c:v>
                </c:pt>
                <c:pt idx="247">
                  <c:v>20.914999999999999</c:v>
                </c:pt>
                <c:pt idx="248">
                  <c:v>20.97</c:v>
                </c:pt>
                <c:pt idx="249">
                  <c:v>21.07</c:v>
                </c:pt>
                <c:pt idx="250">
                  <c:v>21.12</c:v>
                </c:pt>
                <c:pt idx="251">
                  <c:v>20.94</c:v>
                </c:pt>
                <c:pt idx="252">
                  <c:v>21.5</c:v>
                </c:pt>
                <c:pt idx="253">
                  <c:v>21.71</c:v>
                </c:pt>
                <c:pt idx="254">
                  <c:v>22.145</c:v>
                </c:pt>
                <c:pt idx="255">
                  <c:v>21.934999999999999</c:v>
                </c:pt>
                <c:pt idx="256">
                  <c:v>21.6</c:v>
                </c:pt>
                <c:pt idx="257">
                  <c:v>21.324999999999999</c:v>
                </c:pt>
                <c:pt idx="258">
                  <c:v>20.9</c:v>
                </c:pt>
                <c:pt idx="259">
                  <c:v>20.85</c:v>
                </c:pt>
                <c:pt idx="260">
                  <c:v>21.055</c:v>
                </c:pt>
                <c:pt idx="261">
                  <c:v>22.3</c:v>
                </c:pt>
                <c:pt idx="262">
                  <c:v>22.59</c:v>
                </c:pt>
                <c:pt idx="263">
                  <c:v>23.17</c:v>
                </c:pt>
                <c:pt idx="264">
                  <c:v>23.05</c:v>
                </c:pt>
                <c:pt idx="265">
                  <c:v>23.33</c:v>
                </c:pt>
                <c:pt idx="266">
                  <c:v>23.195</c:v>
                </c:pt>
                <c:pt idx="267">
                  <c:v>23.2</c:v>
                </c:pt>
                <c:pt idx="268">
                  <c:v>23.2</c:v>
                </c:pt>
                <c:pt idx="269">
                  <c:v>23.54</c:v>
                </c:pt>
                <c:pt idx="270">
                  <c:v>23.4</c:v>
                </c:pt>
                <c:pt idx="271">
                  <c:v>23.414999999999999</c:v>
                </c:pt>
                <c:pt idx="272">
                  <c:v>23.66</c:v>
                </c:pt>
                <c:pt idx="273">
                  <c:v>23.85</c:v>
                </c:pt>
                <c:pt idx="274">
                  <c:v>23.984999999999999</c:v>
                </c:pt>
                <c:pt idx="275">
                  <c:v>24.03</c:v>
                </c:pt>
                <c:pt idx="276">
                  <c:v>24</c:v>
                </c:pt>
                <c:pt idx="277">
                  <c:v>24.015000000000001</c:v>
                </c:pt>
                <c:pt idx="278">
                  <c:v>24.274999999999999</c:v>
                </c:pt>
                <c:pt idx="279">
                  <c:v>24.265000000000001</c:v>
                </c:pt>
                <c:pt idx="280">
                  <c:v>24.234999999999999</c:v>
                </c:pt>
                <c:pt idx="281">
                  <c:v>24.074999999999999</c:v>
                </c:pt>
                <c:pt idx="282">
                  <c:v>24.07</c:v>
                </c:pt>
                <c:pt idx="283">
                  <c:v>24.02</c:v>
                </c:pt>
                <c:pt idx="284">
                  <c:v>23.914999999999999</c:v>
                </c:pt>
                <c:pt idx="285">
                  <c:v>23.945</c:v>
                </c:pt>
                <c:pt idx="286">
                  <c:v>24.074999999999999</c:v>
                </c:pt>
                <c:pt idx="287">
                  <c:v>23.914999999999999</c:v>
                </c:pt>
                <c:pt idx="288">
                  <c:v>24.12</c:v>
                </c:pt>
                <c:pt idx="289">
                  <c:v>24.085000000000001</c:v>
                </c:pt>
                <c:pt idx="290">
                  <c:v>24.06</c:v>
                </c:pt>
                <c:pt idx="291">
                  <c:v>23.984999999999999</c:v>
                </c:pt>
                <c:pt idx="292">
                  <c:v>23.9</c:v>
                </c:pt>
                <c:pt idx="293">
                  <c:v>23.9</c:v>
                </c:pt>
                <c:pt idx="294">
                  <c:v>24.475000000000001</c:v>
                </c:pt>
                <c:pt idx="295">
                  <c:v>23.74</c:v>
                </c:pt>
                <c:pt idx="296">
                  <c:v>23.65</c:v>
                </c:pt>
                <c:pt idx="297">
                  <c:v>23.75</c:v>
                </c:pt>
                <c:pt idx="298">
                  <c:v>23.695</c:v>
                </c:pt>
                <c:pt idx="299">
                  <c:v>23.7</c:v>
                </c:pt>
                <c:pt idx="300">
                  <c:v>23.9</c:v>
                </c:pt>
                <c:pt idx="301">
                  <c:v>23.754999999999999</c:v>
                </c:pt>
                <c:pt idx="302">
                  <c:v>23.8</c:v>
                </c:pt>
                <c:pt idx="303">
                  <c:v>23.8</c:v>
                </c:pt>
                <c:pt idx="304">
                  <c:v>23.8</c:v>
                </c:pt>
                <c:pt idx="305">
                  <c:v>23.844999999999999</c:v>
                </c:pt>
                <c:pt idx="306">
                  <c:v>23.805</c:v>
                </c:pt>
                <c:pt idx="307">
                  <c:v>24.05</c:v>
                </c:pt>
                <c:pt idx="308">
                  <c:v>24.12</c:v>
                </c:pt>
                <c:pt idx="309">
                  <c:v>24.31</c:v>
                </c:pt>
                <c:pt idx="310">
                  <c:v>24.995000000000001</c:v>
                </c:pt>
                <c:pt idx="311">
                  <c:v>24.61</c:v>
                </c:pt>
                <c:pt idx="312">
                  <c:v>24.91</c:v>
                </c:pt>
                <c:pt idx="313">
                  <c:v>25.88</c:v>
                </c:pt>
                <c:pt idx="314">
                  <c:v>25.8</c:v>
                </c:pt>
                <c:pt idx="315">
                  <c:v>25.315000000000001</c:v>
                </c:pt>
                <c:pt idx="316">
                  <c:v>25.06</c:v>
                </c:pt>
                <c:pt idx="317">
                  <c:v>24.655000000000001</c:v>
                </c:pt>
                <c:pt idx="318">
                  <c:v>25.684999999999999</c:v>
                </c:pt>
                <c:pt idx="319">
                  <c:v>26</c:v>
                </c:pt>
                <c:pt idx="320">
                  <c:v>26.12</c:v>
                </c:pt>
                <c:pt idx="321">
                  <c:v>26.004999999999999</c:v>
                </c:pt>
                <c:pt idx="322">
                  <c:v>26.23</c:v>
                </c:pt>
                <c:pt idx="323">
                  <c:v>26.32</c:v>
                </c:pt>
                <c:pt idx="324">
                  <c:v>25.9</c:v>
                </c:pt>
                <c:pt idx="325">
                  <c:v>25.38</c:v>
                </c:pt>
                <c:pt idx="326">
                  <c:v>25.02</c:v>
                </c:pt>
                <c:pt idx="327">
                  <c:v>25.465</c:v>
                </c:pt>
                <c:pt idx="328">
                  <c:v>25.565000000000001</c:v>
                </c:pt>
                <c:pt idx="329">
                  <c:v>26</c:v>
                </c:pt>
                <c:pt idx="330">
                  <c:v>25.77</c:v>
                </c:pt>
                <c:pt idx="331">
                  <c:v>25.39</c:v>
                </c:pt>
                <c:pt idx="332">
                  <c:v>25.35</c:v>
                </c:pt>
                <c:pt idx="333">
                  <c:v>26</c:v>
                </c:pt>
                <c:pt idx="334">
                  <c:v>25.9</c:v>
                </c:pt>
                <c:pt idx="335">
                  <c:v>25.8</c:v>
                </c:pt>
                <c:pt idx="336">
                  <c:v>25.5</c:v>
                </c:pt>
                <c:pt idx="337">
                  <c:v>25.16</c:v>
                </c:pt>
                <c:pt idx="338">
                  <c:v>25.19</c:v>
                </c:pt>
                <c:pt idx="339">
                  <c:v>24.9</c:v>
                </c:pt>
                <c:pt idx="340">
                  <c:v>25.09</c:v>
                </c:pt>
                <c:pt idx="341">
                  <c:v>25.43</c:v>
                </c:pt>
                <c:pt idx="342">
                  <c:v>25.3</c:v>
                </c:pt>
                <c:pt idx="343">
                  <c:v>25.04</c:v>
                </c:pt>
                <c:pt idx="344">
                  <c:v>24.71</c:v>
                </c:pt>
                <c:pt idx="345">
                  <c:v>25.02</c:v>
                </c:pt>
                <c:pt idx="346">
                  <c:v>24.76</c:v>
                </c:pt>
                <c:pt idx="347">
                  <c:v>24.4</c:v>
                </c:pt>
                <c:pt idx="348">
                  <c:v>24.77</c:v>
                </c:pt>
                <c:pt idx="349">
                  <c:v>24.46</c:v>
                </c:pt>
                <c:pt idx="350">
                  <c:v>24.06</c:v>
                </c:pt>
                <c:pt idx="351">
                  <c:v>24.03</c:v>
                </c:pt>
                <c:pt idx="352">
                  <c:v>24.05</c:v>
                </c:pt>
                <c:pt idx="353">
                  <c:v>23.45</c:v>
                </c:pt>
                <c:pt idx="354">
                  <c:v>23.41</c:v>
                </c:pt>
                <c:pt idx="355">
                  <c:v>22.9</c:v>
                </c:pt>
                <c:pt idx="356">
                  <c:v>23.6</c:v>
                </c:pt>
                <c:pt idx="357">
                  <c:v>22.87</c:v>
                </c:pt>
                <c:pt idx="358">
                  <c:v>22.94</c:v>
                </c:pt>
                <c:pt idx="359">
                  <c:v>22.94</c:v>
                </c:pt>
                <c:pt idx="360">
                  <c:v>23.4</c:v>
                </c:pt>
                <c:pt idx="361">
                  <c:v>24.11</c:v>
                </c:pt>
                <c:pt idx="362">
                  <c:v>23.82</c:v>
                </c:pt>
                <c:pt idx="363">
                  <c:v>24.33</c:v>
                </c:pt>
                <c:pt idx="364">
                  <c:v>24.34</c:v>
                </c:pt>
                <c:pt idx="365">
                  <c:v>24.66</c:v>
                </c:pt>
                <c:pt idx="366">
                  <c:v>24.74</c:v>
                </c:pt>
                <c:pt idx="367">
                  <c:v>25.21</c:v>
                </c:pt>
                <c:pt idx="368">
                  <c:v>25.42</c:v>
                </c:pt>
                <c:pt idx="369">
                  <c:v>25.23</c:v>
                </c:pt>
                <c:pt idx="370">
                  <c:v>25.28</c:v>
                </c:pt>
                <c:pt idx="371">
                  <c:v>24.93</c:v>
                </c:pt>
                <c:pt idx="372">
                  <c:v>24.63</c:v>
                </c:pt>
                <c:pt idx="373">
                  <c:v>24.16</c:v>
                </c:pt>
                <c:pt idx="374">
                  <c:v>24.62</c:v>
                </c:pt>
                <c:pt idx="375">
                  <c:v>25.13</c:v>
                </c:pt>
                <c:pt idx="376">
                  <c:v>25.25</c:v>
                </c:pt>
              </c:numCache>
            </c:numRef>
          </c:val>
          <c:smooth val="1"/>
          <c:extLst xmlns:c16r2="http://schemas.microsoft.com/office/drawing/2015/06/chart">
            <c:ext xmlns:c16="http://schemas.microsoft.com/office/drawing/2014/chart" uri="{C3380CC4-5D6E-409C-BE32-E72D297353CC}">
              <c16:uniqueId val="{00000000-4C6A-4CCD-8B60-AC676A8CB0D8}"/>
            </c:ext>
          </c:extLst>
        </c:ser>
        <c:dLbls>
          <c:showLegendKey val="0"/>
          <c:showVal val="0"/>
          <c:showCatName val="0"/>
          <c:showSerName val="0"/>
          <c:showPercent val="0"/>
          <c:showBubbleSize val="0"/>
        </c:dLbls>
        <c:marker val="1"/>
        <c:smooth val="0"/>
        <c:axId val="181954816"/>
        <c:axId val="181964800"/>
      </c:lineChart>
      <c:dateAx>
        <c:axId val="181954816"/>
        <c:scaling>
          <c:orientation val="minMax"/>
        </c:scaling>
        <c:delete val="0"/>
        <c:axPos val="b"/>
        <c:numFmt formatCode="[$-407]mmm/\ yy;@"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50000"/>
                  </a:schemeClr>
                </a:solidFill>
                <a:latin typeface="+mn-lt"/>
                <a:ea typeface="+mn-ea"/>
                <a:cs typeface="+mn-cs"/>
              </a:defRPr>
            </a:pPr>
            <a:endParaRPr lang="ru-RU"/>
          </a:p>
        </c:txPr>
        <c:crossAx val="181964800"/>
        <c:crosses val="autoZero"/>
        <c:auto val="1"/>
        <c:lblOffset val="100"/>
        <c:baseTimeUnit val="days"/>
        <c:majorUnit val="4"/>
        <c:majorTimeUnit val="months"/>
        <c:minorUnit val="20"/>
        <c:minorTimeUnit val="years"/>
      </c:dateAx>
      <c:valAx>
        <c:axId val="181964800"/>
        <c:scaling>
          <c:orientation val="minMax"/>
          <c:max val="30"/>
          <c:min val="8"/>
        </c:scaling>
        <c:delete val="0"/>
        <c:axPos val="l"/>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schemeClr>
                </a:solidFill>
                <a:latin typeface="+mn-lt"/>
                <a:ea typeface="+mn-ea"/>
                <a:cs typeface="+mn-cs"/>
              </a:defRPr>
            </a:pPr>
            <a:endParaRPr lang="ru-RU"/>
          </a:p>
        </c:txPr>
        <c:crossAx val="181954816"/>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2</c:f>
              <c:strCache>
                <c:ptCount val="1"/>
                <c:pt idx="0">
                  <c:v>EBIT</c:v>
                </c:pt>
              </c:strCache>
            </c:strRef>
          </c:tx>
          <c:dPt>
            <c:idx val="0"/>
            <c:bubble3D val="0"/>
            <c:spPr>
              <a:solidFill>
                <a:srgbClr val="0078DC"/>
              </a:solidFill>
              <a:ln w="19050">
                <a:solidFill>
                  <a:schemeClr val="lt1"/>
                </a:solidFill>
              </a:ln>
              <a:effectLst/>
            </c:spPr>
            <c:extLst xmlns:c16r2="http://schemas.microsoft.com/office/drawing/2015/06/chart">
              <c:ext xmlns:c16="http://schemas.microsoft.com/office/drawing/2014/chart" uri="{C3380CC4-5D6E-409C-BE32-E72D297353CC}">
                <c16:uniqueId val="{00000001-06CE-4236-9F78-8397B9C87F40}"/>
              </c:ext>
            </c:extLst>
          </c:dPt>
          <c:dPt>
            <c:idx val="1"/>
            <c:bubble3D val="0"/>
            <c:spPr>
              <a:solidFill>
                <a:srgbClr val="ED8C1C"/>
              </a:solidFill>
              <a:ln w="19050">
                <a:solidFill>
                  <a:schemeClr val="lt1"/>
                </a:solidFill>
              </a:ln>
              <a:effectLst/>
            </c:spPr>
            <c:extLst xmlns:c16r2="http://schemas.microsoft.com/office/drawing/2015/06/chart">
              <c:ext xmlns:c16="http://schemas.microsoft.com/office/drawing/2014/chart" uri="{C3380CC4-5D6E-409C-BE32-E72D297353CC}">
                <c16:uniqueId val="{00000003-06CE-4236-9F78-8397B9C87F40}"/>
              </c:ext>
            </c:extLst>
          </c:dPt>
          <c:dPt>
            <c:idx val="2"/>
            <c:bubble3D val="0"/>
            <c:spPr>
              <a:solidFill>
                <a:srgbClr val="69AB46"/>
              </a:solidFill>
              <a:ln w="19050">
                <a:solidFill>
                  <a:schemeClr val="lt1"/>
                </a:solidFill>
              </a:ln>
              <a:effectLst/>
            </c:spPr>
            <c:extLst xmlns:c16r2="http://schemas.microsoft.com/office/drawing/2015/06/chart">
              <c:ext xmlns:c16="http://schemas.microsoft.com/office/drawing/2014/chart" uri="{C3380CC4-5D6E-409C-BE32-E72D297353CC}">
                <c16:uniqueId val="{00000005-06CE-4236-9F78-8397B9C87F40}"/>
              </c:ext>
            </c:extLst>
          </c:dPt>
          <c:cat>
            <c:strRef>
              <c:f>Tabelle1!$A$3:$A$5</c:f>
              <c:strCache>
                <c:ptCount val="3"/>
                <c:pt idx="0">
                  <c:v>Europ Generation</c:v>
                </c:pt>
                <c:pt idx="1">
                  <c:v>Global Commodities</c:v>
                </c:pt>
                <c:pt idx="2">
                  <c:v>Int Power</c:v>
                </c:pt>
              </c:strCache>
            </c:strRef>
          </c:cat>
          <c:val>
            <c:numRef>
              <c:f>Tabelle1!$B$3:$B$5</c:f>
              <c:numCache>
                <c:formatCode>General</c:formatCode>
                <c:ptCount val="3"/>
                <c:pt idx="0">
                  <c:v>295</c:v>
                </c:pt>
                <c:pt idx="1">
                  <c:v>323</c:v>
                </c:pt>
                <c:pt idx="2" formatCode="0">
                  <c:v>270.02985074626866</c:v>
                </c:pt>
              </c:numCache>
            </c:numRef>
          </c:val>
          <c:extLst xmlns:c16r2="http://schemas.microsoft.com/office/drawing/2015/06/chart">
            <c:ext xmlns:c16="http://schemas.microsoft.com/office/drawing/2014/chart" uri="{C3380CC4-5D6E-409C-BE32-E72D297353CC}">
              <c16:uniqueId val="{00000006-06CE-4236-9F78-8397B9C87F40}"/>
            </c:ext>
          </c:extLst>
        </c:ser>
        <c:dLbls>
          <c:showLegendKey val="0"/>
          <c:showVal val="0"/>
          <c:showCatName val="0"/>
          <c:showSerName val="0"/>
          <c:showPercent val="0"/>
          <c:showBubbleSize val="0"/>
          <c:showLeaderLines val="1"/>
        </c:dLbls>
        <c:firstSliceAng val="210"/>
        <c:holeSize val="50"/>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507362784471221E-2"/>
          <c:y val="0.11977023319615912"/>
          <c:w val="0.81298527443105761"/>
          <c:h val="0.8475651577503428"/>
        </c:manualLayout>
      </c:layout>
      <c:barChart>
        <c:barDir val="col"/>
        <c:grouping val="clustered"/>
        <c:varyColors val="0"/>
        <c:ser>
          <c:idx val="1"/>
          <c:order val="0"/>
          <c:spPr>
            <a:solidFill>
              <a:schemeClr val="accent4"/>
            </a:solidFill>
            <a:ln w="25400">
              <a:noFill/>
            </a:ln>
          </c:spPr>
          <c:invertIfNegative val="0"/>
          <c:cat>
            <c:strRef>
              <c:f>Sheet1!$D$293:$D$295</c:f>
              <c:strCache>
                <c:ptCount val="3"/>
                <c:pt idx="0">
                  <c:v>DE</c:v>
                </c:pt>
                <c:pt idx="1">
                  <c:v>AU</c:v>
                </c:pt>
                <c:pt idx="2">
                  <c:v>UK</c:v>
                </c:pt>
              </c:strCache>
            </c:strRef>
          </c:cat>
          <c:val>
            <c:numRef>
              <c:f>Sheet1!$F$293:$F$295</c:f>
              <c:numCache>
                <c:formatCode>#,##0"bcm"_);\(#,##0\);\-\-_)</c:formatCode>
                <c:ptCount val="3"/>
                <c:pt idx="0">
                  <c:v>25</c:v>
                </c:pt>
                <c:pt idx="1">
                  <c:v>8</c:v>
                </c:pt>
                <c:pt idx="2">
                  <c:v>5</c:v>
                </c:pt>
              </c:numCache>
            </c:numRef>
          </c:val>
          <c:extLst xmlns:c16r2="http://schemas.microsoft.com/office/drawing/2015/06/chart">
            <c:ext xmlns:c16="http://schemas.microsoft.com/office/drawing/2014/chart" uri="{C3380CC4-5D6E-409C-BE32-E72D297353CC}">
              <c16:uniqueId val="{00000000-51BC-46D1-ADC4-A84E79149F92}"/>
            </c:ext>
          </c:extLst>
        </c:ser>
        <c:dLbls>
          <c:showLegendKey val="0"/>
          <c:showVal val="0"/>
          <c:showCatName val="0"/>
          <c:showSerName val="0"/>
          <c:showPercent val="0"/>
          <c:showBubbleSize val="0"/>
        </c:dLbls>
        <c:gapWidth val="70"/>
        <c:overlap val="100"/>
        <c:axId val="217033728"/>
        <c:axId val="217039616"/>
      </c:barChart>
      <c:catAx>
        <c:axId val="217033728"/>
        <c:scaling>
          <c:orientation val="minMax"/>
        </c:scaling>
        <c:delete val="0"/>
        <c:axPos val="b"/>
        <c:numFmt formatCode="General" sourceLinked="0"/>
        <c:majorTickMark val="none"/>
        <c:minorTickMark val="none"/>
        <c:tickLblPos val="none"/>
        <c:spPr>
          <a:ln w="12700">
            <a:solidFill>
              <a:srgbClr val="53565A"/>
            </a:solidFill>
            <a:prstDash val="solid"/>
          </a:ln>
        </c:spPr>
        <c:txPr>
          <a:bodyPr rot="0" vert="horz"/>
          <a:lstStyle/>
          <a:p>
            <a:pPr>
              <a:defRPr sz="800" b="0" i="0">
                <a:solidFill>
                  <a:srgbClr val="53565A"/>
                </a:solidFill>
                <a:latin typeface="Arial"/>
                <a:ea typeface="Arial"/>
                <a:cs typeface="Arial"/>
              </a:defRPr>
            </a:pPr>
            <a:endParaRPr lang="ru-RU"/>
          </a:p>
        </c:txPr>
        <c:crossAx val="217039616"/>
        <c:crosses val="autoZero"/>
        <c:auto val="1"/>
        <c:lblAlgn val="ctr"/>
        <c:lblOffset val="100"/>
        <c:noMultiLvlLbl val="0"/>
      </c:catAx>
      <c:valAx>
        <c:axId val="217039616"/>
        <c:scaling>
          <c:orientation val="minMax"/>
        </c:scaling>
        <c:delete val="0"/>
        <c:axPos val="l"/>
        <c:numFmt formatCode="#,##0&quot;bcm&quot;_);\(#,##0\);\-\-_)" sourceLinked="1"/>
        <c:majorTickMark val="none"/>
        <c:minorTickMark val="none"/>
        <c:tickLblPos val="none"/>
        <c:spPr>
          <a:ln w="12700">
            <a:noFill/>
            <a:prstDash val="solid"/>
          </a:ln>
        </c:spPr>
        <c:txPr>
          <a:bodyPr rot="0" vert="horz"/>
          <a:lstStyle/>
          <a:p>
            <a:pPr>
              <a:defRPr sz="800" b="0" i="0">
                <a:solidFill>
                  <a:srgbClr val="53565A"/>
                </a:solidFill>
                <a:latin typeface="Arial"/>
                <a:ea typeface="Arial"/>
                <a:cs typeface="Arial"/>
              </a:defRPr>
            </a:pPr>
            <a:endParaRPr lang="ru-RU"/>
          </a:p>
        </c:txPr>
        <c:crossAx val="217033728"/>
        <c:crosses val="autoZero"/>
        <c:crossBetween val="between"/>
      </c:valAx>
      <c:spPr>
        <a:noFill/>
        <a:ln w="25400">
          <a:noFill/>
        </a:ln>
      </c:spPr>
    </c:plotArea>
    <c:plotVisOnly val="1"/>
    <c:dispBlanksAs val="gap"/>
    <c:showDLblsOverMax val="0"/>
  </c:chart>
  <c:spPr>
    <a:noFill/>
    <a:ln w="9525">
      <a:noFill/>
    </a:ln>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3CF075-9350-4E49-A3A3-AE8966199C9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GB"/>
        </a:p>
      </dgm:t>
    </dgm:pt>
    <dgm:pt modelId="{1DD1974D-FD84-4CAB-B88C-E0675E1A107A}">
      <dgm:prSet phldrT="[Text]" custT="1"/>
      <dgm:spPr/>
      <dgm:t>
        <a:bodyPr/>
        <a:lstStyle/>
        <a:p>
          <a:r>
            <a:rPr lang="de-DE" sz="1400" b="1" dirty="0"/>
            <a:t>In </a:t>
          </a:r>
          <a:r>
            <a:rPr lang="de-DE" sz="1400" b="1" dirty="0" err="1"/>
            <a:t>space</a:t>
          </a:r>
          <a:endParaRPr lang="en-GB" sz="1400" b="1" dirty="0"/>
        </a:p>
      </dgm:t>
    </dgm:pt>
    <dgm:pt modelId="{1621D305-34B3-4B23-8D33-49A27BC27EF8}" type="parTrans" cxnId="{25D3A533-A6F9-4977-B084-2785C0C62D8F}">
      <dgm:prSet/>
      <dgm:spPr/>
      <dgm:t>
        <a:bodyPr/>
        <a:lstStyle/>
        <a:p>
          <a:endParaRPr lang="en-GB" sz="1400"/>
        </a:p>
      </dgm:t>
    </dgm:pt>
    <dgm:pt modelId="{6D4B56D7-F138-46C1-9088-77732D0157D2}" type="sibTrans" cxnId="{25D3A533-A6F9-4977-B084-2785C0C62D8F}">
      <dgm:prSet/>
      <dgm:spPr/>
      <dgm:t>
        <a:bodyPr/>
        <a:lstStyle/>
        <a:p>
          <a:endParaRPr lang="en-GB" sz="1400"/>
        </a:p>
      </dgm:t>
    </dgm:pt>
    <dgm:pt modelId="{2277CB1A-F4E9-4761-BDAE-2CACDF014B86}">
      <dgm:prSet phldrT="[Text]" custT="1"/>
      <dgm:spPr/>
      <dgm:t>
        <a:bodyPr/>
        <a:lstStyle/>
        <a:p>
          <a:r>
            <a:rPr lang="en-GB" sz="1400" dirty="0"/>
            <a:t>through transportation of commodities from regions where they are produced to places they are consumed</a:t>
          </a:r>
        </a:p>
      </dgm:t>
    </dgm:pt>
    <dgm:pt modelId="{5850CB85-8774-4714-85F8-C9169CB7E4BA}" type="parTrans" cxnId="{B2F59D3D-7437-46D7-A41F-6D74E6806E93}">
      <dgm:prSet/>
      <dgm:spPr/>
      <dgm:t>
        <a:bodyPr/>
        <a:lstStyle/>
        <a:p>
          <a:endParaRPr lang="en-GB" sz="1400"/>
        </a:p>
      </dgm:t>
    </dgm:pt>
    <dgm:pt modelId="{123B7E6D-F6FC-4091-B30D-754EFAC828D6}" type="sibTrans" cxnId="{B2F59D3D-7437-46D7-A41F-6D74E6806E93}">
      <dgm:prSet/>
      <dgm:spPr/>
      <dgm:t>
        <a:bodyPr/>
        <a:lstStyle/>
        <a:p>
          <a:endParaRPr lang="en-GB" sz="1400"/>
        </a:p>
      </dgm:t>
    </dgm:pt>
    <dgm:pt modelId="{10AE0C96-6AF1-48CC-9D52-5A81CD8C0ABA}">
      <dgm:prSet phldrT="[Text]" custT="1"/>
      <dgm:spPr/>
      <dgm:t>
        <a:bodyPr/>
        <a:lstStyle/>
        <a:p>
          <a:r>
            <a:rPr lang="en-GB" sz="1400" dirty="0"/>
            <a:t>through storage that bridges the timing between consumption and production</a:t>
          </a:r>
        </a:p>
      </dgm:t>
    </dgm:pt>
    <dgm:pt modelId="{99D7D124-1525-493F-A46F-C8E04B3FD173}" type="parTrans" cxnId="{7C03A22D-D82E-4B5A-B36A-97DFC34AF55C}">
      <dgm:prSet/>
      <dgm:spPr/>
      <dgm:t>
        <a:bodyPr/>
        <a:lstStyle/>
        <a:p>
          <a:endParaRPr lang="en-GB" sz="1400"/>
        </a:p>
      </dgm:t>
    </dgm:pt>
    <dgm:pt modelId="{862E0948-BEB5-40BB-AAA4-B821D1646BBE}" type="sibTrans" cxnId="{7C03A22D-D82E-4B5A-B36A-97DFC34AF55C}">
      <dgm:prSet/>
      <dgm:spPr/>
      <dgm:t>
        <a:bodyPr/>
        <a:lstStyle/>
        <a:p>
          <a:endParaRPr lang="en-GB" sz="1400"/>
        </a:p>
      </dgm:t>
    </dgm:pt>
    <dgm:pt modelId="{E27303BC-7E5B-4FA2-983D-FCAD51E52C7C}">
      <dgm:prSet phldrT="[Text]" custT="1"/>
      <dgm:spPr/>
      <dgm:t>
        <a:bodyPr/>
        <a:lstStyle/>
        <a:p>
          <a:r>
            <a:rPr lang="de-DE" sz="1400" b="1" dirty="0"/>
            <a:t>In form</a:t>
          </a:r>
          <a:endParaRPr lang="en-GB" sz="1400" b="1" dirty="0"/>
        </a:p>
      </dgm:t>
    </dgm:pt>
    <dgm:pt modelId="{51210D42-143F-4BC8-AF0B-BB165D3A7BEE}" type="parTrans" cxnId="{E48D19CF-8C47-4C80-9EB2-C051D92AC22B}">
      <dgm:prSet/>
      <dgm:spPr/>
      <dgm:t>
        <a:bodyPr/>
        <a:lstStyle/>
        <a:p>
          <a:endParaRPr lang="en-GB" sz="1400"/>
        </a:p>
      </dgm:t>
    </dgm:pt>
    <dgm:pt modelId="{211CDD48-8E40-433A-914A-07F8C3BE8BD9}" type="sibTrans" cxnId="{E48D19CF-8C47-4C80-9EB2-C051D92AC22B}">
      <dgm:prSet/>
      <dgm:spPr/>
      <dgm:t>
        <a:bodyPr/>
        <a:lstStyle/>
        <a:p>
          <a:endParaRPr lang="en-GB" sz="1400"/>
        </a:p>
      </dgm:t>
    </dgm:pt>
    <dgm:pt modelId="{49BDC8BC-5394-4A9C-A26F-D5E5135D5F6E}">
      <dgm:prSet phldrT="[Text]" custT="1"/>
      <dgm:spPr/>
      <dgm:t>
        <a:bodyPr/>
        <a:lstStyle/>
        <a:p>
          <a:r>
            <a:rPr lang="de-DE" sz="1400" b="1" dirty="0"/>
            <a:t>In time</a:t>
          </a:r>
          <a:endParaRPr lang="en-GB" sz="1400" b="1" dirty="0"/>
        </a:p>
      </dgm:t>
    </dgm:pt>
    <dgm:pt modelId="{5D951D08-2C15-4A4D-B626-90FEDA84C437}" type="parTrans" cxnId="{6B400449-3FFE-4C71-AED5-5532C6FEF393}">
      <dgm:prSet/>
      <dgm:spPr/>
      <dgm:t>
        <a:bodyPr/>
        <a:lstStyle/>
        <a:p>
          <a:endParaRPr lang="en-GB" sz="1400"/>
        </a:p>
      </dgm:t>
    </dgm:pt>
    <dgm:pt modelId="{A346A1B7-C826-4ECB-BA35-A7324645164A}" type="sibTrans" cxnId="{6B400449-3FFE-4C71-AED5-5532C6FEF393}">
      <dgm:prSet/>
      <dgm:spPr/>
      <dgm:t>
        <a:bodyPr/>
        <a:lstStyle/>
        <a:p>
          <a:endParaRPr lang="en-GB" sz="1400"/>
        </a:p>
      </dgm:t>
    </dgm:pt>
    <dgm:pt modelId="{5C594F38-9CAA-45A6-BDF6-16C8284858E3}">
      <dgm:prSet phldrT="[Text]" custT="1"/>
      <dgm:spPr/>
      <dgm:t>
        <a:bodyPr/>
        <a:lstStyle/>
        <a:p>
          <a:r>
            <a:rPr lang="en-GB" sz="1400" dirty="0"/>
            <a:t>through refining or processing for final consumption</a:t>
          </a:r>
        </a:p>
      </dgm:t>
    </dgm:pt>
    <dgm:pt modelId="{C751AFCD-807B-4DDC-8821-2860881A5231}" type="parTrans" cxnId="{DFD51024-090D-4C70-9089-44D11517439E}">
      <dgm:prSet/>
      <dgm:spPr/>
      <dgm:t>
        <a:bodyPr/>
        <a:lstStyle/>
        <a:p>
          <a:endParaRPr lang="en-GB" sz="1400"/>
        </a:p>
      </dgm:t>
    </dgm:pt>
    <dgm:pt modelId="{C13FAEE8-C025-4998-B960-1122376B8B08}" type="sibTrans" cxnId="{DFD51024-090D-4C70-9089-44D11517439E}">
      <dgm:prSet/>
      <dgm:spPr/>
      <dgm:t>
        <a:bodyPr/>
        <a:lstStyle/>
        <a:p>
          <a:endParaRPr lang="en-GB" sz="1400"/>
        </a:p>
      </dgm:t>
    </dgm:pt>
    <dgm:pt modelId="{458B1765-6B5F-4EF2-9994-D79FFDB6DBE2}" type="pres">
      <dgm:prSet presAssocID="{AA3CF075-9350-4E49-A3A3-AE8966199C91}" presName="linear" presStyleCnt="0">
        <dgm:presLayoutVars>
          <dgm:animLvl val="lvl"/>
          <dgm:resizeHandles val="exact"/>
        </dgm:presLayoutVars>
      </dgm:prSet>
      <dgm:spPr/>
      <dgm:t>
        <a:bodyPr/>
        <a:lstStyle/>
        <a:p>
          <a:endParaRPr lang="ru-RU"/>
        </a:p>
      </dgm:t>
    </dgm:pt>
    <dgm:pt modelId="{D2DEDC13-0BA1-485B-9477-552182C249E9}" type="pres">
      <dgm:prSet presAssocID="{1DD1974D-FD84-4CAB-B88C-E0675E1A107A}" presName="parentText" presStyleLbl="node1" presStyleIdx="0" presStyleCnt="3">
        <dgm:presLayoutVars>
          <dgm:chMax val="0"/>
          <dgm:bulletEnabled val="1"/>
        </dgm:presLayoutVars>
      </dgm:prSet>
      <dgm:spPr/>
      <dgm:t>
        <a:bodyPr/>
        <a:lstStyle/>
        <a:p>
          <a:endParaRPr lang="ru-RU"/>
        </a:p>
      </dgm:t>
    </dgm:pt>
    <dgm:pt modelId="{CF21AA3D-21C4-4503-BDBF-771C65D0C29C}" type="pres">
      <dgm:prSet presAssocID="{1DD1974D-FD84-4CAB-B88C-E0675E1A107A}" presName="childText" presStyleLbl="revTx" presStyleIdx="0" presStyleCnt="3">
        <dgm:presLayoutVars>
          <dgm:bulletEnabled val="1"/>
        </dgm:presLayoutVars>
      </dgm:prSet>
      <dgm:spPr/>
      <dgm:t>
        <a:bodyPr/>
        <a:lstStyle/>
        <a:p>
          <a:endParaRPr lang="ru-RU"/>
        </a:p>
      </dgm:t>
    </dgm:pt>
    <dgm:pt modelId="{7EED2E1D-6CC6-4DEE-AE80-477FF368CD91}" type="pres">
      <dgm:prSet presAssocID="{49BDC8BC-5394-4A9C-A26F-D5E5135D5F6E}" presName="parentText" presStyleLbl="node1" presStyleIdx="1" presStyleCnt="3">
        <dgm:presLayoutVars>
          <dgm:chMax val="0"/>
          <dgm:bulletEnabled val="1"/>
        </dgm:presLayoutVars>
      </dgm:prSet>
      <dgm:spPr/>
      <dgm:t>
        <a:bodyPr/>
        <a:lstStyle/>
        <a:p>
          <a:endParaRPr lang="ru-RU"/>
        </a:p>
      </dgm:t>
    </dgm:pt>
    <dgm:pt modelId="{955C8EFF-FDD7-40BE-845D-C5B4B06BBE60}" type="pres">
      <dgm:prSet presAssocID="{49BDC8BC-5394-4A9C-A26F-D5E5135D5F6E}" presName="childText" presStyleLbl="revTx" presStyleIdx="1" presStyleCnt="3">
        <dgm:presLayoutVars>
          <dgm:bulletEnabled val="1"/>
        </dgm:presLayoutVars>
      </dgm:prSet>
      <dgm:spPr/>
      <dgm:t>
        <a:bodyPr/>
        <a:lstStyle/>
        <a:p>
          <a:endParaRPr lang="ru-RU"/>
        </a:p>
      </dgm:t>
    </dgm:pt>
    <dgm:pt modelId="{B9C38AC2-BF8D-46FF-ADD8-93BDB0905935}" type="pres">
      <dgm:prSet presAssocID="{E27303BC-7E5B-4FA2-983D-FCAD51E52C7C}" presName="parentText" presStyleLbl="node1" presStyleIdx="2" presStyleCnt="3">
        <dgm:presLayoutVars>
          <dgm:chMax val="0"/>
          <dgm:bulletEnabled val="1"/>
        </dgm:presLayoutVars>
      </dgm:prSet>
      <dgm:spPr/>
      <dgm:t>
        <a:bodyPr/>
        <a:lstStyle/>
        <a:p>
          <a:endParaRPr lang="ru-RU"/>
        </a:p>
      </dgm:t>
    </dgm:pt>
    <dgm:pt modelId="{5226DB62-C593-4A22-A0FE-88A956FBBBB1}" type="pres">
      <dgm:prSet presAssocID="{E27303BC-7E5B-4FA2-983D-FCAD51E52C7C}" presName="childText" presStyleLbl="revTx" presStyleIdx="2" presStyleCnt="3">
        <dgm:presLayoutVars>
          <dgm:bulletEnabled val="1"/>
        </dgm:presLayoutVars>
      </dgm:prSet>
      <dgm:spPr/>
      <dgm:t>
        <a:bodyPr/>
        <a:lstStyle/>
        <a:p>
          <a:endParaRPr lang="ru-RU"/>
        </a:p>
      </dgm:t>
    </dgm:pt>
  </dgm:ptLst>
  <dgm:cxnLst>
    <dgm:cxn modelId="{C71AB8B5-05A6-444B-889E-199E3828246D}" type="presOf" srcId="{5C594F38-9CAA-45A6-BDF6-16C8284858E3}" destId="{5226DB62-C593-4A22-A0FE-88A956FBBBB1}" srcOrd="0" destOrd="0" presId="urn:microsoft.com/office/officeart/2005/8/layout/vList2"/>
    <dgm:cxn modelId="{74C269ED-E619-456D-A30D-DCF47BFA9B8D}" type="presOf" srcId="{49BDC8BC-5394-4A9C-A26F-D5E5135D5F6E}" destId="{7EED2E1D-6CC6-4DEE-AE80-477FF368CD91}" srcOrd="0" destOrd="0" presId="urn:microsoft.com/office/officeart/2005/8/layout/vList2"/>
    <dgm:cxn modelId="{25D3A533-A6F9-4977-B084-2785C0C62D8F}" srcId="{AA3CF075-9350-4E49-A3A3-AE8966199C91}" destId="{1DD1974D-FD84-4CAB-B88C-E0675E1A107A}" srcOrd="0" destOrd="0" parTransId="{1621D305-34B3-4B23-8D33-49A27BC27EF8}" sibTransId="{6D4B56D7-F138-46C1-9088-77732D0157D2}"/>
    <dgm:cxn modelId="{E48D19CF-8C47-4C80-9EB2-C051D92AC22B}" srcId="{AA3CF075-9350-4E49-A3A3-AE8966199C91}" destId="{E27303BC-7E5B-4FA2-983D-FCAD51E52C7C}" srcOrd="2" destOrd="0" parTransId="{51210D42-143F-4BC8-AF0B-BB165D3A7BEE}" sibTransId="{211CDD48-8E40-433A-914A-07F8C3BE8BD9}"/>
    <dgm:cxn modelId="{DFD51024-090D-4C70-9089-44D11517439E}" srcId="{E27303BC-7E5B-4FA2-983D-FCAD51E52C7C}" destId="{5C594F38-9CAA-45A6-BDF6-16C8284858E3}" srcOrd="0" destOrd="0" parTransId="{C751AFCD-807B-4DDC-8821-2860881A5231}" sibTransId="{C13FAEE8-C025-4998-B960-1122376B8B08}"/>
    <dgm:cxn modelId="{7F4A170C-6C35-4617-B45E-9F2D295A4614}" type="presOf" srcId="{E27303BC-7E5B-4FA2-983D-FCAD51E52C7C}" destId="{B9C38AC2-BF8D-46FF-ADD8-93BDB0905935}" srcOrd="0" destOrd="0" presId="urn:microsoft.com/office/officeart/2005/8/layout/vList2"/>
    <dgm:cxn modelId="{63F9D36F-B41D-4A69-A696-1BE0A4E3725A}" type="presOf" srcId="{1DD1974D-FD84-4CAB-B88C-E0675E1A107A}" destId="{D2DEDC13-0BA1-485B-9477-552182C249E9}" srcOrd="0" destOrd="0" presId="urn:microsoft.com/office/officeart/2005/8/layout/vList2"/>
    <dgm:cxn modelId="{6B400449-3FFE-4C71-AED5-5532C6FEF393}" srcId="{AA3CF075-9350-4E49-A3A3-AE8966199C91}" destId="{49BDC8BC-5394-4A9C-A26F-D5E5135D5F6E}" srcOrd="1" destOrd="0" parTransId="{5D951D08-2C15-4A4D-B626-90FEDA84C437}" sibTransId="{A346A1B7-C826-4ECB-BA35-A7324645164A}"/>
    <dgm:cxn modelId="{98518A23-04DD-4221-B763-589608F7C0A8}" type="presOf" srcId="{10AE0C96-6AF1-48CC-9D52-5A81CD8C0ABA}" destId="{955C8EFF-FDD7-40BE-845D-C5B4B06BBE60}" srcOrd="0" destOrd="0" presId="urn:microsoft.com/office/officeart/2005/8/layout/vList2"/>
    <dgm:cxn modelId="{7C03A22D-D82E-4B5A-B36A-97DFC34AF55C}" srcId="{49BDC8BC-5394-4A9C-A26F-D5E5135D5F6E}" destId="{10AE0C96-6AF1-48CC-9D52-5A81CD8C0ABA}" srcOrd="0" destOrd="0" parTransId="{99D7D124-1525-493F-A46F-C8E04B3FD173}" sibTransId="{862E0948-BEB5-40BB-AAA4-B821D1646BBE}"/>
    <dgm:cxn modelId="{58F6F7F7-B8ED-4465-951F-E305B4C1CD33}" type="presOf" srcId="{2277CB1A-F4E9-4761-BDAE-2CACDF014B86}" destId="{CF21AA3D-21C4-4503-BDBF-771C65D0C29C}" srcOrd="0" destOrd="0" presId="urn:microsoft.com/office/officeart/2005/8/layout/vList2"/>
    <dgm:cxn modelId="{B2F59D3D-7437-46D7-A41F-6D74E6806E93}" srcId="{1DD1974D-FD84-4CAB-B88C-E0675E1A107A}" destId="{2277CB1A-F4E9-4761-BDAE-2CACDF014B86}" srcOrd="0" destOrd="0" parTransId="{5850CB85-8774-4714-85F8-C9169CB7E4BA}" sibTransId="{123B7E6D-F6FC-4091-B30D-754EFAC828D6}"/>
    <dgm:cxn modelId="{202C3AC3-3D9E-4086-83FB-F00F040624A3}" type="presOf" srcId="{AA3CF075-9350-4E49-A3A3-AE8966199C91}" destId="{458B1765-6B5F-4EF2-9994-D79FFDB6DBE2}" srcOrd="0" destOrd="0" presId="urn:microsoft.com/office/officeart/2005/8/layout/vList2"/>
    <dgm:cxn modelId="{59C7FC80-4254-48FB-BB7E-8AD10BC237A1}" type="presParOf" srcId="{458B1765-6B5F-4EF2-9994-D79FFDB6DBE2}" destId="{D2DEDC13-0BA1-485B-9477-552182C249E9}" srcOrd="0" destOrd="0" presId="urn:microsoft.com/office/officeart/2005/8/layout/vList2"/>
    <dgm:cxn modelId="{B2B64D93-615E-4168-AAEE-B51F34BC316E}" type="presParOf" srcId="{458B1765-6B5F-4EF2-9994-D79FFDB6DBE2}" destId="{CF21AA3D-21C4-4503-BDBF-771C65D0C29C}" srcOrd="1" destOrd="0" presId="urn:microsoft.com/office/officeart/2005/8/layout/vList2"/>
    <dgm:cxn modelId="{D085629F-F4F8-43EC-8CAC-FC8F804119D8}" type="presParOf" srcId="{458B1765-6B5F-4EF2-9994-D79FFDB6DBE2}" destId="{7EED2E1D-6CC6-4DEE-AE80-477FF368CD91}" srcOrd="2" destOrd="0" presId="urn:microsoft.com/office/officeart/2005/8/layout/vList2"/>
    <dgm:cxn modelId="{F2DE1A00-5E70-4875-8D44-D66D2118DD1C}" type="presParOf" srcId="{458B1765-6B5F-4EF2-9994-D79FFDB6DBE2}" destId="{955C8EFF-FDD7-40BE-845D-C5B4B06BBE60}" srcOrd="3" destOrd="0" presId="urn:microsoft.com/office/officeart/2005/8/layout/vList2"/>
    <dgm:cxn modelId="{CC9028DC-5E29-495B-A5E0-B191A631EE24}" type="presParOf" srcId="{458B1765-6B5F-4EF2-9994-D79FFDB6DBE2}" destId="{B9C38AC2-BF8D-46FF-ADD8-93BDB0905935}" srcOrd="4" destOrd="0" presId="urn:microsoft.com/office/officeart/2005/8/layout/vList2"/>
    <dgm:cxn modelId="{8AED9BB6-DDE9-436D-BA1F-341FAA8AC740}" type="presParOf" srcId="{458B1765-6B5F-4EF2-9994-D79FFDB6DBE2}" destId="{5226DB62-C593-4A22-A0FE-88A956FBBBB1}"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4.emf"/></Relationships>
</file>

<file path=ppt/drawings/drawing1.xml><?xml version="1.0" encoding="utf-8"?>
<c:userShapes xmlns:c="http://schemas.openxmlformats.org/drawingml/2006/chart">
  <cdr:relSizeAnchor xmlns:cdr="http://schemas.openxmlformats.org/drawingml/2006/chartDrawing">
    <cdr:from>
      <cdr:x>0.28697</cdr:x>
      <cdr:y>0.38059</cdr:y>
    </cdr:from>
    <cdr:to>
      <cdr:x>0.87289</cdr:x>
      <cdr:y>0.64049</cdr:y>
    </cdr:to>
    <cdr:sp macro="" textlink="">
      <cdr:nvSpPr>
        <cdr:cNvPr id="2" name="Textfeld 1"/>
        <cdr:cNvSpPr txBox="1"/>
      </cdr:nvSpPr>
      <cdr:spPr>
        <a:xfrm xmlns:a="http://schemas.openxmlformats.org/drawingml/2006/main">
          <a:off x="675178" y="676646"/>
          <a:ext cx="1378575" cy="46208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sz="1050">
              <a:latin typeface="Arial" pitchFamily="34" charset="0"/>
              <a:cs typeface="Arial" pitchFamily="34" charset="0"/>
            </a:endParaRPr>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C932BE8F-B637-4C47-B142-3817287274CE}" type="datetimeFigureOut">
              <a:rPr lang="de-DE" sz="1050" smtClean="0">
                <a:latin typeface="Arial" pitchFamily="34" charset="0"/>
                <a:cs typeface="Arial" pitchFamily="34" charset="0"/>
              </a:rPr>
              <a:pPr/>
              <a:t>17.09.2018</a:t>
            </a:fld>
            <a:endParaRPr lang="de-DE" sz="1050">
              <a:latin typeface="Arial" pitchFamily="34" charset="0"/>
              <a:cs typeface="Arial" pitchFamily="34" charset="0"/>
            </a:endParaRPr>
          </a:p>
        </p:txBody>
      </p:sp>
      <p:sp>
        <p:nvSpPr>
          <p:cNvPr id="4" name="Fußzeilenplatzhalt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sz="1050">
              <a:latin typeface="Arial" pitchFamily="34" charset="0"/>
              <a:cs typeface="Arial" pitchFamily="34" charset="0"/>
            </a:endParaRPr>
          </a:p>
        </p:txBody>
      </p:sp>
      <p:sp>
        <p:nvSpPr>
          <p:cNvPr id="5" name="Foliennummernplatzhalt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D29711D6-7C16-408D-AB39-A77E8CF5A3FD}" type="slidenum">
              <a:rPr lang="de-DE" sz="1050" smtClean="0">
                <a:latin typeface="Arial" pitchFamily="34" charset="0"/>
                <a:cs typeface="Arial" pitchFamily="34" charset="0"/>
              </a:rPr>
              <a:pPr/>
              <a:t>‹#›</a:t>
            </a:fld>
            <a:endParaRPr lang="de-DE" sz="1050">
              <a:latin typeface="Arial" pitchFamily="34" charset="0"/>
              <a:cs typeface="Arial" pitchFamily="34" charset="0"/>
            </a:endParaRPr>
          </a:p>
        </p:txBody>
      </p:sp>
    </p:spTree>
    <p:extLst>
      <p:ext uri="{BB962C8B-B14F-4D97-AF65-F5344CB8AC3E}">
        <p14:creationId xmlns:p14="http://schemas.microsoft.com/office/powerpoint/2010/main" val="10642056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DD48DAF9-FCAF-40AF-8859-05C8E311A5C6}" type="datetimeFigureOut">
              <a:rPr lang="de-DE" smtClean="0"/>
              <a:pPr/>
              <a:t>17.09.2018</a:t>
            </a:fld>
            <a:endParaRPr lang="de-DE"/>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B60C4BC3-9AD3-461B-862E-410046728F4C}" type="slidenum">
              <a:rPr lang="de-DE" smtClean="0"/>
              <a:pPr/>
              <a:t>‹#›</a:t>
            </a:fld>
            <a:endParaRPr lang="de-DE"/>
          </a:p>
        </p:txBody>
      </p:sp>
    </p:spTree>
    <p:extLst>
      <p:ext uri="{BB962C8B-B14F-4D97-AF65-F5344CB8AC3E}">
        <p14:creationId xmlns:p14="http://schemas.microsoft.com/office/powerpoint/2010/main" val="340106149"/>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050" kern="1200">
        <a:solidFill>
          <a:schemeClr val="tx1"/>
        </a:solidFill>
        <a:latin typeface="Arial" pitchFamily="34" charset="0"/>
        <a:ea typeface="+mn-ea"/>
        <a:cs typeface="Arial" pitchFamily="34" charset="0"/>
      </a:defRPr>
    </a:lvl1pPr>
    <a:lvl2pPr marL="207963" indent="-206375" algn="l" defTabSz="914400" rtl="0" eaLnBrk="1" latinLnBrk="0" hangingPunct="1">
      <a:buClr>
        <a:srgbClr val="0078DC"/>
      </a:buClr>
      <a:buFont typeface="Wingdings" pitchFamily="2" charset="2"/>
      <a:buChar char=""/>
      <a:defRPr sz="1050" kern="1200">
        <a:solidFill>
          <a:schemeClr val="tx1"/>
        </a:solidFill>
        <a:latin typeface="Arial" pitchFamily="34" charset="0"/>
        <a:ea typeface="+mn-ea"/>
        <a:cs typeface="Arial" pitchFamily="34" charset="0"/>
      </a:defRPr>
    </a:lvl2pPr>
    <a:lvl3pPr marL="209550" indent="0" algn="l" defTabSz="914400" rtl="0" eaLnBrk="1" latinLnBrk="0" hangingPunct="1">
      <a:defRPr sz="1050" kern="1200">
        <a:solidFill>
          <a:schemeClr val="tx1"/>
        </a:solidFill>
        <a:latin typeface="Arial" pitchFamily="34" charset="0"/>
        <a:ea typeface="+mn-ea"/>
        <a:cs typeface="Arial" pitchFamily="34" charset="0"/>
      </a:defRPr>
    </a:lvl3pPr>
    <a:lvl4pPr marL="412750" indent="-201613" algn="l" defTabSz="914400" rtl="0" eaLnBrk="1" latinLnBrk="0" hangingPunct="1">
      <a:buClr>
        <a:srgbClr val="0078DC"/>
      </a:buClr>
      <a:buFont typeface="Wingdings" pitchFamily="2" charset="2"/>
      <a:buChar char=""/>
      <a:defRPr sz="1050" kern="1200">
        <a:solidFill>
          <a:schemeClr val="tx1"/>
        </a:solidFill>
        <a:latin typeface="Arial" pitchFamily="34" charset="0"/>
        <a:ea typeface="+mn-ea"/>
        <a:cs typeface="Arial" pitchFamily="34" charset="0"/>
      </a:defRPr>
    </a:lvl4pPr>
    <a:lvl5pPr marL="414338" indent="0" algn="l" defTabSz="914400" rtl="0" eaLnBrk="1" latinLnBrk="0" hangingPunct="1">
      <a:defRPr sz="105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4BC3-9AD3-461B-862E-410046728F4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133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B60C4BC3-9AD3-461B-862E-410046728F4C}" type="slidenum">
              <a:rPr lang="de-DE" smtClean="0"/>
              <a:pPr/>
              <a:t>2</a:t>
            </a:fld>
            <a:endParaRPr lang="de-DE"/>
          </a:p>
        </p:txBody>
      </p:sp>
    </p:spTree>
    <p:extLst>
      <p:ext uri="{BB962C8B-B14F-4D97-AF65-F5344CB8AC3E}">
        <p14:creationId xmlns:p14="http://schemas.microsoft.com/office/powerpoint/2010/main" val="1537817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Tx/>
            </a:pPr>
            <a:endParaRPr lang="de-DE" sz="1000" dirty="0"/>
          </a:p>
        </p:txBody>
      </p:sp>
      <p:sp>
        <p:nvSpPr>
          <p:cNvPr id="4" name="Slide Number Placeholder 3"/>
          <p:cNvSpPr>
            <a:spLocks noGrp="1"/>
          </p:cNvSpPr>
          <p:nvPr>
            <p:ph type="sldNum" sz="quarter" idx="10"/>
          </p:nvPr>
        </p:nvSpPr>
        <p:spPr/>
        <p:txBody>
          <a:bodyPr/>
          <a:lstStyle/>
          <a:p>
            <a:fld id="{B60C4BC3-9AD3-461B-862E-410046728F4C}" type="slidenum">
              <a:rPr lang="de-DE" smtClean="0">
                <a:solidFill>
                  <a:prstClr val="black"/>
                </a:solidFill>
              </a:rPr>
              <a:pPr/>
              <a:t>3</a:t>
            </a:fld>
            <a:endParaRPr lang="de-DE">
              <a:solidFill>
                <a:prstClr val="black"/>
              </a:solidFill>
            </a:endParaRPr>
          </a:p>
        </p:txBody>
      </p:sp>
    </p:spTree>
    <p:extLst>
      <p:ext uri="{BB962C8B-B14F-4D97-AF65-F5344CB8AC3E}">
        <p14:creationId xmlns:p14="http://schemas.microsoft.com/office/powerpoint/2010/main" val="345382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35C93B9-208B-4A8D-A030-528D353C99BC}" type="slidenum">
              <a:rPr lang="en-US" altLang="de-DE" smtClean="0"/>
              <a:pPr/>
              <a:t>16</a:t>
            </a:fld>
            <a:endParaRPr lang="en-US" altLang="de-DE"/>
          </a:p>
        </p:txBody>
      </p:sp>
    </p:spTree>
    <p:extLst>
      <p:ext uri="{BB962C8B-B14F-4D97-AF65-F5344CB8AC3E}">
        <p14:creationId xmlns:p14="http://schemas.microsoft.com/office/powerpoint/2010/main" val="39370508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00000" y="4201200"/>
            <a:ext cx="7344000" cy="1569600"/>
          </a:xfrm>
        </p:spPr>
        <p:txBody>
          <a:bodyPr anchor="b" anchorCtr="0">
            <a:noAutofit/>
          </a:bodyPr>
          <a:lstStyle>
            <a:lvl1pPr>
              <a:defRPr sz="3400">
                <a:solidFill>
                  <a:srgbClr val="E6252E"/>
                </a:solidFill>
              </a:defRPr>
            </a:lvl1pPr>
          </a:lstStyle>
          <a:p>
            <a:r>
              <a:rPr lang="en-US"/>
              <a:t>Click to edit Master title style</a:t>
            </a:r>
            <a:endParaRPr lang="de-DE" dirty="0"/>
          </a:p>
        </p:txBody>
      </p:sp>
      <p:sp>
        <p:nvSpPr>
          <p:cNvPr id="3" name="Untertitel 2"/>
          <p:cNvSpPr>
            <a:spLocks noGrp="1"/>
          </p:cNvSpPr>
          <p:nvPr>
            <p:ph type="subTitle" idx="1"/>
          </p:nvPr>
        </p:nvSpPr>
        <p:spPr>
          <a:xfrm>
            <a:off x="900000" y="5878800"/>
            <a:ext cx="7344000" cy="288000"/>
          </a:xfrm>
        </p:spPr>
        <p:txBody>
          <a:bodyPr/>
          <a:lstStyle>
            <a:lvl1pPr marL="0" indent="0" algn="l">
              <a:spcAft>
                <a:spcPts val="0"/>
              </a:spcAft>
              <a:buNone/>
              <a:defRPr>
                <a:solidFill>
                  <a:srgbClr val="5E5E5E"/>
                </a:solidFill>
              </a:defRPr>
            </a:lvl1pPr>
            <a:lvl2pPr marL="457200" indent="0" algn="l">
              <a:buNone/>
              <a:defRPr>
                <a:solidFill>
                  <a:srgbClr val="5E5E5E"/>
                </a:solidFill>
              </a:defRPr>
            </a:lvl2pPr>
            <a:lvl3pPr marL="914400" indent="0" algn="l">
              <a:buNone/>
              <a:defRPr>
                <a:solidFill>
                  <a:srgbClr val="5E5E5E"/>
                </a:solidFill>
              </a:defRPr>
            </a:lvl3pPr>
            <a:lvl4pPr marL="1371600" indent="0" algn="l">
              <a:buNone/>
              <a:defRPr>
                <a:solidFill>
                  <a:srgbClr val="5E5E5E"/>
                </a:solidFill>
              </a:defRPr>
            </a:lvl4pPr>
            <a:lvl5pPr marL="1828800" indent="0" algn="l">
              <a:buNone/>
              <a:defRPr>
                <a:solidFill>
                  <a:srgbClr val="5E5E5E"/>
                </a:solidFill>
              </a:defRPr>
            </a:lvl5pPr>
            <a:lvl6pPr marL="2286000" indent="0" algn="l">
              <a:buNone/>
              <a:defRPr>
                <a:solidFill>
                  <a:srgbClr val="5E5E5E"/>
                </a:solidFill>
              </a:defRPr>
            </a:lvl6pPr>
            <a:lvl7pPr marL="2743200" indent="0" algn="l">
              <a:buNone/>
              <a:defRPr>
                <a:solidFill>
                  <a:srgbClr val="5E5E5E"/>
                </a:solidFill>
              </a:defRPr>
            </a:lvl7pPr>
            <a:lvl8pPr marL="3200400" indent="0" algn="l">
              <a:buNone/>
              <a:defRPr>
                <a:solidFill>
                  <a:srgbClr val="5E5E5E"/>
                </a:solidFill>
              </a:defRPr>
            </a:lvl8pPr>
            <a:lvl9pPr marL="3657600" indent="0" algn="l">
              <a:buNone/>
              <a:defRPr>
                <a:solidFill>
                  <a:srgbClr val="5E5E5E"/>
                </a:solidFill>
              </a:defRPr>
            </a:lvl9pPr>
          </a:lstStyle>
          <a:p>
            <a:r>
              <a:rPr lang="en-US"/>
              <a:t>Click to edit Master subtitle style</a:t>
            </a:r>
            <a:endParaRPr lang="de-DE" dirty="0"/>
          </a:p>
        </p:txBody>
      </p:sp>
      <p:pic>
        <p:nvPicPr>
          <p:cNvPr id="7" name="Grafik 6" descr="Uniper_Logo_Office_CO_PPT_large.png"/>
          <p:cNvPicPr>
            <a:picLocks noChangeAspect="1"/>
          </p:cNvPicPr>
          <p:nvPr/>
        </p:nvPicPr>
        <p:blipFill>
          <a:blip r:embed="rId2" cstate="print"/>
          <a:stretch>
            <a:fillRect/>
          </a:stretch>
        </p:blipFill>
        <p:spPr>
          <a:xfrm>
            <a:off x="504000" y="410400"/>
            <a:ext cx="2721600" cy="2355289"/>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00000" y="4201200"/>
            <a:ext cx="7344000" cy="1569600"/>
          </a:xfrm>
        </p:spPr>
        <p:txBody>
          <a:bodyPr anchor="b" anchorCtr="0">
            <a:noAutofit/>
          </a:bodyPr>
          <a:lstStyle>
            <a:lvl1pPr>
              <a:defRPr sz="3400">
                <a:solidFill>
                  <a:srgbClr val="E6252E"/>
                </a:solidFill>
              </a:defRPr>
            </a:lvl1pPr>
          </a:lstStyle>
          <a:p>
            <a:r>
              <a:rPr lang="de-DE" dirty="0"/>
              <a:t>Titelmasterformat durch Klicken bearbeiten</a:t>
            </a:r>
          </a:p>
        </p:txBody>
      </p:sp>
      <p:sp>
        <p:nvSpPr>
          <p:cNvPr id="3" name="Untertitel 2"/>
          <p:cNvSpPr>
            <a:spLocks noGrp="1"/>
          </p:cNvSpPr>
          <p:nvPr>
            <p:ph type="subTitle" idx="1"/>
          </p:nvPr>
        </p:nvSpPr>
        <p:spPr>
          <a:xfrm>
            <a:off x="900000" y="5878800"/>
            <a:ext cx="7344000" cy="288000"/>
          </a:xfrm>
        </p:spPr>
        <p:txBody>
          <a:bodyPr/>
          <a:lstStyle>
            <a:lvl1pPr marL="0" indent="0" algn="l">
              <a:spcAft>
                <a:spcPts val="0"/>
              </a:spcAft>
              <a:buNone/>
              <a:defRPr>
                <a:solidFill>
                  <a:srgbClr val="5E5E5E"/>
                </a:solidFill>
              </a:defRPr>
            </a:lvl1pPr>
            <a:lvl2pPr marL="457200" indent="0" algn="l">
              <a:buNone/>
              <a:defRPr>
                <a:solidFill>
                  <a:srgbClr val="5E5E5E"/>
                </a:solidFill>
              </a:defRPr>
            </a:lvl2pPr>
            <a:lvl3pPr marL="914400" indent="0" algn="l">
              <a:buNone/>
              <a:defRPr>
                <a:solidFill>
                  <a:srgbClr val="5E5E5E"/>
                </a:solidFill>
              </a:defRPr>
            </a:lvl3pPr>
            <a:lvl4pPr marL="1371600" indent="0" algn="l">
              <a:buNone/>
              <a:defRPr>
                <a:solidFill>
                  <a:srgbClr val="5E5E5E"/>
                </a:solidFill>
              </a:defRPr>
            </a:lvl4pPr>
            <a:lvl5pPr marL="1828800" indent="0" algn="l">
              <a:buNone/>
              <a:defRPr>
                <a:solidFill>
                  <a:srgbClr val="5E5E5E"/>
                </a:solidFill>
              </a:defRPr>
            </a:lvl5pPr>
            <a:lvl6pPr marL="2286000" indent="0" algn="l">
              <a:buNone/>
              <a:defRPr>
                <a:solidFill>
                  <a:srgbClr val="5E5E5E"/>
                </a:solidFill>
              </a:defRPr>
            </a:lvl6pPr>
            <a:lvl7pPr marL="2743200" indent="0" algn="l">
              <a:buNone/>
              <a:defRPr>
                <a:solidFill>
                  <a:srgbClr val="5E5E5E"/>
                </a:solidFill>
              </a:defRPr>
            </a:lvl7pPr>
            <a:lvl8pPr marL="3200400" indent="0" algn="l">
              <a:buNone/>
              <a:defRPr>
                <a:solidFill>
                  <a:srgbClr val="5E5E5E"/>
                </a:solidFill>
              </a:defRPr>
            </a:lvl8pPr>
            <a:lvl9pPr marL="3657600" indent="0" algn="l">
              <a:buNone/>
              <a:defRPr>
                <a:solidFill>
                  <a:srgbClr val="5E5E5E"/>
                </a:solidFill>
              </a:defRPr>
            </a:lvl9pPr>
          </a:lstStyle>
          <a:p>
            <a:r>
              <a:rPr lang="de-DE" dirty="0"/>
              <a:t>Formatvorlage des Untertitelmasters durch Klicken bearbeiten</a:t>
            </a:r>
          </a:p>
        </p:txBody>
      </p:sp>
      <p:pic>
        <p:nvPicPr>
          <p:cNvPr id="7" name="Grafik 6" descr="Uniper_Logo_Office_CO_PPT_large.png"/>
          <p:cNvPicPr>
            <a:picLocks noChangeAspect="1"/>
          </p:cNvPicPr>
          <p:nvPr/>
        </p:nvPicPr>
        <p:blipFill>
          <a:blip r:embed="rId2" cstate="print"/>
          <a:stretch>
            <a:fillRect/>
          </a:stretch>
        </p:blipFill>
        <p:spPr>
          <a:xfrm>
            <a:off x="504000" y="410400"/>
            <a:ext cx="2721600" cy="2355289"/>
          </a:xfrm>
          <a:prstGeom prst="rect">
            <a:avLst/>
          </a:prstGeom>
        </p:spPr>
      </p:pic>
    </p:spTree>
    <p:extLst>
      <p:ext uri="{BB962C8B-B14F-4D97-AF65-F5344CB8AC3E}">
        <p14:creationId xmlns:p14="http://schemas.microsoft.com/office/powerpoint/2010/main" val="25598004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elfolie, Blue-World-Motiv">
    <p:spTree>
      <p:nvGrpSpPr>
        <p:cNvPr id="1" name=""/>
        <p:cNvGrpSpPr/>
        <p:nvPr/>
      </p:nvGrpSpPr>
      <p:grpSpPr>
        <a:xfrm>
          <a:off x="0" y="0"/>
          <a:ext cx="0" cy="0"/>
          <a:chOff x="0" y="0"/>
          <a:chExt cx="0" cy="0"/>
        </a:xfrm>
      </p:grpSpPr>
      <p:pic>
        <p:nvPicPr>
          <p:cNvPr id="8" name="Blue_World_Plume" descr="Uniper_Blue-World_05_Plume.jpg"/>
          <p:cNvPicPr>
            <a:picLocks noChangeAspect="1"/>
          </p:cNvPicPr>
          <p:nvPr userDrawn="1"/>
        </p:nvPicPr>
        <p:blipFill>
          <a:blip r:embed="rId2" cstate="print"/>
          <a:srcRect r="5739"/>
          <a:stretch>
            <a:fillRect/>
          </a:stretch>
        </p:blipFill>
        <p:spPr>
          <a:xfrm>
            <a:off x="0" y="-1"/>
            <a:ext cx="9148800" cy="6861600"/>
          </a:xfrm>
          <a:prstGeom prst="rect">
            <a:avLst/>
          </a:prstGeom>
        </p:spPr>
      </p:pic>
      <p:sp>
        <p:nvSpPr>
          <p:cNvPr id="2" name="Titel 1"/>
          <p:cNvSpPr>
            <a:spLocks noGrp="1"/>
          </p:cNvSpPr>
          <p:nvPr>
            <p:ph type="ctrTitle"/>
          </p:nvPr>
        </p:nvSpPr>
        <p:spPr>
          <a:xfrm>
            <a:off x="900000" y="4201200"/>
            <a:ext cx="7344000" cy="1569600"/>
          </a:xfrm>
        </p:spPr>
        <p:txBody>
          <a:bodyPr anchor="b" anchorCtr="0">
            <a:noAutofit/>
          </a:bodyPr>
          <a:lstStyle>
            <a:lvl1pPr>
              <a:defRPr sz="3400">
                <a:solidFill>
                  <a:srgbClr val="FFEA00"/>
                </a:solidFill>
              </a:defRPr>
            </a:lvl1pPr>
          </a:lstStyle>
          <a:p>
            <a:r>
              <a:rPr lang="de-DE" dirty="0"/>
              <a:t>Titelmasterformat durch Klicken bearbeiten</a:t>
            </a:r>
          </a:p>
        </p:txBody>
      </p:sp>
      <p:sp>
        <p:nvSpPr>
          <p:cNvPr id="3" name="Untertitel 2"/>
          <p:cNvSpPr>
            <a:spLocks noGrp="1"/>
          </p:cNvSpPr>
          <p:nvPr>
            <p:ph type="subTitle" idx="1"/>
          </p:nvPr>
        </p:nvSpPr>
        <p:spPr>
          <a:xfrm>
            <a:off x="900000" y="5878800"/>
            <a:ext cx="7344000" cy="288000"/>
          </a:xfrm>
        </p:spPr>
        <p:txBody>
          <a:bodyPr/>
          <a:lstStyle>
            <a:lvl1pPr marL="0" indent="0" algn="l">
              <a:spcAft>
                <a:spcPts val="0"/>
              </a:spcAft>
              <a:buNone/>
              <a:defRPr>
                <a:solidFill>
                  <a:srgbClr val="FFFFFF"/>
                </a:solidFill>
              </a:defRPr>
            </a:lvl1pPr>
            <a:lvl2pPr marL="457200" indent="0" algn="l">
              <a:buNone/>
              <a:defRPr>
                <a:solidFill>
                  <a:srgbClr val="FFFFFF"/>
                </a:solidFill>
              </a:defRPr>
            </a:lvl2pPr>
            <a:lvl3pPr marL="914400" indent="0" algn="l">
              <a:buNone/>
              <a:defRPr>
                <a:solidFill>
                  <a:srgbClr val="FFFFFF"/>
                </a:solidFill>
              </a:defRPr>
            </a:lvl3pPr>
            <a:lvl4pPr marL="1371600" indent="0" algn="l">
              <a:buNone/>
              <a:defRPr>
                <a:solidFill>
                  <a:srgbClr val="FFFFFF"/>
                </a:solidFill>
              </a:defRPr>
            </a:lvl4pPr>
            <a:lvl5pPr marL="1828800" indent="0" algn="l">
              <a:buNone/>
              <a:defRPr>
                <a:solidFill>
                  <a:srgbClr val="FFFFFF"/>
                </a:solidFill>
              </a:defRPr>
            </a:lvl5pPr>
            <a:lvl6pPr marL="2286000" indent="0" algn="l">
              <a:buNone/>
              <a:defRPr>
                <a:solidFill>
                  <a:srgbClr val="FFFFFF"/>
                </a:solidFill>
              </a:defRPr>
            </a:lvl6pPr>
            <a:lvl7pPr marL="2743200" indent="0" algn="l">
              <a:buNone/>
              <a:defRPr>
                <a:solidFill>
                  <a:srgbClr val="FFFFFF"/>
                </a:solidFill>
              </a:defRPr>
            </a:lvl7pPr>
            <a:lvl8pPr marL="3200400" indent="0" algn="l">
              <a:buNone/>
              <a:defRPr>
                <a:solidFill>
                  <a:srgbClr val="FFFFFF"/>
                </a:solidFill>
              </a:defRPr>
            </a:lvl8pPr>
            <a:lvl9pPr marL="3657600" indent="0" algn="l">
              <a:buNone/>
              <a:defRPr>
                <a:solidFill>
                  <a:srgbClr val="FFFFFF"/>
                </a:solidFill>
              </a:defRPr>
            </a:lvl9pPr>
          </a:lstStyle>
          <a:p>
            <a:r>
              <a:rPr lang="de-DE" dirty="0"/>
              <a:t>Formatvorlage des Untertitelmasters durch Klicken bearbeiten</a:t>
            </a:r>
          </a:p>
        </p:txBody>
      </p:sp>
      <p:pic>
        <p:nvPicPr>
          <p:cNvPr id="6" name="Grafik 5" descr="Uniper_Logo_Office_White_PPT_large.png"/>
          <p:cNvPicPr>
            <a:picLocks noChangeAspect="1"/>
          </p:cNvPicPr>
          <p:nvPr/>
        </p:nvPicPr>
        <p:blipFill>
          <a:blip r:embed="rId3" cstate="print"/>
          <a:stretch>
            <a:fillRect/>
          </a:stretch>
        </p:blipFill>
        <p:spPr>
          <a:xfrm>
            <a:off x="504000" y="410400"/>
            <a:ext cx="2721600" cy="2355289"/>
          </a:xfrm>
          <a:prstGeom prst="rect">
            <a:avLst/>
          </a:prstGeom>
        </p:spPr>
      </p:pic>
    </p:spTree>
    <p:extLst>
      <p:ext uri="{BB962C8B-B14F-4D97-AF65-F5344CB8AC3E}">
        <p14:creationId xmlns:p14="http://schemas.microsoft.com/office/powerpoint/2010/main" val="27632801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1_Titelfolie, Blue-World-Motiv">
    <p:spTree>
      <p:nvGrpSpPr>
        <p:cNvPr id="1" name=""/>
        <p:cNvGrpSpPr/>
        <p:nvPr/>
      </p:nvGrpSpPr>
      <p:grpSpPr>
        <a:xfrm>
          <a:off x="0" y="0"/>
          <a:ext cx="0" cy="0"/>
          <a:chOff x="0" y="0"/>
          <a:chExt cx="0" cy="0"/>
        </a:xfrm>
      </p:grpSpPr>
      <p:pic>
        <p:nvPicPr>
          <p:cNvPr id="4" name="Picture 2" descr="I:\02_Brand\Corporate Design\Blue World Motive\mde_Uniper_Blue-World_08_Haze_srgb.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968" r="6147" b="-1"/>
          <a:stretch/>
        </p:blipFill>
        <p:spPr bwMode="auto">
          <a:xfrm>
            <a:off x="1" y="-66675"/>
            <a:ext cx="9144000" cy="6954075"/>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descr="Uniper_Logo_Office_White_PPT_large.png"/>
          <p:cNvPicPr>
            <a:picLocks noChangeAspect="1"/>
          </p:cNvPicPr>
          <p:nvPr/>
        </p:nvPicPr>
        <p:blipFill>
          <a:blip r:embed="rId3" cstate="print"/>
          <a:stretch>
            <a:fillRect/>
          </a:stretch>
        </p:blipFill>
        <p:spPr>
          <a:xfrm>
            <a:off x="504000" y="410400"/>
            <a:ext cx="2721600" cy="2355289"/>
          </a:xfrm>
          <a:prstGeom prst="rect">
            <a:avLst/>
          </a:prstGeom>
        </p:spPr>
      </p:pic>
      <p:sp>
        <p:nvSpPr>
          <p:cNvPr id="2" name="Titel 1"/>
          <p:cNvSpPr>
            <a:spLocks noGrp="1"/>
          </p:cNvSpPr>
          <p:nvPr>
            <p:ph type="ctrTitle"/>
          </p:nvPr>
        </p:nvSpPr>
        <p:spPr>
          <a:xfrm>
            <a:off x="900000" y="4201200"/>
            <a:ext cx="7344000" cy="1569600"/>
          </a:xfrm>
        </p:spPr>
        <p:txBody>
          <a:bodyPr anchor="b" anchorCtr="0">
            <a:noAutofit/>
          </a:bodyPr>
          <a:lstStyle>
            <a:lvl1pPr>
              <a:defRPr sz="3400">
                <a:solidFill>
                  <a:srgbClr val="FFEA00"/>
                </a:solidFill>
              </a:defRPr>
            </a:lvl1pPr>
          </a:lstStyle>
          <a:p>
            <a:r>
              <a:rPr lang="de-DE" dirty="0"/>
              <a:t>Titelmasterformat durch Klicken bearbeiten</a:t>
            </a:r>
          </a:p>
        </p:txBody>
      </p:sp>
      <p:sp>
        <p:nvSpPr>
          <p:cNvPr id="3" name="Untertitel 2"/>
          <p:cNvSpPr>
            <a:spLocks noGrp="1"/>
          </p:cNvSpPr>
          <p:nvPr>
            <p:ph type="subTitle" idx="1"/>
          </p:nvPr>
        </p:nvSpPr>
        <p:spPr>
          <a:xfrm>
            <a:off x="900000" y="5878800"/>
            <a:ext cx="7344000" cy="288000"/>
          </a:xfrm>
        </p:spPr>
        <p:txBody>
          <a:bodyPr/>
          <a:lstStyle>
            <a:lvl1pPr marL="0" indent="0" algn="l">
              <a:spcAft>
                <a:spcPts val="0"/>
              </a:spcAft>
              <a:buNone/>
              <a:defRPr>
                <a:solidFill>
                  <a:srgbClr val="FFFFFF"/>
                </a:solidFill>
              </a:defRPr>
            </a:lvl1pPr>
            <a:lvl2pPr marL="457200" indent="0" algn="l">
              <a:buNone/>
              <a:defRPr>
                <a:solidFill>
                  <a:srgbClr val="FFFFFF"/>
                </a:solidFill>
              </a:defRPr>
            </a:lvl2pPr>
            <a:lvl3pPr marL="914400" indent="0" algn="l">
              <a:buNone/>
              <a:defRPr>
                <a:solidFill>
                  <a:srgbClr val="FFFFFF"/>
                </a:solidFill>
              </a:defRPr>
            </a:lvl3pPr>
            <a:lvl4pPr marL="1371600" indent="0" algn="l">
              <a:buNone/>
              <a:defRPr>
                <a:solidFill>
                  <a:srgbClr val="FFFFFF"/>
                </a:solidFill>
              </a:defRPr>
            </a:lvl4pPr>
            <a:lvl5pPr marL="1828800" indent="0" algn="l">
              <a:buNone/>
              <a:defRPr>
                <a:solidFill>
                  <a:srgbClr val="FFFFFF"/>
                </a:solidFill>
              </a:defRPr>
            </a:lvl5pPr>
            <a:lvl6pPr marL="2286000" indent="0" algn="l">
              <a:buNone/>
              <a:defRPr>
                <a:solidFill>
                  <a:srgbClr val="FFFFFF"/>
                </a:solidFill>
              </a:defRPr>
            </a:lvl6pPr>
            <a:lvl7pPr marL="2743200" indent="0" algn="l">
              <a:buNone/>
              <a:defRPr>
                <a:solidFill>
                  <a:srgbClr val="FFFFFF"/>
                </a:solidFill>
              </a:defRPr>
            </a:lvl7pPr>
            <a:lvl8pPr marL="3200400" indent="0" algn="l">
              <a:buNone/>
              <a:defRPr>
                <a:solidFill>
                  <a:srgbClr val="FFFFFF"/>
                </a:solidFill>
              </a:defRPr>
            </a:lvl8pPr>
            <a:lvl9pPr marL="3657600" indent="0" algn="l">
              <a:buNone/>
              <a:defRPr>
                <a:solidFill>
                  <a:srgbClr val="FFFFFF"/>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584019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smtClean="0"/>
              <a:pPr/>
              <a:t>‹#›</a:t>
            </a:fld>
            <a:endParaRPr lang="de-DE"/>
          </a:p>
        </p:txBody>
      </p:sp>
    </p:spTree>
    <p:extLst>
      <p:ext uri="{BB962C8B-B14F-4D97-AF65-F5344CB8AC3E}">
        <p14:creationId xmlns:p14="http://schemas.microsoft.com/office/powerpoint/2010/main" val="1988540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504000" y="1328399"/>
            <a:ext cx="3888000" cy="4546800"/>
          </a:xfrm>
        </p:spPr>
        <p:txBody>
          <a:bodyPr>
            <a:noAutofit/>
          </a:bodyPr>
          <a:lstStyle>
            <a:lvl1pPr>
              <a:defRPr sz="1800"/>
            </a:lvl1pPr>
            <a:lvl2pPr>
              <a:defRPr sz="1800"/>
            </a:lvl2pPr>
            <a:lvl3pPr>
              <a:defRPr sz="1800"/>
            </a:lvl3pPr>
            <a:lvl4pPr>
              <a:defRPr sz="1800"/>
            </a:lvl4pPr>
            <a:lvl5pPr>
              <a:defRPr sz="1800"/>
            </a:lvl5pPr>
            <a:lvl6pPr>
              <a:buFont typeface="Wingdings" pitchFamily="2" charset="2"/>
              <a:buChar cha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4752000" y="1328399"/>
            <a:ext cx="3888000" cy="45468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smtClean="0"/>
              <a:pPr/>
              <a:t>‹#›</a:t>
            </a:fld>
            <a:endParaRPr lang="de-DE"/>
          </a:p>
        </p:txBody>
      </p:sp>
    </p:spTree>
    <p:extLst>
      <p:ext uri="{BB962C8B-B14F-4D97-AF65-F5344CB8AC3E}">
        <p14:creationId xmlns:p14="http://schemas.microsoft.com/office/powerpoint/2010/main" val="2457687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504000" y="1328399"/>
            <a:ext cx="2592000" cy="4546800"/>
          </a:xfrm>
        </p:spPr>
        <p:txBody>
          <a:bodyPr>
            <a:noAutofit/>
          </a:bodyPr>
          <a:lstStyle>
            <a:lvl1pPr>
              <a:defRPr sz="1800"/>
            </a:lvl1pPr>
            <a:lvl2pPr>
              <a:defRPr sz="1800"/>
            </a:lvl2pPr>
            <a:lvl3pPr>
              <a:defRPr sz="1800"/>
            </a:lvl3pPr>
            <a:lvl4pPr>
              <a:defRPr sz="1800"/>
            </a:lvl4pPr>
            <a:lvl5pPr>
              <a:defRPr sz="1800"/>
            </a:lvl5pPr>
            <a:lvl6pPr>
              <a:buFont typeface="Wingdings" pitchFamily="2" charset="2"/>
              <a:buChar cha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3276000" y="1328399"/>
            <a:ext cx="2592000" cy="45468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smtClean="0"/>
              <a:pPr/>
              <a:t>‹#›</a:t>
            </a:fld>
            <a:endParaRPr lang="de-DE"/>
          </a:p>
        </p:txBody>
      </p:sp>
      <p:sp>
        <p:nvSpPr>
          <p:cNvPr id="8" name="Inhaltsplatzhalter 3"/>
          <p:cNvSpPr>
            <a:spLocks noGrp="1"/>
          </p:cNvSpPr>
          <p:nvPr>
            <p:ph sz="half" idx="13"/>
          </p:nvPr>
        </p:nvSpPr>
        <p:spPr>
          <a:xfrm>
            <a:off x="6048000" y="1328400"/>
            <a:ext cx="2592000" cy="45468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259850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504000" y="1328400"/>
            <a:ext cx="3888000" cy="288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masterformate durch Klicken bearbeiten</a:t>
            </a:r>
          </a:p>
        </p:txBody>
      </p:sp>
      <p:sp>
        <p:nvSpPr>
          <p:cNvPr id="4" name="Inhaltsplatzhalter 3"/>
          <p:cNvSpPr>
            <a:spLocks noGrp="1"/>
          </p:cNvSpPr>
          <p:nvPr>
            <p:ph sz="half" idx="2"/>
          </p:nvPr>
        </p:nvSpPr>
        <p:spPr>
          <a:xfrm>
            <a:off x="504000" y="1602000"/>
            <a:ext cx="3888000" cy="42732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4"/>
          <p:cNvSpPr>
            <a:spLocks noGrp="1"/>
          </p:cNvSpPr>
          <p:nvPr>
            <p:ph type="body" sz="quarter" idx="3"/>
          </p:nvPr>
        </p:nvSpPr>
        <p:spPr>
          <a:xfrm>
            <a:off x="4752000" y="1328400"/>
            <a:ext cx="3888000" cy="288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masterformate durch Klicken bearbeiten</a:t>
            </a:r>
          </a:p>
        </p:txBody>
      </p:sp>
      <p:sp>
        <p:nvSpPr>
          <p:cNvPr id="6" name="Inhaltsplatzhalter 5"/>
          <p:cNvSpPr>
            <a:spLocks noGrp="1"/>
          </p:cNvSpPr>
          <p:nvPr>
            <p:ph sz="quarter" idx="4"/>
          </p:nvPr>
        </p:nvSpPr>
        <p:spPr>
          <a:xfrm>
            <a:off x="4752000" y="1602000"/>
            <a:ext cx="3888000" cy="42732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9D543ADB-E95E-4587-963D-D3C6AB2E96C0}" type="slidenum">
              <a:rPr lang="de-DE" smtClean="0"/>
              <a:pPr/>
              <a:t>‹#›</a:t>
            </a:fld>
            <a:endParaRPr lang="de-DE"/>
          </a:p>
        </p:txBody>
      </p:sp>
    </p:spTree>
    <p:extLst>
      <p:ext uri="{BB962C8B-B14F-4D97-AF65-F5344CB8AC3E}">
        <p14:creationId xmlns:p14="http://schemas.microsoft.com/office/powerpoint/2010/main" val="32119839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9D543ADB-E95E-4587-963D-D3C6AB2E96C0}" type="slidenum">
              <a:rPr lang="de-DE" smtClean="0"/>
              <a:pPr/>
              <a:t>‹#›</a:t>
            </a:fld>
            <a:endParaRPr lang="de-DE"/>
          </a:p>
        </p:txBody>
      </p:sp>
    </p:spTree>
    <p:extLst>
      <p:ext uri="{BB962C8B-B14F-4D97-AF65-F5344CB8AC3E}">
        <p14:creationId xmlns:p14="http://schemas.microsoft.com/office/powerpoint/2010/main" val="38053449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9D543ADB-E95E-4587-963D-D3C6AB2E96C0}" type="slidenum">
              <a:rPr lang="de-DE" smtClean="0"/>
              <a:pPr/>
              <a:t>‹#›</a:t>
            </a:fld>
            <a:endParaRPr lang="de-DE"/>
          </a:p>
        </p:txBody>
      </p:sp>
    </p:spTree>
    <p:extLst>
      <p:ext uri="{BB962C8B-B14F-4D97-AF65-F5344CB8AC3E}">
        <p14:creationId xmlns:p14="http://schemas.microsoft.com/office/powerpoint/2010/main" val="1322072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Blue-World-Motiv">
    <p:spTree>
      <p:nvGrpSpPr>
        <p:cNvPr id="1" name=""/>
        <p:cNvGrpSpPr/>
        <p:nvPr/>
      </p:nvGrpSpPr>
      <p:grpSpPr>
        <a:xfrm>
          <a:off x="0" y="0"/>
          <a:ext cx="0" cy="0"/>
          <a:chOff x="0" y="0"/>
          <a:chExt cx="0" cy="0"/>
        </a:xfrm>
      </p:grpSpPr>
      <p:pic>
        <p:nvPicPr>
          <p:cNvPr id="8" name="Blue_World_Plume" descr="Uniper_Blue-World_05_Plume.jpg"/>
          <p:cNvPicPr>
            <a:picLocks noChangeAspect="1"/>
          </p:cNvPicPr>
          <p:nvPr userDrawn="1"/>
        </p:nvPicPr>
        <p:blipFill>
          <a:blip r:embed="rId2" cstate="print"/>
          <a:srcRect r="5739"/>
          <a:stretch>
            <a:fillRect/>
          </a:stretch>
        </p:blipFill>
        <p:spPr>
          <a:xfrm>
            <a:off x="0" y="-1"/>
            <a:ext cx="9148800" cy="6861600"/>
          </a:xfrm>
          <a:prstGeom prst="rect">
            <a:avLst/>
          </a:prstGeom>
        </p:spPr>
      </p:pic>
      <p:sp>
        <p:nvSpPr>
          <p:cNvPr id="2" name="Titel 1"/>
          <p:cNvSpPr>
            <a:spLocks noGrp="1"/>
          </p:cNvSpPr>
          <p:nvPr>
            <p:ph type="ctrTitle"/>
          </p:nvPr>
        </p:nvSpPr>
        <p:spPr>
          <a:xfrm>
            <a:off x="900000" y="4201200"/>
            <a:ext cx="7344000" cy="1569600"/>
          </a:xfrm>
        </p:spPr>
        <p:txBody>
          <a:bodyPr anchor="b" anchorCtr="0">
            <a:noAutofit/>
          </a:bodyPr>
          <a:lstStyle>
            <a:lvl1pPr>
              <a:defRPr sz="3400">
                <a:solidFill>
                  <a:srgbClr val="FFEA00"/>
                </a:solidFill>
              </a:defRPr>
            </a:lvl1pPr>
          </a:lstStyle>
          <a:p>
            <a:r>
              <a:rPr lang="en-US"/>
              <a:t>Click to edit Master title style</a:t>
            </a:r>
            <a:endParaRPr lang="de-DE" dirty="0"/>
          </a:p>
        </p:txBody>
      </p:sp>
      <p:sp>
        <p:nvSpPr>
          <p:cNvPr id="3" name="Untertitel 2"/>
          <p:cNvSpPr>
            <a:spLocks noGrp="1"/>
          </p:cNvSpPr>
          <p:nvPr>
            <p:ph type="subTitle" idx="1"/>
          </p:nvPr>
        </p:nvSpPr>
        <p:spPr>
          <a:xfrm>
            <a:off x="900000" y="5878800"/>
            <a:ext cx="7344000" cy="288000"/>
          </a:xfrm>
        </p:spPr>
        <p:txBody>
          <a:bodyPr/>
          <a:lstStyle>
            <a:lvl1pPr marL="0" indent="0" algn="l">
              <a:spcAft>
                <a:spcPts val="0"/>
              </a:spcAft>
              <a:buNone/>
              <a:defRPr>
                <a:solidFill>
                  <a:srgbClr val="FFFFFF"/>
                </a:solidFill>
              </a:defRPr>
            </a:lvl1pPr>
            <a:lvl2pPr marL="457200" indent="0" algn="l">
              <a:buNone/>
              <a:defRPr>
                <a:solidFill>
                  <a:srgbClr val="FFFFFF"/>
                </a:solidFill>
              </a:defRPr>
            </a:lvl2pPr>
            <a:lvl3pPr marL="914400" indent="0" algn="l">
              <a:buNone/>
              <a:defRPr>
                <a:solidFill>
                  <a:srgbClr val="FFFFFF"/>
                </a:solidFill>
              </a:defRPr>
            </a:lvl3pPr>
            <a:lvl4pPr marL="1371600" indent="0" algn="l">
              <a:buNone/>
              <a:defRPr>
                <a:solidFill>
                  <a:srgbClr val="FFFFFF"/>
                </a:solidFill>
              </a:defRPr>
            </a:lvl4pPr>
            <a:lvl5pPr marL="1828800" indent="0" algn="l">
              <a:buNone/>
              <a:defRPr>
                <a:solidFill>
                  <a:srgbClr val="FFFFFF"/>
                </a:solidFill>
              </a:defRPr>
            </a:lvl5pPr>
            <a:lvl6pPr marL="2286000" indent="0" algn="l">
              <a:buNone/>
              <a:defRPr>
                <a:solidFill>
                  <a:srgbClr val="FFFFFF"/>
                </a:solidFill>
              </a:defRPr>
            </a:lvl6pPr>
            <a:lvl7pPr marL="2743200" indent="0" algn="l">
              <a:buNone/>
              <a:defRPr>
                <a:solidFill>
                  <a:srgbClr val="FFFFFF"/>
                </a:solidFill>
              </a:defRPr>
            </a:lvl7pPr>
            <a:lvl8pPr marL="3200400" indent="0" algn="l">
              <a:buNone/>
              <a:defRPr>
                <a:solidFill>
                  <a:srgbClr val="FFFFFF"/>
                </a:solidFill>
              </a:defRPr>
            </a:lvl8pPr>
            <a:lvl9pPr marL="3657600" indent="0" algn="l">
              <a:buNone/>
              <a:defRPr>
                <a:solidFill>
                  <a:srgbClr val="FFFFFF"/>
                </a:solidFill>
              </a:defRPr>
            </a:lvl9pPr>
          </a:lstStyle>
          <a:p>
            <a:r>
              <a:rPr lang="en-US"/>
              <a:t>Click to edit Master subtitle style</a:t>
            </a:r>
            <a:endParaRPr lang="de-DE" dirty="0"/>
          </a:p>
        </p:txBody>
      </p:sp>
      <p:pic>
        <p:nvPicPr>
          <p:cNvPr id="6" name="Grafik 5" descr="Uniper_Logo_Office_White_PPT_large.png"/>
          <p:cNvPicPr>
            <a:picLocks noChangeAspect="1"/>
          </p:cNvPicPr>
          <p:nvPr/>
        </p:nvPicPr>
        <p:blipFill>
          <a:blip r:embed="rId3" cstate="print"/>
          <a:stretch>
            <a:fillRect/>
          </a:stretch>
        </p:blipFill>
        <p:spPr>
          <a:xfrm>
            <a:off x="504000" y="410400"/>
            <a:ext cx="2721600" cy="2355289"/>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sz="half" idx="1"/>
          </p:nvPr>
        </p:nvSpPr>
        <p:spPr>
          <a:xfrm>
            <a:off x="504000" y="1328399"/>
            <a:ext cx="3888000" cy="4546800"/>
          </a:xfrm>
        </p:spPr>
        <p:txBody>
          <a:bodyPr>
            <a:noAutofit/>
          </a:bodyPr>
          <a:lstStyle>
            <a:lvl1pPr>
              <a:defRPr sz="1800"/>
            </a:lvl1pPr>
            <a:lvl2pPr>
              <a:defRPr sz="1800"/>
            </a:lvl2pPr>
            <a:lvl3pPr>
              <a:defRPr sz="1800"/>
            </a:lvl3pPr>
            <a:lvl4pPr>
              <a:defRPr sz="1800"/>
            </a:lvl4pPr>
            <a:lvl5pPr>
              <a:defRPr sz="1800"/>
            </a:lvl5pPr>
            <a:lvl6pPr>
              <a:buFont typeface="Wingdings" pitchFamily="2" charset="2"/>
              <a:buChar cha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a:xfrm>
            <a:off x="4752000" y="1328399"/>
            <a:ext cx="3888000" cy="45468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r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Inhaltsplatzhalter 2"/>
          <p:cNvSpPr>
            <a:spLocks noGrp="1"/>
          </p:cNvSpPr>
          <p:nvPr>
            <p:ph sz="half" idx="1"/>
          </p:nvPr>
        </p:nvSpPr>
        <p:spPr>
          <a:xfrm>
            <a:off x="504000" y="1328399"/>
            <a:ext cx="2592000" cy="4546800"/>
          </a:xfrm>
        </p:spPr>
        <p:txBody>
          <a:bodyPr>
            <a:noAutofit/>
          </a:bodyPr>
          <a:lstStyle>
            <a:lvl1pPr>
              <a:defRPr sz="1800"/>
            </a:lvl1pPr>
            <a:lvl2pPr>
              <a:defRPr sz="1800"/>
            </a:lvl2pPr>
            <a:lvl3pPr>
              <a:defRPr sz="1800"/>
            </a:lvl3pPr>
            <a:lvl4pPr>
              <a:defRPr sz="1800"/>
            </a:lvl4pPr>
            <a:lvl5pPr>
              <a:defRPr sz="1800"/>
            </a:lvl5pPr>
            <a:lvl6pPr>
              <a:buFont typeface="Wingdings" pitchFamily="2" charset="2"/>
              <a:buChar cha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a:xfrm>
            <a:off x="3276000" y="1328399"/>
            <a:ext cx="2592000" cy="45468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D543ADB-E95E-4587-963D-D3C6AB2E96C0}" type="slidenum">
              <a:rPr lang="de-DE" smtClean="0"/>
              <a:pPr/>
              <a:t>‹#›</a:t>
            </a:fld>
            <a:endParaRPr lang="de-DE"/>
          </a:p>
        </p:txBody>
      </p:sp>
      <p:sp>
        <p:nvSpPr>
          <p:cNvPr id="8" name="Inhaltsplatzhalter 3"/>
          <p:cNvSpPr>
            <a:spLocks noGrp="1"/>
          </p:cNvSpPr>
          <p:nvPr>
            <p:ph sz="half" idx="13"/>
          </p:nvPr>
        </p:nvSpPr>
        <p:spPr>
          <a:xfrm>
            <a:off x="6048000" y="1328400"/>
            <a:ext cx="2592000" cy="45468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de-DE"/>
          </a:p>
        </p:txBody>
      </p:sp>
      <p:sp>
        <p:nvSpPr>
          <p:cNvPr id="3" name="Textplatzhalter 2"/>
          <p:cNvSpPr>
            <a:spLocks noGrp="1"/>
          </p:cNvSpPr>
          <p:nvPr>
            <p:ph type="body" idx="1"/>
          </p:nvPr>
        </p:nvSpPr>
        <p:spPr>
          <a:xfrm>
            <a:off x="504000" y="1328400"/>
            <a:ext cx="3888000" cy="288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Inhaltsplatzhalter 3"/>
          <p:cNvSpPr>
            <a:spLocks noGrp="1"/>
          </p:cNvSpPr>
          <p:nvPr>
            <p:ph sz="half" idx="2"/>
          </p:nvPr>
        </p:nvSpPr>
        <p:spPr>
          <a:xfrm>
            <a:off x="504000" y="1602000"/>
            <a:ext cx="3888000" cy="42732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extplatzhalter 4"/>
          <p:cNvSpPr>
            <a:spLocks noGrp="1"/>
          </p:cNvSpPr>
          <p:nvPr>
            <p:ph type="body" sz="quarter" idx="3"/>
          </p:nvPr>
        </p:nvSpPr>
        <p:spPr>
          <a:xfrm>
            <a:off x="4752000" y="1328400"/>
            <a:ext cx="3888000" cy="288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Inhaltsplatzhalter 5"/>
          <p:cNvSpPr>
            <a:spLocks noGrp="1"/>
          </p:cNvSpPr>
          <p:nvPr>
            <p:ph sz="quarter" idx="4"/>
          </p:nvPr>
        </p:nvSpPr>
        <p:spPr>
          <a:xfrm>
            <a:off x="4752000" y="1602000"/>
            <a:ext cx="3888000" cy="427320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9D543ADB-E95E-4587-963D-D3C6AB2E96C0}" type="slidenum">
              <a:rPr lang="de-DE" smtClean="0"/>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5" name="think-cell Slide" r:id="rId4" imgW="216" imgH="216" progId="TCLayout.ActiveDocument.1">
                  <p:embed/>
                </p:oleObj>
              </mc:Choice>
              <mc:Fallback>
                <p:oleObj name="think-cell Slide" r:id="rId4" imgW="216" imgH="216" progId="TCLayout.ActiveDocument.1">
                  <p:embed/>
                  <p:pic>
                    <p:nvPicPr>
                      <p:cNvPr id="8" name="Objek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D543ADB-E95E-4587-963D-D3C6AB2E96C0}" type="slidenum">
              <a:rPr lang="de-DE" smtClean="0"/>
              <a:pPr/>
              <a:t>‹#›</a:t>
            </a:fld>
            <a:endParaRPr lang="de-DE"/>
          </a:p>
        </p:txBody>
      </p:sp>
      <p:sp>
        <p:nvSpPr>
          <p:cNvPr id="4" name="Content Placeholder 3"/>
          <p:cNvSpPr>
            <a:spLocks noGrp="1"/>
          </p:cNvSpPr>
          <p:nvPr>
            <p:ph sz="quarter" idx="13"/>
          </p:nvPr>
        </p:nvSpPr>
        <p:spPr>
          <a:xfrm>
            <a:off x="647917" y="1988736"/>
            <a:ext cx="1639692" cy="139481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487739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04000" y="306000"/>
            <a:ext cx="8136000" cy="900000"/>
          </a:xfrm>
          <a:prstGeom prst="rect">
            <a:avLst/>
          </a:prstGeom>
        </p:spPr>
        <p:txBody>
          <a:bodyPr vert="horz" lIns="0" tIns="0" rIns="0" bIns="0" rtlCol="0" anchor="t" anchorCtr="0">
            <a:noAutofit/>
          </a:bodyPr>
          <a:lstStyle/>
          <a:p>
            <a:r>
              <a:rPr lang="de-DE" dirty="0"/>
              <a:t>Titelmasterformat durch Klicken bearbeiten</a:t>
            </a:r>
          </a:p>
        </p:txBody>
      </p:sp>
      <p:sp>
        <p:nvSpPr>
          <p:cNvPr id="3" name="Textplatzhalter 2"/>
          <p:cNvSpPr>
            <a:spLocks noGrp="1"/>
          </p:cNvSpPr>
          <p:nvPr>
            <p:ph type="body" idx="1"/>
          </p:nvPr>
        </p:nvSpPr>
        <p:spPr>
          <a:xfrm>
            <a:off x="504000" y="1328399"/>
            <a:ext cx="8136000" cy="4546800"/>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a:p>
            <a:pPr lvl="4"/>
            <a:endParaRPr lang="de-DE" dirty="0"/>
          </a:p>
        </p:txBody>
      </p:sp>
      <p:sp>
        <p:nvSpPr>
          <p:cNvPr id="5" name="Fußzeilenplatzhalter 4"/>
          <p:cNvSpPr>
            <a:spLocks noGrp="1"/>
          </p:cNvSpPr>
          <p:nvPr>
            <p:ph type="ftr" sz="quarter" idx="3"/>
          </p:nvPr>
        </p:nvSpPr>
        <p:spPr>
          <a:xfrm>
            <a:off x="1476000" y="6084000"/>
            <a:ext cx="6480000" cy="414000"/>
          </a:xfrm>
          <a:prstGeom prst="rect">
            <a:avLst/>
          </a:prstGeom>
        </p:spPr>
        <p:txBody>
          <a:bodyPr vert="horz" lIns="0" tIns="0" rIns="0" bIns="0" rtlCol="0" anchor="b" anchorCtr="0"/>
          <a:lstStyle>
            <a:lvl1pPr algn="l">
              <a:defRPr sz="800">
                <a:solidFill>
                  <a:srgbClr val="5E5E5E"/>
                </a:solidFill>
              </a:defRPr>
            </a:lvl1pPr>
            <a:lvl2pPr>
              <a:defRPr sz="900">
                <a:solidFill>
                  <a:srgbClr val="5E5E5E"/>
                </a:solidFill>
              </a:defRPr>
            </a:lvl2pPr>
            <a:lvl3pPr>
              <a:defRPr sz="900">
                <a:solidFill>
                  <a:srgbClr val="5E5E5E"/>
                </a:solidFill>
              </a:defRPr>
            </a:lvl3pPr>
            <a:lvl4pPr>
              <a:defRPr sz="900">
                <a:solidFill>
                  <a:srgbClr val="5E5E5E"/>
                </a:solidFill>
              </a:defRPr>
            </a:lvl4pPr>
            <a:lvl5pPr>
              <a:defRPr sz="900">
                <a:solidFill>
                  <a:srgbClr val="5E5E5E"/>
                </a:solidFill>
              </a:defRPr>
            </a:lvl5pPr>
            <a:lvl6pPr>
              <a:defRPr sz="900">
                <a:solidFill>
                  <a:srgbClr val="5E5E5E"/>
                </a:solidFill>
              </a:defRPr>
            </a:lvl6pPr>
            <a:lvl7pPr>
              <a:defRPr sz="900">
                <a:solidFill>
                  <a:srgbClr val="5E5E5E"/>
                </a:solidFill>
              </a:defRPr>
            </a:lvl7pPr>
            <a:lvl8pPr>
              <a:defRPr sz="900">
                <a:solidFill>
                  <a:srgbClr val="5E5E5E"/>
                </a:solidFill>
              </a:defRPr>
            </a:lvl8pPr>
            <a:lvl9pPr>
              <a:defRPr sz="900">
                <a:solidFill>
                  <a:srgbClr val="5E5E5E"/>
                </a:solidFill>
              </a:defRPr>
            </a:lvl9pPr>
          </a:lstStyle>
          <a:p>
            <a:endParaRPr lang="de-DE" dirty="0"/>
          </a:p>
        </p:txBody>
      </p:sp>
      <p:sp>
        <p:nvSpPr>
          <p:cNvPr id="6" name="Foliennummernplatzhalter 5"/>
          <p:cNvSpPr>
            <a:spLocks noGrp="1"/>
          </p:cNvSpPr>
          <p:nvPr>
            <p:ph type="sldNum" sz="quarter" idx="4"/>
          </p:nvPr>
        </p:nvSpPr>
        <p:spPr>
          <a:xfrm>
            <a:off x="8280000" y="6084000"/>
            <a:ext cx="360000" cy="414000"/>
          </a:xfrm>
          <a:prstGeom prst="rect">
            <a:avLst/>
          </a:prstGeom>
        </p:spPr>
        <p:txBody>
          <a:bodyPr vert="horz" lIns="0" tIns="0" rIns="0" bIns="0" rtlCol="0" anchor="b" anchorCtr="0"/>
          <a:lstStyle>
            <a:lvl1pPr algn="r">
              <a:defRPr sz="800">
                <a:solidFill>
                  <a:srgbClr val="0078DC"/>
                </a:solidFill>
              </a:defRPr>
            </a:lvl1pPr>
          </a:lstStyle>
          <a:p>
            <a:fld id="{9D543ADB-E95E-4587-963D-D3C6AB2E96C0}" type="slidenum">
              <a:rPr lang="de-DE" smtClean="0"/>
              <a:pPr/>
              <a:t>‹#›</a:t>
            </a:fld>
            <a:endParaRPr lang="de-DE" dirty="0"/>
          </a:p>
        </p:txBody>
      </p:sp>
      <p:pic>
        <p:nvPicPr>
          <p:cNvPr id="8" name="Grafik 7" descr="Uniper_Logo_Office_CO.png"/>
          <p:cNvPicPr>
            <a:picLocks noChangeAspect="1"/>
          </p:cNvPicPr>
          <p:nvPr/>
        </p:nvPicPr>
        <p:blipFill>
          <a:blip r:embed="rId11" cstate="print"/>
          <a:stretch>
            <a:fillRect/>
          </a:stretch>
        </p:blipFill>
        <p:spPr>
          <a:xfrm>
            <a:off x="504000" y="6037200"/>
            <a:ext cx="579600" cy="502407"/>
          </a:xfrm>
          <a:prstGeom prst="rect">
            <a:avLst/>
          </a:prstGeom>
        </p:spPr>
      </p:pic>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Lst>
  <p:hf hdr="0" ftr="0" dt="0"/>
  <p:txStyles>
    <p:titleStyle>
      <a:lvl1pPr algn="l" defTabSz="914400" rtl="0" eaLnBrk="1" latinLnBrk="0" hangingPunct="1">
        <a:spcBef>
          <a:spcPct val="0"/>
        </a:spcBef>
        <a:buNone/>
        <a:defRPr sz="2800" b="1" kern="1200">
          <a:solidFill>
            <a:srgbClr val="0078DC"/>
          </a:solidFill>
          <a:latin typeface="+mj-lt"/>
          <a:ea typeface="+mj-ea"/>
          <a:cs typeface="+mj-cs"/>
        </a:defRPr>
      </a:lvl1pPr>
    </p:titleStyle>
    <p:body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04000" y="306000"/>
            <a:ext cx="8136000" cy="900000"/>
          </a:xfrm>
          <a:prstGeom prst="rect">
            <a:avLst/>
          </a:prstGeom>
        </p:spPr>
        <p:txBody>
          <a:bodyPr vert="horz" lIns="0" tIns="0" rIns="0" bIns="0" rtlCol="0" anchor="t" anchorCtr="0">
            <a:noAutofit/>
          </a:bodyPr>
          <a:lstStyle/>
          <a:p>
            <a:r>
              <a:rPr lang="de-DE" dirty="0"/>
              <a:t>Titelmasterformat durch Klicken bearbeiten</a:t>
            </a:r>
          </a:p>
        </p:txBody>
      </p:sp>
      <p:sp>
        <p:nvSpPr>
          <p:cNvPr id="3" name="Textplatzhalter 2"/>
          <p:cNvSpPr>
            <a:spLocks noGrp="1"/>
          </p:cNvSpPr>
          <p:nvPr>
            <p:ph type="body" idx="1"/>
          </p:nvPr>
        </p:nvSpPr>
        <p:spPr>
          <a:xfrm>
            <a:off x="504000" y="1328399"/>
            <a:ext cx="8136000" cy="4546800"/>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endParaRPr lang="de-DE" dirty="0"/>
          </a:p>
          <a:p>
            <a:pPr lvl="4"/>
            <a:endParaRPr lang="de-DE" dirty="0"/>
          </a:p>
        </p:txBody>
      </p:sp>
      <p:sp>
        <p:nvSpPr>
          <p:cNvPr id="5" name="Fußzeilenplatzhalter 4"/>
          <p:cNvSpPr>
            <a:spLocks noGrp="1"/>
          </p:cNvSpPr>
          <p:nvPr>
            <p:ph type="ftr" sz="quarter" idx="3"/>
          </p:nvPr>
        </p:nvSpPr>
        <p:spPr>
          <a:xfrm>
            <a:off x="1476000" y="6084000"/>
            <a:ext cx="6480000" cy="414000"/>
          </a:xfrm>
          <a:prstGeom prst="rect">
            <a:avLst/>
          </a:prstGeom>
        </p:spPr>
        <p:txBody>
          <a:bodyPr vert="horz" lIns="0" tIns="0" rIns="0" bIns="0" rtlCol="0" anchor="b" anchorCtr="0"/>
          <a:lstStyle>
            <a:lvl1pPr algn="l">
              <a:defRPr sz="800">
                <a:solidFill>
                  <a:srgbClr val="5E5E5E"/>
                </a:solidFill>
              </a:defRPr>
            </a:lvl1pPr>
            <a:lvl2pPr>
              <a:defRPr sz="900">
                <a:solidFill>
                  <a:srgbClr val="5E5E5E"/>
                </a:solidFill>
              </a:defRPr>
            </a:lvl2pPr>
            <a:lvl3pPr>
              <a:defRPr sz="900">
                <a:solidFill>
                  <a:srgbClr val="5E5E5E"/>
                </a:solidFill>
              </a:defRPr>
            </a:lvl3pPr>
            <a:lvl4pPr>
              <a:defRPr sz="900">
                <a:solidFill>
                  <a:srgbClr val="5E5E5E"/>
                </a:solidFill>
              </a:defRPr>
            </a:lvl4pPr>
            <a:lvl5pPr>
              <a:defRPr sz="900">
                <a:solidFill>
                  <a:srgbClr val="5E5E5E"/>
                </a:solidFill>
              </a:defRPr>
            </a:lvl5pPr>
            <a:lvl6pPr>
              <a:defRPr sz="900">
                <a:solidFill>
                  <a:srgbClr val="5E5E5E"/>
                </a:solidFill>
              </a:defRPr>
            </a:lvl6pPr>
            <a:lvl7pPr>
              <a:defRPr sz="900">
                <a:solidFill>
                  <a:srgbClr val="5E5E5E"/>
                </a:solidFill>
              </a:defRPr>
            </a:lvl7pPr>
            <a:lvl8pPr>
              <a:defRPr sz="900">
                <a:solidFill>
                  <a:srgbClr val="5E5E5E"/>
                </a:solidFill>
              </a:defRPr>
            </a:lvl8pPr>
            <a:lvl9pPr>
              <a:defRPr sz="900">
                <a:solidFill>
                  <a:srgbClr val="5E5E5E"/>
                </a:solidFill>
              </a:defRPr>
            </a:lvl9pPr>
          </a:lstStyle>
          <a:p>
            <a:endParaRPr lang="de-DE" dirty="0"/>
          </a:p>
        </p:txBody>
      </p:sp>
      <p:sp>
        <p:nvSpPr>
          <p:cNvPr id="6" name="Foliennummernplatzhalter 5"/>
          <p:cNvSpPr>
            <a:spLocks noGrp="1"/>
          </p:cNvSpPr>
          <p:nvPr>
            <p:ph type="sldNum" sz="quarter" idx="4"/>
          </p:nvPr>
        </p:nvSpPr>
        <p:spPr>
          <a:xfrm>
            <a:off x="8280000" y="6084000"/>
            <a:ext cx="360000" cy="414000"/>
          </a:xfrm>
          <a:prstGeom prst="rect">
            <a:avLst/>
          </a:prstGeom>
        </p:spPr>
        <p:txBody>
          <a:bodyPr vert="horz" lIns="0" tIns="0" rIns="0" bIns="0" rtlCol="0" anchor="b" anchorCtr="0"/>
          <a:lstStyle>
            <a:lvl1pPr algn="r">
              <a:defRPr sz="800">
                <a:solidFill>
                  <a:srgbClr val="0078DC"/>
                </a:solidFill>
              </a:defRPr>
            </a:lvl1pPr>
          </a:lstStyle>
          <a:p>
            <a:fld id="{9D543ADB-E95E-4587-963D-D3C6AB2E96C0}" type="slidenum">
              <a:rPr lang="de-DE" smtClean="0"/>
              <a:pPr/>
              <a:t>‹#›</a:t>
            </a:fld>
            <a:endParaRPr lang="de-DE" dirty="0"/>
          </a:p>
        </p:txBody>
      </p:sp>
      <p:pic>
        <p:nvPicPr>
          <p:cNvPr id="8" name="Grafik 7" descr="Uniper_Logo_Office_CO.png"/>
          <p:cNvPicPr>
            <a:picLocks noChangeAspect="1"/>
          </p:cNvPicPr>
          <p:nvPr/>
        </p:nvPicPr>
        <p:blipFill>
          <a:blip r:embed="rId11" cstate="print"/>
          <a:stretch>
            <a:fillRect/>
          </a:stretch>
        </p:blipFill>
        <p:spPr>
          <a:xfrm>
            <a:off x="504000" y="6037200"/>
            <a:ext cx="579600" cy="502407"/>
          </a:xfrm>
          <a:prstGeom prst="rect">
            <a:avLst/>
          </a:prstGeom>
        </p:spPr>
      </p:pic>
    </p:spTree>
    <p:extLst>
      <p:ext uri="{BB962C8B-B14F-4D97-AF65-F5344CB8AC3E}">
        <p14:creationId xmlns:p14="http://schemas.microsoft.com/office/powerpoint/2010/main" val="3957108825"/>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Lst>
  <p:hf hdr="0" ftr="0" dt="0"/>
  <p:txStyles>
    <p:titleStyle>
      <a:lvl1pPr algn="l" defTabSz="914400" rtl="0" eaLnBrk="1" latinLnBrk="0" hangingPunct="1">
        <a:spcBef>
          <a:spcPct val="0"/>
        </a:spcBef>
        <a:buNone/>
        <a:defRPr sz="2800" b="1" kern="1200">
          <a:solidFill>
            <a:srgbClr val="0078DC"/>
          </a:solidFill>
          <a:latin typeface="+mj-lt"/>
          <a:ea typeface="+mj-ea"/>
          <a:cs typeface="+mj-cs"/>
        </a:defRPr>
      </a:lvl1pPr>
    </p:titleStyle>
    <p:body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 Id="rId4" Type="http://schemas.openxmlformats.org/officeDocument/2006/relationships/image" Target="../media/image38.GIF"/></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3.xml"/><Relationship Id="rId7" Type="http://schemas.openxmlformats.org/officeDocument/2006/relationships/image" Target="../media/image40.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9.png"/><Relationship Id="rId5" Type="http://schemas.openxmlformats.org/officeDocument/2006/relationships/image" Target="../media/image29.emf"/><Relationship Id="rId10" Type="http://schemas.openxmlformats.org/officeDocument/2006/relationships/image" Target="../media/image43.png"/><Relationship Id="rId4" Type="http://schemas.openxmlformats.org/officeDocument/2006/relationships/oleObject" Target="../embeddings/oleObject3.bin"/><Relationship Id="rId9" Type="http://schemas.openxmlformats.org/officeDocument/2006/relationships/image" Target="../media/image42.png"/></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slideLayout" Target="../slideLayouts/slideLayout3.xml"/><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tags" Target="../tags/tag5.xml"/><Relationship Id="rId16" Type="http://schemas.openxmlformats.org/officeDocument/2006/relationships/image" Target="../media/image55.png"/><Relationship Id="rId1" Type="http://schemas.openxmlformats.org/officeDocument/2006/relationships/vmlDrawing" Target="../drawings/vmlDrawing4.vml"/><Relationship Id="rId6" Type="http://schemas.openxmlformats.org/officeDocument/2006/relationships/image" Target="../media/image45.jpg"/><Relationship Id="rId11" Type="http://schemas.openxmlformats.org/officeDocument/2006/relationships/image" Target="../media/image50.jpeg"/><Relationship Id="rId5" Type="http://schemas.openxmlformats.org/officeDocument/2006/relationships/image" Target="../media/image44.emf"/><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oleObject" Target="../embeddings/oleObject4.bin"/><Relationship Id="rId9" Type="http://schemas.openxmlformats.org/officeDocument/2006/relationships/image" Target="../media/image48.jpeg"/><Relationship Id="rId14" Type="http://schemas.openxmlformats.org/officeDocument/2006/relationships/image" Target="../media/image5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chart" Target="../charts/chart3.xml"/><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2.png"/><Relationship Id="rId5" Type="http://schemas.openxmlformats.org/officeDocument/2006/relationships/image" Target="../media/image17.png"/><Relationship Id="rId10" Type="http://schemas.openxmlformats.org/officeDocument/2006/relationships/chart" Target="../charts/chart4.xml"/><Relationship Id="rId4" Type="http://schemas.openxmlformats.org/officeDocument/2006/relationships/image" Target="../media/image16.png"/><Relationship Id="rId9" Type="http://schemas.openxmlformats.org/officeDocument/2006/relationships/image" Target="../media/image21.jpe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3.xml"/><Relationship Id="rId7" Type="http://schemas.openxmlformats.org/officeDocument/2006/relationships/image" Target="../media/image3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0.png"/><Relationship Id="rId5" Type="http://schemas.openxmlformats.org/officeDocument/2006/relationships/image" Target="../media/image29.emf"/><Relationship Id="rId10" Type="http://schemas.openxmlformats.org/officeDocument/2006/relationships/image" Target="../media/image34.png"/><Relationship Id="rId4" Type="http://schemas.openxmlformats.org/officeDocument/2006/relationships/oleObject" Target="../embeddings/oleObject2.bin"/><Relationship Id="rId9" Type="http://schemas.openxmlformats.org/officeDocument/2006/relationships/image" Target="../media/image33.png"/></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00000" y="3479800"/>
            <a:ext cx="6059600" cy="1569600"/>
          </a:xfrm>
        </p:spPr>
        <p:txBody>
          <a:bodyPr/>
          <a:lstStyle/>
          <a:p>
            <a:r>
              <a:rPr lang="ru-RU" sz="2400" dirty="0"/>
              <a:t>Use of blockchain in gas trading / </a:t>
            </a:r>
            <a:br>
              <a:rPr lang="ru-RU" sz="2400" dirty="0"/>
            </a:br>
            <a:r>
              <a:rPr lang="ru-RU" sz="2400" dirty="0"/>
              <a:t>Использование технологий блокчейна в газовом трейдинге</a:t>
            </a:r>
            <a:endParaRPr lang="en-GB" sz="2400" dirty="0"/>
          </a:p>
        </p:txBody>
      </p:sp>
      <p:sp>
        <p:nvSpPr>
          <p:cNvPr id="3" name="Untertitel 2"/>
          <p:cNvSpPr>
            <a:spLocks noGrp="1"/>
          </p:cNvSpPr>
          <p:nvPr>
            <p:ph type="subTitle" idx="1"/>
          </p:nvPr>
        </p:nvSpPr>
        <p:spPr>
          <a:xfrm>
            <a:off x="900000" y="5765800"/>
            <a:ext cx="7344000" cy="288000"/>
          </a:xfrm>
        </p:spPr>
        <p:txBody>
          <a:bodyPr/>
          <a:lstStyle/>
          <a:p>
            <a:r>
              <a:rPr lang="en-GB" dirty="0"/>
              <a:t>Oil &amp; Gas forum, 20th of September 2018</a:t>
            </a:r>
          </a:p>
          <a:p>
            <a:r>
              <a:rPr lang="az-Cyrl-AZ" dirty="0"/>
              <a:t>Национальный нефтегазовый форум, 20 сентября 2018 </a:t>
            </a:r>
          </a:p>
          <a:p>
            <a:endParaRPr lang="en-GB" dirty="0"/>
          </a:p>
        </p:txBody>
      </p:sp>
    </p:spTree>
    <p:extLst>
      <p:ext uri="{BB962C8B-B14F-4D97-AF65-F5344CB8AC3E}">
        <p14:creationId xmlns:p14="http://schemas.microsoft.com/office/powerpoint/2010/main" val="17113216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4000" y="306000"/>
            <a:ext cx="8233600" cy="900000"/>
          </a:xfrm>
        </p:spPr>
        <p:txBody>
          <a:bodyPr/>
          <a:lstStyle/>
          <a:p>
            <a:r>
              <a:rPr lang="en-US" sz="2400" dirty="0">
                <a:solidFill>
                  <a:srgbClr val="ED8C1C"/>
                </a:solidFill>
              </a:rPr>
              <a:t>Platforms: use of blockchain in energy trading (2/2)</a:t>
            </a:r>
            <a:endParaRPr lang="ru-RU" sz="2400" dirty="0">
              <a:solidFill>
                <a:srgbClr val="ED8C1C"/>
              </a:solidFill>
            </a:endParaRPr>
          </a:p>
        </p:txBody>
      </p:sp>
      <p:sp>
        <p:nvSpPr>
          <p:cNvPr id="3" name="Inhaltsplatzhalter 2"/>
          <p:cNvSpPr>
            <a:spLocks noGrp="1"/>
          </p:cNvSpPr>
          <p:nvPr>
            <p:ph idx="1"/>
          </p:nvPr>
        </p:nvSpPr>
        <p:spPr>
          <a:xfrm>
            <a:off x="457200" y="990600"/>
            <a:ext cx="8280400" cy="1480994"/>
          </a:xfrm>
        </p:spPr>
        <p:txBody>
          <a:bodyPr/>
          <a:lstStyle/>
          <a:p>
            <a:pPr lvl="1"/>
            <a:r>
              <a:rPr lang="de-DE" sz="1600" dirty="0" err="1"/>
              <a:t>Enerchain</a:t>
            </a:r>
            <a:r>
              <a:rPr lang="de-DE" sz="1600" dirty="0"/>
              <a:t>: </a:t>
            </a:r>
            <a:r>
              <a:rPr lang="de-DE" sz="1600" dirty="0" err="1">
                <a:solidFill>
                  <a:schemeClr val="tx1"/>
                </a:solidFill>
              </a:rPr>
              <a:t>Europe‘s</a:t>
            </a:r>
            <a:r>
              <a:rPr lang="de-DE" sz="1600" dirty="0">
                <a:solidFill>
                  <a:schemeClr val="tx1"/>
                </a:solidFill>
              </a:rPr>
              <a:t> </a:t>
            </a:r>
            <a:r>
              <a:rPr lang="de-DE" sz="1600" dirty="0" err="1">
                <a:solidFill>
                  <a:schemeClr val="tx1"/>
                </a:solidFill>
              </a:rPr>
              <a:t>first</a:t>
            </a:r>
            <a:r>
              <a:rPr lang="de-DE" sz="1600" dirty="0">
                <a:solidFill>
                  <a:schemeClr val="tx1"/>
                </a:solidFill>
              </a:rPr>
              <a:t> </a:t>
            </a:r>
            <a:r>
              <a:rPr lang="de-DE" sz="1600" dirty="0" err="1">
                <a:solidFill>
                  <a:schemeClr val="tx1"/>
                </a:solidFill>
              </a:rPr>
              <a:t>energy</a:t>
            </a:r>
            <a:r>
              <a:rPr lang="de-DE" sz="1600" dirty="0">
                <a:solidFill>
                  <a:schemeClr val="tx1"/>
                </a:solidFill>
              </a:rPr>
              <a:t> </a:t>
            </a:r>
            <a:r>
              <a:rPr lang="de-DE" sz="1600" dirty="0" err="1">
                <a:solidFill>
                  <a:schemeClr val="tx1"/>
                </a:solidFill>
              </a:rPr>
              <a:t>trade</a:t>
            </a:r>
            <a:r>
              <a:rPr lang="de-DE" sz="1600" dirty="0">
                <a:solidFill>
                  <a:schemeClr val="tx1"/>
                </a:solidFill>
              </a:rPr>
              <a:t> </a:t>
            </a:r>
            <a:r>
              <a:rPr lang="de-DE" sz="1600" dirty="0" err="1">
                <a:solidFill>
                  <a:schemeClr val="tx1"/>
                </a:solidFill>
              </a:rPr>
              <a:t>over</a:t>
            </a:r>
            <a:r>
              <a:rPr lang="de-DE" sz="1600" dirty="0">
                <a:solidFill>
                  <a:schemeClr val="tx1"/>
                </a:solidFill>
              </a:rPr>
              <a:t> </a:t>
            </a:r>
            <a:r>
              <a:rPr lang="de-DE" sz="1600" dirty="0" err="1">
                <a:solidFill>
                  <a:schemeClr val="tx1"/>
                </a:solidFill>
              </a:rPr>
              <a:t>the</a:t>
            </a:r>
            <a:r>
              <a:rPr lang="de-DE" sz="1600" dirty="0">
                <a:solidFill>
                  <a:schemeClr val="tx1"/>
                </a:solidFill>
              </a:rPr>
              <a:t> </a:t>
            </a:r>
            <a:r>
              <a:rPr lang="de-DE" sz="1600" dirty="0" err="1">
                <a:solidFill>
                  <a:schemeClr val="tx1"/>
                </a:solidFill>
              </a:rPr>
              <a:t>blockchain</a:t>
            </a:r>
            <a:r>
              <a:rPr lang="de-DE" sz="1600" dirty="0">
                <a:solidFill>
                  <a:schemeClr val="tx1"/>
                </a:solidFill>
              </a:rPr>
              <a:t> </a:t>
            </a:r>
            <a:r>
              <a:rPr lang="en-US" sz="1600" dirty="0">
                <a:solidFill>
                  <a:schemeClr val="tx1"/>
                </a:solidFill>
              </a:rPr>
              <a:t>of energy futures products</a:t>
            </a:r>
          </a:p>
          <a:p>
            <a:pPr lvl="1"/>
            <a:r>
              <a:rPr lang="en-US" sz="1600" dirty="0"/>
              <a:t>A consortium of several European energy trading companies testing the use of blockchain for peer to peer trading</a:t>
            </a:r>
          </a:p>
          <a:p>
            <a:pPr lvl="1"/>
            <a:r>
              <a:rPr lang="en-US" sz="1600" dirty="0"/>
              <a:t>Aim is to achieve more efficient operational processes and reduced transaction cost: no admission fees, no transaction fees, no clearing fees</a:t>
            </a:r>
          </a:p>
          <a:p>
            <a:pPr lvl="1"/>
            <a:r>
              <a:rPr lang="en-US" sz="1600" dirty="0"/>
              <a:t>October 2017 in Amsterdam: gas day-ahead deal with NCG delivery and day-ahead trade for power delivered to MAVIR (Hungary) shown live to public (over 100 participants)</a:t>
            </a:r>
          </a:p>
          <a:p>
            <a:pPr lvl="1"/>
            <a:endParaRPr lang="en-US" sz="1600" dirty="0"/>
          </a:p>
          <a:p>
            <a:pPr lvl="1"/>
            <a:endParaRPr lang="en-US" sz="1600" dirty="0"/>
          </a:p>
        </p:txBody>
      </p:sp>
      <p:sp>
        <p:nvSpPr>
          <p:cNvPr id="4" name="Foliennummernplatzhalter 3"/>
          <p:cNvSpPr>
            <a:spLocks noGrp="1"/>
          </p:cNvSpPr>
          <p:nvPr>
            <p:ph type="sldNum" sz="quarter" idx="12"/>
          </p:nvPr>
        </p:nvSpPr>
        <p:spPr/>
        <p:txBody>
          <a:bodyPr/>
          <a:lstStyle/>
          <a:p>
            <a:fld id="{9D543ADB-E95E-4587-963D-D3C6AB2E96C0}" type="slidenum">
              <a:rPr lang="ru-RU" smtClean="0"/>
              <a:pPr/>
              <a:t>10</a:t>
            </a:fld>
            <a:endParaRPr lang="ru-RU"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13459" y="3147906"/>
            <a:ext cx="1412541" cy="793573"/>
          </a:xfrm>
          <a:prstGeom prst="rect">
            <a:avLst/>
          </a:prstGeom>
        </p:spPr>
      </p:pic>
      <p:sp>
        <p:nvSpPr>
          <p:cNvPr id="9" name="TextBox 8"/>
          <p:cNvSpPr txBox="1"/>
          <p:nvPr/>
        </p:nvSpPr>
        <p:spPr>
          <a:xfrm>
            <a:off x="1345544" y="6255738"/>
            <a:ext cx="3275256" cy="230832"/>
          </a:xfrm>
          <a:prstGeom prst="rect">
            <a:avLst/>
          </a:prstGeom>
          <a:noFill/>
        </p:spPr>
        <p:txBody>
          <a:bodyPr wrap="square" rtlCol="0">
            <a:spAutoFit/>
          </a:bodyPr>
          <a:lstStyle/>
          <a:p>
            <a:r>
              <a:rPr lang="en-US" sz="900" dirty="0"/>
              <a:t>Sources: Uniper Global Commodities, Enerchain.ponton.de</a:t>
            </a:r>
            <a:endParaRPr lang="ru-RU" sz="900"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400" y="3886200"/>
            <a:ext cx="3911600" cy="2131734"/>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40400" y="3487138"/>
            <a:ext cx="2251533" cy="276860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4000" y="306000"/>
            <a:ext cx="7776000" cy="900000"/>
          </a:xfrm>
        </p:spPr>
        <p:txBody>
          <a:bodyPr/>
          <a:lstStyle/>
          <a:p>
            <a:r>
              <a:rPr lang="de-DE" sz="2400" dirty="0" err="1">
                <a:solidFill>
                  <a:srgbClr val="ED8C1C"/>
                </a:solidFill>
              </a:rPr>
              <a:t>Commodity</a:t>
            </a:r>
            <a:r>
              <a:rPr lang="de-DE" sz="2400" dirty="0">
                <a:solidFill>
                  <a:srgbClr val="ED8C1C"/>
                </a:solidFill>
              </a:rPr>
              <a:t> Trading </a:t>
            </a:r>
            <a:r>
              <a:rPr lang="de-DE" sz="2400" dirty="0" err="1">
                <a:solidFill>
                  <a:srgbClr val="ED8C1C"/>
                </a:solidFill>
              </a:rPr>
              <a:t>Firms</a:t>
            </a:r>
            <a:r>
              <a:rPr lang="de-DE" sz="2400" dirty="0">
                <a:solidFill>
                  <a:srgbClr val="ED8C1C"/>
                </a:solidFill>
              </a:rPr>
              <a:t> (CTFs) </a:t>
            </a:r>
            <a:r>
              <a:rPr lang="de-DE" sz="2400" dirty="0" err="1">
                <a:solidFill>
                  <a:srgbClr val="ED8C1C"/>
                </a:solidFill>
              </a:rPr>
              <a:t>Perform</a:t>
            </a:r>
            <a:r>
              <a:rPr lang="de-DE" sz="2400" dirty="0">
                <a:solidFill>
                  <a:srgbClr val="ED8C1C"/>
                </a:solidFill>
              </a:rPr>
              <a:t> Essential </a:t>
            </a:r>
            <a:r>
              <a:rPr lang="de-DE" sz="2400" dirty="0" err="1">
                <a:solidFill>
                  <a:srgbClr val="ED8C1C"/>
                </a:solidFill>
              </a:rPr>
              <a:t>Economic</a:t>
            </a:r>
            <a:r>
              <a:rPr lang="de-DE" sz="2400" dirty="0">
                <a:solidFill>
                  <a:srgbClr val="ED8C1C"/>
                </a:solidFill>
              </a:rPr>
              <a:t> </a:t>
            </a:r>
            <a:r>
              <a:rPr lang="de-DE" sz="2400" dirty="0" err="1">
                <a:solidFill>
                  <a:srgbClr val="ED8C1C"/>
                </a:solidFill>
              </a:rPr>
              <a:t>Functions</a:t>
            </a:r>
            <a:endParaRPr lang="en-GB" sz="2400" dirty="0">
              <a:solidFill>
                <a:srgbClr val="ED8C1C"/>
              </a:solidFill>
            </a:endParaRPr>
          </a:p>
        </p:txBody>
      </p:sp>
      <p:sp>
        <p:nvSpPr>
          <p:cNvPr id="5" name="Content Placeholder 4"/>
          <p:cNvSpPr>
            <a:spLocks noGrp="1"/>
          </p:cNvSpPr>
          <p:nvPr>
            <p:ph idx="1"/>
          </p:nvPr>
        </p:nvSpPr>
        <p:spPr>
          <a:xfrm>
            <a:off x="504000" y="1328399"/>
            <a:ext cx="8136000" cy="678201"/>
          </a:xfrm>
        </p:spPr>
        <p:txBody>
          <a:bodyPr/>
          <a:lstStyle/>
          <a:p>
            <a:r>
              <a:rPr lang="de-DE" sz="1600" dirty="0"/>
              <a:t>CTFs </a:t>
            </a:r>
            <a:r>
              <a:rPr lang="de-DE" sz="1600" dirty="0" err="1"/>
              <a:t>add</a:t>
            </a:r>
            <a:r>
              <a:rPr lang="de-DE" sz="1600" dirty="0"/>
              <a:t> </a:t>
            </a:r>
            <a:r>
              <a:rPr lang="de-DE" sz="1600" dirty="0" err="1"/>
              <a:t>value</a:t>
            </a:r>
            <a:r>
              <a:rPr lang="de-DE" sz="1600" dirty="0"/>
              <a:t> </a:t>
            </a:r>
            <a:r>
              <a:rPr lang="de-DE" sz="1600" dirty="0" err="1"/>
              <a:t>by</a:t>
            </a:r>
            <a:r>
              <a:rPr lang="de-DE" sz="1600" dirty="0"/>
              <a:t> </a:t>
            </a:r>
            <a:r>
              <a:rPr lang="de-DE" sz="1600" dirty="0" err="1"/>
              <a:t>identifying</a:t>
            </a:r>
            <a:r>
              <a:rPr lang="de-DE" sz="1600" dirty="0"/>
              <a:t> and </a:t>
            </a:r>
            <a:r>
              <a:rPr lang="de-DE" sz="1600" dirty="0" err="1"/>
              <a:t>optimizing</a:t>
            </a:r>
            <a:r>
              <a:rPr lang="de-DE" sz="1600" dirty="0"/>
              <a:t> </a:t>
            </a:r>
            <a:r>
              <a:rPr lang="de-DE" sz="1600" dirty="0" err="1"/>
              <a:t>transformations</a:t>
            </a:r>
            <a:r>
              <a:rPr lang="de-DE" sz="1600" dirty="0"/>
              <a:t> in </a:t>
            </a:r>
            <a:r>
              <a:rPr lang="de-DE" sz="1600" dirty="0" err="1"/>
              <a:t>commodities</a:t>
            </a:r>
            <a:r>
              <a:rPr lang="de-DE" sz="1600" dirty="0"/>
              <a:t> </a:t>
            </a:r>
            <a:r>
              <a:rPr lang="de-DE" sz="1600" dirty="0" err="1"/>
              <a:t>that</a:t>
            </a:r>
            <a:r>
              <a:rPr lang="de-DE" sz="1600" dirty="0"/>
              <a:t> </a:t>
            </a:r>
            <a:r>
              <a:rPr lang="de-DE" sz="1600" dirty="0" err="1"/>
              <a:t>reconcile</a:t>
            </a:r>
            <a:r>
              <a:rPr lang="de-DE" sz="1600" dirty="0"/>
              <a:t> </a:t>
            </a:r>
            <a:r>
              <a:rPr lang="de-DE" sz="1600" dirty="0" err="1"/>
              <a:t>mismatches</a:t>
            </a:r>
            <a:r>
              <a:rPr lang="de-DE" sz="1600" dirty="0"/>
              <a:t> </a:t>
            </a:r>
            <a:r>
              <a:rPr lang="de-DE" sz="1600" dirty="0" err="1"/>
              <a:t>between</a:t>
            </a:r>
            <a:r>
              <a:rPr lang="de-DE" sz="1600" dirty="0"/>
              <a:t> </a:t>
            </a:r>
            <a:r>
              <a:rPr lang="de-DE" sz="1600" dirty="0" err="1"/>
              <a:t>supply</a:t>
            </a:r>
            <a:r>
              <a:rPr lang="de-DE" sz="1600" dirty="0"/>
              <a:t> </a:t>
            </a:r>
            <a:r>
              <a:rPr lang="de-DE" sz="1600" dirty="0">
                <a:solidFill>
                  <a:schemeClr val="tx1"/>
                </a:solidFill>
              </a:rPr>
              <a:t>and</a:t>
            </a:r>
            <a:r>
              <a:rPr lang="de-DE" sz="1600" dirty="0"/>
              <a:t> </a:t>
            </a:r>
            <a:r>
              <a:rPr lang="de-DE" sz="1600" dirty="0" err="1"/>
              <a:t>demand</a:t>
            </a:r>
            <a:r>
              <a:rPr lang="de-DE" sz="1600" dirty="0"/>
              <a:t>:</a:t>
            </a:r>
          </a:p>
          <a:p>
            <a:endParaRPr lang="de-DE" sz="1600" dirty="0"/>
          </a:p>
          <a:p>
            <a:endParaRPr lang="en-GB" sz="1600" dirty="0"/>
          </a:p>
        </p:txBody>
      </p:sp>
      <p:graphicFrame>
        <p:nvGraphicFramePr>
          <p:cNvPr id="2" name="Diagram 1"/>
          <p:cNvGraphicFramePr/>
          <p:nvPr>
            <p:extLst>
              <p:ext uri="{D42A27DB-BD31-4B8C-83A1-F6EECF244321}">
                <p14:modId xmlns:p14="http://schemas.microsoft.com/office/powerpoint/2010/main" val="2606258495"/>
              </p:ext>
            </p:extLst>
          </p:nvPr>
        </p:nvGraphicFramePr>
        <p:xfrm>
          <a:off x="660400" y="2108200"/>
          <a:ext cx="7518400" cy="309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Content Placeholder 4"/>
          <p:cNvSpPr txBox="1">
            <a:spLocks/>
          </p:cNvSpPr>
          <p:nvPr/>
        </p:nvSpPr>
        <p:spPr>
          <a:xfrm>
            <a:off x="558800" y="5274205"/>
            <a:ext cx="8136000" cy="678201"/>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itchFamily="34" charset="0"/>
              <a:buNone/>
              <a:tabLst/>
              <a:defRPr/>
            </a:pPr>
            <a:r>
              <a:rPr kumimoji="0" lang="de-DE" sz="1800" b="1" i="0" u="none" strike="noStrike" kern="1200" cap="none" spc="0" normalizeH="0" baseline="0" noProof="0" dirty="0" err="1">
                <a:ln>
                  <a:noFill/>
                </a:ln>
                <a:solidFill>
                  <a:srgbClr val="ED8C1C"/>
                </a:solidFill>
                <a:effectLst/>
                <a:uLnTx/>
                <a:uFillTx/>
                <a:latin typeface="Arial"/>
                <a:ea typeface="+mn-ea"/>
                <a:cs typeface="+mn-cs"/>
              </a:rPr>
              <a:t>Right</a:t>
            </a:r>
            <a:r>
              <a:rPr kumimoji="0" lang="de-DE" sz="1800" b="1" i="0" u="none" strike="noStrike" kern="1200" cap="none" spc="0" normalizeH="0" baseline="0" noProof="0" dirty="0">
                <a:ln>
                  <a:noFill/>
                </a:ln>
                <a:solidFill>
                  <a:srgbClr val="ED8C1C"/>
                </a:solidFill>
                <a:effectLst/>
                <a:uLnTx/>
                <a:uFillTx/>
                <a:latin typeface="Arial"/>
                <a:ea typeface="+mn-ea"/>
                <a:cs typeface="+mn-cs"/>
              </a:rPr>
              <a:t> </a:t>
            </a:r>
            <a:r>
              <a:rPr kumimoji="0" lang="de-DE" sz="1800" b="1" i="0" u="none" strike="noStrike" kern="1200" cap="none" spc="0" normalizeH="0" baseline="0" noProof="0" dirty="0" err="1">
                <a:ln>
                  <a:noFill/>
                </a:ln>
                <a:solidFill>
                  <a:srgbClr val="ED8C1C"/>
                </a:solidFill>
                <a:effectLst/>
                <a:uLnTx/>
                <a:uFillTx/>
                <a:latin typeface="Arial"/>
                <a:ea typeface="+mn-ea"/>
                <a:cs typeface="+mn-cs"/>
              </a:rPr>
              <a:t>product</a:t>
            </a:r>
            <a:r>
              <a:rPr kumimoji="0" lang="de-DE" sz="1800" b="1" i="0" u="none" strike="noStrike" kern="1200" cap="none" spc="0" normalizeH="0" baseline="0" noProof="0" dirty="0">
                <a:ln>
                  <a:noFill/>
                </a:ln>
                <a:solidFill>
                  <a:srgbClr val="ED8C1C"/>
                </a:solidFill>
                <a:effectLst/>
                <a:uLnTx/>
                <a:uFillTx/>
                <a:latin typeface="Arial"/>
                <a:ea typeface="+mn-ea"/>
                <a:cs typeface="+mn-cs"/>
              </a:rPr>
              <a:t> in </a:t>
            </a:r>
            <a:r>
              <a:rPr kumimoji="0" lang="de-DE" sz="1800" b="1" i="0" u="none" strike="noStrike" kern="1200" cap="none" spc="0" normalizeH="0" baseline="0" noProof="0" dirty="0" err="1">
                <a:ln>
                  <a:noFill/>
                </a:ln>
                <a:solidFill>
                  <a:srgbClr val="ED8C1C"/>
                </a:solidFill>
                <a:effectLst/>
                <a:uLnTx/>
                <a:uFillTx/>
                <a:latin typeface="Arial"/>
                <a:ea typeface="+mn-ea"/>
                <a:cs typeface="+mn-cs"/>
              </a:rPr>
              <a:t>the</a:t>
            </a:r>
            <a:r>
              <a:rPr kumimoji="0" lang="de-DE" sz="1800" b="1" i="0" u="none" strike="noStrike" kern="1200" cap="none" spc="0" normalizeH="0" baseline="0" noProof="0" dirty="0">
                <a:ln>
                  <a:noFill/>
                </a:ln>
                <a:solidFill>
                  <a:srgbClr val="ED8C1C"/>
                </a:solidFill>
                <a:effectLst/>
                <a:uLnTx/>
                <a:uFillTx/>
                <a:latin typeface="Arial"/>
                <a:ea typeface="+mn-ea"/>
                <a:cs typeface="+mn-cs"/>
              </a:rPr>
              <a:t> </a:t>
            </a:r>
            <a:r>
              <a:rPr kumimoji="0" lang="de-DE" sz="1800" b="1" i="0" u="none" strike="noStrike" kern="1200" cap="none" spc="0" normalizeH="0" baseline="0" noProof="0" dirty="0" err="1">
                <a:ln>
                  <a:noFill/>
                </a:ln>
                <a:solidFill>
                  <a:srgbClr val="ED8C1C"/>
                </a:solidFill>
                <a:effectLst/>
                <a:uLnTx/>
                <a:uFillTx/>
                <a:latin typeface="Arial"/>
                <a:ea typeface="+mn-ea"/>
                <a:cs typeface="+mn-cs"/>
              </a:rPr>
              <a:t>right</a:t>
            </a:r>
            <a:r>
              <a:rPr kumimoji="0" lang="de-DE" sz="1800" b="1" i="0" u="none" strike="noStrike" kern="1200" cap="none" spc="0" normalizeH="0" baseline="0" noProof="0" dirty="0">
                <a:ln>
                  <a:noFill/>
                </a:ln>
                <a:solidFill>
                  <a:srgbClr val="ED8C1C"/>
                </a:solidFill>
                <a:effectLst/>
                <a:uLnTx/>
                <a:uFillTx/>
                <a:latin typeface="Arial"/>
                <a:ea typeface="+mn-ea"/>
                <a:cs typeface="+mn-cs"/>
              </a:rPr>
              <a:t> </a:t>
            </a:r>
            <a:r>
              <a:rPr kumimoji="0" lang="de-DE" sz="1800" b="1" i="0" u="none" strike="noStrike" kern="1200" cap="none" spc="0" normalizeH="0" baseline="0" noProof="0" dirty="0" err="1">
                <a:ln>
                  <a:noFill/>
                </a:ln>
                <a:solidFill>
                  <a:srgbClr val="ED8C1C"/>
                </a:solidFill>
                <a:effectLst/>
                <a:uLnTx/>
                <a:uFillTx/>
                <a:latin typeface="Arial"/>
                <a:ea typeface="+mn-ea"/>
                <a:cs typeface="+mn-cs"/>
              </a:rPr>
              <a:t>place</a:t>
            </a:r>
            <a:r>
              <a:rPr kumimoji="0" lang="de-DE" sz="1800" b="1" i="0" u="none" strike="noStrike" kern="1200" cap="none" spc="0" normalizeH="0" baseline="0" noProof="0" dirty="0">
                <a:ln>
                  <a:noFill/>
                </a:ln>
                <a:solidFill>
                  <a:srgbClr val="ED8C1C"/>
                </a:solidFill>
                <a:effectLst/>
                <a:uLnTx/>
                <a:uFillTx/>
                <a:latin typeface="Arial"/>
                <a:ea typeface="+mn-ea"/>
                <a:cs typeface="+mn-cs"/>
              </a:rPr>
              <a:t> at </a:t>
            </a:r>
            <a:r>
              <a:rPr kumimoji="0" lang="de-DE" sz="1800" b="1" i="0" u="none" strike="noStrike" kern="1200" cap="none" spc="0" normalizeH="0" baseline="0" noProof="0" dirty="0" err="1">
                <a:ln>
                  <a:noFill/>
                </a:ln>
                <a:solidFill>
                  <a:srgbClr val="ED8C1C"/>
                </a:solidFill>
                <a:effectLst/>
                <a:uLnTx/>
                <a:uFillTx/>
                <a:latin typeface="Arial"/>
                <a:ea typeface="+mn-ea"/>
                <a:cs typeface="+mn-cs"/>
              </a:rPr>
              <a:t>the</a:t>
            </a:r>
            <a:r>
              <a:rPr kumimoji="0" lang="de-DE" sz="1800" b="1" i="0" u="none" strike="noStrike" kern="1200" cap="none" spc="0" normalizeH="0" baseline="0" noProof="0" dirty="0">
                <a:ln>
                  <a:noFill/>
                </a:ln>
                <a:solidFill>
                  <a:srgbClr val="ED8C1C"/>
                </a:solidFill>
                <a:effectLst/>
                <a:uLnTx/>
                <a:uFillTx/>
                <a:latin typeface="Arial"/>
                <a:ea typeface="+mn-ea"/>
                <a:cs typeface="+mn-cs"/>
              </a:rPr>
              <a:t> </a:t>
            </a:r>
            <a:r>
              <a:rPr kumimoji="0" lang="de-DE" sz="1800" b="1" i="0" u="none" strike="noStrike" kern="1200" cap="none" spc="0" normalizeH="0" baseline="0" noProof="0" dirty="0" err="1">
                <a:ln>
                  <a:noFill/>
                </a:ln>
                <a:solidFill>
                  <a:srgbClr val="ED8C1C"/>
                </a:solidFill>
                <a:effectLst/>
                <a:uLnTx/>
                <a:uFillTx/>
                <a:latin typeface="Arial"/>
                <a:ea typeface="+mn-ea"/>
                <a:cs typeface="+mn-cs"/>
              </a:rPr>
              <a:t>right</a:t>
            </a:r>
            <a:r>
              <a:rPr kumimoji="0" lang="de-DE" sz="1800" b="1" i="0" u="none" strike="noStrike" kern="1200" cap="none" spc="0" normalizeH="0" baseline="0" noProof="0" dirty="0">
                <a:ln>
                  <a:noFill/>
                </a:ln>
                <a:solidFill>
                  <a:srgbClr val="ED8C1C"/>
                </a:solidFill>
                <a:effectLst/>
                <a:uLnTx/>
                <a:uFillTx/>
                <a:latin typeface="Arial"/>
                <a:ea typeface="+mn-ea"/>
                <a:cs typeface="+mn-cs"/>
              </a:rPr>
              <a:t> time </a:t>
            </a:r>
            <a:r>
              <a:rPr kumimoji="0" lang="de-DE" sz="1800" b="1" i="0" u="none" strike="noStrike" kern="1200" cap="none" spc="0" normalizeH="0" baseline="0" noProof="0" dirty="0" err="1">
                <a:ln>
                  <a:noFill/>
                </a:ln>
                <a:solidFill>
                  <a:srgbClr val="ED8C1C"/>
                </a:solidFill>
                <a:effectLst/>
                <a:uLnTx/>
                <a:uFillTx/>
                <a:latin typeface="Arial"/>
                <a:ea typeface="+mn-ea"/>
                <a:cs typeface="+mn-cs"/>
              </a:rPr>
              <a:t>and</a:t>
            </a:r>
            <a:r>
              <a:rPr kumimoji="0" lang="de-DE" sz="1800" b="1" i="0" u="none" strike="noStrike" kern="1200" cap="none" spc="0" normalizeH="0" baseline="0" noProof="0" dirty="0">
                <a:ln>
                  <a:noFill/>
                </a:ln>
                <a:solidFill>
                  <a:srgbClr val="ED8C1C"/>
                </a:solidFill>
                <a:effectLst/>
                <a:uLnTx/>
                <a:uFillTx/>
                <a:latin typeface="Arial"/>
                <a:ea typeface="+mn-ea"/>
                <a:cs typeface="+mn-cs"/>
              </a:rPr>
              <a:t> at </a:t>
            </a:r>
            <a:r>
              <a:rPr kumimoji="0" lang="de-DE" sz="1800" b="1" i="0" u="none" strike="noStrike" kern="1200" cap="none" spc="0" normalizeH="0" baseline="0" noProof="0" dirty="0" err="1">
                <a:ln>
                  <a:noFill/>
                </a:ln>
                <a:solidFill>
                  <a:srgbClr val="ED8C1C"/>
                </a:solidFill>
                <a:effectLst/>
                <a:uLnTx/>
                <a:uFillTx/>
                <a:latin typeface="Arial"/>
                <a:ea typeface="+mn-ea"/>
                <a:cs typeface="+mn-cs"/>
              </a:rPr>
              <a:t>the</a:t>
            </a:r>
            <a:r>
              <a:rPr kumimoji="0" lang="de-DE" sz="1800" b="1" i="0" u="none" strike="noStrike" kern="1200" cap="none" spc="0" normalizeH="0" baseline="0" noProof="0" dirty="0">
                <a:ln>
                  <a:noFill/>
                </a:ln>
                <a:solidFill>
                  <a:srgbClr val="ED8C1C"/>
                </a:solidFill>
                <a:effectLst/>
                <a:uLnTx/>
                <a:uFillTx/>
                <a:latin typeface="Arial"/>
                <a:ea typeface="+mn-ea"/>
                <a:cs typeface="+mn-cs"/>
              </a:rPr>
              <a:t> </a:t>
            </a:r>
            <a:r>
              <a:rPr kumimoji="0" lang="de-DE" sz="1800" b="1" i="0" u="none" strike="noStrike" kern="1200" cap="none" spc="0" normalizeH="0" baseline="0" noProof="0" dirty="0" err="1">
                <a:ln>
                  <a:noFill/>
                </a:ln>
                <a:solidFill>
                  <a:srgbClr val="ED8C1C"/>
                </a:solidFill>
                <a:effectLst/>
                <a:uLnTx/>
                <a:uFillTx/>
                <a:latin typeface="Arial"/>
                <a:ea typeface="+mn-ea"/>
                <a:cs typeface="+mn-cs"/>
              </a:rPr>
              <a:t>lowest</a:t>
            </a:r>
            <a:r>
              <a:rPr kumimoji="0" lang="de-DE" sz="1800" b="1" i="0" u="none" strike="noStrike" kern="1200" cap="none" spc="0" normalizeH="0" baseline="0" noProof="0" dirty="0">
                <a:ln>
                  <a:noFill/>
                </a:ln>
                <a:solidFill>
                  <a:srgbClr val="ED8C1C"/>
                </a:solidFill>
                <a:effectLst/>
                <a:uLnTx/>
                <a:uFillTx/>
                <a:latin typeface="Arial"/>
                <a:ea typeface="+mn-ea"/>
                <a:cs typeface="+mn-cs"/>
              </a:rPr>
              <a:t> </a:t>
            </a:r>
            <a:r>
              <a:rPr kumimoji="0" lang="de-DE" sz="1800" b="1" i="0" u="none" strike="noStrike" kern="1200" cap="none" spc="0" normalizeH="0" baseline="0" noProof="0" dirty="0" err="1">
                <a:ln>
                  <a:noFill/>
                </a:ln>
                <a:solidFill>
                  <a:srgbClr val="ED8C1C"/>
                </a:solidFill>
                <a:effectLst/>
                <a:uLnTx/>
                <a:uFillTx/>
                <a:latin typeface="Arial"/>
                <a:ea typeface="+mn-ea"/>
                <a:cs typeface="+mn-cs"/>
              </a:rPr>
              <a:t>cost</a:t>
            </a:r>
            <a:endParaRPr kumimoji="0" lang="de-DE" sz="1800" b="1" i="0" u="none" strike="noStrike" kern="1200" cap="none" spc="0" normalizeH="0" baseline="0" noProof="0" dirty="0">
              <a:ln>
                <a:noFill/>
              </a:ln>
              <a:solidFill>
                <a:srgbClr val="ED8C1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 typeface="Arial" pitchFamily="34" charset="0"/>
              <a:buNone/>
              <a:tabLst/>
              <a:defRPr/>
            </a:pPr>
            <a:endParaRPr kumimoji="0" lang="en-GB" sz="1800" b="0" i="0" u="none" strike="noStrike" kern="1200" cap="none" spc="0" normalizeH="0" baseline="0" noProof="0" dirty="0">
              <a:ln>
                <a:noFill/>
              </a:ln>
              <a:solidFill>
                <a:srgbClr val="ED8C1C"/>
              </a:solidFill>
              <a:effectLst/>
              <a:uLnTx/>
              <a:uFillTx/>
              <a:latin typeface="Arial"/>
              <a:ea typeface="+mn-ea"/>
              <a:cs typeface="+mn-cs"/>
            </a:endParaRPr>
          </a:p>
        </p:txBody>
      </p:sp>
      <p:sp>
        <p:nvSpPr>
          <p:cNvPr id="10" name="Slide Number Placeholder 3"/>
          <p:cNvSpPr>
            <a:spLocks noGrp="1"/>
          </p:cNvSpPr>
          <p:nvPr>
            <p:ph type="sldNum" sz="quarter" idx="12"/>
          </p:nvPr>
        </p:nvSpPr>
        <p:spPr>
          <a:xfrm>
            <a:off x="8280000" y="6084000"/>
            <a:ext cx="360000" cy="41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de-DE" sz="800" b="0" i="0" u="none" strike="noStrike" kern="1200" cap="none" spc="0" normalizeH="0" baseline="0" noProof="0" smtClean="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800" b="0" i="0" u="none" strike="noStrike" kern="1200" cap="none" spc="0" normalizeH="0" baseline="0" noProof="0" dirty="0">
              <a:ln>
                <a:noFill/>
              </a:ln>
              <a:solidFill>
                <a:srgbClr val="0078DC"/>
              </a:solidFill>
              <a:effectLst/>
              <a:uLnTx/>
              <a:uFillTx/>
              <a:latin typeface="Arial"/>
              <a:ea typeface="+mn-ea"/>
              <a:cs typeface="+mn-cs"/>
            </a:endParaRPr>
          </a:p>
        </p:txBody>
      </p:sp>
      <p:sp>
        <p:nvSpPr>
          <p:cNvPr id="7" name="TextBox 6"/>
          <p:cNvSpPr txBox="1"/>
          <p:nvPr/>
        </p:nvSpPr>
        <p:spPr>
          <a:xfrm>
            <a:off x="1144344" y="5902787"/>
            <a:ext cx="3275256" cy="230832"/>
          </a:xfrm>
          <a:prstGeom prst="rect">
            <a:avLst/>
          </a:prstGeom>
          <a:noFill/>
        </p:spPr>
        <p:txBody>
          <a:bodyPr wrap="square" rtlCol="0">
            <a:spAutoFit/>
          </a:bodyPr>
          <a:lstStyle/>
          <a:p>
            <a:r>
              <a:rPr lang="en-US" sz="900" dirty="0"/>
              <a:t>Sources: Uniper Global Commodities</a:t>
            </a:r>
            <a:endParaRPr lang="ru-RU" sz="900" dirty="0"/>
          </a:p>
        </p:txBody>
      </p:sp>
    </p:spTree>
    <p:extLst>
      <p:ext uri="{BB962C8B-B14F-4D97-AF65-F5344CB8AC3E}">
        <p14:creationId xmlns:p14="http://schemas.microsoft.com/office/powerpoint/2010/main" val="1768203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6" name="think-cell Slide" r:id="rId4" imgW="216" imgH="216" progId="TCLayout.ActiveDocument.1">
                  <p:embed/>
                </p:oleObj>
              </mc:Choice>
              <mc:Fallback>
                <p:oleObj name="think-cell Slide" r:id="rId4" imgW="216" imgH="216"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6" name="Title 1"/>
          <p:cNvSpPr>
            <a:spLocks noGrp="1"/>
          </p:cNvSpPr>
          <p:nvPr>
            <p:ph type="title"/>
          </p:nvPr>
        </p:nvSpPr>
        <p:spPr>
          <a:xfrm>
            <a:off x="504000" y="306000"/>
            <a:ext cx="8136000" cy="508619"/>
          </a:xfrm>
        </p:spPr>
        <p:txBody>
          <a:bodyPr/>
          <a:lstStyle/>
          <a:p>
            <a:r>
              <a:rPr lang="en-US" sz="2400" dirty="0"/>
              <a:t>Business case “small scale LNG”: a growing market</a:t>
            </a:r>
          </a:p>
        </p:txBody>
      </p:sp>
      <p:pic>
        <p:nvPicPr>
          <p:cNvPr id="11" name="Content Placeholder 10"/>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1168400" y="2159000"/>
            <a:ext cx="5695435" cy="4433473"/>
          </a:xfrm>
          <a:blipFill>
            <a:blip r:embed="rId7">
              <a:alphaModFix amt="52000"/>
            </a:blip>
            <a:tile tx="0" ty="0" sx="100000" sy="100000" flip="none" algn="tl"/>
          </a:blipFill>
          <a:ln>
            <a:noFill/>
          </a:ln>
        </p:spPr>
      </p:pic>
      <p:pic>
        <p:nvPicPr>
          <p:cNvPr id="28683" name="Picture 11" descr="Image result for liqvi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93240" y="4122641"/>
            <a:ext cx="733194" cy="32498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334037" y="3859072"/>
            <a:ext cx="668453" cy="107722"/>
          </a:xfrm>
          <a:prstGeom prst="rect">
            <a:avLst/>
          </a:prstGeom>
          <a:solidFill>
            <a:srgbClr val="FFFFFF"/>
          </a:solidFill>
        </p:spPr>
        <p:txBody>
          <a:bodyPr wrap="none" lIns="0" tIns="0" rIns="0" bIns="0" rtlCol="0">
            <a:spAutoFit/>
          </a:bodyPr>
          <a:lstStyle/>
          <a:p>
            <a:r>
              <a:rPr lang="en-GB" sz="700" b="1" dirty="0">
                <a:solidFill>
                  <a:srgbClr val="1C4B80"/>
                </a:solidFill>
              </a:rPr>
              <a:t>Gas Production</a:t>
            </a:r>
          </a:p>
        </p:txBody>
      </p:sp>
      <p:pic>
        <p:nvPicPr>
          <p:cNvPr id="28674" name="Picture 286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32639" y="3248252"/>
            <a:ext cx="467598" cy="390875"/>
          </a:xfrm>
          <a:prstGeom prst="rect">
            <a:avLst/>
          </a:prstGeom>
        </p:spPr>
      </p:pic>
      <p:pic>
        <p:nvPicPr>
          <p:cNvPr id="43" name="Picture 4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68556" y="3293988"/>
            <a:ext cx="467598" cy="390875"/>
          </a:xfrm>
          <a:prstGeom prst="rect">
            <a:avLst/>
          </a:prstGeom>
        </p:spPr>
      </p:pic>
      <p:sp>
        <p:nvSpPr>
          <p:cNvPr id="54" name="TextBox 53"/>
          <p:cNvSpPr txBox="1"/>
          <p:nvPr/>
        </p:nvSpPr>
        <p:spPr>
          <a:xfrm>
            <a:off x="3970204" y="3856412"/>
            <a:ext cx="840956" cy="307777"/>
          </a:xfrm>
          <a:prstGeom prst="rect">
            <a:avLst/>
          </a:prstGeom>
          <a:solidFill>
            <a:srgbClr val="FFFFFF"/>
          </a:solidFill>
        </p:spPr>
        <p:txBody>
          <a:bodyPr wrap="square" lIns="0" tIns="0" rIns="0" bIns="0" rtlCol="0">
            <a:spAutoFit/>
          </a:bodyPr>
          <a:lstStyle/>
          <a:p>
            <a:pPr algn="ctr"/>
            <a:r>
              <a:rPr lang="en-GB" sz="700" b="1" dirty="0">
                <a:solidFill>
                  <a:srgbClr val="1C4B80"/>
                </a:solidFill>
              </a:rPr>
              <a:t>Regasification plant</a:t>
            </a:r>
            <a:br>
              <a:rPr lang="en-GB" sz="700" b="1" dirty="0">
                <a:solidFill>
                  <a:srgbClr val="1C4B80"/>
                </a:solidFill>
              </a:rPr>
            </a:br>
            <a:endParaRPr lang="en-GB" sz="600" b="1" dirty="0">
              <a:solidFill>
                <a:srgbClr val="1C4B80"/>
              </a:solidFill>
            </a:endParaRPr>
          </a:p>
        </p:txBody>
      </p:sp>
      <p:sp>
        <p:nvSpPr>
          <p:cNvPr id="28686" name="Oval 28685"/>
          <p:cNvSpPr/>
          <p:nvPr/>
        </p:nvSpPr>
        <p:spPr>
          <a:xfrm>
            <a:off x="3591712" y="3903408"/>
            <a:ext cx="385534" cy="385534"/>
          </a:xfrm>
          <a:prstGeom prst="ellipse">
            <a:avLst/>
          </a:prstGeom>
          <a:solidFill>
            <a:schemeClr val="bg1"/>
          </a:solidFill>
          <a:ln w="12700">
            <a:solidFill>
              <a:srgbClr val="1C4B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dirty="0">
                <a:solidFill>
                  <a:srgbClr val="1C4B80"/>
                </a:solidFill>
              </a:rPr>
              <a:t>Break bulk</a:t>
            </a:r>
          </a:p>
        </p:txBody>
      </p:sp>
      <p:sp>
        <p:nvSpPr>
          <p:cNvPr id="57" name="TextBox 56"/>
          <p:cNvSpPr txBox="1"/>
          <p:nvPr/>
        </p:nvSpPr>
        <p:spPr>
          <a:xfrm>
            <a:off x="2693719" y="3857858"/>
            <a:ext cx="509755" cy="107722"/>
          </a:xfrm>
          <a:prstGeom prst="rect">
            <a:avLst/>
          </a:prstGeom>
          <a:solidFill>
            <a:srgbClr val="FFFFFF"/>
          </a:solidFill>
        </p:spPr>
        <p:txBody>
          <a:bodyPr wrap="none" lIns="0" tIns="0" rIns="0" bIns="0" rtlCol="0">
            <a:spAutoFit/>
          </a:bodyPr>
          <a:lstStyle/>
          <a:p>
            <a:r>
              <a:rPr lang="en-GB" sz="700" b="1" dirty="0">
                <a:solidFill>
                  <a:srgbClr val="1C4B80"/>
                </a:solidFill>
              </a:rPr>
              <a:t>LNG Carrier</a:t>
            </a:r>
          </a:p>
        </p:txBody>
      </p:sp>
      <p:sp>
        <p:nvSpPr>
          <p:cNvPr id="58" name="TextBox 57"/>
          <p:cNvSpPr txBox="1"/>
          <p:nvPr/>
        </p:nvSpPr>
        <p:spPr>
          <a:xfrm>
            <a:off x="3078645" y="4628879"/>
            <a:ext cx="831615" cy="323165"/>
          </a:xfrm>
          <a:prstGeom prst="rect">
            <a:avLst/>
          </a:prstGeom>
          <a:solidFill>
            <a:srgbClr val="FFFFFF"/>
          </a:solidFill>
        </p:spPr>
        <p:txBody>
          <a:bodyPr wrap="square" lIns="0" tIns="0" rIns="0" bIns="0" rtlCol="0">
            <a:spAutoFit/>
          </a:bodyPr>
          <a:lstStyle/>
          <a:p>
            <a:pPr algn="ctr"/>
            <a:r>
              <a:rPr lang="en-GB" sz="700" b="1" dirty="0">
                <a:solidFill>
                  <a:srgbClr val="1C4B80"/>
                </a:solidFill>
              </a:rPr>
              <a:t>Distribution by Small Scale LNG Carrier</a:t>
            </a:r>
          </a:p>
        </p:txBody>
      </p:sp>
      <p:sp>
        <p:nvSpPr>
          <p:cNvPr id="60" name="TextBox 59"/>
          <p:cNvSpPr txBox="1"/>
          <p:nvPr/>
        </p:nvSpPr>
        <p:spPr>
          <a:xfrm>
            <a:off x="4036321" y="4630507"/>
            <a:ext cx="689830" cy="323165"/>
          </a:xfrm>
          <a:prstGeom prst="rect">
            <a:avLst/>
          </a:prstGeom>
          <a:solidFill>
            <a:srgbClr val="FFFFFF"/>
          </a:solidFill>
        </p:spPr>
        <p:txBody>
          <a:bodyPr wrap="square" lIns="0" tIns="0" rIns="0" bIns="0" rtlCol="0">
            <a:spAutoFit/>
          </a:bodyPr>
          <a:lstStyle/>
          <a:p>
            <a:pPr algn="ctr"/>
            <a:r>
              <a:rPr lang="en-GB" sz="700" b="1" dirty="0">
                <a:solidFill>
                  <a:srgbClr val="1C4B80"/>
                </a:solidFill>
              </a:rPr>
              <a:t>LNG Transport by Truck</a:t>
            </a:r>
          </a:p>
          <a:p>
            <a:pPr algn="ctr"/>
            <a:endParaRPr lang="en-GB" sz="700" b="1" dirty="0">
              <a:solidFill>
                <a:srgbClr val="1C4B80"/>
              </a:solidFill>
            </a:endParaRPr>
          </a:p>
        </p:txBody>
      </p:sp>
      <p:sp>
        <p:nvSpPr>
          <p:cNvPr id="61" name="TextBox 60"/>
          <p:cNvSpPr txBox="1"/>
          <p:nvPr/>
        </p:nvSpPr>
        <p:spPr>
          <a:xfrm>
            <a:off x="3966694" y="2671928"/>
            <a:ext cx="831155" cy="323165"/>
          </a:xfrm>
          <a:prstGeom prst="rect">
            <a:avLst/>
          </a:prstGeom>
          <a:solidFill>
            <a:srgbClr val="FFFFFF"/>
          </a:solidFill>
        </p:spPr>
        <p:txBody>
          <a:bodyPr wrap="square" lIns="0" tIns="0" rIns="0" bIns="0" rtlCol="0">
            <a:spAutoFit/>
          </a:bodyPr>
          <a:lstStyle/>
          <a:p>
            <a:pPr algn="ctr"/>
            <a:r>
              <a:rPr lang="en-GB" sz="700" b="1" dirty="0">
                <a:solidFill>
                  <a:srgbClr val="1C4B80"/>
                </a:solidFill>
              </a:rPr>
              <a:t>Injection in Transportation Network</a:t>
            </a:r>
          </a:p>
        </p:txBody>
      </p:sp>
      <p:sp>
        <p:nvSpPr>
          <p:cNvPr id="62" name="TextBox 61"/>
          <p:cNvSpPr txBox="1"/>
          <p:nvPr/>
        </p:nvSpPr>
        <p:spPr>
          <a:xfrm>
            <a:off x="3965659" y="5435014"/>
            <a:ext cx="831155" cy="215444"/>
          </a:xfrm>
          <a:prstGeom prst="rect">
            <a:avLst/>
          </a:prstGeom>
          <a:solidFill>
            <a:srgbClr val="FFFFFF"/>
          </a:solidFill>
        </p:spPr>
        <p:txBody>
          <a:bodyPr wrap="square" lIns="0" tIns="0" rIns="0" bIns="0" rtlCol="0">
            <a:spAutoFit/>
          </a:bodyPr>
          <a:lstStyle/>
          <a:p>
            <a:pPr algn="ctr"/>
            <a:r>
              <a:rPr lang="en-GB" sz="700" b="1" dirty="0">
                <a:solidFill>
                  <a:srgbClr val="1C4B80"/>
                </a:solidFill>
              </a:rPr>
              <a:t>Secondary Coast Depot</a:t>
            </a:r>
          </a:p>
        </p:txBody>
      </p:sp>
      <p:sp>
        <p:nvSpPr>
          <p:cNvPr id="65" name="TextBox 64"/>
          <p:cNvSpPr txBox="1"/>
          <p:nvPr/>
        </p:nvSpPr>
        <p:spPr>
          <a:xfrm>
            <a:off x="5020259" y="5437378"/>
            <a:ext cx="714110" cy="323165"/>
          </a:xfrm>
          <a:prstGeom prst="rect">
            <a:avLst/>
          </a:prstGeom>
          <a:solidFill>
            <a:srgbClr val="FFFFFF"/>
          </a:solidFill>
        </p:spPr>
        <p:txBody>
          <a:bodyPr wrap="square" lIns="0" tIns="0" rIns="0" bIns="0" rtlCol="0">
            <a:spAutoFit/>
          </a:bodyPr>
          <a:lstStyle/>
          <a:p>
            <a:pPr algn="ctr"/>
            <a:r>
              <a:rPr lang="en-GB" sz="700" b="1" dirty="0">
                <a:solidFill>
                  <a:srgbClr val="1C4B80"/>
                </a:solidFill>
              </a:rPr>
              <a:t>LNG Transport by Truck</a:t>
            </a:r>
          </a:p>
          <a:p>
            <a:pPr algn="ctr"/>
            <a:endParaRPr lang="en-GB" sz="700" b="1" dirty="0">
              <a:solidFill>
                <a:srgbClr val="1C4B80"/>
              </a:solidFill>
            </a:endParaRPr>
          </a:p>
        </p:txBody>
      </p:sp>
      <p:sp>
        <p:nvSpPr>
          <p:cNvPr id="68" name="TextBox 67"/>
          <p:cNvSpPr txBox="1"/>
          <p:nvPr/>
        </p:nvSpPr>
        <p:spPr>
          <a:xfrm>
            <a:off x="4632639" y="6240191"/>
            <a:ext cx="831155" cy="215444"/>
          </a:xfrm>
          <a:prstGeom prst="rect">
            <a:avLst/>
          </a:prstGeom>
          <a:solidFill>
            <a:srgbClr val="FFFFFF"/>
          </a:solidFill>
        </p:spPr>
        <p:txBody>
          <a:bodyPr wrap="square" lIns="0" tIns="0" rIns="0" bIns="0" rtlCol="0">
            <a:spAutoFit/>
          </a:bodyPr>
          <a:lstStyle/>
          <a:p>
            <a:pPr algn="ctr"/>
            <a:r>
              <a:rPr lang="en-GB" sz="700" b="1" dirty="0">
                <a:solidFill>
                  <a:srgbClr val="1C4B80"/>
                </a:solidFill>
              </a:rPr>
              <a:t>LNG-powered ships bunkering</a:t>
            </a:r>
          </a:p>
        </p:txBody>
      </p:sp>
      <p:sp>
        <p:nvSpPr>
          <p:cNvPr id="69" name="TextBox 68"/>
          <p:cNvSpPr txBox="1"/>
          <p:nvPr/>
        </p:nvSpPr>
        <p:spPr>
          <a:xfrm>
            <a:off x="5727655" y="6242765"/>
            <a:ext cx="831155" cy="215444"/>
          </a:xfrm>
          <a:prstGeom prst="rect">
            <a:avLst/>
          </a:prstGeom>
          <a:solidFill>
            <a:srgbClr val="FFFFFF"/>
          </a:solidFill>
        </p:spPr>
        <p:txBody>
          <a:bodyPr wrap="square" lIns="0" tIns="0" rIns="0" bIns="0" rtlCol="0">
            <a:spAutoFit/>
          </a:bodyPr>
          <a:lstStyle/>
          <a:p>
            <a:pPr algn="ctr"/>
            <a:r>
              <a:rPr lang="en-GB" sz="700" b="1" dirty="0">
                <a:solidFill>
                  <a:srgbClr val="1C4B80"/>
                </a:solidFill>
              </a:rPr>
              <a:t>Isolated Areas Power Plant</a:t>
            </a:r>
          </a:p>
        </p:txBody>
      </p:sp>
      <p:sp>
        <p:nvSpPr>
          <p:cNvPr id="70" name="TextBox 69"/>
          <p:cNvSpPr txBox="1"/>
          <p:nvPr/>
        </p:nvSpPr>
        <p:spPr>
          <a:xfrm>
            <a:off x="5753938" y="4761591"/>
            <a:ext cx="885340" cy="123111"/>
          </a:xfrm>
          <a:prstGeom prst="rect">
            <a:avLst/>
          </a:prstGeom>
          <a:solidFill>
            <a:srgbClr val="FFFFFF"/>
          </a:solidFill>
        </p:spPr>
        <p:txBody>
          <a:bodyPr wrap="square" lIns="0" tIns="0" rIns="0" bIns="0" rtlCol="0">
            <a:spAutoFit/>
          </a:bodyPr>
          <a:lstStyle/>
          <a:p>
            <a:pPr algn="ctr"/>
            <a:r>
              <a:rPr lang="en-GB" sz="700" b="1" dirty="0">
                <a:solidFill>
                  <a:srgbClr val="1C4B80"/>
                </a:solidFill>
              </a:rPr>
              <a:t>LNG Powered Truck</a:t>
            </a:r>
          </a:p>
          <a:p>
            <a:pPr algn="ctr"/>
            <a:endParaRPr lang="en-GB" sz="100" b="1" dirty="0">
              <a:solidFill>
                <a:srgbClr val="1C4B80"/>
              </a:solidFill>
            </a:endParaRPr>
          </a:p>
        </p:txBody>
      </p:sp>
      <p:pic>
        <p:nvPicPr>
          <p:cNvPr id="44" name="Picture 43">
            <a:extLst>
              <a:ext uri="{FF2B5EF4-FFF2-40B4-BE49-F238E27FC236}">
                <a16:creationId xmlns:a16="http://schemas.microsoft.com/office/drawing/2014/main" xmlns="" id="{36DD9391-3203-4834-9552-AB1E87BB6E4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38250" y="1337481"/>
            <a:ext cx="2982764" cy="1988509"/>
          </a:xfrm>
          <a:prstGeom prst="rect">
            <a:avLst/>
          </a:prstGeom>
        </p:spPr>
      </p:pic>
      <p:sp>
        <p:nvSpPr>
          <p:cNvPr id="45" name="TextBox 44"/>
          <p:cNvSpPr txBox="1"/>
          <p:nvPr/>
        </p:nvSpPr>
        <p:spPr>
          <a:xfrm>
            <a:off x="1625600" y="6269648"/>
            <a:ext cx="3275256" cy="230832"/>
          </a:xfrm>
          <a:prstGeom prst="rect">
            <a:avLst/>
          </a:prstGeom>
          <a:noFill/>
        </p:spPr>
        <p:txBody>
          <a:bodyPr wrap="square" rtlCol="0">
            <a:spAutoFit/>
          </a:bodyPr>
          <a:lstStyle/>
          <a:p>
            <a:r>
              <a:rPr lang="en-US" sz="900" dirty="0"/>
              <a:t>Sources: Uniper Global Commodities, SSPA</a:t>
            </a:r>
            <a:endParaRPr lang="ru-RU" sz="900" dirty="0"/>
          </a:p>
        </p:txBody>
      </p:sp>
      <p:sp>
        <p:nvSpPr>
          <p:cNvPr id="50" name="Inhaltsplatzhalter 2"/>
          <p:cNvSpPr txBox="1">
            <a:spLocks/>
          </p:cNvSpPr>
          <p:nvPr/>
        </p:nvSpPr>
        <p:spPr>
          <a:xfrm>
            <a:off x="689558" y="1406761"/>
            <a:ext cx="3692155" cy="1240823"/>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r>
              <a:rPr lang="en-US" sz="1400" b="1" dirty="0">
                <a:solidFill>
                  <a:schemeClr val="tx2">
                    <a:lumMod val="75000"/>
                  </a:schemeClr>
                </a:solidFill>
              </a:rPr>
              <a:t>Examples for use of Small Scale LNG:</a:t>
            </a:r>
            <a:endParaRPr lang="ru-RU" sz="1400" b="1" dirty="0">
              <a:solidFill>
                <a:schemeClr val="tx2">
                  <a:lumMod val="75000"/>
                </a:schemeClr>
              </a:solidFill>
            </a:endParaRPr>
          </a:p>
          <a:p>
            <a:pPr lvl="1"/>
            <a:r>
              <a:rPr lang="en-US" sz="1400" dirty="0">
                <a:solidFill>
                  <a:schemeClr val="tx2">
                    <a:lumMod val="75000"/>
                  </a:schemeClr>
                </a:solidFill>
              </a:rPr>
              <a:t>Natural Gas Vehicles</a:t>
            </a:r>
            <a:endParaRPr lang="ru-RU" sz="1400" dirty="0">
              <a:solidFill>
                <a:schemeClr val="tx2">
                  <a:lumMod val="75000"/>
                </a:schemeClr>
              </a:solidFill>
            </a:endParaRPr>
          </a:p>
          <a:p>
            <a:pPr lvl="1"/>
            <a:r>
              <a:rPr lang="en-US" sz="1400" dirty="0">
                <a:solidFill>
                  <a:schemeClr val="tx2">
                    <a:lumMod val="75000"/>
                  </a:schemeClr>
                </a:solidFill>
              </a:rPr>
              <a:t>Bunkering </a:t>
            </a:r>
          </a:p>
          <a:p>
            <a:pPr lvl="1"/>
            <a:r>
              <a:rPr lang="en-US" sz="1400" dirty="0">
                <a:solidFill>
                  <a:schemeClr val="tx2">
                    <a:lumMod val="75000"/>
                  </a:schemeClr>
                </a:solidFill>
              </a:rPr>
              <a:t>Off-Grid solutions </a:t>
            </a:r>
            <a:endParaRPr lang="ru-RU" sz="1400" dirty="0">
              <a:solidFill>
                <a:schemeClr val="tx2">
                  <a:lumMod val="75000"/>
                </a:schemeClr>
              </a:solidFill>
            </a:endParaRPr>
          </a:p>
        </p:txBody>
      </p:sp>
    </p:spTree>
    <p:extLst>
      <p:ext uri="{BB962C8B-B14F-4D97-AF65-F5344CB8AC3E}">
        <p14:creationId xmlns:p14="http://schemas.microsoft.com/office/powerpoint/2010/main" val="8724430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5" name="Object 284" hidden="1">
            <a:extLst>
              <a:ext uri="{FF2B5EF4-FFF2-40B4-BE49-F238E27FC236}">
                <a16:creationId xmlns:a16="http://schemas.microsoft.com/office/drawing/2014/main" xmlns="" id="{775109B6-75B8-4D63-92F0-C5C6D0C37F81}"/>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2" name="think-cell Slide" r:id="rId4" imgW="216" imgH="216" progId="TCLayout.ActiveDocument.1">
                  <p:embed/>
                </p:oleObj>
              </mc:Choice>
              <mc:Fallback>
                <p:oleObj name="think-cell Slide" r:id="rId4" imgW="216" imgH="216" progId="TCLayout.ActiveDocument.1">
                  <p:embed/>
                  <p:pic>
                    <p:nvPicPr>
                      <p:cNvPr id="285" name="Object 284" hidden="1">
                        <a:extLst>
                          <a:ext uri="{FF2B5EF4-FFF2-40B4-BE49-F238E27FC236}">
                            <a16:creationId xmlns:a16="http://schemas.microsoft.com/office/drawing/2014/main" xmlns="" id="{775109B6-75B8-4D63-92F0-C5C6D0C37F8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09FBD40D-15E4-4962-8290-3653425A3066}"/>
              </a:ext>
            </a:extLst>
          </p:cNvPr>
          <p:cNvSpPr>
            <a:spLocks noGrp="1"/>
          </p:cNvSpPr>
          <p:nvPr>
            <p:ph type="title"/>
          </p:nvPr>
        </p:nvSpPr>
        <p:spPr>
          <a:xfrm>
            <a:off x="351600" y="76200"/>
            <a:ext cx="8538400" cy="900000"/>
          </a:xfrm>
        </p:spPr>
        <p:txBody>
          <a:bodyPr/>
          <a:lstStyle/>
          <a:p>
            <a:r>
              <a:rPr lang="en-US" sz="2400"/>
              <a:t>Business case “small scale LNG”: g</a:t>
            </a:r>
            <a:r>
              <a:rPr lang="de-DE" sz="2400"/>
              <a:t>rowth </a:t>
            </a:r>
            <a:r>
              <a:rPr lang="de-DE" sz="2400" dirty="0"/>
              <a:t>potential must </a:t>
            </a:r>
            <a:r>
              <a:rPr lang="de-DE" sz="2400" dirty="0" err="1"/>
              <a:t>be</a:t>
            </a:r>
            <a:r>
              <a:rPr lang="de-DE" sz="2400" dirty="0"/>
              <a:t> </a:t>
            </a:r>
            <a:r>
              <a:rPr lang="de-DE" sz="2400" dirty="0" err="1"/>
              <a:t>tackled</a:t>
            </a:r>
            <a:r>
              <a:rPr lang="de-DE" sz="2400" dirty="0"/>
              <a:t> </a:t>
            </a:r>
            <a:r>
              <a:rPr lang="de-DE" sz="2400" dirty="0" err="1"/>
              <a:t>by</a:t>
            </a:r>
            <a:r>
              <a:rPr lang="de-DE" sz="2400" dirty="0"/>
              <a:t> </a:t>
            </a:r>
            <a:r>
              <a:rPr lang="de-DE" sz="2400" dirty="0" err="1"/>
              <a:t>managing</a:t>
            </a:r>
            <a:r>
              <a:rPr lang="de-DE" sz="2400" dirty="0"/>
              <a:t> </a:t>
            </a:r>
            <a:r>
              <a:rPr lang="de-DE" sz="2400" dirty="0" err="1"/>
              <a:t>complexity</a:t>
            </a:r>
            <a:endParaRPr lang="en-GB" sz="2400" dirty="0"/>
          </a:p>
        </p:txBody>
      </p:sp>
      <p:pic>
        <p:nvPicPr>
          <p:cNvPr id="6" name="Picture 5">
            <a:extLst>
              <a:ext uri="{FF2B5EF4-FFF2-40B4-BE49-F238E27FC236}">
                <a16:creationId xmlns:a16="http://schemas.microsoft.com/office/drawing/2014/main" xmlns="" id="{9B195591-3074-4093-AA2E-8C25F04C9D52}"/>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788" y="1657598"/>
            <a:ext cx="1982416" cy="1073986"/>
          </a:xfrm>
          <a:prstGeom prst="rect">
            <a:avLst/>
          </a:prstGeom>
        </p:spPr>
      </p:pic>
      <p:pic>
        <p:nvPicPr>
          <p:cNvPr id="8" name="Picture 7">
            <a:extLst>
              <a:ext uri="{FF2B5EF4-FFF2-40B4-BE49-F238E27FC236}">
                <a16:creationId xmlns:a16="http://schemas.microsoft.com/office/drawing/2014/main" xmlns="" id="{370F8DDF-C519-4E73-B9F3-71A59D4380D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004210" y="1554884"/>
            <a:ext cx="522656" cy="400796"/>
          </a:xfrm>
          <a:prstGeom prst="rect">
            <a:avLst/>
          </a:prstGeom>
        </p:spPr>
      </p:pic>
      <p:pic>
        <p:nvPicPr>
          <p:cNvPr id="10" name="Picture 9">
            <a:extLst>
              <a:ext uri="{FF2B5EF4-FFF2-40B4-BE49-F238E27FC236}">
                <a16:creationId xmlns:a16="http://schemas.microsoft.com/office/drawing/2014/main" xmlns="" id="{EA4E316D-39D8-4DA5-ABD2-5B61868EFC1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508266" y="1554884"/>
            <a:ext cx="522656" cy="400796"/>
          </a:xfrm>
          <a:prstGeom prst="rect">
            <a:avLst/>
          </a:prstGeom>
        </p:spPr>
      </p:pic>
      <p:pic>
        <p:nvPicPr>
          <p:cNvPr id="11" name="Picture 10">
            <a:extLst>
              <a:ext uri="{FF2B5EF4-FFF2-40B4-BE49-F238E27FC236}">
                <a16:creationId xmlns:a16="http://schemas.microsoft.com/office/drawing/2014/main" xmlns="" id="{9701BFBF-9E9C-45CA-B933-2A2C236B986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012322" y="1554884"/>
            <a:ext cx="522656" cy="400796"/>
          </a:xfrm>
          <a:prstGeom prst="rect">
            <a:avLst/>
          </a:prstGeom>
        </p:spPr>
      </p:pic>
      <p:pic>
        <p:nvPicPr>
          <p:cNvPr id="13" name="Picture 12">
            <a:extLst>
              <a:ext uri="{FF2B5EF4-FFF2-40B4-BE49-F238E27FC236}">
                <a16:creationId xmlns:a16="http://schemas.microsoft.com/office/drawing/2014/main" xmlns="" id="{C91CC174-7F3F-41B2-9312-2C9D5792E12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004210" y="1989960"/>
            <a:ext cx="522656" cy="400796"/>
          </a:xfrm>
          <a:prstGeom prst="rect">
            <a:avLst/>
          </a:prstGeom>
        </p:spPr>
      </p:pic>
      <p:pic>
        <p:nvPicPr>
          <p:cNvPr id="14" name="Picture 13">
            <a:extLst>
              <a:ext uri="{FF2B5EF4-FFF2-40B4-BE49-F238E27FC236}">
                <a16:creationId xmlns:a16="http://schemas.microsoft.com/office/drawing/2014/main" xmlns="" id="{2EDB6C46-8CFE-4B9D-970E-CB9AE3372B6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508266" y="1989960"/>
            <a:ext cx="522656" cy="400796"/>
          </a:xfrm>
          <a:prstGeom prst="rect">
            <a:avLst/>
          </a:prstGeom>
        </p:spPr>
      </p:pic>
      <p:pic>
        <p:nvPicPr>
          <p:cNvPr id="15" name="Picture 14">
            <a:extLst>
              <a:ext uri="{FF2B5EF4-FFF2-40B4-BE49-F238E27FC236}">
                <a16:creationId xmlns:a16="http://schemas.microsoft.com/office/drawing/2014/main" xmlns="" id="{52399C61-378B-4808-84CB-BFF7943ECC8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012322" y="1989960"/>
            <a:ext cx="522656" cy="400796"/>
          </a:xfrm>
          <a:prstGeom prst="rect">
            <a:avLst/>
          </a:prstGeom>
        </p:spPr>
      </p:pic>
      <p:pic>
        <p:nvPicPr>
          <p:cNvPr id="16" name="Picture 15">
            <a:extLst>
              <a:ext uri="{FF2B5EF4-FFF2-40B4-BE49-F238E27FC236}">
                <a16:creationId xmlns:a16="http://schemas.microsoft.com/office/drawing/2014/main" xmlns="" id="{34724F9D-AD10-4AE5-A294-A9C93DE3A10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516378" y="1989960"/>
            <a:ext cx="522656" cy="400796"/>
          </a:xfrm>
          <a:prstGeom prst="rect">
            <a:avLst/>
          </a:prstGeom>
        </p:spPr>
      </p:pic>
      <p:pic>
        <p:nvPicPr>
          <p:cNvPr id="17" name="Picture 16">
            <a:extLst>
              <a:ext uri="{FF2B5EF4-FFF2-40B4-BE49-F238E27FC236}">
                <a16:creationId xmlns:a16="http://schemas.microsoft.com/office/drawing/2014/main" xmlns="" id="{5CE240B2-B15F-4915-88E3-79835805252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004210" y="2422008"/>
            <a:ext cx="522656" cy="400796"/>
          </a:xfrm>
          <a:prstGeom prst="rect">
            <a:avLst/>
          </a:prstGeom>
        </p:spPr>
      </p:pic>
      <p:pic>
        <p:nvPicPr>
          <p:cNvPr id="18" name="Picture 17">
            <a:extLst>
              <a:ext uri="{FF2B5EF4-FFF2-40B4-BE49-F238E27FC236}">
                <a16:creationId xmlns:a16="http://schemas.microsoft.com/office/drawing/2014/main" xmlns="" id="{14BEA7F4-798A-4EF2-80C6-B7381FD2BA2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508266" y="2422008"/>
            <a:ext cx="522656" cy="400796"/>
          </a:xfrm>
          <a:prstGeom prst="rect">
            <a:avLst/>
          </a:prstGeom>
        </p:spPr>
      </p:pic>
      <p:pic>
        <p:nvPicPr>
          <p:cNvPr id="19" name="Picture 18">
            <a:extLst>
              <a:ext uri="{FF2B5EF4-FFF2-40B4-BE49-F238E27FC236}">
                <a16:creationId xmlns:a16="http://schemas.microsoft.com/office/drawing/2014/main" xmlns="" id="{128EF5D3-77E7-493B-B00E-3ED19ED86BA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012322" y="2422008"/>
            <a:ext cx="522656" cy="400796"/>
          </a:xfrm>
          <a:prstGeom prst="rect">
            <a:avLst/>
          </a:prstGeom>
        </p:spPr>
      </p:pic>
      <p:pic>
        <p:nvPicPr>
          <p:cNvPr id="20" name="Picture 19">
            <a:extLst>
              <a:ext uri="{FF2B5EF4-FFF2-40B4-BE49-F238E27FC236}">
                <a16:creationId xmlns:a16="http://schemas.microsoft.com/office/drawing/2014/main" xmlns="" id="{5FA5AF87-E9FD-462A-877F-0F00F973905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516378" y="2422008"/>
            <a:ext cx="522656" cy="400796"/>
          </a:xfrm>
          <a:prstGeom prst="rect">
            <a:avLst/>
          </a:prstGeom>
        </p:spPr>
      </p:pic>
      <p:pic>
        <p:nvPicPr>
          <p:cNvPr id="21" name="Picture 20">
            <a:extLst>
              <a:ext uri="{FF2B5EF4-FFF2-40B4-BE49-F238E27FC236}">
                <a16:creationId xmlns:a16="http://schemas.microsoft.com/office/drawing/2014/main" xmlns="" id="{C032667A-806C-4B25-9AD6-C3330485B48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004210" y="2854056"/>
            <a:ext cx="522656" cy="400796"/>
          </a:xfrm>
          <a:prstGeom prst="rect">
            <a:avLst/>
          </a:prstGeom>
        </p:spPr>
      </p:pic>
      <p:pic>
        <p:nvPicPr>
          <p:cNvPr id="22" name="Picture 21">
            <a:extLst>
              <a:ext uri="{FF2B5EF4-FFF2-40B4-BE49-F238E27FC236}">
                <a16:creationId xmlns:a16="http://schemas.microsoft.com/office/drawing/2014/main" xmlns="" id="{E222BF50-CD57-4735-917A-696BE2E37B2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508266" y="2854056"/>
            <a:ext cx="522656" cy="400796"/>
          </a:xfrm>
          <a:prstGeom prst="rect">
            <a:avLst/>
          </a:prstGeom>
        </p:spPr>
      </p:pic>
      <p:pic>
        <p:nvPicPr>
          <p:cNvPr id="23" name="Picture 22">
            <a:extLst>
              <a:ext uri="{FF2B5EF4-FFF2-40B4-BE49-F238E27FC236}">
                <a16:creationId xmlns:a16="http://schemas.microsoft.com/office/drawing/2014/main" xmlns="" id="{5FFCC5D3-89DD-49AB-9A78-CBEB0338028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012322" y="2854056"/>
            <a:ext cx="522656" cy="400796"/>
          </a:xfrm>
          <a:prstGeom prst="rect">
            <a:avLst/>
          </a:prstGeom>
        </p:spPr>
      </p:pic>
      <p:pic>
        <p:nvPicPr>
          <p:cNvPr id="24" name="Picture 23">
            <a:extLst>
              <a:ext uri="{FF2B5EF4-FFF2-40B4-BE49-F238E27FC236}">
                <a16:creationId xmlns:a16="http://schemas.microsoft.com/office/drawing/2014/main" xmlns="" id="{BB6324F1-DC3D-4C69-8A36-DF9936F27D7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516378" y="2854056"/>
            <a:ext cx="522656" cy="400796"/>
          </a:xfrm>
          <a:prstGeom prst="rect">
            <a:avLst/>
          </a:prstGeom>
        </p:spPr>
      </p:pic>
      <p:pic>
        <p:nvPicPr>
          <p:cNvPr id="25" name="Picture 24">
            <a:extLst>
              <a:ext uri="{FF2B5EF4-FFF2-40B4-BE49-F238E27FC236}">
                <a16:creationId xmlns:a16="http://schemas.microsoft.com/office/drawing/2014/main" xmlns="" id="{B800ED9C-1AE1-470B-8EE7-8D11D63504E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004210" y="3286104"/>
            <a:ext cx="522656" cy="400796"/>
          </a:xfrm>
          <a:prstGeom prst="rect">
            <a:avLst/>
          </a:prstGeom>
        </p:spPr>
      </p:pic>
      <p:pic>
        <p:nvPicPr>
          <p:cNvPr id="26" name="Picture 25">
            <a:extLst>
              <a:ext uri="{FF2B5EF4-FFF2-40B4-BE49-F238E27FC236}">
                <a16:creationId xmlns:a16="http://schemas.microsoft.com/office/drawing/2014/main" xmlns="" id="{174FC930-2F1C-4A70-831B-D5231995B2D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3508266" y="3286104"/>
            <a:ext cx="522656" cy="400796"/>
          </a:xfrm>
          <a:prstGeom prst="rect">
            <a:avLst/>
          </a:prstGeom>
        </p:spPr>
      </p:pic>
      <p:pic>
        <p:nvPicPr>
          <p:cNvPr id="27" name="Picture 26">
            <a:extLst>
              <a:ext uri="{FF2B5EF4-FFF2-40B4-BE49-F238E27FC236}">
                <a16:creationId xmlns:a16="http://schemas.microsoft.com/office/drawing/2014/main" xmlns="" id="{FE938F79-734C-4D9A-B6EC-910F45EB7B0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012322" y="3286104"/>
            <a:ext cx="522656" cy="400796"/>
          </a:xfrm>
          <a:prstGeom prst="rect">
            <a:avLst/>
          </a:prstGeom>
        </p:spPr>
      </p:pic>
      <p:pic>
        <p:nvPicPr>
          <p:cNvPr id="28" name="Picture 27">
            <a:extLst>
              <a:ext uri="{FF2B5EF4-FFF2-40B4-BE49-F238E27FC236}">
                <a16:creationId xmlns:a16="http://schemas.microsoft.com/office/drawing/2014/main" xmlns="" id="{7F67BADF-C87B-46E5-8612-694D08541A3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516378" y="3286104"/>
            <a:ext cx="522656" cy="400796"/>
          </a:xfrm>
          <a:prstGeom prst="rect">
            <a:avLst/>
          </a:prstGeom>
        </p:spPr>
      </p:pic>
      <p:grpSp>
        <p:nvGrpSpPr>
          <p:cNvPr id="31" name="Group 30">
            <a:extLst>
              <a:ext uri="{FF2B5EF4-FFF2-40B4-BE49-F238E27FC236}">
                <a16:creationId xmlns:a16="http://schemas.microsoft.com/office/drawing/2014/main" xmlns="" id="{E315FD06-22D9-41F3-9B27-90207D4A8135}"/>
              </a:ext>
            </a:extLst>
          </p:cNvPr>
          <p:cNvGrpSpPr/>
          <p:nvPr/>
        </p:nvGrpSpPr>
        <p:grpSpPr>
          <a:xfrm>
            <a:off x="5868144" y="1183771"/>
            <a:ext cx="1450425" cy="954979"/>
            <a:chOff x="5220072" y="4365104"/>
            <a:chExt cx="3528392" cy="2323138"/>
          </a:xfrm>
        </p:grpSpPr>
        <p:pic>
          <p:nvPicPr>
            <p:cNvPr id="12" name="Picture 11">
              <a:extLst>
                <a:ext uri="{FF2B5EF4-FFF2-40B4-BE49-F238E27FC236}">
                  <a16:creationId xmlns:a16="http://schemas.microsoft.com/office/drawing/2014/main" xmlns="" id="{FC3D5229-63B7-4370-81D0-613F53A043D1}"/>
                </a:ext>
              </a:extLst>
            </p:cNvPr>
            <p:cNvPicPr>
              <a:picLocks noChangeAspect="1"/>
            </p:cNvPicPr>
            <p:nvPr/>
          </p:nvPicPr>
          <p:blipFill rotWithShape="1">
            <a:blip r:embed="rId8">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30" name="Picture 29">
              <a:extLst>
                <a:ext uri="{FF2B5EF4-FFF2-40B4-BE49-F238E27FC236}">
                  <a16:creationId xmlns:a16="http://schemas.microsoft.com/office/drawing/2014/main" xmlns="" id="{0A5D9EBE-40C1-408B-81A7-0B7F384D9980}"/>
                </a:ext>
              </a:extLst>
            </p:cNvPr>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pic>
        <p:nvPicPr>
          <p:cNvPr id="32" name="Picture 31">
            <a:extLst>
              <a:ext uri="{FF2B5EF4-FFF2-40B4-BE49-F238E27FC236}">
                <a16:creationId xmlns:a16="http://schemas.microsoft.com/office/drawing/2014/main" xmlns="" id="{0B913A22-D19A-427D-8777-87C6F87BAB5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8577"/>
          <a:stretch/>
        </p:blipFill>
        <p:spPr>
          <a:xfrm>
            <a:off x="4522098" y="1537794"/>
            <a:ext cx="522656" cy="400796"/>
          </a:xfrm>
          <a:prstGeom prst="rect">
            <a:avLst/>
          </a:prstGeom>
        </p:spPr>
      </p:pic>
      <p:grpSp>
        <p:nvGrpSpPr>
          <p:cNvPr id="57" name="Group 56">
            <a:extLst>
              <a:ext uri="{FF2B5EF4-FFF2-40B4-BE49-F238E27FC236}">
                <a16:creationId xmlns:a16="http://schemas.microsoft.com/office/drawing/2014/main" xmlns="" id="{320F94FE-BEC7-49F3-BBB9-6FED06EA5D73}"/>
              </a:ext>
            </a:extLst>
          </p:cNvPr>
          <p:cNvGrpSpPr/>
          <p:nvPr/>
        </p:nvGrpSpPr>
        <p:grpSpPr>
          <a:xfrm>
            <a:off x="7386906" y="1140786"/>
            <a:ext cx="329140" cy="216710"/>
            <a:chOff x="5220072" y="4365104"/>
            <a:chExt cx="3528392" cy="2323138"/>
          </a:xfrm>
        </p:grpSpPr>
        <p:pic>
          <p:nvPicPr>
            <p:cNvPr id="58" name="Picture 57">
              <a:extLst>
                <a:ext uri="{FF2B5EF4-FFF2-40B4-BE49-F238E27FC236}">
                  <a16:creationId xmlns:a16="http://schemas.microsoft.com/office/drawing/2014/main" xmlns="" id="{5027BECD-0B4B-4B68-B5AA-17A1435121E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59" name="Picture 58">
              <a:extLst>
                <a:ext uri="{FF2B5EF4-FFF2-40B4-BE49-F238E27FC236}">
                  <a16:creationId xmlns:a16="http://schemas.microsoft.com/office/drawing/2014/main" xmlns="" id="{99D06040-A797-4C4C-90CB-2A140213985C}"/>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60" name="Group 59">
            <a:extLst>
              <a:ext uri="{FF2B5EF4-FFF2-40B4-BE49-F238E27FC236}">
                <a16:creationId xmlns:a16="http://schemas.microsoft.com/office/drawing/2014/main" xmlns="" id="{85F2ECF6-7445-4561-A8F9-6346EA2227D8}"/>
              </a:ext>
            </a:extLst>
          </p:cNvPr>
          <p:cNvGrpSpPr/>
          <p:nvPr/>
        </p:nvGrpSpPr>
        <p:grpSpPr>
          <a:xfrm>
            <a:off x="7386906" y="1416526"/>
            <a:ext cx="329140" cy="216710"/>
            <a:chOff x="5220072" y="4365104"/>
            <a:chExt cx="3528392" cy="2323138"/>
          </a:xfrm>
        </p:grpSpPr>
        <p:pic>
          <p:nvPicPr>
            <p:cNvPr id="61" name="Picture 60">
              <a:extLst>
                <a:ext uri="{FF2B5EF4-FFF2-40B4-BE49-F238E27FC236}">
                  <a16:creationId xmlns:a16="http://schemas.microsoft.com/office/drawing/2014/main" xmlns="" id="{B7DEDDED-3BC4-46F3-AF2C-472973F05F3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62" name="Picture 61">
              <a:extLst>
                <a:ext uri="{FF2B5EF4-FFF2-40B4-BE49-F238E27FC236}">
                  <a16:creationId xmlns:a16="http://schemas.microsoft.com/office/drawing/2014/main" xmlns="" id="{FBAC8A56-8ECA-4BE4-A85D-0775A1506168}"/>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63" name="Group 62">
            <a:extLst>
              <a:ext uri="{FF2B5EF4-FFF2-40B4-BE49-F238E27FC236}">
                <a16:creationId xmlns:a16="http://schemas.microsoft.com/office/drawing/2014/main" xmlns="" id="{3054EF89-9188-49F7-B552-69833A6A35D3}"/>
              </a:ext>
            </a:extLst>
          </p:cNvPr>
          <p:cNvGrpSpPr/>
          <p:nvPr/>
        </p:nvGrpSpPr>
        <p:grpSpPr>
          <a:xfrm>
            <a:off x="7386906" y="1692267"/>
            <a:ext cx="329140" cy="216710"/>
            <a:chOff x="5220072" y="4365104"/>
            <a:chExt cx="3528392" cy="2323138"/>
          </a:xfrm>
        </p:grpSpPr>
        <p:pic>
          <p:nvPicPr>
            <p:cNvPr id="64" name="Picture 63">
              <a:extLst>
                <a:ext uri="{FF2B5EF4-FFF2-40B4-BE49-F238E27FC236}">
                  <a16:creationId xmlns:a16="http://schemas.microsoft.com/office/drawing/2014/main" xmlns="" id="{4765923F-9638-437B-B863-D02DA186829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65" name="Picture 64">
              <a:extLst>
                <a:ext uri="{FF2B5EF4-FFF2-40B4-BE49-F238E27FC236}">
                  <a16:creationId xmlns:a16="http://schemas.microsoft.com/office/drawing/2014/main" xmlns="" id="{B746D5E3-25A6-4137-8BDB-38FB95534A3E}"/>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66" name="Group 65">
            <a:extLst>
              <a:ext uri="{FF2B5EF4-FFF2-40B4-BE49-F238E27FC236}">
                <a16:creationId xmlns:a16="http://schemas.microsoft.com/office/drawing/2014/main" xmlns="" id="{A79F4F10-9275-4DCD-85DD-AA7961186226}"/>
              </a:ext>
            </a:extLst>
          </p:cNvPr>
          <p:cNvGrpSpPr/>
          <p:nvPr/>
        </p:nvGrpSpPr>
        <p:grpSpPr>
          <a:xfrm>
            <a:off x="7770949" y="1140786"/>
            <a:ext cx="329140" cy="216710"/>
            <a:chOff x="5220072" y="4365104"/>
            <a:chExt cx="3528392" cy="2323138"/>
          </a:xfrm>
        </p:grpSpPr>
        <p:pic>
          <p:nvPicPr>
            <p:cNvPr id="67" name="Picture 66">
              <a:extLst>
                <a:ext uri="{FF2B5EF4-FFF2-40B4-BE49-F238E27FC236}">
                  <a16:creationId xmlns:a16="http://schemas.microsoft.com/office/drawing/2014/main" xmlns="" id="{DCD80436-11C2-4B29-8224-90E5E49AA03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68" name="Picture 67">
              <a:extLst>
                <a:ext uri="{FF2B5EF4-FFF2-40B4-BE49-F238E27FC236}">
                  <a16:creationId xmlns:a16="http://schemas.microsoft.com/office/drawing/2014/main" xmlns="" id="{B4F2C72F-7631-4B70-877D-B214F7AB2CA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69" name="Group 68">
            <a:extLst>
              <a:ext uri="{FF2B5EF4-FFF2-40B4-BE49-F238E27FC236}">
                <a16:creationId xmlns:a16="http://schemas.microsoft.com/office/drawing/2014/main" xmlns="" id="{98FEB99E-F3E4-48FB-80EA-D955800B8B78}"/>
              </a:ext>
            </a:extLst>
          </p:cNvPr>
          <p:cNvGrpSpPr/>
          <p:nvPr/>
        </p:nvGrpSpPr>
        <p:grpSpPr>
          <a:xfrm>
            <a:off x="7770949" y="1416526"/>
            <a:ext cx="329140" cy="216710"/>
            <a:chOff x="5220072" y="4365104"/>
            <a:chExt cx="3528392" cy="2323138"/>
          </a:xfrm>
        </p:grpSpPr>
        <p:pic>
          <p:nvPicPr>
            <p:cNvPr id="70" name="Picture 69">
              <a:extLst>
                <a:ext uri="{FF2B5EF4-FFF2-40B4-BE49-F238E27FC236}">
                  <a16:creationId xmlns:a16="http://schemas.microsoft.com/office/drawing/2014/main" xmlns="" id="{6675AC0D-9AB0-466B-9845-FB170779066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71" name="Picture 70">
              <a:extLst>
                <a:ext uri="{FF2B5EF4-FFF2-40B4-BE49-F238E27FC236}">
                  <a16:creationId xmlns:a16="http://schemas.microsoft.com/office/drawing/2014/main" xmlns="" id="{551CB22B-D598-4C60-A3DE-FAE46D142332}"/>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72" name="Group 71">
            <a:extLst>
              <a:ext uri="{FF2B5EF4-FFF2-40B4-BE49-F238E27FC236}">
                <a16:creationId xmlns:a16="http://schemas.microsoft.com/office/drawing/2014/main" xmlns="" id="{53BEB089-6025-4D2D-AD84-7B2255ED4736}"/>
              </a:ext>
            </a:extLst>
          </p:cNvPr>
          <p:cNvGrpSpPr/>
          <p:nvPr/>
        </p:nvGrpSpPr>
        <p:grpSpPr>
          <a:xfrm>
            <a:off x="7770949" y="1692267"/>
            <a:ext cx="329140" cy="216710"/>
            <a:chOff x="5220072" y="4365104"/>
            <a:chExt cx="3528392" cy="2323138"/>
          </a:xfrm>
        </p:grpSpPr>
        <p:pic>
          <p:nvPicPr>
            <p:cNvPr id="73" name="Picture 72">
              <a:extLst>
                <a:ext uri="{FF2B5EF4-FFF2-40B4-BE49-F238E27FC236}">
                  <a16:creationId xmlns:a16="http://schemas.microsoft.com/office/drawing/2014/main" xmlns="" id="{0B213331-0BC4-4229-B69A-E14510B063A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74" name="Picture 73">
              <a:extLst>
                <a:ext uri="{FF2B5EF4-FFF2-40B4-BE49-F238E27FC236}">
                  <a16:creationId xmlns:a16="http://schemas.microsoft.com/office/drawing/2014/main" xmlns="" id="{371AA02F-7C18-4F14-9AF3-EBBB5256E995}"/>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75" name="Group 74">
            <a:extLst>
              <a:ext uri="{FF2B5EF4-FFF2-40B4-BE49-F238E27FC236}">
                <a16:creationId xmlns:a16="http://schemas.microsoft.com/office/drawing/2014/main" xmlns="" id="{FFA489B2-6F97-481B-B714-D37AD0557113}"/>
              </a:ext>
            </a:extLst>
          </p:cNvPr>
          <p:cNvGrpSpPr/>
          <p:nvPr/>
        </p:nvGrpSpPr>
        <p:grpSpPr>
          <a:xfrm>
            <a:off x="8154991" y="1140786"/>
            <a:ext cx="329140" cy="216710"/>
            <a:chOff x="5220072" y="4365104"/>
            <a:chExt cx="3528392" cy="2323138"/>
          </a:xfrm>
        </p:grpSpPr>
        <p:pic>
          <p:nvPicPr>
            <p:cNvPr id="76" name="Picture 75">
              <a:extLst>
                <a:ext uri="{FF2B5EF4-FFF2-40B4-BE49-F238E27FC236}">
                  <a16:creationId xmlns:a16="http://schemas.microsoft.com/office/drawing/2014/main" xmlns="" id="{00125997-F367-4F71-AE67-5CDA8D0FC26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77" name="Picture 76">
              <a:extLst>
                <a:ext uri="{FF2B5EF4-FFF2-40B4-BE49-F238E27FC236}">
                  <a16:creationId xmlns:a16="http://schemas.microsoft.com/office/drawing/2014/main" xmlns="" id="{FBD73D0A-1146-41B5-86BF-125ACD80AC9D}"/>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78" name="Group 77">
            <a:extLst>
              <a:ext uri="{FF2B5EF4-FFF2-40B4-BE49-F238E27FC236}">
                <a16:creationId xmlns:a16="http://schemas.microsoft.com/office/drawing/2014/main" xmlns="" id="{B6F9F624-5B68-4C81-B134-7444B377D393}"/>
              </a:ext>
            </a:extLst>
          </p:cNvPr>
          <p:cNvGrpSpPr/>
          <p:nvPr/>
        </p:nvGrpSpPr>
        <p:grpSpPr>
          <a:xfrm>
            <a:off x="8154991" y="1416526"/>
            <a:ext cx="329140" cy="216710"/>
            <a:chOff x="5220072" y="4365104"/>
            <a:chExt cx="3528392" cy="2323138"/>
          </a:xfrm>
        </p:grpSpPr>
        <p:pic>
          <p:nvPicPr>
            <p:cNvPr id="79" name="Picture 78">
              <a:extLst>
                <a:ext uri="{FF2B5EF4-FFF2-40B4-BE49-F238E27FC236}">
                  <a16:creationId xmlns:a16="http://schemas.microsoft.com/office/drawing/2014/main" xmlns="" id="{766523A8-AD74-401A-BAEF-2FEA10D3041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80" name="Picture 79">
              <a:extLst>
                <a:ext uri="{FF2B5EF4-FFF2-40B4-BE49-F238E27FC236}">
                  <a16:creationId xmlns:a16="http://schemas.microsoft.com/office/drawing/2014/main" xmlns="" id="{E2D7DB46-5521-46B9-9D75-148401E36B60}"/>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81" name="Group 80">
            <a:extLst>
              <a:ext uri="{FF2B5EF4-FFF2-40B4-BE49-F238E27FC236}">
                <a16:creationId xmlns:a16="http://schemas.microsoft.com/office/drawing/2014/main" xmlns="" id="{42F26CA2-4CFE-404D-B7A9-CFB04DB3E527}"/>
              </a:ext>
            </a:extLst>
          </p:cNvPr>
          <p:cNvGrpSpPr/>
          <p:nvPr/>
        </p:nvGrpSpPr>
        <p:grpSpPr>
          <a:xfrm>
            <a:off x="8154991" y="1692267"/>
            <a:ext cx="329140" cy="216710"/>
            <a:chOff x="5220072" y="4365104"/>
            <a:chExt cx="3528392" cy="2323138"/>
          </a:xfrm>
        </p:grpSpPr>
        <p:pic>
          <p:nvPicPr>
            <p:cNvPr id="82" name="Picture 81">
              <a:extLst>
                <a:ext uri="{FF2B5EF4-FFF2-40B4-BE49-F238E27FC236}">
                  <a16:creationId xmlns:a16="http://schemas.microsoft.com/office/drawing/2014/main" xmlns="" id="{FD573F38-109E-440D-9079-B15814107EE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83" name="Picture 82">
              <a:extLst>
                <a:ext uri="{FF2B5EF4-FFF2-40B4-BE49-F238E27FC236}">
                  <a16:creationId xmlns:a16="http://schemas.microsoft.com/office/drawing/2014/main" xmlns="" id="{1EC139FC-A225-4A8D-A79C-24204D560897}"/>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87" name="Group 86">
            <a:extLst>
              <a:ext uri="{FF2B5EF4-FFF2-40B4-BE49-F238E27FC236}">
                <a16:creationId xmlns:a16="http://schemas.microsoft.com/office/drawing/2014/main" xmlns="" id="{E2B0F1B4-1AD1-4C45-8E72-480B510E2FE7}"/>
              </a:ext>
            </a:extLst>
          </p:cNvPr>
          <p:cNvGrpSpPr/>
          <p:nvPr/>
        </p:nvGrpSpPr>
        <p:grpSpPr>
          <a:xfrm>
            <a:off x="7011567" y="2214230"/>
            <a:ext cx="329140" cy="216710"/>
            <a:chOff x="5220072" y="4365104"/>
            <a:chExt cx="3528392" cy="2323138"/>
          </a:xfrm>
        </p:grpSpPr>
        <p:pic>
          <p:nvPicPr>
            <p:cNvPr id="88" name="Picture 87">
              <a:extLst>
                <a:ext uri="{FF2B5EF4-FFF2-40B4-BE49-F238E27FC236}">
                  <a16:creationId xmlns:a16="http://schemas.microsoft.com/office/drawing/2014/main" xmlns="" id="{90CBEFA7-8CD5-4319-AFDF-FD09F081E64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89" name="Picture 88">
              <a:extLst>
                <a:ext uri="{FF2B5EF4-FFF2-40B4-BE49-F238E27FC236}">
                  <a16:creationId xmlns:a16="http://schemas.microsoft.com/office/drawing/2014/main" xmlns="" id="{ECF53564-BF2D-439A-8A9E-7BD38B056B0F}"/>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90" name="Group 89">
            <a:extLst>
              <a:ext uri="{FF2B5EF4-FFF2-40B4-BE49-F238E27FC236}">
                <a16:creationId xmlns:a16="http://schemas.microsoft.com/office/drawing/2014/main" xmlns="" id="{C8B390D0-449F-4A51-8AE3-B57B6A0F9DE3}"/>
              </a:ext>
            </a:extLst>
          </p:cNvPr>
          <p:cNvGrpSpPr/>
          <p:nvPr/>
        </p:nvGrpSpPr>
        <p:grpSpPr>
          <a:xfrm>
            <a:off x="7011796" y="2509888"/>
            <a:ext cx="329140" cy="216710"/>
            <a:chOff x="5220072" y="4365104"/>
            <a:chExt cx="3528392" cy="2323138"/>
          </a:xfrm>
        </p:grpSpPr>
        <p:pic>
          <p:nvPicPr>
            <p:cNvPr id="91" name="Picture 90">
              <a:extLst>
                <a:ext uri="{FF2B5EF4-FFF2-40B4-BE49-F238E27FC236}">
                  <a16:creationId xmlns:a16="http://schemas.microsoft.com/office/drawing/2014/main" xmlns="" id="{91B6D16C-5532-488D-9EAD-1759764C4C3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92" name="Picture 91">
              <a:extLst>
                <a:ext uri="{FF2B5EF4-FFF2-40B4-BE49-F238E27FC236}">
                  <a16:creationId xmlns:a16="http://schemas.microsoft.com/office/drawing/2014/main" xmlns="" id="{6A027FBA-59BE-4342-B6F3-7380BE44586F}"/>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93" name="Group 92">
            <a:extLst>
              <a:ext uri="{FF2B5EF4-FFF2-40B4-BE49-F238E27FC236}">
                <a16:creationId xmlns:a16="http://schemas.microsoft.com/office/drawing/2014/main" xmlns="" id="{D9BE457E-B506-425B-A54A-7DA9FF33251F}"/>
              </a:ext>
            </a:extLst>
          </p:cNvPr>
          <p:cNvGrpSpPr/>
          <p:nvPr/>
        </p:nvGrpSpPr>
        <p:grpSpPr>
          <a:xfrm>
            <a:off x="7392708" y="1938490"/>
            <a:ext cx="329140" cy="216710"/>
            <a:chOff x="5220072" y="4365104"/>
            <a:chExt cx="3528392" cy="2323138"/>
          </a:xfrm>
        </p:grpSpPr>
        <p:pic>
          <p:nvPicPr>
            <p:cNvPr id="94" name="Picture 93">
              <a:extLst>
                <a:ext uri="{FF2B5EF4-FFF2-40B4-BE49-F238E27FC236}">
                  <a16:creationId xmlns:a16="http://schemas.microsoft.com/office/drawing/2014/main" xmlns="" id="{DB1D7122-2BAE-4D36-B01D-F4C58F158B7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95" name="Picture 94">
              <a:extLst>
                <a:ext uri="{FF2B5EF4-FFF2-40B4-BE49-F238E27FC236}">
                  <a16:creationId xmlns:a16="http://schemas.microsoft.com/office/drawing/2014/main" xmlns="" id="{EA084D45-C539-48AE-A797-B42A2D5A86A7}"/>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96" name="Group 95">
            <a:extLst>
              <a:ext uri="{FF2B5EF4-FFF2-40B4-BE49-F238E27FC236}">
                <a16:creationId xmlns:a16="http://schemas.microsoft.com/office/drawing/2014/main" xmlns="" id="{7B532019-2639-4100-B754-6ED1BB3C4AF4}"/>
              </a:ext>
            </a:extLst>
          </p:cNvPr>
          <p:cNvGrpSpPr/>
          <p:nvPr/>
        </p:nvGrpSpPr>
        <p:grpSpPr>
          <a:xfrm>
            <a:off x="7392708" y="2214230"/>
            <a:ext cx="329140" cy="216710"/>
            <a:chOff x="5220072" y="4365104"/>
            <a:chExt cx="3528392" cy="2323138"/>
          </a:xfrm>
        </p:grpSpPr>
        <p:pic>
          <p:nvPicPr>
            <p:cNvPr id="97" name="Picture 96">
              <a:extLst>
                <a:ext uri="{FF2B5EF4-FFF2-40B4-BE49-F238E27FC236}">
                  <a16:creationId xmlns:a16="http://schemas.microsoft.com/office/drawing/2014/main" xmlns="" id="{948CA6BA-5134-4EAA-BFBC-FF051F28F4A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98" name="Picture 97">
              <a:extLst>
                <a:ext uri="{FF2B5EF4-FFF2-40B4-BE49-F238E27FC236}">
                  <a16:creationId xmlns:a16="http://schemas.microsoft.com/office/drawing/2014/main" xmlns="" id="{144FDFDA-89AD-4C05-A925-16190562E23F}"/>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99" name="Group 98">
            <a:extLst>
              <a:ext uri="{FF2B5EF4-FFF2-40B4-BE49-F238E27FC236}">
                <a16:creationId xmlns:a16="http://schemas.microsoft.com/office/drawing/2014/main" xmlns="" id="{9C6C10D4-D681-405D-847F-311B634AA13C}"/>
              </a:ext>
            </a:extLst>
          </p:cNvPr>
          <p:cNvGrpSpPr/>
          <p:nvPr/>
        </p:nvGrpSpPr>
        <p:grpSpPr>
          <a:xfrm>
            <a:off x="7392861" y="2509888"/>
            <a:ext cx="329140" cy="216710"/>
            <a:chOff x="5220072" y="4365104"/>
            <a:chExt cx="3528392" cy="2323138"/>
          </a:xfrm>
        </p:grpSpPr>
        <p:pic>
          <p:nvPicPr>
            <p:cNvPr id="100" name="Picture 99">
              <a:extLst>
                <a:ext uri="{FF2B5EF4-FFF2-40B4-BE49-F238E27FC236}">
                  <a16:creationId xmlns:a16="http://schemas.microsoft.com/office/drawing/2014/main" xmlns="" id="{7129B936-0998-4742-BB75-F5647C3A716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01" name="Picture 100">
              <a:extLst>
                <a:ext uri="{FF2B5EF4-FFF2-40B4-BE49-F238E27FC236}">
                  <a16:creationId xmlns:a16="http://schemas.microsoft.com/office/drawing/2014/main" xmlns="" id="{7A16EB5C-0447-4633-B724-103C729AD02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02" name="Group 101">
            <a:extLst>
              <a:ext uri="{FF2B5EF4-FFF2-40B4-BE49-F238E27FC236}">
                <a16:creationId xmlns:a16="http://schemas.microsoft.com/office/drawing/2014/main" xmlns="" id="{365F7674-1A78-4B86-A89D-EEFC741D2F5C}"/>
              </a:ext>
            </a:extLst>
          </p:cNvPr>
          <p:cNvGrpSpPr/>
          <p:nvPr/>
        </p:nvGrpSpPr>
        <p:grpSpPr>
          <a:xfrm>
            <a:off x="7773849" y="1938490"/>
            <a:ext cx="329140" cy="216710"/>
            <a:chOff x="5220072" y="4365104"/>
            <a:chExt cx="3528392" cy="2323138"/>
          </a:xfrm>
        </p:grpSpPr>
        <p:pic>
          <p:nvPicPr>
            <p:cNvPr id="103" name="Picture 102">
              <a:extLst>
                <a:ext uri="{FF2B5EF4-FFF2-40B4-BE49-F238E27FC236}">
                  <a16:creationId xmlns:a16="http://schemas.microsoft.com/office/drawing/2014/main" xmlns="" id="{73D615C7-02D7-4C50-ABD0-741A248815A1}"/>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04" name="Picture 103">
              <a:extLst>
                <a:ext uri="{FF2B5EF4-FFF2-40B4-BE49-F238E27FC236}">
                  <a16:creationId xmlns:a16="http://schemas.microsoft.com/office/drawing/2014/main" xmlns="" id="{45EC80E9-6586-4EF4-B4BA-26756983CB2C}"/>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05" name="Group 104">
            <a:extLst>
              <a:ext uri="{FF2B5EF4-FFF2-40B4-BE49-F238E27FC236}">
                <a16:creationId xmlns:a16="http://schemas.microsoft.com/office/drawing/2014/main" xmlns="" id="{7200EE88-D70C-45C4-89D3-204974A5C106}"/>
              </a:ext>
            </a:extLst>
          </p:cNvPr>
          <p:cNvGrpSpPr/>
          <p:nvPr/>
        </p:nvGrpSpPr>
        <p:grpSpPr>
          <a:xfrm>
            <a:off x="7773849" y="2214230"/>
            <a:ext cx="329140" cy="216710"/>
            <a:chOff x="5220072" y="4365104"/>
            <a:chExt cx="3528392" cy="2323138"/>
          </a:xfrm>
        </p:grpSpPr>
        <p:pic>
          <p:nvPicPr>
            <p:cNvPr id="106" name="Picture 105">
              <a:extLst>
                <a:ext uri="{FF2B5EF4-FFF2-40B4-BE49-F238E27FC236}">
                  <a16:creationId xmlns:a16="http://schemas.microsoft.com/office/drawing/2014/main" xmlns="" id="{E0FEF03E-1AE4-4D14-B1DD-76F4A705590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07" name="Picture 106">
              <a:extLst>
                <a:ext uri="{FF2B5EF4-FFF2-40B4-BE49-F238E27FC236}">
                  <a16:creationId xmlns:a16="http://schemas.microsoft.com/office/drawing/2014/main" xmlns="" id="{78CB8712-E50A-4EC9-9224-38AF87A88222}"/>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08" name="Group 107">
            <a:extLst>
              <a:ext uri="{FF2B5EF4-FFF2-40B4-BE49-F238E27FC236}">
                <a16:creationId xmlns:a16="http://schemas.microsoft.com/office/drawing/2014/main" xmlns="" id="{E2464556-56A2-4C76-8645-AABC07F2EC6F}"/>
              </a:ext>
            </a:extLst>
          </p:cNvPr>
          <p:cNvGrpSpPr/>
          <p:nvPr/>
        </p:nvGrpSpPr>
        <p:grpSpPr>
          <a:xfrm>
            <a:off x="7773926" y="2509888"/>
            <a:ext cx="329140" cy="216710"/>
            <a:chOff x="5220072" y="4365104"/>
            <a:chExt cx="3528392" cy="2323138"/>
          </a:xfrm>
        </p:grpSpPr>
        <p:pic>
          <p:nvPicPr>
            <p:cNvPr id="109" name="Picture 108">
              <a:extLst>
                <a:ext uri="{FF2B5EF4-FFF2-40B4-BE49-F238E27FC236}">
                  <a16:creationId xmlns:a16="http://schemas.microsoft.com/office/drawing/2014/main" xmlns="" id="{CF057270-C946-4D5A-8826-F710EA439D1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10" name="Picture 109">
              <a:extLst>
                <a:ext uri="{FF2B5EF4-FFF2-40B4-BE49-F238E27FC236}">
                  <a16:creationId xmlns:a16="http://schemas.microsoft.com/office/drawing/2014/main" xmlns="" id="{4714120F-697B-40C8-8DB6-5146165C1998}"/>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11" name="Group 110">
            <a:extLst>
              <a:ext uri="{FF2B5EF4-FFF2-40B4-BE49-F238E27FC236}">
                <a16:creationId xmlns:a16="http://schemas.microsoft.com/office/drawing/2014/main" xmlns="" id="{7511CC79-B4C8-4F4D-BDD5-F6A848B592EC}"/>
              </a:ext>
            </a:extLst>
          </p:cNvPr>
          <p:cNvGrpSpPr/>
          <p:nvPr/>
        </p:nvGrpSpPr>
        <p:grpSpPr>
          <a:xfrm>
            <a:off x="8154991" y="1938490"/>
            <a:ext cx="329140" cy="216710"/>
            <a:chOff x="5220072" y="4365104"/>
            <a:chExt cx="3528392" cy="2323138"/>
          </a:xfrm>
        </p:grpSpPr>
        <p:pic>
          <p:nvPicPr>
            <p:cNvPr id="112" name="Picture 111">
              <a:extLst>
                <a:ext uri="{FF2B5EF4-FFF2-40B4-BE49-F238E27FC236}">
                  <a16:creationId xmlns:a16="http://schemas.microsoft.com/office/drawing/2014/main" xmlns="" id="{18F42C32-58D7-4178-B33C-90F4D33913E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13" name="Picture 112">
              <a:extLst>
                <a:ext uri="{FF2B5EF4-FFF2-40B4-BE49-F238E27FC236}">
                  <a16:creationId xmlns:a16="http://schemas.microsoft.com/office/drawing/2014/main" xmlns="" id="{777352BE-94BE-47EE-98A2-E67CA809797E}"/>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14" name="Group 113">
            <a:extLst>
              <a:ext uri="{FF2B5EF4-FFF2-40B4-BE49-F238E27FC236}">
                <a16:creationId xmlns:a16="http://schemas.microsoft.com/office/drawing/2014/main" xmlns="" id="{73A85AAF-5AF9-4A9F-95E5-C12008133553}"/>
              </a:ext>
            </a:extLst>
          </p:cNvPr>
          <p:cNvGrpSpPr/>
          <p:nvPr/>
        </p:nvGrpSpPr>
        <p:grpSpPr>
          <a:xfrm>
            <a:off x="8154991" y="2214230"/>
            <a:ext cx="329140" cy="216710"/>
            <a:chOff x="5220072" y="4365104"/>
            <a:chExt cx="3528392" cy="2323138"/>
          </a:xfrm>
        </p:grpSpPr>
        <p:pic>
          <p:nvPicPr>
            <p:cNvPr id="115" name="Picture 114">
              <a:extLst>
                <a:ext uri="{FF2B5EF4-FFF2-40B4-BE49-F238E27FC236}">
                  <a16:creationId xmlns:a16="http://schemas.microsoft.com/office/drawing/2014/main" xmlns="" id="{E8009459-AC53-475D-947E-65341673966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16" name="Picture 115">
              <a:extLst>
                <a:ext uri="{FF2B5EF4-FFF2-40B4-BE49-F238E27FC236}">
                  <a16:creationId xmlns:a16="http://schemas.microsoft.com/office/drawing/2014/main" xmlns="" id="{1DA687C1-15A1-4176-A0CC-2205C9C005F8}"/>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17" name="Group 116">
            <a:extLst>
              <a:ext uri="{FF2B5EF4-FFF2-40B4-BE49-F238E27FC236}">
                <a16:creationId xmlns:a16="http://schemas.microsoft.com/office/drawing/2014/main" xmlns="" id="{A2E4F698-AA25-4ABE-AD92-A8C1A64A369A}"/>
              </a:ext>
            </a:extLst>
          </p:cNvPr>
          <p:cNvGrpSpPr/>
          <p:nvPr/>
        </p:nvGrpSpPr>
        <p:grpSpPr>
          <a:xfrm>
            <a:off x="8154991" y="2509888"/>
            <a:ext cx="329140" cy="216710"/>
            <a:chOff x="5220072" y="4365104"/>
            <a:chExt cx="3528392" cy="2323138"/>
          </a:xfrm>
        </p:grpSpPr>
        <p:pic>
          <p:nvPicPr>
            <p:cNvPr id="118" name="Picture 117">
              <a:extLst>
                <a:ext uri="{FF2B5EF4-FFF2-40B4-BE49-F238E27FC236}">
                  <a16:creationId xmlns:a16="http://schemas.microsoft.com/office/drawing/2014/main" xmlns="" id="{EECFBC5B-86AA-455C-A706-EA4C9966004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19" name="Picture 118">
              <a:extLst>
                <a:ext uri="{FF2B5EF4-FFF2-40B4-BE49-F238E27FC236}">
                  <a16:creationId xmlns:a16="http://schemas.microsoft.com/office/drawing/2014/main" xmlns="" id="{4430306E-F8A9-4FE9-A064-C24196DD41A2}"/>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20" name="Group 119">
            <a:extLst>
              <a:ext uri="{FF2B5EF4-FFF2-40B4-BE49-F238E27FC236}">
                <a16:creationId xmlns:a16="http://schemas.microsoft.com/office/drawing/2014/main" xmlns="" id="{1FB87993-C66F-4BFE-B281-4B8675E0AEEA}"/>
              </a:ext>
            </a:extLst>
          </p:cNvPr>
          <p:cNvGrpSpPr/>
          <p:nvPr/>
        </p:nvGrpSpPr>
        <p:grpSpPr>
          <a:xfrm>
            <a:off x="7013824" y="2785628"/>
            <a:ext cx="329140" cy="216710"/>
            <a:chOff x="5220072" y="4365104"/>
            <a:chExt cx="3528392" cy="2323138"/>
          </a:xfrm>
        </p:grpSpPr>
        <p:pic>
          <p:nvPicPr>
            <p:cNvPr id="121" name="Picture 120">
              <a:extLst>
                <a:ext uri="{FF2B5EF4-FFF2-40B4-BE49-F238E27FC236}">
                  <a16:creationId xmlns:a16="http://schemas.microsoft.com/office/drawing/2014/main" xmlns="" id="{2DB6A19D-24A8-4490-90C7-2A4B3C5C1F6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22" name="Picture 121">
              <a:extLst>
                <a:ext uri="{FF2B5EF4-FFF2-40B4-BE49-F238E27FC236}">
                  <a16:creationId xmlns:a16="http://schemas.microsoft.com/office/drawing/2014/main" xmlns="" id="{D4A96794-CCA6-4DF2-8A85-45E453650C87}"/>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23" name="Group 122">
            <a:extLst>
              <a:ext uri="{FF2B5EF4-FFF2-40B4-BE49-F238E27FC236}">
                <a16:creationId xmlns:a16="http://schemas.microsoft.com/office/drawing/2014/main" xmlns="" id="{57749001-A9F5-4537-8D26-9C318BE1C606}"/>
              </a:ext>
            </a:extLst>
          </p:cNvPr>
          <p:cNvGrpSpPr/>
          <p:nvPr/>
        </p:nvGrpSpPr>
        <p:grpSpPr>
          <a:xfrm>
            <a:off x="7011340" y="3069800"/>
            <a:ext cx="329140" cy="216710"/>
            <a:chOff x="5220072" y="4365104"/>
            <a:chExt cx="3528392" cy="2323138"/>
          </a:xfrm>
        </p:grpSpPr>
        <p:pic>
          <p:nvPicPr>
            <p:cNvPr id="124" name="Picture 123">
              <a:extLst>
                <a:ext uri="{FF2B5EF4-FFF2-40B4-BE49-F238E27FC236}">
                  <a16:creationId xmlns:a16="http://schemas.microsoft.com/office/drawing/2014/main" xmlns="" id="{E470A8F1-E870-4971-98CD-8485E109931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25" name="Picture 124">
              <a:extLst>
                <a:ext uri="{FF2B5EF4-FFF2-40B4-BE49-F238E27FC236}">
                  <a16:creationId xmlns:a16="http://schemas.microsoft.com/office/drawing/2014/main" xmlns="" id="{66B32A64-6215-4297-8EDA-9AA71D3D8836}"/>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26" name="Group 125">
            <a:extLst>
              <a:ext uri="{FF2B5EF4-FFF2-40B4-BE49-F238E27FC236}">
                <a16:creationId xmlns:a16="http://schemas.microsoft.com/office/drawing/2014/main" xmlns="" id="{EBBC0B4C-D801-4B0E-81AB-E88BFC8DB7DC}"/>
              </a:ext>
            </a:extLst>
          </p:cNvPr>
          <p:cNvGrpSpPr/>
          <p:nvPr/>
        </p:nvGrpSpPr>
        <p:grpSpPr>
          <a:xfrm>
            <a:off x="7011340" y="3345540"/>
            <a:ext cx="329140" cy="216710"/>
            <a:chOff x="5220072" y="4365104"/>
            <a:chExt cx="3528392" cy="2323138"/>
          </a:xfrm>
        </p:grpSpPr>
        <p:pic>
          <p:nvPicPr>
            <p:cNvPr id="127" name="Picture 126">
              <a:extLst>
                <a:ext uri="{FF2B5EF4-FFF2-40B4-BE49-F238E27FC236}">
                  <a16:creationId xmlns:a16="http://schemas.microsoft.com/office/drawing/2014/main" xmlns="" id="{8F0812A0-248F-4A1B-AB51-4CEC197DA19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28" name="Picture 127">
              <a:extLst>
                <a:ext uri="{FF2B5EF4-FFF2-40B4-BE49-F238E27FC236}">
                  <a16:creationId xmlns:a16="http://schemas.microsoft.com/office/drawing/2014/main" xmlns="" id="{7D7ECAED-77AC-409E-AC10-FFF2E98D2877}"/>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29" name="Group 128">
            <a:extLst>
              <a:ext uri="{FF2B5EF4-FFF2-40B4-BE49-F238E27FC236}">
                <a16:creationId xmlns:a16="http://schemas.microsoft.com/office/drawing/2014/main" xmlns="" id="{1471BB42-B609-4ADF-8831-F37BBA04D23F}"/>
              </a:ext>
            </a:extLst>
          </p:cNvPr>
          <p:cNvGrpSpPr/>
          <p:nvPr/>
        </p:nvGrpSpPr>
        <p:grpSpPr>
          <a:xfrm>
            <a:off x="7395565" y="2785628"/>
            <a:ext cx="329140" cy="216710"/>
            <a:chOff x="5220072" y="4365104"/>
            <a:chExt cx="3528392" cy="2323138"/>
          </a:xfrm>
        </p:grpSpPr>
        <p:pic>
          <p:nvPicPr>
            <p:cNvPr id="130" name="Picture 129">
              <a:extLst>
                <a:ext uri="{FF2B5EF4-FFF2-40B4-BE49-F238E27FC236}">
                  <a16:creationId xmlns:a16="http://schemas.microsoft.com/office/drawing/2014/main" xmlns="" id="{EE009850-8006-4C8D-88D8-C00FB0CA7659}"/>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31" name="Picture 130">
              <a:extLst>
                <a:ext uri="{FF2B5EF4-FFF2-40B4-BE49-F238E27FC236}">
                  <a16:creationId xmlns:a16="http://schemas.microsoft.com/office/drawing/2014/main" xmlns="" id="{19859AED-0A56-41B4-8593-242BCF07999E}"/>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32" name="Group 131">
            <a:extLst>
              <a:ext uri="{FF2B5EF4-FFF2-40B4-BE49-F238E27FC236}">
                <a16:creationId xmlns:a16="http://schemas.microsoft.com/office/drawing/2014/main" xmlns="" id="{259758D9-D432-457B-B872-9C133B52B43B}"/>
              </a:ext>
            </a:extLst>
          </p:cNvPr>
          <p:cNvGrpSpPr/>
          <p:nvPr/>
        </p:nvGrpSpPr>
        <p:grpSpPr>
          <a:xfrm>
            <a:off x="7393908" y="3069800"/>
            <a:ext cx="329140" cy="216710"/>
            <a:chOff x="5220072" y="4365104"/>
            <a:chExt cx="3528392" cy="2323138"/>
          </a:xfrm>
        </p:grpSpPr>
        <p:pic>
          <p:nvPicPr>
            <p:cNvPr id="133" name="Picture 132">
              <a:extLst>
                <a:ext uri="{FF2B5EF4-FFF2-40B4-BE49-F238E27FC236}">
                  <a16:creationId xmlns:a16="http://schemas.microsoft.com/office/drawing/2014/main" xmlns="" id="{6A423DC5-C2C8-4CF1-BE9C-BC0E318C1059}"/>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34" name="Picture 133">
              <a:extLst>
                <a:ext uri="{FF2B5EF4-FFF2-40B4-BE49-F238E27FC236}">
                  <a16:creationId xmlns:a16="http://schemas.microsoft.com/office/drawing/2014/main" xmlns="" id="{493EBCA5-2880-451B-B84E-8DDBEBE103DA}"/>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35" name="Group 134">
            <a:extLst>
              <a:ext uri="{FF2B5EF4-FFF2-40B4-BE49-F238E27FC236}">
                <a16:creationId xmlns:a16="http://schemas.microsoft.com/office/drawing/2014/main" xmlns="" id="{C556BA15-EEC3-4073-9AD7-E71D1CA9142C}"/>
              </a:ext>
            </a:extLst>
          </p:cNvPr>
          <p:cNvGrpSpPr/>
          <p:nvPr/>
        </p:nvGrpSpPr>
        <p:grpSpPr>
          <a:xfrm>
            <a:off x="7393908" y="3345540"/>
            <a:ext cx="329140" cy="216710"/>
            <a:chOff x="5220072" y="4365104"/>
            <a:chExt cx="3528392" cy="2323138"/>
          </a:xfrm>
        </p:grpSpPr>
        <p:pic>
          <p:nvPicPr>
            <p:cNvPr id="136" name="Picture 135">
              <a:extLst>
                <a:ext uri="{FF2B5EF4-FFF2-40B4-BE49-F238E27FC236}">
                  <a16:creationId xmlns:a16="http://schemas.microsoft.com/office/drawing/2014/main" xmlns="" id="{CA4073E7-8EFA-45F8-A23D-30417047746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37" name="Picture 136">
              <a:extLst>
                <a:ext uri="{FF2B5EF4-FFF2-40B4-BE49-F238E27FC236}">
                  <a16:creationId xmlns:a16="http://schemas.microsoft.com/office/drawing/2014/main" xmlns="" id="{848EA68F-6A76-4665-B356-B6F5E4699490}"/>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38" name="Group 137">
            <a:extLst>
              <a:ext uri="{FF2B5EF4-FFF2-40B4-BE49-F238E27FC236}">
                <a16:creationId xmlns:a16="http://schemas.microsoft.com/office/drawing/2014/main" xmlns="" id="{73DCB56A-DE2F-420B-946A-23AD780C1FD7}"/>
              </a:ext>
            </a:extLst>
          </p:cNvPr>
          <p:cNvGrpSpPr/>
          <p:nvPr/>
        </p:nvGrpSpPr>
        <p:grpSpPr>
          <a:xfrm>
            <a:off x="7777306" y="2785628"/>
            <a:ext cx="329140" cy="216710"/>
            <a:chOff x="5220072" y="4365104"/>
            <a:chExt cx="3528392" cy="2323138"/>
          </a:xfrm>
        </p:grpSpPr>
        <p:pic>
          <p:nvPicPr>
            <p:cNvPr id="139" name="Picture 138">
              <a:extLst>
                <a:ext uri="{FF2B5EF4-FFF2-40B4-BE49-F238E27FC236}">
                  <a16:creationId xmlns:a16="http://schemas.microsoft.com/office/drawing/2014/main" xmlns="" id="{C9245510-A646-424B-A43B-38065896B9E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40" name="Picture 139">
              <a:extLst>
                <a:ext uri="{FF2B5EF4-FFF2-40B4-BE49-F238E27FC236}">
                  <a16:creationId xmlns:a16="http://schemas.microsoft.com/office/drawing/2014/main" xmlns="" id="{0812BA39-7090-4731-B26C-3A700518375B}"/>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41" name="Group 140">
            <a:extLst>
              <a:ext uri="{FF2B5EF4-FFF2-40B4-BE49-F238E27FC236}">
                <a16:creationId xmlns:a16="http://schemas.microsoft.com/office/drawing/2014/main" xmlns="" id="{F026F1FA-6749-4EB2-B51F-B392C3AFF077}"/>
              </a:ext>
            </a:extLst>
          </p:cNvPr>
          <p:cNvGrpSpPr/>
          <p:nvPr/>
        </p:nvGrpSpPr>
        <p:grpSpPr>
          <a:xfrm>
            <a:off x="7776476" y="3069800"/>
            <a:ext cx="329140" cy="216710"/>
            <a:chOff x="5220072" y="4365104"/>
            <a:chExt cx="3528392" cy="2323138"/>
          </a:xfrm>
        </p:grpSpPr>
        <p:pic>
          <p:nvPicPr>
            <p:cNvPr id="142" name="Picture 141">
              <a:extLst>
                <a:ext uri="{FF2B5EF4-FFF2-40B4-BE49-F238E27FC236}">
                  <a16:creationId xmlns:a16="http://schemas.microsoft.com/office/drawing/2014/main" xmlns="" id="{98446920-2A6F-44F7-84CB-1391148F32F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43" name="Picture 142">
              <a:extLst>
                <a:ext uri="{FF2B5EF4-FFF2-40B4-BE49-F238E27FC236}">
                  <a16:creationId xmlns:a16="http://schemas.microsoft.com/office/drawing/2014/main" xmlns="" id="{14A80051-13A5-4FE0-95FC-DF07CF53FB85}"/>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44" name="Group 143">
            <a:extLst>
              <a:ext uri="{FF2B5EF4-FFF2-40B4-BE49-F238E27FC236}">
                <a16:creationId xmlns:a16="http://schemas.microsoft.com/office/drawing/2014/main" xmlns="" id="{FA51F169-B4B9-4519-81A0-32ACC9668CB7}"/>
              </a:ext>
            </a:extLst>
          </p:cNvPr>
          <p:cNvGrpSpPr/>
          <p:nvPr/>
        </p:nvGrpSpPr>
        <p:grpSpPr>
          <a:xfrm>
            <a:off x="7776476" y="3345540"/>
            <a:ext cx="329140" cy="216710"/>
            <a:chOff x="5220072" y="4365104"/>
            <a:chExt cx="3528392" cy="2323138"/>
          </a:xfrm>
        </p:grpSpPr>
        <p:pic>
          <p:nvPicPr>
            <p:cNvPr id="145" name="Picture 144">
              <a:extLst>
                <a:ext uri="{FF2B5EF4-FFF2-40B4-BE49-F238E27FC236}">
                  <a16:creationId xmlns:a16="http://schemas.microsoft.com/office/drawing/2014/main" xmlns="" id="{FBB8D090-97E9-49F8-ABBE-675827F502E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46" name="Picture 145">
              <a:extLst>
                <a:ext uri="{FF2B5EF4-FFF2-40B4-BE49-F238E27FC236}">
                  <a16:creationId xmlns:a16="http://schemas.microsoft.com/office/drawing/2014/main" xmlns="" id="{4E42794F-D309-4F72-BAF9-873A0196E0FA}"/>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47" name="Group 146">
            <a:extLst>
              <a:ext uri="{FF2B5EF4-FFF2-40B4-BE49-F238E27FC236}">
                <a16:creationId xmlns:a16="http://schemas.microsoft.com/office/drawing/2014/main" xmlns="" id="{DF1D8BC6-D872-42E6-8822-C9DCF78967EB}"/>
              </a:ext>
            </a:extLst>
          </p:cNvPr>
          <p:cNvGrpSpPr/>
          <p:nvPr/>
        </p:nvGrpSpPr>
        <p:grpSpPr>
          <a:xfrm>
            <a:off x="8159045" y="2785628"/>
            <a:ext cx="329140" cy="216710"/>
            <a:chOff x="5220072" y="4365104"/>
            <a:chExt cx="3528392" cy="2323138"/>
          </a:xfrm>
        </p:grpSpPr>
        <p:pic>
          <p:nvPicPr>
            <p:cNvPr id="148" name="Picture 147">
              <a:extLst>
                <a:ext uri="{FF2B5EF4-FFF2-40B4-BE49-F238E27FC236}">
                  <a16:creationId xmlns:a16="http://schemas.microsoft.com/office/drawing/2014/main" xmlns="" id="{6F5CBDE8-BB4E-4170-AAAF-577FE7A1E92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49" name="Picture 148">
              <a:extLst>
                <a:ext uri="{FF2B5EF4-FFF2-40B4-BE49-F238E27FC236}">
                  <a16:creationId xmlns:a16="http://schemas.microsoft.com/office/drawing/2014/main" xmlns="" id="{FF0CB6CD-3768-4EF0-BBF6-803DFA0560B0}"/>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50" name="Group 149">
            <a:extLst>
              <a:ext uri="{FF2B5EF4-FFF2-40B4-BE49-F238E27FC236}">
                <a16:creationId xmlns:a16="http://schemas.microsoft.com/office/drawing/2014/main" xmlns="" id="{D3786628-CCBB-4D16-8593-DA13659C9881}"/>
              </a:ext>
            </a:extLst>
          </p:cNvPr>
          <p:cNvGrpSpPr/>
          <p:nvPr/>
        </p:nvGrpSpPr>
        <p:grpSpPr>
          <a:xfrm>
            <a:off x="8159045" y="3069800"/>
            <a:ext cx="329140" cy="216710"/>
            <a:chOff x="5220072" y="4365104"/>
            <a:chExt cx="3528392" cy="2323138"/>
          </a:xfrm>
        </p:grpSpPr>
        <p:pic>
          <p:nvPicPr>
            <p:cNvPr id="151" name="Picture 150">
              <a:extLst>
                <a:ext uri="{FF2B5EF4-FFF2-40B4-BE49-F238E27FC236}">
                  <a16:creationId xmlns:a16="http://schemas.microsoft.com/office/drawing/2014/main" xmlns="" id="{689A0A41-CE8E-44A8-A02C-A6CE85A5966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52" name="Picture 151">
              <a:extLst>
                <a:ext uri="{FF2B5EF4-FFF2-40B4-BE49-F238E27FC236}">
                  <a16:creationId xmlns:a16="http://schemas.microsoft.com/office/drawing/2014/main" xmlns="" id="{F7187217-80D2-4997-8764-A9CB24A92739}"/>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53" name="Group 152">
            <a:extLst>
              <a:ext uri="{FF2B5EF4-FFF2-40B4-BE49-F238E27FC236}">
                <a16:creationId xmlns:a16="http://schemas.microsoft.com/office/drawing/2014/main" xmlns="" id="{0E66C4B6-28ED-4C4B-BF80-EB0B3A468E86}"/>
              </a:ext>
            </a:extLst>
          </p:cNvPr>
          <p:cNvGrpSpPr/>
          <p:nvPr/>
        </p:nvGrpSpPr>
        <p:grpSpPr>
          <a:xfrm>
            <a:off x="8159045" y="3345540"/>
            <a:ext cx="329140" cy="216710"/>
            <a:chOff x="5220072" y="4365104"/>
            <a:chExt cx="3528392" cy="2323138"/>
          </a:xfrm>
        </p:grpSpPr>
        <p:pic>
          <p:nvPicPr>
            <p:cNvPr id="154" name="Picture 153">
              <a:extLst>
                <a:ext uri="{FF2B5EF4-FFF2-40B4-BE49-F238E27FC236}">
                  <a16:creationId xmlns:a16="http://schemas.microsoft.com/office/drawing/2014/main" xmlns="" id="{D21F7FDB-5040-4F78-AFDE-BF57A05E9E0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55" name="Picture 154">
              <a:extLst>
                <a:ext uri="{FF2B5EF4-FFF2-40B4-BE49-F238E27FC236}">
                  <a16:creationId xmlns:a16="http://schemas.microsoft.com/office/drawing/2014/main" xmlns="" id="{98DA2A9E-BC9B-40FF-A5AC-79BB6FE5989B}"/>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56" name="Group 155">
            <a:extLst>
              <a:ext uri="{FF2B5EF4-FFF2-40B4-BE49-F238E27FC236}">
                <a16:creationId xmlns:a16="http://schemas.microsoft.com/office/drawing/2014/main" xmlns="" id="{A4CD5461-5F38-41B7-880D-45B0E8E3820F}"/>
              </a:ext>
            </a:extLst>
          </p:cNvPr>
          <p:cNvGrpSpPr/>
          <p:nvPr/>
        </p:nvGrpSpPr>
        <p:grpSpPr>
          <a:xfrm>
            <a:off x="7007065" y="3596768"/>
            <a:ext cx="329140" cy="216710"/>
            <a:chOff x="5220072" y="4365104"/>
            <a:chExt cx="3528392" cy="2323138"/>
          </a:xfrm>
        </p:grpSpPr>
        <p:pic>
          <p:nvPicPr>
            <p:cNvPr id="157" name="Picture 156">
              <a:extLst>
                <a:ext uri="{FF2B5EF4-FFF2-40B4-BE49-F238E27FC236}">
                  <a16:creationId xmlns:a16="http://schemas.microsoft.com/office/drawing/2014/main" xmlns="" id="{B1055A77-52DF-4E10-AFCC-EF5F3137305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58" name="Picture 157">
              <a:extLst>
                <a:ext uri="{FF2B5EF4-FFF2-40B4-BE49-F238E27FC236}">
                  <a16:creationId xmlns:a16="http://schemas.microsoft.com/office/drawing/2014/main" xmlns="" id="{8B5CB4F0-78A7-45B5-916A-EBCC7D444B4A}"/>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59" name="Group 158">
            <a:extLst>
              <a:ext uri="{FF2B5EF4-FFF2-40B4-BE49-F238E27FC236}">
                <a16:creationId xmlns:a16="http://schemas.microsoft.com/office/drawing/2014/main" xmlns="" id="{15847F40-778B-43DA-97AB-18AAEC33C3F7}"/>
              </a:ext>
            </a:extLst>
          </p:cNvPr>
          <p:cNvGrpSpPr/>
          <p:nvPr/>
        </p:nvGrpSpPr>
        <p:grpSpPr>
          <a:xfrm>
            <a:off x="7002863" y="3850129"/>
            <a:ext cx="329140" cy="216710"/>
            <a:chOff x="5220072" y="4365104"/>
            <a:chExt cx="3528392" cy="2323138"/>
          </a:xfrm>
        </p:grpSpPr>
        <p:pic>
          <p:nvPicPr>
            <p:cNvPr id="160" name="Picture 159">
              <a:extLst>
                <a:ext uri="{FF2B5EF4-FFF2-40B4-BE49-F238E27FC236}">
                  <a16:creationId xmlns:a16="http://schemas.microsoft.com/office/drawing/2014/main" xmlns="" id="{7AA336FC-FDEB-4372-8AF8-1D329C52EC7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61" name="Picture 160">
              <a:extLst>
                <a:ext uri="{FF2B5EF4-FFF2-40B4-BE49-F238E27FC236}">
                  <a16:creationId xmlns:a16="http://schemas.microsoft.com/office/drawing/2014/main" xmlns="" id="{52B80CF2-9DF9-43B5-9C49-AD03A41E546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62" name="Group 161">
            <a:extLst>
              <a:ext uri="{FF2B5EF4-FFF2-40B4-BE49-F238E27FC236}">
                <a16:creationId xmlns:a16="http://schemas.microsoft.com/office/drawing/2014/main" xmlns="" id="{80F27C95-E0AC-44EF-AEA0-A840613A6570}"/>
              </a:ext>
            </a:extLst>
          </p:cNvPr>
          <p:cNvGrpSpPr/>
          <p:nvPr/>
        </p:nvGrpSpPr>
        <p:grpSpPr>
          <a:xfrm>
            <a:off x="7009314" y="4125870"/>
            <a:ext cx="329140" cy="216710"/>
            <a:chOff x="5220072" y="4365104"/>
            <a:chExt cx="3528392" cy="2323138"/>
          </a:xfrm>
        </p:grpSpPr>
        <p:pic>
          <p:nvPicPr>
            <p:cNvPr id="163" name="Picture 162">
              <a:extLst>
                <a:ext uri="{FF2B5EF4-FFF2-40B4-BE49-F238E27FC236}">
                  <a16:creationId xmlns:a16="http://schemas.microsoft.com/office/drawing/2014/main" xmlns="" id="{25D03D8F-6109-46E4-B562-22C5A7466D5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64" name="Picture 163">
              <a:extLst>
                <a:ext uri="{FF2B5EF4-FFF2-40B4-BE49-F238E27FC236}">
                  <a16:creationId xmlns:a16="http://schemas.microsoft.com/office/drawing/2014/main" xmlns="" id="{FAD5A9B5-ECFD-4335-B9DF-01E6BC697A4E}"/>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65" name="Group 164">
            <a:extLst>
              <a:ext uri="{FF2B5EF4-FFF2-40B4-BE49-F238E27FC236}">
                <a16:creationId xmlns:a16="http://schemas.microsoft.com/office/drawing/2014/main" xmlns="" id="{3ACB8063-BD1A-41FC-A276-DF03646C7263}"/>
              </a:ext>
            </a:extLst>
          </p:cNvPr>
          <p:cNvGrpSpPr/>
          <p:nvPr/>
        </p:nvGrpSpPr>
        <p:grpSpPr>
          <a:xfrm>
            <a:off x="7389707" y="3596768"/>
            <a:ext cx="329140" cy="216710"/>
            <a:chOff x="5220072" y="4365104"/>
            <a:chExt cx="3528392" cy="2323138"/>
          </a:xfrm>
        </p:grpSpPr>
        <p:pic>
          <p:nvPicPr>
            <p:cNvPr id="166" name="Picture 165">
              <a:extLst>
                <a:ext uri="{FF2B5EF4-FFF2-40B4-BE49-F238E27FC236}">
                  <a16:creationId xmlns:a16="http://schemas.microsoft.com/office/drawing/2014/main" xmlns="" id="{6A17FCD4-1F0E-4830-944B-D9A9A0202ED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67" name="Picture 166">
              <a:extLst>
                <a:ext uri="{FF2B5EF4-FFF2-40B4-BE49-F238E27FC236}">
                  <a16:creationId xmlns:a16="http://schemas.microsoft.com/office/drawing/2014/main" xmlns="" id="{A6DE87B5-F3FD-4CEF-A5BD-85BCB674524C}"/>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68" name="Group 167">
            <a:extLst>
              <a:ext uri="{FF2B5EF4-FFF2-40B4-BE49-F238E27FC236}">
                <a16:creationId xmlns:a16="http://schemas.microsoft.com/office/drawing/2014/main" xmlns="" id="{EC92E0E7-FE30-494F-89B5-322E9945F993}"/>
              </a:ext>
            </a:extLst>
          </p:cNvPr>
          <p:cNvGrpSpPr/>
          <p:nvPr/>
        </p:nvGrpSpPr>
        <p:grpSpPr>
          <a:xfrm>
            <a:off x="7388831" y="3850129"/>
            <a:ext cx="329140" cy="216710"/>
            <a:chOff x="5220072" y="4365104"/>
            <a:chExt cx="3528392" cy="2323138"/>
          </a:xfrm>
        </p:grpSpPr>
        <p:pic>
          <p:nvPicPr>
            <p:cNvPr id="169" name="Picture 168">
              <a:extLst>
                <a:ext uri="{FF2B5EF4-FFF2-40B4-BE49-F238E27FC236}">
                  <a16:creationId xmlns:a16="http://schemas.microsoft.com/office/drawing/2014/main" xmlns="" id="{4A4F296C-DEF2-47F2-ADF7-85013186A94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70" name="Picture 169">
              <a:extLst>
                <a:ext uri="{FF2B5EF4-FFF2-40B4-BE49-F238E27FC236}">
                  <a16:creationId xmlns:a16="http://schemas.microsoft.com/office/drawing/2014/main" xmlns="" id="{50572B36-3D6D-43BB-81CD-9FC606ACB5DB}"/>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71" name="Group 170">
            <a:extLst>
              <a:ext uri="{FF2B5EF4-FFF2-40B4-BE49-F238E27FC236}">
                <a16:creationId xmlns:a16="http://schemas.microsoft.com/office/drawing/2014/main" xmlns="" id="{5AB0D0C7-54AA-4C23-88CB-41A9984F8DBA}"/>
              </a:ext>
            </a:extLst>
          </p:cNvPr>
          <p:cNvGrpSpPr/>
          <p:nvPr/>
        </p:nvGrpSpPr>
        <p:grpSpPr>
          <a:xfrm>
            <a:off x="7391207" y="4125870"/>
            <a:ext cx="329140" cy="216710"/>
            <a:chOff x="5220072" y="4365104"/>
            <a:chExt cx="3528392" cy="2323138"/>
          </a:xfrm>
        </p:grpSpPr>
        <p:pic>
          <p:nvPicPr>
            <p:cNvPr id="172" name="Picture 171">
              <a:extLst>
                <a:ext uri="{FF2B5EF4-FFF2-40B4-BE49-F238E27FC236}">
                  <a16:creationId xmlns:a16="http://schemas.microsoft.com/office/drawing/2014/main" xmlns="" id="{8E5B6005-EFAA-4CB8-93C7-4D60B29E837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73" name="Picture 172">
              <a:extLst>
                <a:ext uri="{FF2B5EF4-FFF2-40B4-BE49-F238E27FC236}">
                  <a16:creationId xmlns:a16="http://schemas.microsoft.com/office/drawing/2014/main" xmlns="" id="{273951EE-DFA7-4FE2-87DF-DC19E0E3FFB7}"/>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74" name="Group 173">
            <a:extLst>
              <a:ext uri="{FF2B5EF4-FFF2-40B4-BE49-F238E27FC236}">
                <a16:creationId xmlns:a16="http://schemas.microsoft.com/office/drawing/2014/main" xmlns="" id="{A1DDC874-E6E2-4F4F-9649-B029F67B6A84}"/>
              </a:ext>
            </a:extLst>
          </p:cNvPr>
          <p:cNvGrpSpPr/>
          <p:nvPr/>
        </p:nvGrpSpPr>
        <p:grpSpPr>
          <a:xfrm>
            <a:off x="7772349" y="3596768"/>
            <a:ext cx="329140" cy="216710"/>
            <a:chOff x="5220072" y="4365104"/>
            <a:chExt cx="3528392" cy="2323138"/>
          </a:xfrm>
        </p:grpSpPr>
        <p:pic>
          <p:nvPicPr>
            <p:cNvPr id="175" name="Picture 174">
              <a:extLst>
                <a:ext uri="{FF2B5EF4-FFF2-40B4-BE49-F238E27FC236}">
                  <a16:creationId xmlns:a16="http://schemas.microsoft.com/office/drawing/2014/main" xmlns="" id="{FD547B23-46A4-4C26-8966-A1E202BC7E2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76" name="Picture 175">
              <a:extLst>
                <a:ext uri="{FF2B5EF4-FFF2-40B4-BE49-F238E27FC236}">
                  <a16:creationId xmlns:a16="http://schemas.microsoft.com/office/drawing/2014/main" xmlns="" id="{82A5C12C-0FE4-4172-B9C3-1C92779D421B}"/>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77" name="Group 176">
            <a:extLst>
              <a:ext uri="{FF2B5EF4-FFF2-40B4-BE49-F238E27FC236}">
                <a16:creationId xmlns:a16="http://schemas.microsoft.com/office/drawing/2014/main" xmlns="" id="{F2DDF033-F292-455C-BEBD-A6707A817BB1}"/>
              </a:ext>
            </a:extLst>
          </p:cNvPr>
          <p:cNvGrpSpPr/>
          <p:nvPr/>
        </p:nvGrpSpPr>
        <p:grpSpPr>
          <a:xfrm>
            <a:off x="7768110" y="3850129"/>
            <a:ext cx="329140" cy="216710"/>
            <a:chOff x="5220072" y="4365104"/>
            <a:chExt cx="3528392" cy="2323138"/>
          </a:xfrm>
        </p:grpSpPr>
        <p:pic>
          <p:nvPicPr>
            <p:cNvPr id="178" name="Picture 177">
              <a:extLst>
                <a:ext uri="{FF2B5EF4-FFF2-40B4-BE49-F238E27FC236}">
                  <a16:creationId xmlns:a16="http://schemas.microsoft.com/office/drawing/2014/main" xmlns="" id="{2DD23FBA-83B4-4C9F-BBAC-F4C86AD449F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79" name="Picture 178">
              <a:extLst>
                <a:ext uri="{FF2B5EF4-FFF2-40B4-BE49-F238E27FC236}">
                  <a16:creationId xmlns:a16="http://schemas.microsoft.com/office/drawing/2014/main" xmlns="" id="{A6EB277F-51EB-49F0-948D-C5803D1983F4}"/>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80" name="Group 179">
            <a:extLst>
              <a:ext uri="{FF2B5EF4-FFF2-40B4-BE49-F238E27FC236}">
                <a16:creationId xmlns:a16="http://schemas.microsoft.com/office/drawing/2014/main" xmlns="" id="{E1347B63-EAB5-4AE6-A616-0F2E42977140}"/>
              </a:ext>
            </a:extLst>
          </p:cNvPr>
          <p:cNvGrpSpPr/>
          <p:nvPr/>
        </p:nvGrpSpPr>
        <p:grpSpPr>
          <a:xfrm>
            <a:off x="7773100" y="4125870"/>
            <a:ext cx="329140" cy="216710"/>
            <a:chOff x="5220072" y="4365104"/>
            <a:chExt cx="3528392" cy="2323138"/>
          </a:xfrm>
        </p:grpSpPr>
        <p:pic>
          <p:nvPicPr>
            <p:cNvPr id="181" name="Picture 180">
              <a:extLst>
                <a:ext uri="{FF2B5EF4-FFF2-40B4-BE49-F238E27FC236}">
                  <a16:creationId xmlns:a16="http://schemas.microsoft.com/office/drawing/2014/main" xmlns="" id="{57041ABF-7109-40F7-A735-BA1BF14A730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82" name="Picture 181">
              <a:extLst>
                <a:ext uri="{FF2B5EF4-FFF2-40B4-BE49-F238E27FC236}">
                  <a16:creationId xmlns:a16="http://schemas.microsoft.com/office/drawing/2014/main" xmlns="" id="{68A5BB0F-3049-472C-8F4A-EC30002AE610}"/>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83" name="Group 182">
            <a:extLst>
              <a:ext uri="{FF2B5EF4-FFF2-40B4-BE49-F238E27FC236}">
                <a16:creationId xmlns:a16="http://schemas.microsoft.com/office/drawing/2014/main" xmlns="" id="{F61DB0FD-8FEC-4BA5-87A8-D2DF52F09116}"/>
              </a:ext>
            </a:extLst>
          </p:cNvPr>
          <p:cNvGrpSpPr/>
          <p:nvPr/>
        </p:nvGrpSpPr>
        <p:grpSpPr>
          <a:xfrm>
            <a:off x="8154991" y="3596768"/>
            <a:ext cx="329140" cy="216710"/>
            <a:chOff x="5220072" y="4365104"/>
            <a:chExt cx="3528392" cy="2323138"/>
          </a:xfrm>
        </p:grpSpPr>
        <p:pic>
          <p:nvPicPr>
            <p:cNvPr id="184" name="Picture 183">
              <a:extLst>
                <a:ext uri="{FF2B5EF4-FFF2-40B4-BE49-F238E27FC236}">
                  <a16:creationId xmlns:a16="http://schemas.microsoft.com/office/drawing/2014/main" xmlns="" id="{FF8B6B9A-47A7-4DEA-A6A0-F3E0A54F592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85" name="Picture 184">
              <a:extLst>
                <a:ext uri="{FF2B5EF4-FFF2-40B4-BE49-F238E27FC236}">
                  <a16:creationId xmlns:a16="http://schemas.microsoft.com/office/drawing/2014/main" xmlns="" id="{0F49DE1E-709E-4025-8D88-304A7F3B79E7}"/>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86" name="Group 185">
            <a:extLst>
              <a:ext uri="{FF2B5EF4-FFF2-40B4-BE49-F238E27FC236}">
                <a16:creationId xmlns:a16="http://schemas.microsoft.com/office/drawing/2014/main" xmlns="" id="{082E69CE-C58D-4B3E-B64D-22C6E59BE962}"/>
              </a:ext>
            </a:extLst>
          </p:cNvPr>
          <p:cNvGrpSpPr/>
          <p:nvPr/>
        </p:nvGrpSpPr>
        <p:grpSpPr>
          <a:xfrm>
            <a:off x="8154991" y="3850129"/>
            <a:ext cx="329140" cy="216710"/>
            <a:chOff x="5220072" y="4365104"/>
            <a:chExt cx="3528392" cy="2323138"/>
          </a:xfrm>
        </p:grpSpPr>
        <p:pic>
          <p:nvPicPr>
            <p:cNvPr id="187" name="Picture 186">
              <a:extLst>
                <a:ext uri="{FF2B5EF4-FFF2-40B4-BE49-F238E27FC236}">
                  <a16:creationId xmlns:a16="http://schemas.microsoft.com/office/drawing/2014/main" xmlns="" id="{D7903747-DB30-4F86-BDF2-29AC94A7771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88" name="Picture 187">
              <a:extLst>
                <a:ext uri="{FF2B5EF4-FFF2-40B4-BE49-F238E27FC236}">
                  <a16:creationId xmlns:a16="http://schemas.microsoft.com/office/drawing/2014/main" xmlns="" id="{45656CC0-3AC5-4947-A224-29D8405FAC38}"/>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189" name="Group 188">
            <a:extLst>
              <a:ext uri="{FF2B5EF4-FFF2-40B4-BE49-F238E27FC236}">
                <a16:creationId xmlns:a16="http://schemas.microsoft.com/office/drawing/2014/main" xmlns="" id="{548906A7-8DAE-480F-BB18-B6F262344D6A}"/>
              </a:ext>
            </a:extLst>
          </p:cNvPr>
          <p:cNvGrpSpPr/>
          <p:nvPr/>
        </p:nvGrpSpPr>
        <p:grpSpPr>
          <a:xfrm>
            <a:off x="8154991" y="4125870"/>
            <a:ext cx="329140" cy="216710"/>
            <a:chOff x="5220072" y="4365104"/>
            <a:chExt cx="3528392" cy="2323138"/>
          </a:xfrm>
        </p:grpSpPr>
        <p:pic>
          <p:nvPicPr>
            <p:cNvPr id="190" name="Picture 189">
              <a:extLst>
                <a:ext uri="{FF2B5EF4-FFF2-40B4-BE49-F238E27FC236}">
                  <a16:creationId xmlns:a16="http://schemas.microsoft.com/office/drawing/2014/main" xmlns="" id="{0DE2870B-4E3F-4A44-A427-1643CBC99D3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191" name="Picture 190">
              <a:extLst>
                <a:ext uri="{FF2B5EF4-FFF2-40B4-BE49-F238E27FC236}">
                  <a16:creationId xmlns:a16="http://schemas.microsoft.com/office/drawing/2014/main" xmlns="" id="{02F9698A-61A4-4520-B086-2AB62C9299F3}"/>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01" name="Group 200">
            <a:extLst>
              <a:ext uri="{FF2B5EF4-FFF2-40B4-BE49-F238E27FC236}">
                <a16:creationId xmlns:a16="http://schemas.microsoft.com/office/drawing/2014/main" xmlns="" id="{47E964B7-5B83-4247-85B1-096778511C34}"/>
              </a:ext>
            </a:extLst>
          </p:cNvPr>
          <p:cNvGrpSpPr/>
          <p:nvPr/>
        </p:nvGrpSpPr>
        <p:grpSpPr>
          <a:xfrm>
            <a:off x="5868144" y="2214230"/>
            <a:ext cx="329140" cy="216710"/>
            <a:chOff x="5220072" y="4365104"/>
            <a:chExt cx="3528392" cy="2323138"/>
          </a:xfrm>
        </p:grpSpPr>
        <p:pic>
          <p:nvPicPr>
            <p:cNvPr id="202" name="Picture 201">
              <a:extLst>
                <a:ext uri="{FF2B5EF4-FFF2-40B4-BE49-F238E27FC236}">
                  <a16:creationId xmlns:a16="http://schemas.microsoft.com/office/drawing/2014/main" xmlns="" id="{0464F363-18C2-4E1D-BED2-F1D29536EBC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03" name="Picture 202">
              <a:extLst>
                <a:ext uri="{FF2B5EF4-FFF2-40B4-BE49-F238E27FC236}">
                  <a16:creationId xmlns:a16="http://schemas.microsoft.com/office/drawing/2014/main" xmlns="" id="{4FD03AAC-172E-4E2F-82F1-38D0A30CD830}"/>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07" name="Group 206">
            <a:extLst>
              <a:ext uri="{FF2B5EF4-FFF2-40B4-BE49-F238E27FC236}">
                <a16:creationId xmlns:a16="http://schemas.microsoft.com/office/drawing/2014/main" xmlns="" id="{910A86C6-6728-45F6-AAA1-58ECC2E6D568}"/>
              </a:ext>
            </a:extLst>
          </p:cNvPr>
          <p:cNvGrpSpPr/>
          <p:nvPr/>
        </p:nvGrpSpPr>
        <p:grpSpPr>
          <a:xfrm>
            <a:off x="6249285" y="2214230"/>
            <a:ext cx="329140" cy="216710"/>
            <a:chOff x="5220072" y="4365104"/>
            <a:chExt cx="3528392" cy="2323138"/>
          </a:xfrm>
        </p:grpSpPr>
        <p:pic>
          <p:nvPicPr>
            <p:cNvPr id="208" name="Picture 207">
              <a:extLst>
                <a:ext uri="{FF2B5EF4-FFF2-40B4-BE49-F238E27FC236}">
                  <a16:creationId xmlns:a16="http://schemas.microsoft.com/office/drawing/2014/main" xmlns="" id="{8F1FA38A-49F3-4969-8F2D-9AD64958C7D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09" name="Picture 208">
              <a:extLst>
                <a:ext uri="{FF2B5EF4-FFF2-40B4-BE49-F238E27FC236}">
                  <a16:creationId xmlns:a16="http://schemas.microsoft.com/office/drawing/2014/main" xmlns="" id="{3081A8CB-1334-4808-8C3F-F86EAE26F29F}"/>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13" name="Group 212">
            <a:extLst>
              <a:ext uri="{FF2B5EF4-FFF2-40B4-BE49-F238E27FC236}">
                <a16:creationId xmlns:a16="http://schemas.microsoft.com/office/drawing/2014/main" xmlns="" id="{AAAEF538-D810-49EB-A325-BCB6F5E3F0BA}"/>
              </a:ext>
            </a:extLst>
          </p:cNvPr>
          <p:cNvGrpSpPr/>
          <p:nvPr/>
        </p:nvGrpSpPr>
        <p:grpSpPr>
          <a:xfrm>
            <a:off x="6630426" y="2214230"/>
            <a:ext cx="329140" cy="216710"/>
            <a:chOff x="5220072" y="4365104"/>
            <a:chExt cx="3528392" cy="2323138"/>
          </a:xfrm>
        </p:grpSpPr>
        <p:pic>
          <p:nvPicPr>
            <p:cNvPr id="214" name="Picture 213">
              <a:extLst>
                <a:ext uri="{FF2B5EF4-FFF2-40B4-BE49-F238E27FC236}">
                  <a16:creationId xmlns:a16="http://schemas.microsoft.com/office/drawing/2014/main" xmlns="" id="{639EFD72-4ABD-47A6-B8DB-8A66E75B2AF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15" name="Picture 214">
              <a:extLst>
                <a:ext uri="{FF2B5EF4-FFF2-40B4-BE49-F238E27FC236}">
                  <a16:creationId xmlns:a16="http://schemas.microsoft.com/office/drawing/2014/main" xmlns="" id="{A9545C99-17C7-4129-84DE-574EABAA7E7D}"/>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16" name="Group 215">
            <a:extLst>
              <a:ext uri="{FF2B5EF4-FFF2-40B4-BE49-F238E27FC236}">
                <a16:creationId xmlns:a16="http://schemas.microsoft.com/office/drawing/2014/main" xmlns="" id="{B52D3001-7194-42A3-AFCA-AC53A5E3E941}"/>
              </a:ext>
            </a:extLst>
          </p:cNvPr>
          <p:cNvGrpSpPr/>
          <p:nvPr/>
        </p:nvGrpSpPr>
        <p:grpSpPr>
          <a:xfrm>
            <a:off x="5868601" y="2509888"/>
            <a:ext cx="329140" cy="216710"/>
            <a:chOff x="5220072" y="4365104"/>
            <a:chExt cx="3528392" cy="2323138"/>
          </a:xfrm>
        </p:grpSpPr>
        <p:pic>
          <p:nvPicPr>
            <p:cNvPr id="217" name="Picture 216">
              <a:extLst>
                <a:ext uri="{FF2B5EF4-FFF2-40B4-BE49-F238E27FC236}">
                  <a16:creationId xmlns:a16="http://schemas.microsoft.com/office/drawing/2014/main" xmlns="" id="{C6C3776A-490D-4CE1-8558-38BBF813DB9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18" name="Picture 217">
              <a:extLst>
                <a:ext uri="{FF2B5EF4-FFF2-40B4-BE49-F238E27FC236}">
                  <a16:creationId xmlns:a16="http://schemas.microsoft.com/office/drawing/2014/main" xmlns="" id="{DF88D820-231E-4013-A9AF-52DBC0863846}"/>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19" name="Group 218">
            <a:extLst>
              <a:ext uri="{FF2B5EF4-FFF2-40B4-BE49-F238E27FC236}">
                <a16:creationId xmlns:a16="http://schemas.microsoft.com/office/drawing/2014/main" xmlns="" id="{8572C97B-7829-4470-B209-731866FF96AA}"/>
              </a:ext>
            </a:extLst>
          </p:cNvPr>
          <p:cNvGrpSpPr/>
          <p:nvPr/>
        </p:nvGrpSpPr>
        <p:grpSpPr>
          <a:xfrm>
            <a:off x="5868601" y="2785628"/>
            <a:ext cx="329140" cy="216710"/>
            <a:chOff x="5220072" y="4365104"/>
            <a:chExt cx="3528392" cy="2323138"/>
          </a:xfrm>
        </p:grpSpPr>
        <p:pic>
          <p:nvPicPr>
            <p:cNvPr id="220" name="Picture 219">
              <a:extLst>
                <a:ext uri="{FF2B5EF4-FFF2-40B4-BE49-F238E27FC236}">
                  <a16:creationId xmlns:a16="http://schemas.microsoft.com/office/drawing/2014/main" xmlns="" id="{9C75A96A-CFD9-470D-8163-868B414391D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21" name="Picture 220">
              <a:extLst>
                <a:ext uri="{FF2B5EF4-FFF2-40B4-BE49-F238E27FC236}">
                  <a16:creationId xmlns:a16="http://schemas.microsoft.com/office/drawing/2014/main" xmlns="" id="{652AA26B-A7CE-415C-8352-058B7C7EBE5B}"/>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22" name="Group 221">
            <a:extLst>
              <a:ext uri="{FF2B5EF4-FFF2-40B4-BE49-F238E27FC236}">
                <a16:creationId xmlns:a16="http://schemas.microsoft.com/office/drawing/2014/main" xmlns="" id="{14043A54-588C-42B3-83B5-7BD0BD417A85}"/>
              </a:ext>
            </a:extLst>
          </p:cNvPr>
          <p:cNvGrpSpPr/>
          <p:nvPr/>
        </p:nvGrpSpPr>
        <p:grpSpPr>
          <a:xfrm>
            <a:off x="6249666" y="2509888"/>
            <a:ext cx="329140" cy="216710"/>
            <a:chOff x="5220072" y="4365104"/>
            <a:chExt cx="3528392" cy="2323138"/>
          </a:xfrm>
        </p:grpSpPr>
        <p:pic>
          <p:nvPicPr>
            <p:cNvPr id="223" name="Picture 222">
              <a:extLst>
                <a:ext uri="{FF2B5EF4-FFF2-40B4-BE49-F238E27FC236}">
                  <a16:creationId xmlns:a16="http://schemas.microsoft.com/office/drawing/2014/main" xmlns="" id="{30EA0F26-15F1-4647-A3D8-719E129ED0A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24" name="Picture 223">
              <a:extLst>
                <a:ext uri="{FF2B5EF4-FFF2-40B4-BE49-F238E27FC236}">
                  <a16:creationId xmlns:a16="http://schemas.microsoft.com/office/drawing/2014/main" xmlns="" id="{D8F04431-82D3-4E27-8971-F2A08ABD8AF4}"/>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25" name="Group 224">
            <a:extLst>
              <a:ext uri="{FF2B5EF4-FFF2-40B4-BE49-F238E27FC236}">
                <a16:creationId xmlns:a16="http://schemas.microsoft.com/office/drawing/2014/main" xmlns="" id="{91E30F41-0001-4453-B7B7-C1F926E92BAA}"/>
              </a:ext>
            </a:extLst>
          </p:cNvPr>
          <p:cNvGrpSpPr/>
          <p:nvPr/>
        </p:nvGrpSpPr>
        <p:grpSpPr>
          <a:xfrm>
            <a:off x="6250342" y="2785628"/>
            <a:ext cx="329140" cy="216710"/>
            <a:chOff x="5220072" y="4365104"/>
            <a:chExt cx="3528392" cy="2323138"/>
          </a:xfrm>
        </p:grpSpPr>
        <p:pic>
          <p:nvPicPr>
            <p:cNvPr id="226" name="Picture 225">
              <a:extLst>
                <a:ext uri="{FF2B5EF4-FFF2-40B4-BE49-F238E27FC236}">
                  <a16:creationId xmlns:a16="http://schemas.microsoft.com/office/drawing/2014/main" xmlns="" id="{885A3A53-1580-4FB9-B6D0-1822DF331241}"/>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27" name="Picture 226">
              <a:extLst>
                <a:ext uri="{FF2B5EF4-FFF2-40B4-BE49-F238E27FC236}">
                  <a16:creationId xmlns:a16="http://schemas.microsoft.com/office/drawing/2014/main" xmlns="" id="{EF76566D-A255-4F4B-A8C8-8117C4D37376}"/>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28" name="Group 227">
            <a:extLst>
              <a:ext uri="{FF2B5EF4-FFF2-40B4-BE49-F238E27FC236}">
                <a16:creationId xmlns:a16="http://schemas.microsoft.com/office/drawing/2014/main" xmlns="" id="{9F595D2C-3A8A-484C-86A2-5701D108B682}"/>
              </a:ext>
            </a:extLst>
          </p:cNvPr>
          <p:cNvGrpSpPr/>
          <p:nvPr/>
        </p:nvGrpSpPr>
        <p:grpSpPr>
          <a:xfrm>
            <a:off x="6630731" y="2509888"/>
            <a:ext cx="329140" cy="216710"/>
            <a:chOff x="5220072" y="4365104"/>
            <a:chExt cx="3528392" cy="2323138"/>
          </a:xfrm>
        </p:grpSpPr>
        <p:pic>
          <p:nvPicPr>
            <p:cNvPr id="229" name="Picture 228">
              <a:extLst>
                <a:ext uri="{FF2B5EF4-FFF2-40B4-BE49-F238E27FC236}">
                  <a16:creationId xmlns:a16="http://schemas.microsoft.com/office/drawing/2014/main" xmlns="" id="{730EDADC-D22B-4F7D-8130-EACDA7BDE4A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30" name="Picture 229">
              <a:extLst>
                <a:ext uri="{FF2B5EF4-FFF2-40B4-BE49-F238E27FC236}">
                  <a16:creationId xmlns:a16="http://schemas.microsoft.com/office/drawing/2014/main" xmlns="" id="{FA8924B4-FFD8-45A0-A445-F2587D1F5A1B}"/>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31" name="Group 230">
            <a:extLst>
              <a:ext uri="{FF2B5EF4-FFF2-40B4-BE49-F238E27FC236}">
                <a16:creationId xmlns:a16="http://schemas.microsoft.com/office/drawing/2014/main" xmlns="" id="{0D89D5B7-157E-47EF-8453-9C9DE310FCCD}"/>
              </a:ext>
            </a:extLst>
          </p:cNvPr>
          <p:cNvGrpSpPr/>
          <p:nvPr/>
        </p:nvGrpSpPr>
        <p:grpSpPr>
          <a:xfrm>
            <a:off x="6632083" y="2785628"/>
            <a:ext cx="329140" cy="216710"/>
            <a:chOff x="5220072" y="4365104"/>
            <a:chExt cx="3528392" cy="2323138"/>
          </a:xfrm>
        </p:grpSpPr>
        <p:pic>
          <p:nvPicPr>
            <p:cNvPr id="232" name="Picture 231">
              <a:extLst>
                <a:ext uri="{FF2B5EF4-FFF2-40B4-BE49-F238E27FC236}">
                  <a16:creationId xmlns:a16="http://schemas.microsoft.com/office/drawing/2014/main" xmlns="" id="{9C954924-9F3F-4541-B17F-6FA3EDE89DA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33" name="Picture 232">
              <a:extLst>
                <a:ext uri="{FF2B5EF4-FFF2-40B4-BE49-F238E27FC236}">
                  <a16:creationId xmlns:a16="http://schemas.microsoft.com/office/drawing/2014/main" xmlns="" id="{A110BC4B-4FAE-4AEC-BC96-66019751388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34" name="Group 233">
            <a:extLst>
              <a:ext uri="{FF2B5EF4-FFF2-40B4-BE49-F238E27FC236}">
                <a16:creationId xmlns:a16="http://schemas.microsoft.com/office/drawing/2014/main" xmlns="" id="{5AACC233-0DF2-4FB5-A21B-017077891C9C}"/>
              </a:ext>
            </a:extLst>
          </p:cNvPr>
          <p:cNvGrpSpPr/>
          <p:nvPr/>
        </p:nvGrpSpPr>
        <p:grpSpPr>
          <a:xfrm>
            <a:off x="5863636" y="3069800"/>
            <a:ext cx="329140" cy="216710"/>
            <a:chOff x="5220072" y="4365104"/>
            <a:chExt cx="3528392" cy="2323138"/>
          </a:xfrm>
        </p:grpSpPr>
        <p:pic>
          <p:nvPicPr>
            <p:cNvPr id="235" name="Picture 234">
              <a:extLst>
                <a:ext uri="{FF2B5EF4-FFF2-40B4-BE49-F238E27FC236}">
                  <a16:creationId xmlns:a16="http://schemas.microsoft.com/office/drawing/2014/main" xmlns="" id="{877EC131-21E6-496C-81E1-A9E74164B41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36" name="Picture 235">
              <a:extLst>
                <a:ext uri="{FF2B5EF4-FFF2-40B4-BE49-F238E27FC236}">
                  <a16:creationId xmlns:a16="http://schemas.microsoft.com/office/drawing/2014/main" xmlns="" id="{9224CEAE-029A-4D14-A71D-8DD90CD969A8}"/>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37" name="Group 236">
            <a:extLst>
              <a:ext uri="{FF2B5EF4-FFF2-40B4-BE49-F238E27FC236}">
                <a16:creationId xmlns:a16="http://schemas.microsoft.com/office/drawing/2014/main" xmlns="" id="{EAA4CC60-FCE9-496C-AE31-B37A52A785F8}"/>
              </a:ext>
            </a:extLst>
          </p:cNvPr>
          <p:cNvGrpSpPr/>
          <p:nvPr/>
        </p:nvGrpSpPr>
        <p:grpSpPr>
          <a:xfrm>
            <a:off x="5863636" y="3345540"/>
            <a:ext cx="329140" cy="216710"/>
            <a:chOff x="5220072" y="4365104"/>
            <a:chExt cx="3528392" cy="2323138"/>
          </a:xfrm>
        </p:grpSpPr>
        <p:pic>
          <p:nvPicPr>
            <p:cNvPr id="238" name="Picture 237">
              <a:extLst>
                <a:ext uri="{FF2B5EF4-FFF2-40B4-BE49-F238E27FC236}">
                  <a16:creationId xmlns:a16="http://schemas.microsoft.com/office/drawing/2014/main" xmlns="" id="{C86E44D9-5E8C-45CF-AF1D-455316D7CFC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39" name="Picture 238">
              <a:extLst>
                <a:ext uri="{FF2B5EF4-FFF2-40B4-BE49-F238E27FC236}">
                  <a16:creationId xmlns:a16="http://schemas.microsoft.com/office/drawing/2014/main" xmlns="" id="{B9F94413-103E-497F-A79D-741D0653079C}"/>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40" name="Group 239">
            <a:extLst>
              <a:ext uri="{FF2B5EF4-FFF2-40B4-BE49-F238E27FC236}">
                <a16:creationId xmlns:a16="http://schemas.microsoft.com/office/drawing/2014/main" xmlns="" id="{01EB2942-EA54-4C74-86CC-78E960FBDFBB}"/>
              </a:ext>
            </a:extLst>
          </p:cNvPr>
          <p:cNvGrpSpPr/>
          <p:nvPr/>
        </p:nvGrpSpPr>
        <p:grpSpPr>
          <a:xfrm>
            <a:off x="6246204" y="3069800"/>
            <a:ext cx="329140" cy="216710"/>
            <a:chOff x="5220072" y="4365104"/>
            <a:chExt cx="3528392" cy="2323138"/>
          </a:xfrm>
        </p:grpSpPr>
        <p:pic>
          <p:nvPicPr>
            <p:cNvPr id="241" name="Picture 240">
              <a:extLst>
                <a:ext uri="{FF2B5EF4-FFF2-40B4-BE49-F238E27FC236}">
                  <a16:creationId xmlns:a16="http://schemas.microsoft.com/office/drawing/2014/main" xmlns="" id="{2CBF39AE-1BAB-4B4E-9FC5-CE6570F0558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42" name="Picture 241">
              <a:extLst>
                <a:ext uri="{FF2B5EF4-FFF2-40B4-BE49-F238E27FC236}">
                  <a16:creationId xmlns:a16="http://schemas.microsoft.com/office/drawing/2014/main" xmlns="" id="{9C9FB1A6-C99B-456C-AE3A-219FF5D88420}"/>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43" name="Group 242">
            <a:extLst>
              <a:ext uri="{FF2B5EF4-FFF2-40B4-BE49-F238E27FC236}">
                <a16:creationId xmlns:a16="http://schemas.microsoft.com/office/drawing/2014/main" xmlns="" id="{51B722FC-DD7E-4C72-BA81-D493AE3DC6C0}"/>
              </a:ext>
            </a:extLst>
          </p:cNvPr>
          <p:cNvGrpSpPr/>
          <p:nvPr/>
        </p:nvGrpSpPr>
        <p:grpSpPr>
          <a:xfrm>
            <a:off x="6246204" y="3345540"/>
            <a:ext cx="329140" cy="216710"/>
            <a:chOff x="5220072" y="4365104"/>
            <a:chExt cx="3528392" cy="2323138"/>
          </a:xfrm>
        </p:grpSpPr>
        <p:pic>
          <p:nvPicPr>
            <p:cNvPr id="244" name="Picture 243">
              <a:extLst>
                <a:ext uri="{FF2B5EF4-FFF2-40B4-BE49-F238E27FC236}">
                  <a16:creationId xmlns:a16="http://schemas.microsoft.com/office/drawing/2014/main" xmlns="" id="{BDB41926-A8E6-4C0F-AE3F-E04F03B6A51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45" name="Picture 244">
              <a:extLst>
                <a:ext uri="{FF2B5EF4-FFF2-40B4-BE49-F238E27FC236}">
                  <a16:creationId xmlns:a16="http://schemas.microsoft.com/office/drawing/2014/main" xmlns="" id="{7C139746-2BA7-41B9-8984-84AF2DA46DFA}"/>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46" name="Group 245">
            <a:extLst>
              <a:ext uri="{FF2B5EF4-FFF2-40B4-BE49-F238E27FC236}">
                <a16:creationId xmlns:a16="http://schemas.microsoft.com/office/drawing/2014/main" xmlns="" id="{CF39EAF5-FFAB-4436-9B4D-A746803256FE}"/>
              </a:ext>
            </a:extLst>
          </p:cNvPr>
          <p:cNvGrpSpPr/>
          <p:nvPr/>
        </p:nvGrpSpPr>
        <p:grpSpPr>
          <a:xfrm>
            <a:off x="6628772" y="3069800"/>
            <a:ext cx="329140" cy="216710"/>
            <a:chOff x="5220072" y="4365104"/>
            <a:chExt cx="3528392" cy="2323138"/>
          </a:xfrm>
        </p:grpSpPr>
        <p:pic>
          <p:nvPicPr>
            <p:cNvPr id="247" name="Picture 246">
              <a:extLst>
                <a:ext uri="{FF2B5EF4-FFF2-40B4-BE49-F238E27FC236}">
                  <a16:creationId xmlns:a16="http://schemas.microsoft.com/office/drawing/2014/main" xmlns="" id="{F4138F56-B0FE-46A2-9D0E-9B00FDB9E25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48" name="Picture 247">
              <a:extLst>
                <a:ext uri="{FF2B5EF4-FFF2-40B4-BE49-F238E27FC236}">
                  <a16:creationId xmlns:a16="http://schemas.microsoft.com/office/drawing/2014/main" xmlns="" id="{AF221EC8-F0EF-43CE-BB05-B3163684C759}"/>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49" name="Group 248">
            <a:extLst>
              <a:ext uri="{FF2B5EF4-FFF2-40B4-BE49-F238E27FC236}">
                <a16:creationId xmlns:a16="http://schemas.microsoft.com/office/drawing/2014/main" xmlns="" id="{294FF51E-DCDF-4E04-91DD-38DB21CDE900}"/>
              </a:ext>
            </a:extLst>
          </p:cNvPr>
          <p:cNvGrpSpPr/>
          <p:nvPr/>
        </p:nvGrpSpPr>
        <p:grpSpPr>
          <a:xfrm>
            <a:off x="6628772" y="3345540"/>
            <a:ext cx="329140" cy="216710"/>
            <a:chOff x="5220072" y="4365104"/>
            <a:chExt cx="3528392" cy="2323138"/>
          </a:xfrm>
        </p:grpSpPr>
        <p:pic>
          <p:nvPicPr>
            <p:cNvPr id="250" name="Picture 249">
              <a:extLst>
                <a:ext uri="{FF2B5EF4-FFF2-40B4-BE49-F238E27FC236}">
                  <a16:creationId xmlns:a16="http://schemas.microsoft.com/office/drawing/2014/main" xmlns="" id="{EE363471-DD6F-4381-BCD4-3BE24BA6DBA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51" name="Picture 250">
              <a:extLst>
                <a:ext uri="{FF2B5EF4-FFF2-40B4-BE49-F238E27FC236}">
                  <a16:creationId xmlns:a16="http://schemas.microsoft.com/office/drawing/2014/main" xmlns="" id="{FA843D36-ED70-47F8-BAD2-E408514589A4}"/>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52" name="Group 251">
            <a:extLst>
              <a:ext uri="{FF2B5EF4-FFF2-40B4-BE49-F238E27FC236}">
                <a16:creationId xmlns:a16="http://schemas.microsoft.com/office/drawing/2014/main" xmlns="" id="{0F49FC97-2C02-4ED8-AE67-5F356D9ABD2E}"/>
              </a:ext>
            </a:extLst>
          </p:cNvPr>
          <p:cNvGrpSpPr/>
          <p:nvPr/>
        </p:nvGrpSpPr>
        <p:grpSpPr>
          <a:xfrm>
            <a:off x="5859139" y="3596768"/>
            <a:ext cx="329140" cy="216710"/>
            <a:chOff x="5220072" y="4365104"/>
            <a:chExt cx="3528392" cy="2323138"/>
          </a:xfrm>
        </p:grpSpPr>
        <p:pic>
          <p:nvPicPr>
            <p:cNvPr id="253" name="Picture 252">
              <a:extLst>
                <a:ext uri="{FF2B5EF4-FFF2-40B4-BE49-F238E27FC236}">
                  <a16:creationId xmlns:a16="http://schemas.microsoft.com/office/drawing/2014/main" xmlns="" id="{54DBCCFD-A88F-4407-8905-87023118545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54" name="Picture 253">
              <a:extLst>
                <a:ext uri="{FF2B5EF4-FFF2-40B4-BE49-F238E27FC236}">
                  <a16:creationId xmlns:a16="http://schemas.microsoft.com/office/drawing/2014/main" xmlns="" id="{529CD510-0993-49AC-80BE-08B13887E322}"/>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55" name="Group 254">
            <a:extLst>
              <a:ext uri="{FF2B5EF4-FFF2-40B4-BE49-F238E27FC236}">
                <a16:creationId xmlns:a16="http://schemas.microsoft.com/office/drawing/2014/main" xmlns="" id="{45C9227C-222A-4D09-92FD-7324C8E5EB08}"/>
              </a:ext>
            </a:extLst>
          </p:cNvPr>
          <p:cNvGrpSpPr/>
          <p:nvPr/>
        </p:nvGrpSpPr>
        <p:grpSpPr>
          <a:xfrm>
            <a:off x="5859139" y="3872508"/>
            <a:ext cx="329140" cy="216710"/>
            <a:chOff x="5220072" y="4365104"/>
            <a:chExt cx="3528392" cy="2323138"/>
          </a:xfrm>
        </p:grpSpPr>
        <p:pic>
          <p:nvPicPr>
            <p:cNvPr id="256" name="Picture 255">
              <a:extLst>
                <a:ext uri="{FF2B5EF4-FFF2-40B4-BE49-F238E27FC236}">
                  <a16:creationId xmlns:a16="http://schemas.microsoft.com/office/drawing/2014/main" xmlns="" id="{FD43A675-ECF2-4DC1-927B-03EA6F365E3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57" name="Picture 256">
              <a:extLst>
                <a:ext uri="{FF2B5EF4-FFF2-40B4-BE49-F238E27FC236}">
                  <a16:creationId xmlns:a16="http://schemas.microsoft.com/office/drawing/2014/main" xmlns="" id="{03F79018-32F6-4C3A-8ECA-B7FC23F9DF8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58" name="Group 257">
            <a:extLst>
              <a:ext uri="{FF2B5EF4-FFF2-40B4-BE49-F238E27FC236}">
                <a16:creationId xmlns:a16="http://schemas.microsoft.com/office/drawing/2014/main" xmlns="" id="{FF06160B-9D28-479B-BA3D-D36C2BA627CC}"/>
              </a:ext>
            </a:extLst>
          </p:cNvPr>
          <p:cNvGrpSpPr/>
          <p:nvPr/>
        </p:nvGrpSpPr>
        <p:grpSpPr>
          <a:xfrm>
            <a:off x="6241781" y="3596768"/>
            <a:ext cx="329140" cy="216710"/>
            <a:chOff x="5220072" y="4365104"/>
            <a:chExt cx="3528392" cy="2323138"/>
          </a:xfrm>
        </p:grpSpPr>
        <p:pic>
          <p:nvPicPr>
            <p:cNvPr id="259" name="Picture 258">
              <a:extLst>
                <a:ext uri="{FF2B5EF4-FFF2-40B4-BE49-F238E27FC236}">
                  <a16:creationId xmlns:a16="http://schemas.microsoft.com/office/drawing/2014/main" xmlns="" id="{55192AA1-B0CE-4337-AC19-48AAE0CCF02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60" name="Picture 259">
              <a:extLst>
                <a:ext uri="{FF2B5EF4-FFF2-40B4-BE49-F238E27FC236}">
                  <a16:creationId xmlns:a16="http://schemas.microsoft.com/office/drawing/2014/main" xmlns="" id="{E4F2B599-AACB-4AED-9C21-69DC88F081AB}"/>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61" name="Group 260">
            <a:extLst>
              <a:ext uri="{FF2B5EF4-FFF2-40B4-BE49-F238E27FC236}">
                <a16:creationId xmlns:a16="http://schemas.microsoft.com/office/drawing/2014/main" xmlns="" id="{E65047CE-8A00-4865-B07D-250726B2AA00}"/>
              </a:ext>
            </a:extLst>
          </p:cNvPr>
          <p:cNvGrpSpPr/>
          <p:nvPr/>
        </p:nvGrpSpPr>
        <p:grpSpPr>
          <a:xfrm>
            <a:off x="6238418" y="3872508"/>
            <a:ext cx="329140" cy="216710"/>
            <a:chOff x="5220072" y="4365104"/>
            <a:chExt cx="3528392" cy="2323138"/>
          </a:xfrm>
        </p:grpSpPr>
        <p:pic>
          <p:nvPicPr>
            <p:cNvPr id="262" name="Picture 261">
              <a:extLst>
                <a:ext uri="{FF2B5EF4-FFF2-40B4-BE49-F238E27FC236}">
                  <a16:creationId xmlns:a16="http://schemas.microsoft.com/office/drawing/2014/main" xmlns="" id="{910DE4BB-82E2-4EA7-BBD1-BF29FDC1593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63" name="Picture 262">
              <a:extLst>
                <a:ext uri="{FF2B5EF4-FFF2-40B4-BE49-F238E27FC236}">
                  <a16:creationId xmlns:a16="http://schemas.microsoft.com/office/drawing/2014/main" xmlns="" id="{2ECB32C0-29D8-487C-B4CD-210B35217EC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64" name="Group 263">
            <a:extLst>
              <a:ext uri="{FF2B5EF4-FFF2-40B4-BE49-F238E27FC236}">
                <a16:creationId xmlns:a16="http://schemas.microsoft.com/office/drawing/2014/main" xmlns="" id="{830536E2-706C-4017-B98A-7EF0A635F00D}"/>
              </a:ext>
            </a:extLst>
          </p:cNvPr>
          <p:cNvGrpSpPr/>
          <p:nvPr/>
        </p:nvGrpSpPr>
        <p:grpSpPr>
          <a:xfrm>
            <a:off x="6624423" y="3596768"/>
            <a:ext cx="329140" cy="216710"/>
            <a:chOff x="5220072" y="4365104"/>
            <a:chExt cx="3528392" cy="2323138"/>
          </a:xfrm>
        </p:grpSpPr>
        <p:pic>
          <p:nvPicPr>
            <p:cNvPr id="265" name="Picture 264">
              <a:extLst>
                <a:ext uri="{FF2B5EF4-FFF2-40B4-BE49-F238E27FC236}">
                  <a16:creationId xmlns:a16="http://schemas.microsoft.com/office/drawing/2014/main" xmlns="" id="{153A5CC3-B8CE-48A8-9FAC-E195407C41D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66" name="Picture 265">
              <a:extLst>
                <a:ext uri="{FF2B5EF4-FFF2-40B4-BE49-F238E27FC236}">
                  <a16:creationId xmlns:a16="http://schemas.microsoft.com/office/drawing/2014/main" xmlns="" id="{608BABD4-9788-45ED-83EB-C0B40FDD8D58}"/>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67" name="Group 266">
            <a:extLst>
              <a:ext uri="{FF2B5EF4-FFF2-40B4-BE49-F238E27FC236}">
                <a16:creationId xmlns:a16="http://schemas.microsoft.com/office/drawing/2014/main" xmlns="" id="{26E44495-A7D1-47D7-8A3F-DB9366F1BD58}"/>
              </a:ext>
            </a:extLst>
          </p:cNvPr>
          <p:cNvGrpSpPr/>
          <p:nvPr/>
        </p:nvGrpSpPr>
        <p:grpSpPr>
          <a:xfrm>
            <a:off x="6625299" y="3872508"/>
            <a:ext cx="329140" cy="216710"/>
            <a:chOff x="5220072" y="4365104"/>
            <a:chExt cx="3528392" cy="2323138"/>
          </a:xfrm>
        </p:grpSpPr>
        <p:pic>
          <p:nvPicPr>
            <p:cNvPr id="268" name="Picture 267">
              <a:extLst>
                <a:ext uri="{FF2B5EF4-FFF2-40B4-BE49-F238E27FC236}">
                  <a16:creationId xmlns:a16="http://schemas.microsoft.com/office/drawing/2014/main" xmlns="" id="{7CD0DC25-892A-4EFE-A1DA-9B34224527A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69" name="Picture 268">
              <a:extLst>
                <a:ext uri="{FF2B5EF4-FFF2-40B4-BE49-F238E27FC236}">
                  <a16:creationId xmlns:a16="http://schemas.microsoft.com/office/drawing/2014/main" xmlns="" id="{F0E84A7F-9D1D-408D-8FB7-3FB0FCCB2BB3}"/>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70" name="Group 269">
            <a:extLst>
              <a:ext uri="{FF2B5EF4-FFF2-40B4-BE49-F238E27FC236}">
                <a16:creationId xmlns:a16="http://schemas.microsoft.com/office/drawing/2014/main" xmlns="" id="{189BE35C-0BF2-42E2-A326-45F248D396C7}"/>
              </a:ext>
            </a:extLst>
          </p:cNvPr>
          <p:cNvGrpSpPr/>
          <p:nvPr/>
        </p:nvGrpSpPr>
        <p:grpSpPr>
          <a:xfrm>
            <a:off x="5863636" y="4125870"/>
            <a:ext cx="329140" cy="216710"/>
            <a:chOff x="5220072" y="4365104"/>
            <a:chExt cx="3528392" cy="2323138"/>
          </a:xfrm>
        </p:grpSpPr>
        <p:pic>
          <p:nvPicPr>
            <p:cNvPr id="271" name="Picture 270">
              <a:extLst>
                <a:ext uri="{FF2B5EF4-FFF2-40B4-BE49-F238E27FC236}">
                  <a16:creationId xmlns:a16="http://schemas.microsoft.com/office/drawing/2014/main" xmlns="" id="{44C8D1E0-5EA5-4CCB-AB4A-C81D79BD1DB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72" name="Picture 271">
              <a:extLst>
                <a:ext uri="{FF2B5EF4-FFF2-40B4-BE49-F238E27FC236}">
                  <a16:creationId xmlns:a16="http://schemas.microsoft.com/office/drawing/2014/main" xmlns="" id="{3030524C-6CB6-48EB-861A-5D6339B5634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73" name="Group 272">
            <a:extLst>
              <a:ext uri="{FF2B5EF4-FFF2-40B4-BE49-F238E27FC236}">
                <a16:creationId xmlns:a16="http://schemas.microsoft.com/office/drawing/2014/main" xmlns="" id="{057A677E-FC77-4B26-BBB2-5A7F2AD5CBBB}"/>
              </a:ext>
            </a:extLst>
          </p:cNvPr>
          <p:cNvGrpSpPr/>
          <p:nvPr/>
        </p:nvGrpSpPr>
        <p:grpSpPr>
          <a:xfrm>
            <a:off x="6245529" y="4125870"/>
            <a:ext cx="329140" cy="216710"/>
            <a:chOff x="5220072" y="4365104"/>
            <a:chExt cx="3528392" cy="2323138"/>
          </a:xfrm>
        </p:grpSpPr>
        <p:pic>
          <p:nvPicPr>
            <p:cNvPr id="274" name="Picture 273">
              <a:extLst>
                <a:ext uri="{FF2B5EF4-FFF2-40B4-BE49-F238E27FC236}">
                  <a16:creationId xmlns:a16="http://schemas.microsoft.com/office/drawing/2014/main" xmlns="" id="{CC54B8AB-0DFD-49E7-B4B7-646C0BE7452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75" name="Picture 274">
              <a:extLst>
                <a:ext uri="{FF2B5EF4-FFF2-40B4-BE49-F238E27FC236}">
                  <a16:creationId xmlns:a16="http://schemas.microsoft.com/office/drawing/2014/main" xmlns="" id="{B0A7095D-C790-426C-A662-7AD062158FD1}"/>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grpSp>
        <p:nvGrpSpPr>
          <p:cNvPr id="276" name="Group 275">
            <a:extLst>
              <a:ext uri="{FF2B5EF4-FFF2-40B4-BE49-F238E27FC236}">
                <a16:creationId xmlns:a16="http://schemas.microsoft.com/office/drawing/2014/main" xmlns="" id="{00737B6F-9F20-48FB-9B59-013B5A0848AE}"/>
              </a:ext>
            </a:extLst>
          </p:cNvPr>
          <p:cNvGrpSpPr/>
          <p:nvPr/>
        </p:nvGrpSpPr>
        <p:grpSpPr>
          <a:xfrm>
            <a:off x="6627421" y="4125870"/>
            <a:ext cx="329140" cy="216710"/>
            <a:chOff x="5220072" y="4365104"/>
            <a:chExt cx="3528392" cy="2323138"/>
          </a:xfrm>
        </p:grpSpPr>
        <p:pic>
          <p:nvPicPr>
            <p:cNvPr id="277" name="Picture 276">
              <a:extLst>
                <a:ext uri="{FF2B5EF4-FFF2-40B4-BE49-F238E27FC236}">
                  <a16:creationId xmlns:a16="http://schemas.microsoft.com/office/drawing/2014/main" xmlns="" id="{AA387B5C-1743-4C11-914C-F66FD86064C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9160" t="187" r="2596" b="-187"/>
            <a:stretch/>
          </p:blipFill>
          <p:spPr>
            <a:xfrm>
              <a:off x="5220072" y="4365104"/>
              <a:ext cx="3528392" cy="2323138"/>
            </a:xfrm>
            <a:prstGeom prst="rect">
              <a:avLst/>
            </a:prstGeom>
          </p:spPr>
        </p:pic>
        <p:pic>
          <p:nvPicPr>
            <p:cNvPr id="278" name="Picture 277">
              <a:extLst>
                <a:ext uri="{FF2B5EF4-FFF2-40B4-BE49-F238E27FC236}">
                  <a16:creationId xmlns:a16="http://schemas.microsoft.com/office/drawing/2014/main" xmlns="" id="{B8DA00E3-12FE-4EF5-A0B8-F50FEC524C3C}"/>
                </a:ext>
              </a:extLst>
            </p:cNvPr>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6336" y="4605011"/>
              <a:ext cx="1008112" cy="1344149"/>
            </a:xfrm>
            <a:prstGeom prst="rect">
              <a:avLst/>
            </a:prstGeom>
          </p:spPr>
        </p:pic>
      </p:grpSp>
      <p:sp>
        <p:nvSpPr>
          <p:cNvPr id="280" name="TextBox 279">
            <a:extLst>
              <a:ext uri="{FF2B5EF4-FFF2-40B4-BE49-F238E27FC236}">
                <a16:creationId xmlns:a16="http://schemas.microsoft.com/office/drawing/2014/main" xmlns="" id="{DB529CFE-E34E-40BC-B758-A39D18121164}"/>
              </a:ext>
            </a:extLst>
          </p:cNvPr>
          <p:cNvSpPr txBox="1"/>
          <p:nvPr/>
        </p:nvSpPr>
        <p:spPr>
          <a:xfrm>
            <a:off x="5741373" y="895799"/>
            <a:ext cx="2550862" cy="492443"/>
          </a:xfrm>
          <a:prstGeom prst="rect">
            <a:avLst/>
          </a:prstGeom>
          <a:solidFill>
            <a:srgbClr val="0078DC"/>
          </a:solidFill>
          <a:ln>
            <a:solidFill>
              <a:srgbClr val="0078DC"/>
            </a:solidFill>
          </a:ln>
        </p:spPr>
        <p:txBody>
          <a:bodyPr wrap="square" lIns="0" tIns="0" rIns="0" bIns="0" rtlCol="0" anchor="ctr" anchorCtr="0">
            <a:spAutoFit/>
          </a:bodyPr>
          <a:lstStyle>
            <a:defPPr>
              <a:defRPr lang="de-DE"/>
            </a:defPPr>
            <a:lvl1pPr algn="ctr">
              <a:defRPr sz="1600" b="1">
                <a:solidFill>
                  <a:schemeClr val="tx2"/>
                </a:solidFill>
                <a:latin typeface="+mj-lt"/>
                <a:cs typeface="Calibri" panose="020F0502020204030204" pitchFamily="34" charset="0"/>
              </a:defRPr>
            </a:lvl1pPr>
          </a:lstStyle>
          <a:p>
            <a:r>
              <a:rPr lang="de-DE" dirty="0">
                <a:solidFill>
                  <a:srgbClr val="FFFFFF"/>
                </a:solidFill>
              </a:rPr>
              <a:t>750  truck-to-</a:t>
            </a:r>
            <a:r>
              <a:rPr lang="de-DE" dirty="0" err="1">
                <a:solidFill>
                  <a:srgbClr val="FFFFFF"/>
                </a:solidFill>
              </a:rPr>
              <a:t>ship</a:t>
            </a:r>
            <a:r>
              <a:rPr lang="de-DE" dirty="0">
                <a:solidFill>
                  <a:srgbClr val="FFFFFF"/>
                </a:solidFill>
              </a:rPr>
              <a:t> </a:t>
            </a:r>
            <a:r>
              <a:rPr lang="de-DE" dirty="0" err="1">
                <a:solidFill>
                  <a:srgbClr val="FFFFFF"/>
                </a:solidFill>
              </a:rPr>
              <a:t>bunkerings</a:t>
            </a:r>
            <a:endParaRPr lang="en-GB" dirty="0">
              <a:solidFill>
                <a:srgbClr val="FFFFFF"/>
              </a:solidFill>
            </a:endParaRPr>
          </a:p>
        </p:txBody>
      </p:sp>
      <p:sp>
        <p:nvSpPr>
          <p:cNvPr id="281" name="TextBox 280">
            <a:extLst>
              <a:ext uri="{FF2B5EF4-FFF2-40B4-BE49-F238E27FC236}">
                <a16:creationId xmlns:a16="http://schemas.microsoft.com/office/drawing/2014/main" xmlns="" id="{C0828880-04FE-4FF4-B6F3-71C91E210A30}"/>
              </a:ext>
            </a:extLst>
          </p:cNvPr>
          <p:cNvSpPr txBox="1"/>
          <p:nvPr/>
        </p:nvSpPr>
        <p:spPr>
          <a:xfrm>
            <a:off x="2859301" y="1021889"/>
            <a:ext cx="2342260" cy="492443"/>
          </a:xfrm>
          <a:prstGeom prst="rect">
            <a:avLst/>
          </a:prstGeom>
          <a:solidFill>
            <a:srgbClr val="0078DC"/>
          </a:solidFill>
          <a:ln>
            <a:solidFill>
              <a:srgbClr val="0078DC"/>
            </a:solidFill>
          </a:ln>
        </p:spPr>
        <p:txBody>
          <a:bodyPr wrap="square" lIns="0" tIns="0" rIns="0" bIns="0" rtlCol="0" anchor="ctr" anchorCtr="0">
            <a:spAutoFit/>
          </a:bodyPr>
          <a:lstStyle>
            <a:defPPr>
              <a:defRPr lang="en-US"/>
            </a:defPPr>
            <a:lvl1pPr algn="ctr">
              <a:defRPr sz="1600" b="1">
                <a:solidFill>
                  <a:schemeClr val="tx1">
                    <a:lumMod val="50000"/>
                  </a:schemeClr>
                </a:solidFill>
                <a:latin typeface="Calibri" panose="020F0502020204030204" pitchFamily="34" charset="0"/>
                <a:cs typeface="Calibri" panose="020F0502020204030204" pitchFamily="34" charset="0"/>
              </a:defRPr>
            </a:lvl1pPr>
          </a:lstStyle>
          <a:p>
            <a:r>
              <a:rPr lang="de-DE" dirty="0">
                <a:solidFill>
                  <a:schemeClr val="tx2"/>
                </a:solidFill>
                <a:latin typeface="+mj-lt"/>
              </a:rPr>
              <a:t>20  </a:t>
            </a:r>
            <a:r>
              <a:rPr lang="de-DE" dirty="0" err="1">
                <a:solidFill>
                  <a:srgbClr val="FFFFFF"/>
                </a:solidFill>
                <a:latin typeface="+mj-lt"/>
              </a:rPr>
              <a:t>ship-to-ship</a:t>
            </a:r>
            <a:r>
              <a:rPr lang="de-DE" dirty="0">
                <a:solidFill>
                  <a:srgbClr val="FFFFFF"/>
                </a:solidFill>
                <a:latin typeface="+mj-lt"/>
              </a:rPr>
              <a:t> </a:t>
            </a:r>
            <a:r>
              <a:rPr lang="de-DE" dirty="0" err="1">
                <a:solidFill>
                  <a:srgbClr val="FFFFFF"/>
                </a:solidFill>
                <a:latin typeface="+mj-lt"/>
              </a:rPr>
              <a:t>bunkerings</a:t>
            </a:r>
            <a:endParaRPr lang="en-GB" dirty="0">
              <a:solidFill>
                <a:srgbClr val="FFFFFF"/>
              </a:solidFill>
              <a:latin typeface="+mj-lt"/>
            </a:endParaRPr>
          </a:p>
        </p:txBody>
      </p:sp>
      <p:grpSp>
        <p:nvGrpSpPr>
          <p:cNvPr id="286" name="Group 285">
            <a:extLst>
              <a:ext uri="{FF2B5EF4-FFF2-40B4-BE49-F238E27FC236}">
                <a16:creationId xmlns:a16="http://schemas.microsoft.com/office/drawing/2014/main" xmlns="" id="{1BDA71B2-73AA-49C7-9470-D6F1FF347EE5}"/>
              </a:ext>
            </a:extLst>
          </p:cNvPr>
          <p:cNvGrpSpPr/>
          <p:nvPr/>
        </p:nvGrpSpPr>
        <p:grpSpPr>
          <a:xfrm>
            <a:off x="4844359" y="4686155"/>
            <a:ext cx="1593240" cy="347007"/>
            <a:chOff x="1187624" y="4553303"/>
            <a:chExt cx="3035622" cy="661158"/>
          </a:xfrm>
        </p:grpSpPr>
        <p:pic>
          <p:nvPicPr>
            <p:cNvPr id="282" name="Picture 281">
              <a:extLst>
                <a:ext uri="{FF2B5EF4-FFF2-40B4-BE49-F238E27FC236}">
                  <a16:creationId xmlns:a16="http://schemas.microsoft.com/office/drawing/2014/main" xmlns="" id="{DF89F446-2891-4A95-89C3-0DB9CFCABBC7}"/>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4" name="Rectangle 283">
              <a:extLst>
                <a:ext uri="{FF2B5EF4-FFF2-40B4-BE49-F238E27FC236}">
                  <a16:creationId xmlns:a16="http://schemas.microsoft.com/office/drawing/2014/main" xmlns="" id="{ECB61D30-9286-4856-BF5C-8C4C438A14A5}"/>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83" name="Picture 282">
              <a:extLst>
                <a:ext uri="{FF2B5EF4-FFF2-40B4-BE49-F238E27FC236}">
                  <a16:creationId xmlns:a16="http://schemas.microsoft.com/office/drawing/2014/main" xmlns="" id="{4657E23B-C37E-422F-B69D-9A9CDC221A6F}"/>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00" name="Group 299">
            <a:extLst>
              <a:ext uri="{FF2B5EF4-FFF2-40B4-BE49-F238E27FC236}">
                <a16:creationId xmlns:a16="http://schemas.microsoft.com/office/drawing/2014/main" xmlns="" id="{1AB21148-0328-44E3-86E9-718022EBAA64}"/>
              </a:ext>
            </a:extLst>
          </p:cNvPr>
          <p:cNvGrpSpPr/>
          <p:nvPr/>
        </p:nvGrpSpPr>
        <p:grpSpPr>
          <a:xfrm>
            <a:off x="6416379" y="4686155"/>
            <a:ext cx="826370" cy="179983"/>
            <a:chOff x="1187624" y="4553303"/>
            <a:chExt cx="3035622" cy="661158"/>
          </a:xfrm>
        </p:grpSpPr>
        <p:pic>
          <p:nvPicPr>
            <p:cNvPr id="301" name="Picture 300">
              <a:extLst>
                <a:ext uri="{FF2B5EF4-FFF2-40B4-BE49-F238E27FC236}">
                  <a16:creationId xmlns:a16="http://schemas.microsoft.com/office/drawing/2014/main" xmlns="" id="{9AB398FE-2D40-411E-BD00-F395D407A79F}"/>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2" name="Rectangle 301">
              <a:extLst>
                <a:ext uri="{FF2B5EF4-FFF2-40B4-BE49-F238E27FC236}">
                  <a16:creationId xmlns:a16="http://schemas.microsoft.com/office/drawing/2014/main" xmlns="" id="{5B42C593-E469-4320-8CB1-A8E65C9FFC3F}"/>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3" name="Picture 302">
              <a:extLst>
                <a:ext uri="{FF2B5EF4-FFF2-40B4-BE49-F238E27FC236}">
                  <a16:creationId xmlns:a16="http://schemas.microsoft.com/office/drawing/2014/main" xmlns="" id="{09AAF5B8-80C8-4379-BE34-3926F6D51E7F}"/>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04" name="Group 303">
            <a:extLst>
              <a:ext uri="{FF2B5EF4-FFF2-40B4-BE49-F238E27FC236}">
                <a16:creationId xmlns:a16="http://schemas.microsoft.com/office/drawing/2014/main" xmlns="" id="{A71F240C-945F-4C34-AAC3-E48D0338E810}"/>
              </a:ext>
            </a:extLst>
          </p:cNvPr>
          <p:cNvGrpSpPr/>
          <p:nvPr/>
        </p:nvGrpSpPr>
        <p:grpSpPr>
          <a:xfrm>
            <a:off x="7202389" y="4686155"/>
            <a:ext cx="826370" cy="179983"/>
            <a:chOff x="1187624" y="4553303"/>
            <a:chExt cx="3035622" cy="661158"/>
          </a:xfrm>
        </p:grpSpPr>
        <p:pic>
          <p:nvPicPr>
            <p:cNvPr id="305" name="Picture 304">
              <a:extLst>
                <a:ext uri="{FF2B5EF4-FFF2-40B4-BE49-F238E27FC236}">
                  <a16:creationId xmlns:a16="http://schemas.microsoft.com/office/drawing/2014/main" xmlns="" id="{BBC4D038-F977-4CBE-9330-61E21997829A}"/>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6" name="Rectangle 305">
              <a:extLst>
                <a:ext uri="{FF2B5EF4-FFF2-40B4-BE49-F238E27FC236}">
                  <a16:creationId xmlns:a16="http://schemas.microsoft.com/office/drawing/2014/main" xmlns="" id="{CDA865F7-BEDB-43D5-AEA8-452D721727AC}"/>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7" name="Picture 306">
              <a:extLst>
                <a:ext uri="{FF2B5EF4-FFF2-40B4-BE49-F238E27FC236}">
                  <a16:creationId xmlns:a16="http://schemas.microsoft.com/office/drawing/2014/main" xmlns="" id="{1FC2BD70-7D99-4DEF-941A-CC755C7BC4D5}"/>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08" name="Group 307">
            <a:extLst>
              <a:ext uri="{FF2B5EF4-FFF2-40B4-BE49-F238E27FC236}">
                <a16:creationId xmlns:a16="http://schemas.microsoft.com/office/drawing/2014/main" xmlns="" id="{D4A3925D-B911-458B-8D8F-E3EEB4A597EE}"/>
              </a:ext>
            </a:extLst>
          </p:cNvPr>
          <p:cNvGrpSpPr/>
          <p:nvPr/>
        </p:nvGrpSpPr>
        <p:grpSpPr>
          <a:xfrm>
            <a:off x="7988399" y="4686155"/>
            <a:ext cx="826370" cy="179983"/>
            <a:chOff x="1187624" y="4553303"/>
            <a:chExt cx="3035622" cy="661158"/>
          </a:xfrm>
        </p:grpSpPr>
        <p:pic>
          <p:nvPicPr>
            <p:cNvPr id="309" name="Picture 308">
              <a:extLst>
                <a:ext uri="{FF2B5EF4-FFF2-40B4-BE49-F238E27FC236}">
                  <a16:creationId xmlns:a16="http://schemas.microsoft.com/office/drawing/2014/main" xmlns="" id="{25B8E04E-B2F6-426A-81AC-8A419DF0BF8B}"/>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0" name="Rectangle 309">
              <a:extLst>
                <a:ext uri="{FF2B5EF4-FFF2-40B4-BE49-F238E27FC236}">
                  <a16:creationId xmlns:a16="http://schemas.microsoft.com/office/drawing/2014/main" xmlns="" id="{4E8F9FA8-C207-4182-8654-4ACFDD1F5371}"/>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1" name="Picture 310">
              <a:extLst>
                <a:ext uri="{FF2B5EF4-FFF2-40B4-BE49-F238E27FC236}">
                  <a16:creationId xmlns:a16="http://schemas.microsoft.com/office/drawing/2014/main" xmlns="" id="{628139E0-7F8D-4EF3-A76B-C617DE71049F}"/>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20" name="Group 319">
            <a:extLst>
              <a:ext uri="{FF2B5EF4-FFF2-40B4-BE49-F238E27FC236}">
                <a16:creationId xmlns:a16="http://schemas.microsoft.com/office/drawing/2014/main" xmlns="" id="{0B91E188-2006-4DFC-8297-F5B08C6783DA}"/>
              </a:ext>
            </a:extLst>
          </p:cNvPr>
          <p:cNvGrpSpPr/>
          <p:nvPr/>
        </p:nvGrpSpPr>
        <p:grpSpPr>
          <a:xfrm>
            <a:off x="6416379" y="4869909"/>
            <a:ext cx="826370" cy="179983"/>
            <a:chOff x="1187624" y="4553303"/>
            <a:chExt cx="3035622" cy="661158"/>
          </a:xfrm>
        </p:grpSpPr>
        <p:pic>
          <p:nvPicPr>
            <p:cNvPr id="321" name="Picture 320">
              <a:extLst>
                <a:ext uri="{FF2B5EF4-FFF2-40B4-BE49-F238E27FC236}">
                  <a16:creationId xmlns:a16="http://schemas.microsoft.com/office/drawing/2014/main" xmlns="" id="{A8D2681B-CD2E-4BC2-AFD7-A170312569F2}"/>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2" name="Rectangle 321">
              <a:extLst>
                <a:ext uri="{FF2B5EF4-FFF2-40B4-BE49-F238E27FC236}">
                  <a16:creationId xmlns:a16="http://schemas.microsoft.com/office/drawing/2014/main" xmlns="" id="{225F9D6F-CE0B-4BEE-B2E6-5A7322344B32}"/>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23" name="Picture 322">
              <a:extLst>
                <a:ext uri="{FF2B5EF4-FFF2-40B4-BE49-F238E27FC236}">
                  <a16:creationId xmlns:a16="http://schemas.microsoft.com/office/drawing/2014/main" xmlns="" id="{590F7721-08DF-4D87-8C25-4282BE029AF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24" name="Group 323">
            <a:extLst>
              <a:ext uri="{FF2B5EF4-FFF2-40B4-BE49-F238E27FC236}">
                <a16:creationId xmlns:a16="http://schemas.microsoft.com/office/drawing/2014/main" xmlns="" id="{0185DE05-46FE-42F7-9959-65BF5ABDEB08}"/>
              </a:ext>
            </a:extLst>
          </p:cNvPr>
          <p:cNvGrpSpPr/>
          <p:nvPr/>
        </p:nvGrpSpPr>
        <p:grpSpPr>
          <a:xfrm>
            <a:off x="7202389" y="4869909"/>
            <a:ext cx="826370" cy="179983"/>
            <a:chOff x="1187624" y="4553303"/>
            <a:chExt cx="3035622" cy="661158"/>
          </a:xfrm>
        </p:grpSpPr>
        <p:pic>
          <p:nvPicPr>
            <p:cNvPr id="325" name="Picture 324">
              <a:extLst>
                <a:ext uri="{FF2B5EF4-FFF2-40B4-BE49-F238E27FC236}">
                  <a16:creationId xmlns:a16="http://schemas.microsoft.com/office/drawing/2014/main" xmlns="" id="{E3F6AB2F-E592-4D02-9C60-22F902594A66}"/>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6" name="Rectangle 325">
              <a:extLst>
                <a:ext uri="{FF2B5EF4-FFF2-40B4-BE49-F238E27FC236}">
                  <a16:creationId xmlns:a16="http://schemas.microsoft.com/office/drawing/2014/main" xmlns="" id="{B767D708-0C9F-40CD-80BB-1E6208D72E3B}"/>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27" name="Picture 326">
              <a:extLst>
                <a:ext uri="{FF2B5EF4-FFF2-40B4-BE49-F238E27FC236}">
                  <a16:creationId xmlns:a16="http://schemas.microsoft.com/office/drawing/2014/main" xmlns="" id="{4DD45FF9-B77F-495A-BC45-29860850975E}"/>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28" name="Group 327">
            <a:extLst>
              <a:ext uri="{FF2B5EF4-FFF2-40B4-BE49-F238E27FC236}">
                <a16:creationId xmlns:a16="http://schemas.microsoft.com/office/drawing/2014/main" xmlns="" id="{8AABDF3D-F97A-467D-9537-E08790230EC5}"/>
              </a:ext>
            </a:extLst>
          </p:cNvPr>
          <p:cNvGrpSpPr/>
          <p:nvPr/>
        </p:nvGrpSpPr>
        <p:grpSpPr>
          <a:xfrm>
            <a:off x="7988399" y="4869909"/>
            <a:ext cx="826370" cy="179983"/>
            <a:chOff x="1187624" y="4553303"/>
            <a:chExt cx="3035622" cy="661158"/>
          </a:xfrm>
        </p:grpSpPr>
        <p:pic>
          <p:nvPicPr>
            <p:cNvPr id="329" name="Picture 328">
              <a:extLst>
                <a:ext uri="{FF2B5EF4-FFF2-40B4-BE49-F238E27FC236}">
                  <a16:creationId xmlns:a16="http://schemas.microsoft.com/office/drawing/2014/main" xmlns="" id="{4274038B-24CE-4448-8B52-4AA9D3B65072}"/>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0" name="Rectangle 329">
              <a:extLst>
                <a:ext uri="{FF2B5EF4-FFF2-40B4-BE49-F238E27FC236}">
                  <a16:creationId xmlns:a16="http://schemas.microsoft.com/office/drawing/2014/main" xmlns="" id="{E59B6B3C-9EA1-448A-A7BC-ECBD08363BA4}"/>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31" name="Picture 330">
              <a:extLst>
                <a:ext uri="{FF2B5EF4-FFF2-40B4-BE49-F238E27FC236}">
                  <a16:creationId xmlns:a16="http://schemas.microsoft.com/office/drawing/2014/main" xmlns="" id="{84142F16-48E3-4C38-A3E5-E44F9BE1DE4B}"/>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32" name="Group 331">
            <a:extLst>
              <a:ext uri="{FF2B5EF4-FFF2-40B4-BE49-F238E27FC236}">
                <a16:creationId xmlns:a16="http://schemas.microsoft.com/office/drawing/2014/main" xmlns="" id="{BD01EDF9-D92E-412B-AA99-DE62875EBD4F}"/>
              </a:ext>
            </a:extLst>
          </p:cNvPr>
          <p:cNvGrpSpPr/>
          <p:nvPr/>
        </p:nvGrpSpPr>
        <p:grpSpPr>
          <a:xfrm>
            <a:off x="4844359" y="5053663"/>
            <a:ext cx="826370" cy="179983"/>
            <a:chOff x="1187624" y="4553303"/>
            <a:chExt cx="3035622" cy="661158"/>
          </a:xfrm>
        </p:grpSpPr>
        <p:pic>
          <p:nvPicPr>
            <p:cNvPr id="333" name="Picture 332">
              <a:extLst>
                <a:ext uri="{FF2B5EF4-FFF2-40B4-BE49-F238E27FC236}">
                  <a16:creationId xmlns:a16="http://schemas.microsoft.com/office/drawing/2014/main" xmlns="" id="{13881CDE-423E-4D9A-916D-73618E45B76A}"/>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4" name="Rectangle 333">
              <a:extLst>
                <a:ext uri="{FF2B5EF4-FFF2-40B4-BE49-F238E27FC236}">
                  <a16:creationId xmlns:a16="http://schemas.microsoft.com/office/drawing/2014/main" xmlns="" id="{B26294A7-D689-4FB8-A6E5-3D3948ACFCEA}"/>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35" name="Picture 334">
              <a:extLst>
                <a:ext uri="{FF2B5EF4-FFF2-40B4-BE49-F238E27FC236}">
                  <a16:creationId xmlns:a16="http://schemas.microsoft.com/office/drawing/2014/main" xmlns="" id="{5D43D4CD-5FC5-4932-A254-56ED9784D614}"/>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36" name="Group 335">
            <a:extLst>
              <a:ext uri="{FF2B5EF4-FFF2-40B4-BE49-F238E27FC236}">
                <a16:creationId xmlns:a16="http://schemas.microsoft.com/office/drawing/2014/main" xmlns="" id="{2308AB0B-6628-4F9F-86B5-7E5677AFCAB1}"/>
              </a:ext>
            </a:extLst>
          </p:cNvPr>
          <p:cNvGrpSpPr/>
          <p:nvPr/>
        </p:nvGrpSpPr>
        <p:grpSpPr>
          <a:xfrm>
            <a:off x="5630369" y="5053663"/>
            <a:ext cx="826370" cy="179983"/>
            <a:chOff x="1187624" y="4553303"/>
            <a:chExt cx="3035622" cy="661158"/>
          </a:xfrm>
        </p:grpSpPr>
        <p:pic>
          <p:nvPicPr>
            <p:cNvPr id="337" name="Picture 336">
              <a:extLst>
                <a:ext uri="{FF2B5EF4-FFF2-40B4-BE49-F238E27FC236}">
                  <a16:creationId xmlns:a16="http://schemas.microsoft.com/office/drawing/2014/main" xmlns="" id="{00A33B9D-75AE-4D97-A7B9-48F969C1EB8E}"/>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8" name="Rectangle 337">
              <a:extLst>
                <a:ext uri="{FF2B5EF4-FFF2-40B4-BE49-F238E27FC236}">
                  <a16:creationId xmlns:a16="http://schemas.microsoft.com/office/drawing/2014/main" xmlns="" id="{8781104E-13E3-44A5-81E6-9EF66A36F458}"/>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39" name="Picture 338">
              <a:extLst>
                <a:ext uri="{FF2B5EF4-FFF2-40B4-BE49-F238E27FC236}">
                  <a16:creationId xmlns:a16="http://schemas.microsoft.com/office/drawing/2014/main" xmlns="" id="{E2BE27B6-D6BE-497E-8994-C93BD6C2B53B}"/>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40" name="Group 339">
            <a:extLst>
              <a:ext uri="{FF2B5EF4-FFF2-40B4-BE49-F238E27FC236}">
                <a16:creationId xmlns:a16="http://schemas.microsoft.com/office/drawing/2014/main" xmlns="" id="{E15CDC12-463D-4593-919F-C42842BD753E}"/>
              </a:ext>
            </a:extLst>
          </p:cNvPr>
          <p:cNvGrpSpPr/>
          <p:nvPr/>
        </p:nvGrpSpPr>
        <p:grpSpPr>
          <a:xfrm>
            <a:off x="6416379" y="5053663"/>
            <a:ext cx="826370" cy="179983"/>
            <a:chOff x="1187624" y="4553303"/>
            <a:chExt cx="3035622" cy="661158"/>
          </a:xfrm>
        </p:grpSpPr>
        <p:pic>
          <p:nvPicPr>
            <p:cNvPr id="341" name="Picture 340">
              <a:extLst>
                <a:ext uri="{FF2B5EF4-FFF2-40B4-BE49-F238E27FC236}">
                  <a16:creationId xmlns:a16="http://schemas.microsoft.com/office/drawing/2014/main" xmlns="" id="{72C2D16D-1E6A-42AA-975A-166BC9C6E21B}"/>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2" name="Rectangle 341">
              <a:extLst>
                <a:ext uri="{FF2B5EF4-FFF2-40B4-BE49-F238E27FC236}">
                  <a16:creationId xmlns:a16="http://schemas.microsoft.com/office/drawing/2014/main" xmlns="" id="{83838A0A-0822-4F3D-8220-9A0F1A690028}"/>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43" name="Picture 342">
              <a:extLst>
                <a:ext uri="{FF2B5EF4-FFF2-40B4-BE49-F238E27FC236}">
                  <a16:creationId xmlns:a16="http://schemas.microsoft.com/office/drawing/2014/main" xmlns="" id="{EEA24E20-FF90-4BB8-9248-B6071C19F72D}"/>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44" name="Group 343">
            <a:extLst>
              <a:ext uri="{FF2B5EF4-FFF2-40B4-BE49-F238E27FC236}">
                <a16:creationId xmlns:a16="http://schemas.microsoft.com/office/drawing/2014/main" xmlns="" id="{DFCEA1B2-466A-4077-B848-DDF3BE01DCA3}"/>
              </a:ext>
            </a:extLst>
          </p:cNvPr>
          <p:cNvGrpSpPr/>
          <p:nvPr/>
        </p:nvGrpSpPr>
        <p:grpSpPr>
          <a:xfrm>
            <a:off x="7202389" y="5053663"/>
            <a:ext cx="826370" cy="179983"/>
            <a:chOff x="1187624" y="4553303"/>
            <a:chExt cx="3035622" cy="661158"/>
          </a:xfrm>
        </p:grpSpPr>
        <p:pic>
          <p:nvPicPr>
            <p:cNvPr id="345" name="Picture 344">
              <a:extLst>
                <a:ext uri="{FF2B5EF4-FFF2-40B4-BE49-F238E27FC236}">
                  <a16:creationId xmlns:a16="http://schemas.microsoft.com/office/drawing/2014/main" xmlns="" id="{D24B5ADD-17EC-4F37-A175-24BD94BE2F57}"/>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6" name="Rectangle 345">
              <a:extLst>
                <a:ext uri="{FF2B5EF4-FFF2-40B4-BE49-F238E27FC236}">
                  <a16:creationId xmlns:a16="http://schemas.microsoft.com/office/drawing/2014/main" xmlns="" id="{2E5A956E-9B86-405A-9A97-42003B48A846}"/>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47" name="Picture 346">
              <a:extLst>
                <a:ext uri="{FF2B5EF4-FFF2-40B4-BE49-F238E27FC236}">
                  <a16:creationId xmlns:a16="http://schemas.microsoft.com/office/drawing/2014/main" xmlns="" id="{62969555-98A1-4B58-B102-DC8D0345E92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48" name="Group 347">
            <a:extLst>
              <a:ext uri="{FF2B5EF4-FFF2-40B4-BE49-F238E27FC236}">
                <a16:creationId xmlns:a16="http://schemas.microsoft.com/office/drawing/2014/main" xmlns="" id="{9CD31572-E940-4E40-9C68-923E642760F6}"/>
              </a:ext>
            </a:extLst>
          </p:cNvPr>
          <p:cNvGrpSpPr/>
          <p:nvPr/>
        </p:nvGrpSpPr>
        <p:grpSpPr>
          <a:xfrm>
            <a:off x="7988399" y="5053663"/>
            <a:ext cx="826370" cy="179983"/>
            <a:chOff x="1187624" y="4553303"/>
            <a:chExt cx="3035622" cy="661158"/>
          </a:xfrm>
        </p:grpSpPr>
        <p:pic>
          <p:nvPicPr>
            <p:cNvPr id="349" name="Picture 348">
              <a:extLst>
                <a:ext uri="{FF2B5EF4-FFF2-40B4-BE49-F238E27FC236}">
                  <a16:creationId xmlns:a16="http://schemas.microsoft.com/office/drawing/2014/main" xmlns="" id="{068DDDDC-FED1-4B78-8245-3A319CEA5205}"/>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0" name="Rectangle 349">
              <a:extLst>
                <a:ext uri="{FF2B5EF4-FFF2-40B4-BE49-F238E27FC236}">
                  <a16:creationId xmlns:a16="http://schemas.microsoft.com/office/drawing/2014/main" xmlns="" id="{BBEC772B-8DEE-410C-BD1D-2DE4E1861EDF}"/>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51" name="Picture 350">
              <a:extLst>
                <a:ext uri="{FF2B5EF4-FFF2-40B4-BE49-F238E27FC236}">
                  <a16:creationId xmlns:a16="http://schemas.microsoft.com/office/drawing/2014/main" xmlns="" id="{6BFC27A7-A248-40CB-A130-01BAE1276C0D}"/>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52" name="Group 351">
            <a:extLst>
              <a:ext uri="{FF2B5EF4-FFF2-40B4-BE49-F238E27FC236}">
                <a16:creationId xmlns:a16="http://schemas.microsoft.com/office/drawing/2014/main" xmlns="" id="{E553F7DD-C4A0-4BA8-BB2E-704205D813EF}"/>
              </a:ext>
            </a:extLst>
          </p:cNvPr>
          <p:cNvGrpSpPr/>
          <p:nvPr/>
        </p:nvGrpSpPr>
        <p:grpSpPr>
          <a:xfrm>
            <a:off x="4844359" y="5237417"/>
            <a:ext cx="826370" cy="179983"/>
            <a:chOff x="1187624" y="4553303"/>
            <a:chExt cx="3035622" cy="661158"/>
          </a:xfrm>
        </p:grpSpPr>
        <p:pic>
          <p:nvPicPr>
            <p:cNvPr id="353" name="Picture 352">
              <a:extLst>
                <a:ext uri="{FF2B5EF4-FFF2-40B4-BE49-F238E27FC236}">
                  <a16:creationId xmlns:a16="http://schemas.microsoft.com/office/drawing/2014/main" xmlns="" id="{8438A69A-725C-4712-8ACE-7DAE99571AAB}"/>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4" name="Rectangle 353">
              <a:extLst>
                <a:ext uri="{FF2B5EF4-FFF2-40B4-BE49-F238E27FC236}">
                  <a16:creationId xmlns:a16="http://schemas.microsoft.com/office/drawing/2014/main" xmlns="" id="{D4735E0C-C97C-40DE-83C3-D6EE326F1270}"/>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55" name="Picture 354">
              <a:extLst>
                <a:ext uri="{FF2B5EF4-FFF2-40B4-BE49-F238E27FC236}">
                  <a16:creationId xmlns:a16="http://schemas.microsoft.com/office/drawing/2014/main" xmlns="" id="{6E9ED008-6476-4351-AE12-AD3AD75D4C2C}"/>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56" name="Group 355">
            <a:extLst>
              <a:ext uri="{FF2B5EF4-FFF2-40B4-BE49-F238E27FC236}">
                <a16:creationId xmlns:a16="http://schemas.microsoft.com/office/drawing/2014/main" xmlns="" id="{D8878B61-D5D2-431E-B553-21AC0AD163A7}"/>
              </a:ext>
            </a:extLst>
          </p:cNvPr>
          <p:cNvGrpSpPr/>
          <p:nvPr/>
        </p:nvGrpSpPr>
        <p:grpSpPr>
          <a:xfrm>
            <a:off x="5630369" y="5237417"/>
            <a:ext cx="826370" cy="179983"/>
            <a:chOff x="1187624" y="4553303"/>
            <a:chExt cx="3035622" cy="661158"/>
          </a:xfrm>
        </p:grpSpPr>
        <p:pic>
          <p:nvPicPr>
            <p:cNvPr id="357" name="Picture 356">
              <a:extLst>
                <a:ext uri="{FF2B5EF4-FFF2-40B4-BE49-F238E27FC236}">
                  <a16:creationId xmlns:a16="http://schemas.microsoft.com/office/drawing/2014/main" xmlns="" id="{64150120-C40C-4EF9-90DB-E5A3B0B26D26}"/>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8" name="Rectangle 357">
              <a:extLst>
                <a:ext uri="{FF2B5EF4-FFF2-40B4-BE49-F238E27FC236}">
                  <a16:creationId xmlns:a16="http://schemas.microsoft.com/office/drawing/2014/main" xmlns="" id="{0BBE2E59-FD3C-4A91-AA20-00D00BC3924E}"/>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59" name="Picture 358">
              <a:extLst>
                <a:ext uri="{FF2B5EF4-FFF2-40B4-BE49-F238E27FC236}">
                  <a16:creationId xmlns:a16="http://schemas.microsoft.com/office/drawing/2014/main" xmlns="" id="{E4355256-15DA-4913-8679-23DD9FC861D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60" name="Group 359">
            <a:extLst>
              <a:ext uri="{FF2B5EF4-FFF2-40B4-BE49-F238E27FC236}">
                <a16:creationId xmlns:a16="http://schemas.microsoft.com/office/drawing/2014/main" xmlns="" id="{287057B8-CF99-4129-9CDC-88CA443F0DF9}"/>
              </a:ext>
            </a:extLst>
          </p:cNvPr>
          <p:cNvGrpSpPr/>
          <p:nvPr/>
        </p:nvGrpSpPr>
        <p:grpSpPr>
          <a:xfrm>
            <a:off x="6416379" y="5237417"/>
            <a:ext cx="826370" cy="179983"/>
            <a:chOff x="1187624" y="4553303"/>
            <a:chExt cx="3035622" cy="661158"/>
          </a:xfrm>
        </p:grpSpPr>
        <p:pic>
          <p:nvPicPr>
            <p:cNvPr id="361" name="Picture 360">
              <a:extLst>
                <a:ext uri="{FF2B5EF4-FFF2-40B4-BE49-F238E27FC236}">
                  <a16:creationId xmlns:a16="http://schemas.microsoft.com/office/drawing/2014/main" xmlns="" id="{B72B5FF0-F9EA-4785-9B1A-8C5721658F24}"/>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2" name="Rectangle 361">
              <a:extLst>
                <a:ext uri="{FF2B5EF4-FFF2-40B4-BE49-F238E27FC236}">
                  <a16:creationId xmlns:a16="http://schemas.microsoft.com/office/drawing/2014/main" xmlns="" id="{EAF078BD-27C2-41B8-8D0B-639597AE6348}"/>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63" name="Picture 362">
              <a:extLst>
                <a:ext uri="{FF2B5EF4-FFF2-40B4-BE49-F238E27FC236}">
                  <a16:creationId xmlns:a16="http://schemas.microsoft.com/office/drawing/2014/main" xmlns="" id="{A68157BD-C905-474A-A1FE-0A61C645A3C4}"/>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64" name="Group 363">
            <a:extLst>
              <a:ext uri="{FF2B5EF4-FFF2-40B4-BE49-F238E27FC236}">
                <a16:creationId xmlns:a16="http://schemas.microsoft.com/office/drawing/2014/main" xmlns="" id="{6F5B7E82-F1FE-4B94-93A6-CBDDACAE568A}"/>
              </a:ext>
            </a:extLst>
          </p:cNvPr>
          <p:cNvGrpSpPr/>
          <p:nvPr/>
        </p:nvGrpSpPr>
        <p:grpSpPr>
          <a:xfrm>
            <a:off x="7202389" y="5237417"/>
            <a:ext cx="826370" cy="179983"/>
            <a:chOff x="1187624" y="4553303"/>
            <a:chExt cx="3035622" cy="661158"/>
          </a:xfrm>
        </p:grpSpPr>
        <p:pic>
          <p:nvPicPr>
            <p:cNvPr id="365" name="Picture 364">
              <a:extLst>
                <a:ext uri="{FF2B5EF4-FFF2-40B4-BE49-F238E27FC236}">
                  <a16:creationId xmlns:a16="http://schemas.microsoft.com/office/drawing/2014/main" xmlns="" id="{0E18CF7E-4B45-4D40-A028-11C15D2DB264}"/>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6" name="Rectangle 365">
              <a:extLst>
                <a:ext uri="{FF2B5EF4-FFF2-40B4-BE49-F238E27FC236}">
                  <a16:creationId xmlns:a16="http://schemas.microsoft.com/office/drawing/2014/main" xmlns="" id="{4C7DEBB8-CDCC-49A0-8298-B0A65C9D1C06}"/>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67" name="Picture 366">
              <a:extLst>
                <a:ext uri="{FF2B5EF4-FFF2-40B4-BE49-F238E27FC236}">
                  <a16:creationId xmlns:a16="http://schemas.microsoft.com/office/drawing/2014/main" xmlns="" id="{A90CEC16-BDA6-4485-A76F-EAA34B68B9AA}"/>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68" name="Group 367">
            <a:extLst>
              <a:ext uri="{FF2B5EF4-FFF2-40B4-BE49-F238E27FC236}">
                <a16:creationId xmlns:a16="http://schemas.microsoft.com/office/drawing/2014/main" xmlns="" id="{BB5B507D-2B8B-4777-A858-9ADBAB30BFA7}"/>
              </a:ext>
            </a:extLst>
          </p:cNvPr>
          <p:cNvGrpSpPr/>
          <p:nvPr/>
        </p:nvGrpSpPr>
        <p:grpSpPr>
          <a:xfrm>
            <a:off x="7988399" y="5237417"/>
            <a:ext cx="826370" cy="179983"/>
            <a:chOff x="1187624" y="4553303"/>
            <a:chExt cx="3035622" cy="661158"/>
          </a:xfrm>
        </p:grpSpPr>
        <p:pic>
          <p:nvPicPr>
            <p:cNvPr id="369" name="Picture 368">
              <a:extLst>
                <a:ext uri="{FF2B5EF4-FFF2-40B4-BE49-F238E27FC236}">
                  <a16:creationId xmlns:a16="http://schemas.microsoft.com/office/drawing/2014/main" xmlns="" id="{43847436-7A83-405B-B8ED-1289D40831A1}"/>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0" name="Rectangle 369">
              <a:extLst>
                <a:ext uri="{FF2B5EF4-FFF2-40B4-BE49-F238E27FC236}">
                  <a16:creationId xmlns:a16="http://schemas.microsoft.com/office/drawing/2014/main" xmlns="" id="{CB372E9D-A5B1-4325-95E7-63E1297E22F4}"/>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1" name="Picture 370">
              <a:extLst>
                <a:ext uri="{FF2B5EF4-FFF2-40B4-BE49-F238E27FC236}">
                  <a16:creationId xmlns:a16="http://schemas.microsoft.com/office/drawing/2014/main" xmlns="" id="{3A6752CD-57B0-45D4-8536-8B8A81CE3EC7}"/>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72" name="Group 371">
            <a:extLst>
              <a:ext uri="{FF2B5EF4-FFF2-40B4-BE49-F238E27FC236}">
                <a16:creationId xmlns:a16="http://schemas.microsoft.com/office/drawing/2014/main" xmlns="" id="{924A29B1-F7C3-4492-A007-DAA17FDB00DD}"/>
              </a:ext>
            </a:extLst>
          </p:cNvPr>
          <p:cNvGrpSpPr/>
          <p:nvPr/>
        </p:nvGrpSpPr>
        <p:grpSpPr>
          <a:xfrm>
            <a:off x="4844359" y="5421171"/>
            <a:ext cx="826370" cy="179983"/>
            <a:chOff x="1187624" y="4553303"/>
            <a:chExt cx="3035622" cy="661158"/>
          </a:xfrm>
        </p:grpSpPr>
        <p:pic>
          <p:nvPicPr>
            <p:cNvPr id="373" name="Picture 372">
              <a:extLst>
                <a:ext uri="{FF2B5EF4-FFF2-40B4-BE49-F238E27FC236}">
                  <a16:creationId xmlns:a16="http://schemas.microsoft.com/office/drawing/2014/main" xmlns="" id="{3C79B84D-E208-4133-BEC5-977E87F143AC}"/>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4" name="Rectangle 373">
              <a:extLst>
                <a:ext uri="{FF2B5EF4-FFF2-40B4-BE49-F238E27FC236}">
                  <a16:creationId xmlns:a16="http://schemas.microsoft.com/office/drawing/2014/main" xmlns="" id="{6862E16F-DB9C-4298-A044-22198BDB44F4}"/>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5" name="Picture 374">
              <a:extLst>
                <a:ext uri="{FF2B5EF4-FFF2-40B4-BE49-F238E27FC236}">
                  <a16:creationId xmlns:a16="http://schemas.microsoft.com/office/drawing/2014/main" xmlns="" id="{8564D617-D946-4E7A-9FDA-23223517ED6C}"/>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76" name="Group 375">
            <a:extLst>
              <a:ext uri="{FF2B5EF4-FFF2-40B4-BE49-F238E27FC236}">
                <a16:creationId xmlns:a16="http://schemas.microsoft.com/office/drawing/2014/main" xmlns="" id="{7BC0620E-B87F-4129-A6AE-5F47225AA856}"/>
              </a:ext>
            </a:extLst>
          </p:cNvPr>
          <p:cNvGrpSpPr/>
          <p:nvPr/>
        </p:nvGrpSpPr>
        <p:grpSpPr>
          <a:xfrm>
            <a:off x="5630369" y="5421171"/>
            <a:ext cx="826370" cy="179983"/>
            <a:chOff x="1187624" y="4553303"/>
            <a:chExt cx="3035622" cy="661158"/>
          </a:xfrm>
        </p:grpSpPr>
        <p:pic>
          <p:nvPicPr>
            <p:cNvPr id="377" name="Picture 376">
              <a:extLst>
                <a:ext uri="{FF2B5EF4-FFF2-40B4-BE49-F238E27FC236}">
                  <a16:creationId xmlns:a16="http://schemas.microsoft.com/office/drawing/2014/main" xmlns="" id="{98A5D607-4865-4272-9E54-3A81CDCF7E00}"/>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8" name="Rectangle 377">
              <a:extLst>
                <a:ext uri="{FF2B5EF4-FFF2-40B4-BE49-F238E27FC236}">
                  <a16:creationId xmlns:a16="http://schemas.microsoft.com/office/drawing/2014/main" xmlns="" id="{93C36AF9-F0BE-48D6-969E-B319B7245651}"/>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9" name="Picture 378">
              <a:extLst>
                <a:ext uri="{FF2B5EF4-FFF2-40B4-BE49-F238E27FC236}">
                  <a16:creationId xmlns:a16="http://schemas.microsoft.com/office/drawing/2014/main" xmlns="" id="{000D7A2F-992F-484E-B7BD-0F7B8CDCD078}"/>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80" name="Group 379">
            <a:extLst>
              <a:ext uri="{FF2B5EF4-FFF2-40B4-BE49-F238E27FC236}">
                <a16:creationId xmlns:a16="http://schemas.microsoft.com/office/drawing/2014/main" xmlns="" id="{D57D2DBF-39B9-4848-A776-BF2AC3176C6B}"/>
              </a:ext>
            </a:extLst>
          </p:cNvPr>
          <p:cNvGrpSpPr/>
          <p:nvPr/>
        </p:nvGrpSpPr>
        <p:grpSpPr>
          <a:xfrm>
            <a:off x="6416379" y="5421171"/>
            <a:ext cx="826370" cy="179983"/>
            <a:chOff x="1187624" y="4553303"/>
            <a:chExt cx="3035622" cy="661158"/>
          </a:xfrm>
        </p:grpSpPr>
        <p:pic>
          <p:nvPicPr>
            <p:cNvPr id="381" name="Picture 380">
              <a:extLst>
                <a:ext uri="{FF2B5EF4-FFF2-40B4-BE49-F238E27FC236}">
                  <a16:creationId xmlns:a16="http://schemas.microsoft.com/office/drawing/2014/main" xmlns="" id="{603928CC-9E29-4BEE-A3D9-5BBA86FF33C0}"/>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2" name="Rectangle 381">
              <a:extLst>
                <a:ext uri="{FF2B5EF4-FFF2-40B4-BE49-F238E27FC236}">
                  <a16:creationId xmlns:a16="http://schemas.microsoft.com/office/drawing/2014/main" xmlns="" id="{D9C03FDB-7D41-4351-BE05-7BE3D53E9BE5}"/>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3" name="Picture 382">
              <a:extLst>
                <a:ext uri="{FF2B5EF4-FFF2-40B4-BE49-F238E27FC236}">
                  <a16:creationId xmlns:a16="http://schemas.microsoft.com/office/drawing/2014/main" xmlns="" id="{609D420C-FC52-49F4-815B-6B63C7532864}"/>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84" name="Group 383">
            <a:extLst>
              <a:ext uri="{FF2B5EF4-FFF2-40B4-BE49-F238E27FC236}">
                <a16:creationId xmlns:a16="http://schemas.microsoft.com/office/drawing/2014/main" xmlns="" id="{AF4CF03E-A160-4D08-860A-181027230918}"/>
              </a:ext>
            </a:extLst>
          </p:cNvPr>
          <p:cNvGrpSpPr/>
          <p:nvPr/>
        </p:nvGrpSpPr>
        <p:grpSpPr>
          <a:xfrm>
            <a:off x="7202389" y="5421171"/>
            <a:ext cx="826370" cy="179983"/>
            <a:chOff x="1187624" y="4553303"/>
            <a:chExt cx="3035622" cy="661158"/>
          </a:xfrm>
        </p:grpSpPr>
        <p:pic>
          <p:nvPicPr>
            <p:cNvPr id="385" name="Picture 384">
              <a:extLst>
                <a:ext uri="{FF2B5EF4-FFF2-40B4-BE49-F238E27FC236}">
                  <a16:creationId xmlns:a16="http://schemas.microsoft.com/office/drawing/2014/main" xmlns="" id="{3101FE5C-B841-414B-AE7D-EDA49A3AD187}"/>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6" name="Rectangle 385">
              <a:extLst>
                <a:ext uri="{FF2B5EF4-FFF2-40B4-BE49-F238E27FC236}">
                  <a16:creationId xmlns:a16="http://schemas.microsoft.com/office/drawing/2014/main" xmlns="" id="{6F354D4A-31CB-4DB0-8B3F-8D1951C440B2}"/>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7" name="Picture 386">
              <a:extLst>
                <a:ext uri="{FF2B5EF4-FFF2-40B4-BE49-F238E27FC236}">
                  <a16:creationId xmlns:a16="http://schemas.microsoft.com/office/drawing/2014/main" xmlns="" id="{A507B708-B9B5-41E8-9B58-BABAE969E3C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88" name="Group 387">
            <a:extLst>
              <a:ext uri="{FF2B5EF4-FFF2-40B4-BE49-F238E27FC236}">
                <a16:creationId xmlns:a16="http://schemas.microsoft.com/office/drawing/2014/main" xmlns="" id="{78E7E4B8-4ED5-440A-8432-56027FD40D8D}"/>
              </a:ext>
            </a:extLst>
          </p:cNvPr>
          <p:cNvGrpSpPr/>
          <p:nvPr/>
        </p:nvGrpSpPr>
        <p:grpSpPr>
          <a:xfrm>
            <a:off x="7988399" y="5421171"/>
            <a:ext cx="826370" cy="179983"/>
            <a:chOff x="1187624" y="4553303"/>
            <a:chExt cx="3035622" cy="661158"/>
          </a:xfrm>
        </p:grpSpPr>
        <p:pic>
          <p:nvPicPr>
            <p:cNvPr id="389" name="Picture 388">
              <a:extLst>
                <a:ext uri="{FF2B5EF4-FFF2-40B4-BE49-F238E27FC236}">
                  <a16:creationId xmlns:a16="http://schemas.microsoft.com/office/drawing/2014/main" xmlns="" id="{6202E150-3FA2-4924-8B6F-7BA62A16D6C8}"/>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0" name="Rectangle 389">
              <a:extLst>
                <a:ext uri="{FF2B5EF4-FFF2-40B4-BE49-F238E27FC236}">
                  <a16:creationId xmlns:a16="http://schemas.microsoft.com/office/drawing/2014/main" xmlns="" id="{8D60B92E-EAAC-4E85-8A8E-0C8CFE1F7F7E}"/>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91" name="Picture 390">
              <a:extLst>
                <a:ext uri="{FF2B5EF4-FFF2-40B4-BE49-F238E27FC236}">
                  <a16:creationId xmlns:a16="http://schemas.microsoft.com/office/drawing/2014/main" xmlns="" id="{B230C1E3-91B2-4E1C-BA55-548AE7734421}"/>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92" name="Group 391">
            <a:extLst>
              <a:ext uri="{FF2B5EF4-FFF2-40B4-BE49-F238E27FC236}">
                <a16:creationId xmlns:a16="http://schemas.microsoft.com/office/drawing/2014/main" xmlns="" id="{4CEA100A-17AD-4573-B419-686DE3CF96BA}"/>
              </a:ext>
            </a:extLst>
          </p:cNvPr>
          <p:cNvGrpSpPr/>
          <p:nvPr/>
        </p:nvGrpSpPr>
        <p:grpSpPr>
          <a:xfrm>
            <a:off x="4844359" y="5604926"/>
            <a:ext cx="826370" cy="179983"/>
            <a:chOff x="1187624" y="4553303"/>
            <a:chExt cx="3035622" cy="661158"/>
          </a:xfrm>
        </p:grpSpPr>
        <p:pic>
          <p:nvPicPr>
            <p:cNvPr id="393" name="Picture 392">
              <a:extLst>
                <a:ext uri="{FF2B5EF4-FFF2-40B4-BE49-F238E27FC236}">
                  <a16:creationId xmlns:a16="http://schemas.microsoft.com/office/drawing/2014/main" xmlns="" id="{41851B59-901A-4137-A642-66F7A4194E33}"/>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4" name="Rectangle 393">
              <a:extLst>
                <a:ext uri="{FF2B5EF4-FFF2-40B4-BE49-F238E27FC236}">
                  <a16:creationId xmlns:a16="http://schemas.microsoft.com/office/drawing/2014/main" xmlns="" id="{1708000C-F886-4A15-830C-1B96989AE605}"/>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95" name="Picture 394">
              <a:extLst>
                <a:ext uri="{FF2B5EF4-FFF2-40B4-BE49-F238E27FC236}">
                  <a16:creationId xmlns:a16="http://schemas.microsoft.com/office/drawing/2014/main" xmlns="" id="{F8769512-5465-43E3-86E4-7B66ADF1EBD0}"/>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396" name="Group 395">
            <a:extLst>
              <a:ext uri="{FF2B5EF4-FFF2-40B4-BE49-F238E27FC236}">
                <a16:creationId xmlns:a16="http://schemas.microsoft.com/office/drawing/2014/main" xmlns="" id="{31FF7D4D-E998-4739-B566-833BD49C2BDD}"/>
              </a:ext>
            </a:extLst>
          </p:cNvPr>
          <p:cNvGrpSpPr/>
          <p:nvPr/>
        </p:nvGrpSpPr>
        <p:grpSpPr>
          <a:xfrm>
            <a:off x="5630369" y="5604926"/>
            <a:ext cx="826370" cy="179983"/>
            <a:chOff x="1187624" y="4553303"/>
            <a:chExt cx="3035622" cy="661158"/>
          </a:xfrm>
        </p:grpSpPr>
        <p:pic>
          <p:nvPicPr>
            <p:cNvPr id="397" name="Picture 396">
              <a:extLst>
                <a:ext uri="{FF2B5EF4-FFF2-40B4-BE49-F238E27FC236}">
                  <a16:creationId xmlns:a16="http://schemas.microsoft.com/office/drawing/2014/main" xmlns="" id="{651B72AD-4612-46D0-BC46-11D69D36DB93}"/>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8" name="Rectangle 397">
              <a:extLst>
                <a:ext uri="{FF2B5EF4-FFF2-40B4-BE49-F238E27FC236}">
                  <a16:creationId xmlns:a16="http://schemas.microsoft.com/office/drawing/2014/main" xmlns="" id="{71E6D7DA-1B55-4D92-B154-5DC84DFEEFF1}"/>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99" name="Picture 398">
              <a:extLst>
                <a:ext uri="{FF2B5EF4-FFF2-40B4-BE49-F238E27FC236}">
                  <a16:creationId xmlns:a16="http://schemas.microsoft.com/office/drawing/2014/main" xmlns="" id="{464B33EA-211E-4AAA-AD6A-DB4505C4BD14}"/>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400" name="Group 399">
            <a:extLst>
              <a:ext uri="{FF2B5EF4-FFF2-40B4-BE49-F238E27FC236}">
                <a16:creationId xmlns:a16="http://schemas.microsoft.com/office/drawing/2014/main" xmlns="" id="{0FB6F001-563F-4DD0-86C0-6889C75CA14D}"/>
              </a:ext>
            </a:extLst>
          </p:cNvPr>
          <p:cNvGrpSpPr/>
          <p:nvPr/>
        </p:nvGrpSpPr>
        <p:grpSpPr>
          <a:xfrm>
            <a:off x="6416379" y="5604926"/>
            <a:ext cx="826370" cy="179983"/>
            <a:chOff x="1187624" y="4553303"/>
            <a:chExt cx="3035622" cy="661158"/>
          </a:xfrm>
        </p:grpSpPr>
        <p:pic>
          <p:nvPicPr>
            <p:cNvPr id="401" name="Picture 400">
              <a:extLst>
                <a:ext uri="{FF2B5EF4-FFF2-40B4-BE49-F238E27FC236}">
                  <a16:creationId xmlns:a16="http://schemas.microsoft.com/office/drawing/2014/main" xmlns="" id="{F835C62E-2D74-4F42-9644-578B098C1338}"/>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2" name="Rectangle 401">
              <a:extLst>
                <a:ext uri="{FF2B5EF4-FFF2-40B4-BE49-F238E27FC236}">
                  <a16:creationId xmlns:a16="http://schemas.microsoft.com/office/drawing/2014/main" xmlns="" id="{EA91191A-005A-4926-B6CA-4624DD5F1A9B}"/>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03" name="Picture 402">
              <a:extLst>
                <a:ext uri="{FF2B5EF4-FFF2-40B4-BE49-F238E27FC236}">
                  <a16:creationId xmlns:a16="http://schemas.microsoft.com/office/drawing/2014/main" xmlns="" id="{4BEF2183-51C2-417D-865C-B4F48F13C8AE}"/>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404" name="Group 403">
            <a:extLst>
              <a:ext uri="{FF2B5EF4-FFF2-40B4-BE49-F238E27FC236}">
                <a16:creationId xmlns:a16="http://schemas.microsoft.com/office/drawing/2014/main" xmlns="" id="{5E81E9F0-D42F-4AB6-AC5F-53698B0C3925}"/>
              </a:ext>
            </a:extLst>
          </p:cNvPr>
          <p:cNvGrpSpPr/>
          <p:nvPr/>
        </p:nvGrpSpPr>
        <p:grpSpPr>
          <a:xfrm>
            <a:off x="7143605" y="5590331"/>
            <a:ext cx="826370" cy="179983"/>
            <a:chOff x="1187624" y="4553303"/>
            <a:chExt cx="3035622" cy="661158"/>
          </a:xfrm>
        </p:grpSpPr>
        <p:pic>
          <p:nvPicPr>
            <p:cNvPr id="405" name="Picture 404">
              <a:extLst>
                <a:ext uri="{FF2B5EF4-FFF2-40B4-BE49-F238E27FC236}">
                  <a16:creationId xmlns:a16="http://schemas.microsoft.com/office/drawing/2014/main" xmlns="" id="{4B17CD75-C7D3-4C2B-AE57-27067A839EDF}"/>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6" name="Rectangle 405">
              <a:extLst>
                <a:ext uri="{FF2B5EF4-FFF2-40B4-BE49-F238E27FC236}">
                  <a16:creationId xmlns:a16="http://schemas.microsoft.com/office/drawing/2014/main" xmlns="" id="{02C03319-DC42-494F-BF8C-C72EE4CFF667}"/>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07" name="Picture 406">
              <a:extLst>
                <a:ext uri="{FF2B5EF4-FFF2-40B4-BE49-F238E27FC236}">
                  <a16:creationId xmlns:a16="http://schemas.microsoft.com/office/drawing/2014/main" xmlns="" id="{F0F0EC6D-1906-4DC5-8E71-C37F6E185368}"/>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grpSp>
        <p:nvGrpSpPr>
          <p:cNvPr id="408" name="Group 407">
            <a:extLst>
              <a:ext uri="{FF2B5EF4-FFF2-40B4-BE49-F238E27FC236}">
                <a16:creationId xmlns:a16="http://schemas.microsoft.com/office/drawing/2014/main" xmlns="" id="{3BBABF82-BA01-470C-9EA4-26D702B2F5DC}"/>
              </a:ext>
            </a:extLst>
          </p:cNvPr>
          <p:cNvGrpSpPr/>
          <p:nvPr/>
        </p:nvGrpSpPr>
        <p:grpSpPr>
          <a:xfrm>
            <a:off x="7988399" y="5604926"/>
            <a:ext cx="826370" cy="179983"/>
            <a:chOff x="1187624" y="4553303"/>
            <a:chExt cx="3035622" cy="661158"/>
          </a:xfrm>
        </p:grpSpPr>
        <p:pic>
          <p:nvPicPr>
            <p:cNvPr id="409" name="Picture 408">
              <a:extLst>
                <a:ext uri="{FF2B5EF4-FFF2-40B4-BE49-F238E27FC236}">
                  <a16:creationId xmlns:a16="http://schemas.microsoft.com/office/drawing/2014/main" xmlns="" id="{A71DF10E-EA03-459B-9F6E-E3D186C791ED}"/>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87624" y="4553303"/>
              <a:ext cx="3035622" cy="661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0" name="Rectangle 409">
              <a:extLst>
                <a:ext uri="{FF2B5EF4-FFF2-40B4-BE49-F238E27FC236}">
                  <a16:creationId xmlns:a16="http://schemas.microsoft.com/office/drawing/2014/main" xmlns="" id="{2EE72DC7-5E7E-48FA-9704-EB20569E4784}"/>
                </a:ext>
              </a:extLst>
            </p:cNvPr>
            <p:cNvSpPr/>
            <p:nvPr/>
          </p:nvSpPr>
          <p:spPr>
            <a:xfrm>
              <a:off x="1979712" y="4883882"/>
              <a:ext cx="648072" cy="169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11" name="Picture 410">
              <a:extLst>
                <a:ext uri="{FF2B5EF4-FFF2-40B4-BE49-F238E27FC236}">
                  <a16:creationId xmlns:a16="http://schemas.microsoft.com/office/drawing/2014/main" xmlns="" id="{05B0A6FD-C868-4AC0-BB34-6E654D21782D}"/>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r="43250"/>
            <a:stretch/>
          </p:blipFill>
          <p:spPr>
            <a:xfrm>
              <a:off x="1979712" y="4841715"/>
              <a:ext cx="668012" cy="287272"/>
            </a:xfrm>
            <a:prstGeom prst="rect">
              <a:avLst/>
            </a:prstGeom>
          </p:spPr>
        </p:pic>
      </p:grpSp>
      <p:sp>
        <p:nvSpPr>
          <p:cNvPr id="412" name="TextBox 411">
            <a:extLst>
              <a:ext uri="{FF2B5EF4-FFF2-40B4-BE49-F238E27FC236}">
                <a16:creationId xmlns:a16="http://schemas.microsoft.com/office/drawing/2014/main" xmlns="" id="{AFDD575C-A132-420A-8A48-D98E8CC8B525}"/>
              </a:ext>
            </a:extLst>
          </p:cNvPr>
          <p:cNvSpPr txBox="1"/>
          <p:nvPr/>
        </p:nvSpPr>
        <p:spPr>
          <a:xfrm>
            <a:off x="5498933" y="4495800"/>
            <a:ext cx="2883969" cy="246221"/>
          </a:xfrm>
          <a:prstGeom prst="rect">
            <a:avLst/>
          </a:prstGeom>
          <a:solidFill>
            <a:srgbClr val="0078DC"/>
          </a:solidFill>
          <a:ln>
            <a:solidFill>
              <a:srgbClr val="0078DC"/>
            </a:solidFill>
          </a:ln>
        </p:spPr>
        <p:txBody>
          <a:bodyPr wrap="square" lIns="0" tIns="0" rIns="0" bIns="0" rtlCol="0" anchor="ctr" anchorCtr="0">
            <a:spAutoFit/>
          </a:bodyPr>
          <a:lstStyle>
            <a:defPPr>
              <a:defRPr lang="de-DE"/>
            </a:defPPr>
            <a:lvl1pPr algn="ctr">
              <a:defRPr sz="1600" b="1">
                <a:solidFill>
                  <a:schemeClr val="tx2"/>
                </a:solidFill>
                <a:latin typeface="+mj-lt"/>
                <a:cs typeface="Calibri" panose="020F0502020204030204" pitchFamily="34" charset="0"/>
              </a:defRPr>
            </a:lvl1pPr>
          </a:lstStyle>
          <a:p>
            <a:r>
              <a:rPr lang="de-DE" dirty="0">
                <a:solidFill>
                  <a:srgbClr val="FFFFFF"/>
                </a:solidFill>
              </a:rPr>
              <a:t>30  LNG4trucks </a:t>
            </a:r>
            <a:r>
              <a:rPr lang="de-DE" dirty="0" err="1">
                <a:solidFill>
                  <a:srgbClr val="FFFFFF"/>
                </a:solidFill>
              </a:rPr>
              <a:t>stations</a:t>
            </a:r>
            <a:r>
              <a:rPr lang="de-DE" dirty="0">
                <a:solidFill>
                  <a:srgbClr val="FFFFFF"/>
                </a:solidFill>
              </a:rPr>
              <a:t> p.a.</a:t>
            </a:r>
            <a:endParaRPr lang="en-GB" dirty="0">
              <a:solidFill>
                <a:srgbClr val="FFFFFF"/>
              </a:solidFill>
            </a:endParaRPr>
          </a:p>
        </p:txBody>
      </p:sp>
      <p:pic>
        <p:nvPicPr>
          <p:cNvPr id="414" name="Picture 413">
            <a:extLst>
              <a:ext uri="{FF2B5EF4-FFF2-40B4-BE49-F238E27FC236}">
                <a16:creationId xmlns:a16="http://schemas.microsoft.com/office/drawing/2014/main" xmlns="" id="{FAC628D7-DD28-4D5F-919C-610A574728AC}"/>
              </a:ext>
            </a:extLst>
          </p:cNvPr>
          <p:cNvPicPr>
            <a:picLocks noChangeAspect="1"/>
          </p:cNvPicPr>
          <p:nvPr/>
        </p:nvPicPr>
        <p:blipFill>
          <a:blip r:embed="rId16"/>
          <a:stretch>
            <a:fillRect/>
          </a:stretch>
        </p:blipFill>
        <p:spPr>
          <a:xfrm>
            <a:off x="1209471" y="4081068"/>
            <a:ext cx="370429" cy="362712"/>
          </a:xfrm>
          <a:prstGeom prst="rect">
            <a:avLst/>
          </a:prstGeom>
        </p:spPr>
      </p:pic>
      <p:pic>
        <p:nvPicPr>
          <p:cNvPr id="415" name="Picture 414">
            <a:extLst>
              <a:ext uri="{FF2B5EF4-FFF2-40B4-BE49-F238E27FC236}">
                <a16:creationId xmlns:a16="http://schemas.microsoft.com/office/drawing/2014/main" xmlns="" id="{28D720BF-7301-4BD8-A29E-3C6A45582E9B}"/>
              </a:ext>
            </a:extLst>
          </p:cNvPr>
          <p:cNvPicPr>
            <a:picLocks noChangeAspect="1"/>
          </p:cNvPicPr>
          <p:nvPr/>
        </p:nvPicPr>
        <p:blipFill>
          <a:blip r:embed="rId16"/>
          <a:stretch>
            <a:fillRect/>
          </a:stretch>
        </p:blipFill>
        <p:spPr>
          <a:xfrm>
            <a:off x="1580288" y="4081068"/>
            <a:ext cx="370429" cy="362712"/>
          </a:xfrm>
          <a:prstGeom prst="rect">
            <a:avLst/>
          </a:prstGeom>
        </p:spPr>
      </p:pic>
      <p:pic>
        <p:nvPicPr>
          <p:cNvPr id="416" name="Picture 415">
            <a:extLst>
              <a:ext uri="{FF2B5EF4-FFF2-40B4-BE49-F238E27FC236}">
                <a16:creationId xmlns:a16="http://schemas.microsoft.com/office/drawing/2014/main" xmlns="" id="{EB717E6E-E2B3-4A1B-98E1-91489DA4E7F9}"/>
              </a:ext>
            </a:extLst>
          </p:cNvPr>
          <p:cNvPicPr>
            <a:picLocks noChangeAspect="1"/>
          </p:cNvPicPr>
          <p:nvPr/>
        </p:nvPicPr>
        <p:blipFill>
          <a:blip r:embed="rId16"/>
          <a:stretch>
            <a:fillRect/>
          </a:stretch>
        </p:blipFill>
        <p:spPr>
          <a:xfrm>
            <a:off x="1951105" y="4081068"/>
            <a:ext cx="370429" cy="362712"/>
          </a:xfrm>
          <a:prstGeom prst="rect">
            <a:avLst/>
          </a:prstGeom>
        </p:spPr>
      </p:pic>
      <p:pic>
        <p:nvPicPr>
          <p:cNvPr id="417" name="Picture 416">
            <a:extLst>
              <a:ext uri="{FF2B5EF4-FFF2-40B4-BE49-F238E27FC236}">
                <a16:creationId xmlns:a16="http://schemas.microsoft.com/office/drawing/2014/main" xmlns="" id="{1725E415-A0A6-4752-B49F-A5992749B161}"/>
              </a:ext>
            </a:extLst>
          </p:cNvPr>
          <p:cNvPicPr>
            <a:picLocks noChangeAspect="1"/>
          </p:cNvPicPr>
          <p:nvPr/>
        </p:nvPicPr>
        <p:blipFill>
          <a:blip r:embed="rId16"/>
          <a:stretch>
            <a:fillRect/>
          </a:stretch>
        </p:blipFill>
        <p:spPr>
          <a:xfrm>
            <a:off x="2321922" y="4081068"/>
            <a:ext cx="370429" cy="362712"/>
          </a:xfrm>
          <a:prstGeom prst="rect">
            <a:avLst/>
          </a:prstGeom>
        </p:spPr>
      </p:pic>
      <p:pic>
        <p:nvPicPr>
          <p:cNvPr id="418" name="Picture 417">
            <a:extLst>
              <a:ext uri="{FF2B5EF4-FFF2-40B4-BE49-F238E27FC236}">
                <a16:creationId xmlns:a16="http://schemas.microsoft.com/office/drawing/2014/main" xmlns="" id="{F27A1A53-8A49-408B-9633-C2779C8F351D}"/>
              </a:ext>
            </a:extLst>
          </p:cNvPr>
          <p:cNvPicPr>
            <a:picLocks noChangeAspect="1"/>
          </p:cNvPicPr>
          <p:nvPr/>
        </p:nvPicPr>
        <p:blipFill>
          <a:blip r:embed="rId16"/>
          <a:stretch>
            <a:fillRect/>
          </a:stretch>
        </p:blipFill>
        <p:spPr>
          <a:xfrm>
            <a:off x="2692739" y="4081068"/>
            <a:ext cx="370429" cy="362712"/>
          </a:xfrm>
          <a:prstGeom prst="rect">
            <a:avLst/>
          </a:prstGeom>
        </p:spPr>
      </p:pic>
      <p:pic>
        <p:nvPicPr>
          <p:cNvPr id="419" name="Picture 418">
            <a:extLst>
              <a:ext uri="{FF2B5EF4-FFF2-40B4-BE49-F238E27FC236}">
                <a16:creationId xmlns:a16="http://schemas.microsoft.com/office/drawing/2014/main" xmlns="" id="{AC2E12A5-8618-4D5A-A1FB-D594684023A2}"/>
              </a:ext>
            </a:extLst>
          </p:cNvPr>
          <p:cNvPicPr>
            <a:picLocks noChangeAspect="1"/>
          </p:cNvPicPr>
          <p:nvPr/>
        </p:nvPicPr>
        <p:blipFill>
          <a:blip r:embed="rId16"/>
          <a:stretch>
            <a:fillRect/>
          </a:stretch>
        </p:blipFill>
        <p:spPr>
          <a:xfrm>
            <a:off x="1209471" y="4404761"/>
            <a:ext cx="370429" cy="362712"/>
          </a:xfrm>
          <a:prstGeom prst="rect">
            <a:avLst/>
          </a:prstGeom>
        </p:spPr>
      </p:pic>
      <p:pic>
        <p:nvPicPr>
          <p:cNvPr id="420" name="Picture 419">
            <a:extLst>
              <a:ext uri="{FF2B5EF4-FFF2-40B4-BE49-F238E27FC236}">
                <a16:creationId xmlns:a16="http://schemas.microsoft.com/office/drawing/2014/main" xmlns="" id="{84A771F7-1F66-4D30-8769-826A6CB77091}"/>
              </a:ext>
            </a:extLst>
          </p:cNvPr>
          <p:cNvPicPr>
            <a:picLocks noChangeAspect="1"/>
          </p:cNvPicPr>
          <p:nvPr/>
        </p:nvPicPr>
        <p:blipFill>
          <a:blip r:embed="rId16"/>
          <a:stretch>
            <a:fillRect/>
          </a:stretch>
        </p:blipFill>
        <p:spPr>
          <a:xfrm>
            <a:off x="1580288" y="4404761"/>
            <a:ext cx="370429" cy="362712"/>
          </a:xfrm>
          <a:prstGeom prst="rect">
            <a:avLst/>
          </a:prstGeom>
        </p:spPr>
      </p:pic>
      <p:pic>
        <p:nvPicPr>
          <p:cNvPr id="421" name="Picture 420">
            <a:extLst>
              <a:ext uri="{FF2B5EF4-FFF2-40B4-BE49-F238E27FC236}">
                <a16:creationId xmlns:a16="http://schemas.microsoft.com/office/drawing/2014/main" xmlns="" id="{4439590F-684B-41B1-918F-8503DC725316}"/>
              </a:ext>
            </a:extLst>
          </p:cNvPr>
          <p:cNvPicPr>
            <a:picLocks noChangeAspect="1"/>
          </p:cNvPicPr>
          <p:nvPr/>
        </p:nvPicPr>
        <p:blipFill>
          <a:blip r:embed="rId16"/>
          <a:stretch>
            <a:fillRect/>
          </a:stretch>
        </p:blipFill>
        <p:spPr>
          <a:xfrm>
            <a:off x="1951105" y="4404761"/>
            <a:ext cx="370429" cy="362712"/>
          </a:xfrm>
          <a:prstGeom prst="rect">
            <a:avLst/>
          </a:prstGeom>
        </p:spPr>
      </p:pic>
      <p:pic>
        <p:nvPicPr>
          <p:cNvPr id="422" name="Picture 421">
            <a:extLst>
              <a:ext uri="{FF2B5EF4-FFF2-40B4-BE49-F238E27FC236}">
                <a16:creationId xmlns:a16="http://schemas.microsoft.com/office/drawing/2014/main" xmlns="" id="{08FD5D11-199D-4B93-8A7E-0B268B1CD906}"/>
              </a:ext>
            </a:extLst>
          </p:cNvPr>
          <p:cNvPicPr>
            <a:picLocks noChangeAspect="1"/>
          </p:cNvPicPr>
          <p:nvPr/>
        </p:nvPicPr>
        <p:blipFill>
          <a:blip r:embed="rId16"/>
          <a:stretch>
            <a:fillRect/>
          </a:stretch>
        </p:blipFill>
        <p:spPr>
          <a:xfrm>
            <a:off x="2321922" y="4404761"/>
            <a:ext cx="370429" cy="362712"/>
          </a:xfrm>
          <a:prstGeom prst="rect">
            <a:avLst/>
          </a:prstGeom>
        </p:spPr>
      </p:pic>
      <p:pic>
        <p:nvPicPr>
          <p:cNvPr id="423" name="Picture 422">
            <a:extLst>
              <a:ext uri="{FF2B5EF4-FFF2-40B4-BE49-F238E27FC236}">
                <a16:creationId xmlns:a16="http://schemas.microsoft.com/office/drawing/2014/main" xmlns="" id="{EDBF3DFD-3849-4625-BD3E-1FFC591F5C95}"/>
              </a:ext>
            </a:extLst>
          </p:cNvPr>
          <p:cNvPicPr>
            <a:picLocks noChangeAspect="1"/>
          </p:cNvPicPr>
          <p:nvPr/>
        </p:nvPicPr>
        <p:blipFill>
          <a:blip r:embed="rId16"/>
          <a:stretch>
            <a:fillRect/>
          </a:stretch>
        </p:blipFill>
        <p:spPr>
          <a:xfrm>
            <a:off x="2692739" y="4404761"/>
            <a:ext cx="370429" cy="362712"/>
          </a:xfrm>
          <a:prstGeom prst="rect">
            <a:avLst/>
          </a:prstGeom>
        </p:spPr>
      </p:pic>
      <p:pic>
        <p:nvPicPr>
          <p:cNvPr id="424" name="Picture 423">
            <a:extLst>
              <a:ext uri="{FF2B5EF4-FFF2-40B4-BE49-F238E27FC236}">
                <a16:creationId xmlns:a16="http://schemas.microsoft.com/office/drawing/2014/main" xmlns="" id="{E260B9C4-DC87-495B-A3D8-21762E1ACBFE}"/>
              </a:ext>
            </a:extLst>
          </p:cNvPr>
          <p:cNvPicPr>
            <a:picLocks noChangeAspect="1"/>
          </p:cNvPicPr>
          <p:nvPr/>
        </p:nvPicPr>
        <p:blipFill>
          <a:blip r:embed="rId16"/>
          <a:stretch>
            <a:fillRect/>
          </a:stretch>
        </p:blipFill>
        <p:spPr>
          <a:xfrm>
            <a:off x="1209471" y="4740147"/>
            <a:ext cx="370429" cy="362712"/>
          </a:xfrm>
          <a:prstGeom prst="rect">
            <a:avLst/>
          </a:prstGeom>
        </p:spPr>
      </p:pic>
      <p:pic>
        <p:nvPicPr>
          <p:cNvPr id="425" name="Picture 424">
            <a:extLst>
              <a:ext uri="{FF2B5EF4-FFF2-40B4-BE49-F238E27FC236}">
                <a16:creationId xmlns:a16="http://schemas.microsoft.com/office/drawing/2014/main" xmlns="" id="{32584079-D846-4F07-8AA3-C322A8FB498E}"/>
              </a:ext>
            </a:extLst>
          </p:cNvPr>
          <p:cNvPicPr>
            <a:picLocks noChangeAspect="1"/>
          </p:cNvPicPr>
          <p:nvPr/>
        </p:nvPicPr>
        <p:blipFill>
          <a:blip r:embed="rId16"/>
          <a:stretch>
            <a:fillRect/>
          </a:stretch>
        </p:blipFill>
        <p:spPr>
          <a:xfrm>
            <a:off x="1580288" y="4740147"/>
            <a:ext cx="370429" cy="362712"/>
          </a:xfrm>
          <a:prstGeom prst="rect">
            <a:avLst/>
          </a:prstGeom>
        </p:spPr>
      </p:pic>
      <p:pic>
        <p:nvPicPr>
          <p:cNvPr id="426" name="Picture 425">
            <a:extLst>
              <a:ext uri="{FF2B5EF4-FFF2-40B4-BE49-F238E27FC236}">
                <a16:creationId xmlns:a16="http://schemas.microsoft.com/office/drawing/2014/main" xmlns="" id="{3819FC7D-0606-4884-9A64-B613975EC4EA}"/>
              </a:ext>
            </a:extLst>
          </p:cNvPr>
          <p:cNvPicPr>
            <a:picLocks noChangeAspect="1"/>
          </p:cNvPicPr>
          <p:nvPr/>
        </p:nvPicPr>
        <p:blipFill>
          <a:blip r:embed="rId16"/>
          <a:stretch>
            <a:fillRect/>
          </a:stretch>
        </p:blipFill>
        <p:spPr>
          <a:xfrm>
            <a:off x="1951105" y="4740147"/>
            <a:ext cx="370429" cy="362712"/>
          </a:xfrm>
          <a:prstGeom prst="rect">
            <a:avLst/>
          </a:prstGeom>
        </p:spPr>
      </p:pic>
      <p:pic>
        <p:nvPicPr>
          <p:cNvPr id="427" name="Picture 426">
            <a:extLst>
              <a:ext uri="{FF2B5EF4-FFF2-40B4-BE49-F238E27FC236}">
                <a16:creationId xmlns:a16="http://schemas.microsoft.com/office/drawing/2014/main" xmlns="" id="{A05ACECB-0F4A-40F4-9BDB-F07C735602FD}"/>
              </a:ext>
            </a:extLst>
          </p:cNvPr>
          <p:cNvPicPr>
            <a:picLocks noChangeAspect="1"/>
          </p:cNvPicPr>
          <p:nvPr/>
        </p:nvPicPr>
        <p:blipFill>
          <a:blip r:embed="rId16"/>
          <a:stretch>
            <a:fillRect/>
          </a:stretch>
        </p:blipFill>
        <p:spPr>
          <a:xfrm>
            <a:off x="2321922" y="4740147"/>
            <a:ext cx="370429" cy="362712"/>
          </a:xfrm>
          <a:prstGeom prst="rect">
            <a:avLst/>
          </a:prstGeom>
        </p:spPr>
      </p:pic>
      <p:pic>
        <p:nvPicPr>
          <p:cNvPr id="428" name="Picture 427">
            <a:extLst>
              <a:ext uri="{FF2B5EF4-FFF2-40B4-BE49-F238E27FC236}">
                <a16:creationId xmlns:a16="http://schemas.microsoft.com/office/drawing/2014/main" xmlns="" id="{C9E07865-3153-4266-A37E-5051B860BC50}"/>
              </a:ext>
            </a:extLst>
          </p:cNvPr>
          <p:cNvPicPr>
            <a:picLocks noChangeAspect="1"/>
          </p:cNvPicPr>
          <p:nvPr/>
        </p:nvPicPr>
        <p:blipFill>
          <a:blip r:embed="rId16"/>
          <a:stretch>
            <a:fillRect/>
          </a:stretch>
        </p:blipFill>
        <p:spPr>
          <a:xfrm>
            <a:off x="2692739" y="4740147"/>
            <a:ext cx="370429" cy="362712"/>
          </a:xfrm>
          <a:prstGeom prst="rect">
            <a:avLst/>
          </a:prstGeom>
        </p:spPr>
      </p:pic>
      <p:pic>
        <p:nvPicPr>
          <p:cNvPr id="429" name="Picture 428">
            <a:extLst>
              <a:ext uri="{FF2B5EF4-FFF2-40B4-BE49-F238E27FC236}">
                <a16:creationId xmlns:a16="http://schemas.microsoft.com/office/drawing/2014/main" xmlns="" id="{EB475B53-0D24-4055-B677-A076C5E45DF5}"/>
              </a:ext>
            </a:extLst>
          </p:cNvPr>
          <p:cNvPicPr>
            <a:picLocks noChangeAspect="1"/>
          </p:cNvPicPr>
          <p:nvPr/>
        </p:nvPicPr>
        <p:blipFill>
          <a:blip r:embed="rId16"/>
          <a:stretch>
            <a:fillRect/>
          </a:stretch>
        </p:blipFill>
        <p:spPr>
          <a:xfrm>
            <a:off x="1205843" y="5118279"/>
            <a:ext cx="370429" cy="362712"/>
          </a:xfrm>
          <a:prstGeom prst="rect">
            <a:avLst/>
          </a:prstGeom>
        </p:spPr>
      </p:pic>
      <p:pic>
        <p:nvPicPr>
          <p:cNvPr id="430" name="Picture 429">
            <a:extLst>
              <a:ext uri="{FF2B5EF4-FFF2-40B4-BE49-F238E27FC236}">
                <a16:creationId xmlns:a16="http://schemas.microsoft.com/office/drawing/2014/main" xmlns="" id="{E4A4CAB9-EE9C-4AEF-AA55-D907AF5276B6}"/>
              </a:ext>
            </a:extLst>
          </p:cNvPr>
          <p:cNvPicPr>
            <a:picLocks noChangeAspect="1"/>
          </p:cNvPicPr>
          <p:nvPr/>
        </p:nvPicPr>
        <p:blipFill>
          <a:blip r:embed="rId16"/>
          <a:stretch>
            <a:fillRect/>
          </a:stretch>
        </p:blipFill>
        <p:spPr>
          <a:xfrm>
            <a:off x="1576660" y="5118279"/>
            <a:ext cx="370429" cy="362712"/>
          </a:xfrm>
          <a:prstGeom prst="rect">
            <a:avLst/>
          </a:prstGeom>
        </p:spPr>
      </p:pic>
      <p:pic>
        <p:nvPicPr>
          <p:cNvPr id="431" name="Picture 430">
            <a:extLst>
              <a:ext uri="{FF2B5EF4-FFF2-40B4-BE49-F238E27FC236}">
                <a16:creationId xmlns:a16="http://schemas.microsoft.com/office/drawing/2014/main" xmlns="" id="{C61B583E-CF72-4394-AE33-295F70D479F2}"/>
              </a:ext>
            </a:extLst>
          </p:cNvPr>
          <p:cNvPicPr>
            <a:picLocks noChangeAspect="1"/>
          </p:cNvPicPr>
          <p:nvPr/>
        </p:nvPicPr>
        <p:blipFill>
          <a:blip r:embed="rId16"/>
          <a:stretch>
            <a:fillRect/>
          </a:stretch>
        </p:blipFill>
        <p:spPr>
          <a:xfrm>
            <a:off x="1947477" y="5118279"/>
            <a:ext cx="370429" cy="362712"/>
          </a:xfrm>
          <a:prstGeom prst="rect">
            <a:avLst/>
          </a:prstGeom>
        </p:spPr>
      </p:pic>
      <p:pic>
        <p:nvPicPr>
          <p:cNvPr id="432" name="Picture 431">
            <a:extLst>
              <a:ext uri="{FF2B5EF4-FFF2-40B4-BE49-F238E27FC236}">
                <a16:creationId xmlns:a16="http://schemas.microsoft.com/office/drawing/2014/main" xmlns="" id="{9BC10F40-C0BD-497B-8670-40FCEA87D0C5}"/>
              </a:ext>
            </a:extLst>
          </p:cNvPr>
          <p:cNvPicPr>
            <a:picLocks noChangeAspect="1"/>
          </p:cNvPicPr>
          <p:nvPr/>
        </p:nvPicPr>
        <p:blipFill>
          <a:blip r:embed="rId16"/>
          <a:stretch>
            <a:fillRect/>
          </a:stretch>
        </p:blipFill>
        <p:spPr>
          <a:xfrm>
            <a:off x="2318294" y="5118279"/>
            <a:ext cx="370429" cy="362712"/>
          </a:xfrm>
          <a:prstGeom prst="rect">
            <a:avLst/>
          </a:prstGeom>
        </p:spPr>
      </p:pic>
      <p:pic>
        <p:nvPicPr>
          <p:cNvPr id="433" name="Picture 432">
            <a:extLst>
              <a:ext uri="{FF2B5EF4-FFF2-40B4-BE49-F238E27FC236}">
                <a16:creationId xmlns:a16="http://schemas.microsoft.com/office/drawing/2014/main" xmlns="" id="{5B439B68-C0CE-4221-9737-92CE72D22C14}"/>
              </a:ext>
            </a:extLst>
          </p:cNvPr>
          <p:cNvPicPr>
            <a:picLocks noChangeAspect="1"/>
          </p:cNvPicPr>
          <p:nvPr/>
        </p:nvPicPr>
        <p:blipFill>
          <a:blip r:embed="rId16"/>
          <a:stretch>
            <a:fillRect/>
          </a:stretch>
        </p:blipFill>
        <p:spPr>
          <a:xfrm>
            <a:off x="2689111" y="5118279"/>
            <a:ext cx="370429" cy="362712"/>
          </a:xfrm>
          <a:prstGeom prst="rect">
            <a:avLst/>
          </a:prstGeom>
        </p:spPr>
      </p:pic>
      <p:sp>
        <p:nvSpPr>
          <p:cNvPr id="434" name="TextBox 433">
            <a:extLst>
              <a:ext uri="{FF2B5EF4-FFF2-40B4-BE49-F238E27FC236}">
                <a16:creationId xmlns:a16="http://schemas.microsoft.com/office/drawing/2014/main" xmlns="" id="{78CCD22D-A1BB-49EE-912D-67B64CEE5BE0}"/>
              </a:ext>
            </a:extLst>
          </p:cNvPr>
          <p:cNvSpPr txBox="1"/>
          <p:nvPr/>
        </p:nvSpPr>
        <p:spPr>
          <a:xfrm>
            <a:off x="1069136" y="3793845"/>
            <a:ext cx="2381389" cy="246221"/>
          </a:xfrm>
          <a:prstGeom prst="rect">
            <a:avLst/>
          </a:prstGeom>
          <a:solidFill>
            <a:srgbClr val="0078DC"/>
          </a:solidFill>
          <a:ln>
            <a:solidFill>
              <a:srgbClr val="0078DC"/>
            </a:solidFill>
          </a:ln>
        </p:spPr>
        <p:txBody>
          <a:bodyPr wrap="square" lIns="0" tIns="0" rIns="0" bIns="0" rtlCol="0" anchor="ctr" anchorCtr="0">
            <a:spAutoFit/>
          </a:bodyPr>
          <a:lstStyle>
            <a:defPPr>
              <a:defRPr lang="de-DE"/>
            </a:defPPr>
            <a:lvl1pPr algn="ctr">
              <a:defRPr sz="1600" b="1">
                <a:solidFill>
                  <a:schemeClr val="tx2"/>
                </a:solidFill>
                <a:latin typeface="+mj-lt"/>
                <a:cs typeface="Calibri" panose="020F0502020204030204" pitchFamily="34" charset="0"/>
              </a:defRPr>
            </a:lvl1pPr>
          </a:lstStyle>
          <a:p>
            <a:r>
              <a:rPr lang="de-DE" dirty="0">
                <a:solidFill>
                  <a:srgbClr val="FFFFFF"/>
                </a:solidFill>
              </a:rPr>
              <a:t>20 </a:t>
            </a:r>
            <a:r>
              <a:rPr lang="de-DE" dirty="0" err="1">
                <a:solidFill>
                  <a:srgbClr val="FFFFFF"/>
                </a:solidFill>
              </a:rPr>
              <a:t>industrial</a:t>
            </a:r>
            <a:r>
              <a:rPr lang="de-DE" dirty="0">
                <a:solidFill>
                  <a:srgbClr val="FFFFFF"/>
                </a:solidFill>
              </a:rPr>
              <a:t> </a:t>
            </a:r>
            <a:r>
              <a:rPr lang="de-DE" dirty="0" err="1">
                <a:solidFill>
                  <a:srgbClr val="FFFFFF"/>
                </a:solidFill>
              </a:rPr>
              <a:t>users</a:t>
            </a:r>
            <a:r>
              <a:rPr lang="de-DE" dirty="0">
                <a:solidFill>
                  <a:srgbClr val="FFFFFF"/>
                </a:solidFill>
              </a:rPr>
              <a:t> p.a.</a:t>
            </a:r>
            <a:endParaRPr lang="en-GB" dirty="0">
              <a:solidFill>
                <a:srgbClr val="FFFFFF"/>
              </a:solidFill>
            </a:endParaRPr>
          </a:p>
        </p:txBody>
      </p:sp>
      <p:cxnSp>
        <p:nvCxnSpPr>
          <p:cNvPr id="436" name="Straight Connector 435">
            <a:extLst>
              <a:ext uri="{FF2B5EF4-FFF2-40B4-BE49-F238E27FC236}">
                <a16:creationId xmlns:a16="http://schemas.microsoft.com/office/drawing/2014/main" xmlns="" id="{D53896D5-2025-46E6-8A1C-50ECEC352321}"/>
              </a:ext>
            </a:extLst>
          </p:cNvPr>
          <p:cNvCxnSpPr/>
          <p:nvPr/>
        </p:nvCxnSpPr>
        <p:spPr>
          <a:xfrm>
            <a:off x="1576272" y="5867400"/>
            <a:ext cx="6236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7" name="TextBox 436">
            <a:extLst>
              <a:ext uri="{FF2B5EF4-FFF2-40B4-BE49-F238E27FC236}">
                <a16:creationId xmlns:a16="http://schemas.microsoft.com/office/drawing/2014/main" xmlns="" id="{AFDA0929-876D-4703-B632-1EA9F3AF66D1}"/>
              </a:ext>
            </a:extLst>
          </p:cNvPr>
          <p:cNvSpPr txBox="1"/>
          <p:nvPr/>
        </p:nvSpPr>
        <p:spPr>
          <a:xfrm>
            <a:off x="1499354" y="5867400"/>
            <a:ext cx="6984777" cy="430887"/>
          </a:xfrm>
          <a:prstGeom prst="rect">
            <a:avLst/>
          </a:prstGeom>
          <a:noFill/>
        </p:spPr>
        <p:txBody>
          <a:bodyPr wrap="square" rtlCol="0">
            <a:spAutoFit/>
          </a:bodyPr>
          <a:lstStyle/>
          <a:p>
            <a:r>
              <a:rPr lang="de-DE" sz="1100" dirty="0" err="1"/>
              <a:t>Assumptions</a:t>
            </a:r>
            <a:r>
              <a:rPr lang="de-DE" sz="1100" dirty="0"/>
              <a:t>: </a:t>
            </a:r>
            <a:r>
              <a:rPr lang="de-DE" sz="1100" dirty="0" err="1"/>
              <a:t>cargo</a:t>
            </a:r>
            <a:r>
              <a:rPr lang="de-DE" sz="1100" dirty="0"/>
              <a:t> </a:t>
            </a:r>
            <a:r>
              <a:rPr lang="de-DE" sz="1100" dirty="0" err="1"/>
              <a:t>size</a:t>
            </a:r>
            <a:r>
              <a:rPr lang="de-DE" sz="1100" dirty="0"/>
              <a:t>: 150k m3; STS: 7500 m3; TTS: 200 m3; </a:t>
            </a:r>
            <a:r>
              <a:rPr lang="de-DE" sz="1100" dirty="0" err="1"/>
              <a:t>ind</a:t>
            </a:r>
            <a:r>
              <a:rPr lang="de-DE" sz="1100" dirty="0"/>
              <a:t>. </a:t>
            </a:r>
            <a:r>
              <a:rPr lang="de-DE" sz="1100" dirty="0" err="1"/>
              <a:t>user</a:t>
            </a:r>
            <a:r>
              <a:rPr lang="de-DE" sz="1100" dirty="0"/>
              <a:t> </a:t>
            </a:r>
            <a:r>
              <a:rPr lang="de-DE" sz="1100" dirty="0" err="1"/>
              <a:t>consumption</a:t>
            </a:r>
            <a:r>
              <a:rPr lang="de-DE" sz="1100" dirty="0"/>
              <a:t>: 43 </a:t>
            </a:r>
            <a:r>
              <a:rPr lang="de-DE" sz="1100" dirty="0" err="1"/>
              <a:t>GWh</a:t>
            </a:r>
            <a:r>
              <a:rPr lang="de-DE" sz="1100" dirty="0"/>
              <a:t>/a; </a:t>
            </a:r>
            <a:r>
              <a:rPr lang="de-DE" sz="1100" dirty="0" err="1"/>
              <a:t>fuelling</a:t>
            </a:r>
            <a:r>
              <a:rPr lang="de-DE" sz="1100" dirty="0"/>
              <a:t> </a:t>
            </a:r>
            <a:r>
              <a:rPr lang="de-DE" sz="1100" dirty="0" err="1"/>
              <a:t>station</a:t>
            </a:r>
            <a:r>
              <a:rPr lang="de-DE" sz="1100" dirty="0"/>
              <a:t> </a:t>
            </a:r>
            <a:r>
              <a:rPr lang="de-DE" sz="1100" dirty="0" err="1"/>
              <a:t>consumption</a:t>
            </a:r>
            <a:r>
              <a:rPr lang="de-DE" sz="1100" dirty="0"/>
              <a:t>: 2 </a:t>
            </a:r>
            <a:r>
              <a:rPr lang="de-DE" sz="1100" dirty="0" err="1"/>
              <a:t>ktpa</a:t>
            </a:r>
            <a:endParaRPr lang="en-GB" sz="1100" dirty="0"/>
          </a:p>
        </p:txBody>
      </p:sp>
      <p:sp>
        <p:nvSpPr>
          <p:cNvPr id="439" name="Equals 438">
            <a:extLst>
              <a:ext uri="{FF2B5EF4-FFF2-40B4-BE49-F238E27FC236}">
                <a16:creationId xmlns:a16="http://schemas.microsoft.com/office/drawing/2014/main" xmlns="" id="{0156E4BF-D2D5-4D86-B184-466A52B5E8EF}"/>
              </a:ext>
            </a:extLst>
          </p:cNvPr>
          <p:cNvSpPr/>
          <p:nvPr/>
        </p:nvSpPr>
        <p:spPr>
          <a:xfrm>
            <a:off x="2117490" y="2122820"/>
            <a:ext cx="504056" cy="432048"/>
          </a:xfrm>
          <a:prstGeom prst="mathEqual">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0" name="TextBox 439">
            <a:extLst>
              <a:ext uri="{FF2B5EF4-FFF2-40B4-BE49-F238E27FC236}">
                <a16:creationId xmlns:a16="http://schemas.microsoft.com/office/drawing/2014/main" xmlns="" id="{F31FAA59-1DAC-449C-A5A5-2FB8F16A6B16}"/>
              </a:ext>
            </a:extLst>
          </p:cNvPr>
          <p:cNvSpPr txBox="1"/>
          <p:nvPr/>
        </p:nvSpPr>
        <p:spPr>
          <a:xfrm>
            <a:off x="5257965" y="2606554"/>
            <a:ext cx="400318" cy="246221"/>
          </a:xfrm>
          <a:prstGeom prst="rect">
            <a:avLst/>
          </a:prstGeom>
          <a:noFill/>
          <a:ln>
            <a:noFill/>
          </a:ln>
        </p:spPr>
        <p:txBody>
          <a:bodyPr wrap="square" lIns="0" tIns="0" rIns="0" bIns="0" rtlCol="0" anchor="ctr" anchorCtr="0">
            <a:spAutoFit/>
          </a:bodyPr>
          <a:lstStyle>
            <a:defPPr>
              <a:defRPr lang="en-US"/>
            </a:defPPr>
            <a:lvl1pPr algn="ctr">
              <a:defRPr sz="1600" b="1">
                <a:solidFill>
                  <a:schemeClr val="tx1">
                    <a:lumMod val="50000"/>
                  </a:schemeClr>
                </a:solidFill>
                <a:latin typeface="Calibri" panose="020F0502020204030204" pitchFamily="34" charset="0"/>
                <a:cs typeface="Calibri" panose="020F0502020204030204" pitchFamily="34" charset="0"/>
              </a:defRPr>
            </a:lvl1pPr>
          </a:lstStyle>
          <a:p>
            <a:r>
              <a:rPr lang="de-DE" dirty="0">
                <a:latin typeface="+mn-lt"/>
              </a:rPr>
              <a:t>OR</a:t>
            </a:r>
            <a:endParaRPr lang="en-GB" dirty="0">
              <a:latin typeface="+mn-lt"/>
            </a:endParaRPr>
          </a:p>
        </p:txBody>
      </p:sp>
      <p:sp>
        <p:nvSpPr>
          <p:cNvPr id="441" name="TextBox 440">
            <a:extLst>
              <a:ext uri="{FF2B5EF4-FFF2-40B4-BE49-F238E27FC236}">
                <a16:creationId xmlns:a16="http://schemas.microsoft.com/office/drawing/2014/main" xmlns="" id="{8B3B517C-0AEE-4BFF-B492-E63C984290D0}"/>
              </a:ext>
            </a:extLst>
          </p:cNvPr>
          <p:cNvSpPr txBox="1"/>
          <p:nvPr/>
        </p:nvSpPr>
        <p:spPr>
          <a:xfrm>
            <a:off x="448834" y="4623048"/>
            <a:ext cx="400318" cy="246221"/>
          </a:xfrm>
          <a:prstGeom prst="rect">
            <a:avLst/>
          </a:prstGeom>
          <a:noFill/>
          <a:ln>
            <a:noFill/>
          </a:ln>
        </p:spPr>
        <p:txBody>
          <a:bodyPr wrap="square" lIns="0" tIns="0" rIns="0" bIns="0" rtlCol="0" anchor="ctr" anchorCtr="0">
            <a:spAutoFit/>
          </a:bodyPr>
          <a:lstStyle>
            <a:defPPr>
              <a:defRPr lang="en-US"/>
            </a:defPPr>
            <a:lvl1pPr algn="ctr">
              <a:defRPr sz="1600" b="1">
                <a:solidFill>
                  <a:schemeClr val="tx1">
                    <a:lumMod val="50000"/>
                  </a:schemeClr>
                </a:solidFill>
                <a:latin typeface="Calibri" panose="020F0502020204030204" pitchFamily="34" charset="0"/>
                <a:cs typeface="Calibri" panose="020F0502020204030204" pitchFamily="34" charset="0"/>
              </a:defRPr>
            </a:lvl1pPr>
          </a:lstStyle>
          <a:p>
            <a:r>
              <a:rPr lang="de-DE" dirty="0">
                <a:latin typeface="Arial" panose="020B0604020202020204" pitchFamily="34" charset="0"/>
                <a:cs typeface="Arial" panose="020B0604020202020204" pitchFamily="34" charset="0"/>
              </a:rPr>
              <a:t>OR</a:t>
            </a:r>
            <a:endParaRPr lang="en-GB" dirty="0">
              <a:latin typeface="Arial" panose="020B0604020202020204" pitchFamily="34" charset="0"/>
              <a:cs typeface="Arial" panose="020B0604020202020204" pitchFamily="34" charset="0"/>
            </a:endParaRPr>
          </a:p>
        </p:txBody>
      </p:sp>
      <p:sp>
        <p:nvSpPr>
          <p:cNvPr id="442" name="TextBox 441">
            <a:extLst>
              <a:ext uri="{FF2B5EF4-FFF2-40B4-BE49-F238E27FC236}">
                <a16:creationId xmlns:a16="http://schemas.microsoft.com/office/drawing/2014/main" xmlns="" id="{98D5BF6E-A6AE-49DC-AFC0-EA057D955976}"/>
              </a:ext>
            </a:extLst>
          </p:cNvPr>
          <p:cNvSpPr txBox="1"/>
          <p:nvPr/>
        </p:nvSpPr>
        <p:spPr>
          <a:xfrm>
            <a:off x="3785173" y="5026624"/>
            <a:ext cx="400318" cy="246221"/>
          </a:xfrm>
          <a:prstGeom prst="rect">
            <a:avLst/>
          </a:prstGeom>
          <a:noFill/>
          <a:ln>
            <a:noFill/>
          </a:ln>
        </p:spPr>
        <p:txBody>
          <a:bodyPr wrap="square" lIns="0" tIns="0" rIns="0" bIns="0" rtlCol="0" anchor="ctr" anchorCtr="0">
            <a:spAutoFit/>
          </a:bodyPr>
          <a:lstStyle>
            <a:defPPr>
              <a:defRPr lang="en-US"/>
            </a:defPPr>
            <a:lvl1pPr algn="ctr">
              <a:defRPr sz="1600" b="1">
                <a:solidFill>
                  <a:schemeClr val="tx1">
                    <a:lumMod val="50000"/>
                  </a:schemeClr>
                </a:solidFill>
                <a:latin typeface="Calibri" panose="020F0502020204030204" pitchFamily="34" charset="0"/>
                <a:cs typeface="Calibri" panose="020F0502020204030204" pitchFamily="34" charset="0"/>
              </a:defRPr>
            </a:lvl1pPr>
          </a:lstStyle>
          <a:p>
            <a:r>
              <a:rPr lang="de-DE" dirty="0">
                <a:latin typeface="Arial" panose="020B0604020202020204" pitchFamily="34" charset="0"/>
                <a:cs typeface="Arial" panose="020B0604020202020204" pitchFamily="34" charset="0"/>
              </a:rPr>
              <a:t>OR</a:t>
            </a:r>
            <a:endParaRPr lang="en-GB" dirty="0">
              <a:latin typeface="Arial" panose="020B0604020202020204" pitchFamily="34" charset="0"/>
              <a:cs typeface="Arial" panose="020B0604020202020204" pitchFamily="34" charset="0"/>
            </a:endParaRPr>
          </a:p>
        </p:txBody>
      </p:sp>
      <p:sp>
        <p:nvSpPr>
          <p:cNvPr id="413" name="TextBox 412"/>
          <p:cNvSpPr txBox="1"/>
          <p:nvPr/>
        </p:nvSpPr>
        <p:spPr>
          <a:xfrm>
            <a:off x="1345544" y="6324600"/>
            <a:ext cx="3275256" cy="230832"/>
          </a:xfrm>
          <a:prstGeom prst="rect">
            <a:avLst/>
          </a:prstGeom>
          <a:noFill/>
        </p:spPr>
        <p:txBody>
          <a:bodyPr wrap="square" rtlCol="0">
            <a:spAutoFit/>
          </a:bodyPr>
          <a:lstStyle/>
          <a:p>
            <a:r>
              <a:rPr lang="en-US" sz="900" dirty="0"/>
              <a:t>Sources: Uniper Global Commodities</a:t>
            </a:r>
            <a:endParaRPr lang="ru-RU" sz="900" dirty="0"/>
          </a:p>
        </p:txBody>
      </p:sp>
    </p:spTree>
    <p:extLst>
      <p:ext uri="{BB962C8B-B14F-4D97-AF65-F5344CB8AC3E}">
        <p14:creationId xmlns:p14="http://schemas.microsoft.com/office/powerpoint/2010/main" val="13393958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solidFill>
                  <a:srgbClr val="00944A"/>
                </a:solidFill>
              </a:rPr>
              <a:t>Processes: Shipping industry. Why blockchain? </a:t>
            </a:r>
            <a:endParaRPr lang="ru-RU" sz="2400" dirty="0">
              <a:solidFill>
                <a:srgbClr val="00944A"/>
              </a:solidFill>
            </a:endParaRPr>
          </a:p>
        </p:txBody>
      </p:sp>
      <p:sp>
        <p:nvSpPr>
          <p:cNvPr id="5" name="Slide Number Placeholder 4"/>
          <p:cNvSpPr>
            <a:spLocks noGrp="1"/>
          </p:cNvSpPr>
          <p:nvPr>
            <p:ph type="sldNum" sz="quarter" idx="12"/>
          </p:nvPr>
        </p:nvSpPr>
        <p:spPr/>
        <p:txBody>
          <a:bodyPr/>
          <a:lstStyle/>
          <a:p>
            <a:fld id="{9D543ADB-E95E-4587-963D-D3C6AB2E96C0}" type="slidenum">
              <a:rPr lang="de-DE" smtClean="0"/>
              <a:pPr/>
              <a:t>14</a:t>
            </a:fld>
            <a:endParaRPr lang="de-DE"/>
          </a:p>
        </p:txBody>
      </p:sp>
      <p:sp>
        <p:nvSpPr>
          <p:cNvPr id="46" name="Inhaltsplatzhalter 2"/>
          <p:cNvSpPr>
            <a:spLocks noGrp="1"/>
          </p:cNvSpPr>
          <p:nvPr>
            <p:ph sz="half" idx="1"/>
          </p:nvPr>
        </p:nvSpPr>
        <p:spPr>
          <a:xfrm>
            <a:off x="603060" y="2819400"/>
            <a:ext cx="8036940" cy="2175387"/>
          </a:xfrm>
          <a:ln w="3175">
            <a:noFill/>
          </a:ln>
        </p:spPr>
        <p:txBody>
          <a:bodyPr lIns="72000" tIns="72000" rIns="72000" bIns="72000"/>
          <a:lstStyle/>
          <a:p>
            <a:pPr lvl="1"/>
            <a:r>
              <a:rPr lang="en-US" sz="1400" dirty="0"/>
              <a:t>With major portion of global trade carried across the oceans every day, managing and tracking the paper trail of millions of shipping containers can be a very cumbersome task. This can also lead to information gap among various stakeholders such as ship owners, suppliers / receivers, ports, shipping operators, etc.</a:t>
            </a:r>
          </a:p>
          <a:p>
            <a:pPr lvl="1"/>
            <a:endParaRPr lang="en-US" sz="1400" dirty="0"/>
          </a:p>
          <a:p>
            <a:pPr lvl="1"/>
            <a:r>
              <a:rPr lang="en-US" sz="1400" dirty="0"/>
              <a:t>Blockchain can be a solution to these challenges. It is a distributed database with ability to allow multiple parties to transfer and store sensitive data / information in a space called blocks that are secure, permanent, anonymous, and easily accessible.</a:t>
            </a:r>
          </a:p>
          <a:p>
            <a:pPr lvl="1"/>
            <a:endParaRPr lang="en-US" sz="1400" dirty="0"/>
          </a:p>
          <a:p>
            <a:pPr lvl="1"/>
            <a:r>
              <a:rPr lang="en-US" sz="1400" dirty="0">
                <a:solidFill>
                  <a:schemeClr val="tx1"/>
                </a:solidFill>
              </a:rPr>
              <a:t>With blockchain, based on permission status, each stockholder can have end-to-end visibility of shipping containers. Thus ensuring improved transparency and traceability, reduced fraud and errors and ultimately reduced cost and waste.</a:t>
            </a:r>
          </a:p>
          <a:p>
            <a:pPr lvl="1"/>
            <a:endParaRPr lang="en-US" sz="1400" dirty="0"/>
          </a:p>
        </p:txBody>
      </p:sp>
      <p:sp>
        <p:nvSpPr>
          <p:cNvPr id="4" name="TextBox 3"/>
          <p:cNvSpPr txBox="1"/>
          <p:nvPr/>
        </p:nvSpPr>
        <p:spPr>
          <a:xfrm>
            <a:off x="603060" y="1143002"/>
            <a:ext cx="2197510" cy="1384995"/>
          </a:xfrm>
          <a:prstGeom prst="rect">
            <a:avLst/>
          </a:prstGeom>
          <a:solidFill>
            <a:srgbClr val="0070C0"/>
          </a:solidFill>
          <a:ln w="25400">
            <a:solidFill>
              <a:schemeClr val="bg1">
                <a:lumMod val="95000"/>
              </a:schemeClr>
            </a:solidFill>
          </a:ln>
        </p:spPr>
        <p:txBody>
          <a:bodyPr wrap="square" rtlCol="0">
            <a:spAutoFit/>
          </a:bodyPr>
          <a:lstStyle/>
          <a:p>
            <a:pPr algn="ctr"/>
            <a:r>
              <a:rPr lang="en-US" dirty="0">
                <a:solidFill>
                  <a:schemeClr val="bg1"/>
                </a:solidFill>
              </a:rPr>
              <a:t>90% </a:t>
            </a:r>
            <a:r>
              <a:rPr lang="en-US" sz="1200" dirty="0">
                <a:solidFill>
                  <a:schemeClr val="bg1"/>
                </a:solidFill>
              </a:rPr>
              <a:t>of goods in global trade are carried by the ocean shipping industry each year.</a:t>
            </a:r>
          </a:p>
          <a:p>
            <a:pPr algn="ctr"/>
            <a:endParaRPr lang="en-US" dirty="0">
              <a:solidFill>
                <a:schemeClr val="bg1"/>
              </a:solidFill>
            </a:endParaRPr>
          </a:p>
          <a:p>
            <a:pPr algn="ctr"/>
            <a:r>
              <a:rPr lang="en-US" sz="1200" dirty="0">
                <a:solidFill>
                  <a:schemeClr val="bg1"/>
                </a:solidFill>
              </a:rPr>
              <a:t>(Source: IBM)</a:t>
            </a:r>
            <a:endParaRPr lang="ru-RU" sz="1200" dirty="0">
              <a:solidFill>
                <a:schemeClr val="bg1"/>
              </a:solidFill>
            </a:endParaRPr>
          </a:p>
        </p:txBody>
      </p:sp>
      <p:sp>
        <p:nvSpPr>
          <p:cNvPr id="8" name="TextBox 7"/>
          <p:cNvSpPr txBox="1"/>
          <p:nvPr/>
        </p:nvSpPr>
        <p:spPr>
          <a:xfrm>
            <a:off x="6463085" y="1143001"/>
            <a:ext cx="2197510" cy="1384995"/>
          </a:xfrm>
          <a:prstGeom prst="rect">
            <a:avLst/>
          </a:prstGeom>
          <a:solidFill>
            <a:srgbClr val="0070C0"/>
          </a:solidFill>
          <a:ln w="25400">
            <a:solidFill>
              <a:schemeClr val="bg1">
                <a:lumMod val="95000"/>
              </a:schemeClr>
            </a:solidFill>
          </a:ln>
        </p:spPr>
        <p:txBody>
          <a:bodyPr wrap="square" rtlCol="0">
            <a:spAutoFit/>
          </a:bodyPr>
          <a:lstStyle/>
          <a:p>
            <a:pPr algn="ctr"/>
            <a:r>
              <a:rPr lang="en-US" sz="1200" dirty="0">
                <a:solidFill>
                  <a:schemeClr val="bg1"/>
                </a:solidFill>
              </a:rPr>
              <a:t>Consensus 2017: Blockchain Could </a:t>
            </a:r>
            <a:r>
              <a:rPr lang="en-US" dirty="0">
                <a:solidFill>
                  <a:schemeClr val="bg1"/>
                </a:solidFill>
              </a:rPr>
              <a:t>Save Shipping Industry ‘Billions’.</a:t>
            </a:r>
          </a:p>
          <a:p>
            <a:pPr algn="ctr"/>
            <a:endParaRPr lang="en-US" sz="2400" dirty="0">
              <a:solidFill>
                <a:schemeClr val="bg1"/>
              </a:solidFill>
            </a:endParaRPr>
          </a:p>
          <a:p>
            <a:pPr algn="ctr"/>
            <a:r>
              <a:rPr lang="en-US" sz="1200" dirty="0">
                <a:solidFill>
                  <a:schemeClr val="bg1"/>
                </a:solidFill>
              </a:rPr>
              <a:t>(Source: </a:t>
            </a:r>
            <a:r>
              <a:rPr lang="en-US" sz="1200" dirty="0" err="1">
                <a:solidFill>
                  <a:schemeClr val="bg1"/>
                </a:solidFill>
              </a:rPr>
              <a:t>Coindesk</a:t>
            </a:r>
            <a:r>
              <a:rPr lang="en-US" sz="1200" dirty="0">
                <a:solidFill>
                  <a:schemeClr val="bg1"/>
                </a:solidFill>
              </a:rPr>
              <a:t>)</a:t>
            </a:r>
            <a:endParaRPr lang="ru-RU" sz="1200" dirty="0">
              <a:solidFill>
                <a:schemeClr val="bg1"/>
              </a:solidFill>
            </a:endParaRPr>
          </a:p>
        </p:txBody>
      </p:sp>
      <p:sp>
        <p:nvSpPr>
          <p:cNvPr id="9" name="TextBox 8"/>
          <p:cNvSpPr txBox="1"/>
          <p:nvPr/>
        </p:nvSpPr>
        <p:spPr>
          <a:xfrm>
            <a:off x="2886602" y="1143000"/>
            <a:ext cx="3499450" cy="1384995"/>
          </a:xfrm>
          <a:prstGeom prst="rect">
            <a:avLst/>
          </a:prstGeom>
          <a:solidFill>
            <a:srgbClr val="0070C0"/>
          </a:solidFill>
          <a:ln w="25400">
            <a:solidFill>
              <a:schemeClr val="bg1">
                <a:lumMod val="95000"/>
              </a:schemeClr>
            </a:solidFill>
          </a:ln>
        </p:spPr>
        <p:txBody>
          <a:bodyPr wrap="square" rtlCol="0">
            <a:spAutoFit/>
          </a:bodyPr>
          <a:lstStyle/>
          <a:p>
            <a:pPr algn="ctr"/>
            <a:r>
              <a:rPr lang="en-US" sz="1200" dirty="0">
                <a:solidFill>
                  <a:schemeClr val="bg1"/>
                </a:solidFill>
              </a:rPr>
              <a:t>One Shipment can require sign-off from </a:t>
            </a:r>
            <a:r>
              <a:rPr lang="en-US" dirty="0">
                <a:solidFill>
                  <a:schemeClr val="bg1"/>
                </a:solidFill>
              </a:rPr>
              <a:t>30 unique organizations</a:t>
            </a:r>
            <a:r>
              <a:rPr lang="en-US" sz="1200" dirty="0">
                <a:solidFill>
                  <a:schemeClr val="bg1"/>
                </a:solidFill>
              </a:rPr>
              <a:t> and up to </a:t>
            </a:r>
            <a:r>
              <a:rPr lang="en-US" dirty="0">
                <a:solidFill>
                  <a:schemeClr val="bg1"/>
                </a:solidFill>
              </a:rPr>
              <a:t>200 communications</a:t>
            </a:r>
            <a:r>
              <a:rPr lang="en-US" sz="1200" dirty="0">
                <a:solidFill>
                  <a:schemeClr val="bg1"/>
                </a:solidFill>
              </a:rPr>
              <a:t>.</a:t>
            </a:r>
          </a:p>
          <a:p>
            <a:pPr algn="ctr"/>
            <a:endParaRPr lang="en-US" dirty="0">
              <a:solidFill>
                <a:schemeClr val="bg1"/>
              </a:solidFill>
            </a:endParaRPr>
          </a:p>
          <a:p>
            <a:pPr algn="ctr"/>
            <a:r>
              <a:rPr lang="en-US" sz="1200" dirty="0">
                <a:solidFill>
                  <a:schemeClr val="bg1"/>
                </a:solidFill>
              </a:rPr>
              <a:t>(Source: IBM)</a:t>
            </a:r>
            <a:endParaRPr lang="ru-RU" sz="1200" dirty="0">
              <a:solidFill>
                <a:schemeClr val="bg1"/>
              </a:solidFill>
            </a:endParaRPr>
          </a:p>
        </p:txBody>
      </p:sp>
    </p:spTree>
    <p:extLst>
      <p:ext uri="{BB962C8B-B14F-4D97-AF65-F5344CB8AC3E}">
        <p14:creationId xmlns:p14="http://schemas.microsoft.com/office/powerpoint/2010/main" val="1415990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600" dirty="0" err="1"/>
              <a:t>Processes</a:t>
            </a:r>
            <a:r>
              <a:rPr lang="de-DE" sz="2600" dirty="0"/>
              <a:t>: </a:t>
            </a:r>
            <a:r>
              <a:rPr lang="de-DE" sz="2600" dirty="0" err="1"/>
              <a:t>blockchain</a:t>
            </a:r>
            <a:r>
              <a:rPr lang="de-DE" sz="2600" dirty="0"/>
              <a:t> in deal </a:t>
            </a:r>
            <a:r>
              <a:rPr lang="de-DE" sz="2600" dirty="0" err="1"/>
              <a:t>management</a:t>
            </a:r>
            <a:r>
              <a:rPr lang="de-DE" sz="2600" dirty="0"/>
              <a:t> </a:t>
            </a:r>
            <a:r>
              <a:rPr lang="de-DE" sz="2600" dirty="0" err="1"/>
              <a:t>for</a:t>
            </a:r>
            <a:r>
              <a:rPr lang="de-DE" sz="2600" dirty="0"/>
              <a:t> </a:t>
            </a:r>
            <a:r>
              <a:rPr lang="de-DE" sz="2600" dirty="0" err="1"/>
              <a:t>use</a:t>
            </a:r>
            <a:r>
              <a:rPr lang="de-DE" sz="2600" dirty="0"/>
              <a:t> in </a:t>
            </a:r>
            <a:r>
              <a:rPr lang="de-DE" sz="2600" dirty="0" err="1"/>
              <a:t>shipping</a:t>
            </a:r>
            <a:r>
              <a:rPr lang="de-DE" sz="2600" dirty="0"/>
              <a:t> </a:t>
            </a:r>
            <a:r>
              <a:rPr lang="de-DE" sz="2600" dirty="0" err="1"/>
              <a:t>industry</a:t>
            </a:r>
            <a:r>
              <a:rPr lang="de-DE" sz="2600" dirty="0"/>
              <a:t> </a:t>
            </a:r>
            <a:r>
              <a:rPr lang="de-DE" sz="2600" dirty="0" err="1"/>
              <a:t>and</a:t>
            </a:r>
            <a:r>
              <a:rPr lang="de-DE" sz="2600" dirty="0"/>
              <a:t> </a:t>
            </a:r>
            <a:r>
              <a:rPr lang="de-DE" sz="2600" dirty="0" err="1"/>
              <a:t>small</a:t>
            </a:r>
            <a:r>
              <a:rPr lang="de-DE" sz="2600" dirty="0"/>
              <a:t> </a:t>
            </a:r>
            <a:r>
              <a:rPr lang="de-DE" sz="2600" dirty="0" err="1"/>
              <a:t>scale</a:t>
            </a:r>
            <a:r>
              <a:rPr lang="de-DE" sz="2600" dirty="0"/>
              <a:t> LNG</a:t>
            </a:r>
            <a:endParaRPr lang="en-GB" sz="2600"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de-DE" sz="800" b="0" i="0" u="none" strike="noStrike" kern="1200" cap="none" spc="0" normalizeH="0" baseline="0" noProof="0" smtClean="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800" b="0" i="0" u="none" strike="noStrike" kern="1200" cap="none" spc="0" normalizeH="0" baseline="0" noProof="0">
              <a:ln>
                <a:noFill/>
              </a:ln>
              <a:solidFill>
                <a:srgbClr val="0078DC"/>
              </a:solidFill>
              <a:effectLst/>
              <a:uLnTx/>
              <a:uFillTx/>
              <a:latin typeface="Arial"/>
              <a:ea typeface="+mn-ea"/>
              <a:cs typeface="+mn-cs"/>
            </a:endParaRPr>
          </a:p>
        </p:txBody>
      </p:sp>
      <p:pic>
        <p:nvPicPr>
          <p:cNvPr id="5" name="Picture 4"/>
          <p:cNvPicPr>
            <a:picLocks noChangeAspect="1"/>
          </p:cNvPicPr>
          <p:nvPr/>
        </p:nvPicPr>
        <p:blipFill>
          <a:blip r:embed="rId2"/>
          <a:stretch>
            <a:fillRect/>
          </a:stretch>
        </p:blipFill>
        <p:spPr>
          <a:xfrm>
            <a:off x="192024" y="1267660"/>
            <a:ext cx="8759952" cy="4005072"/>
          </a:xfrm>
          <a:prstGeom prst="rect">
            <a:avLst/>
          </a:prstGeom>
        </p:spPr>
      </p:pic>
    </p:spTree>
    <p:extLst>
      <p:ext uri="{BB962C8B-B14F-4D97-AF65-F5344CB8AC3E}">
        <p14:creationId xmlns:p14="http://schemas.microsoft.com/office/powerpoint/2010/main" val="782890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S0010\Desktop\Uniper\Corporate Design\Blue World\Uniper_Blue-World_01_Blu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899" t="253"/>
          <a:stretch/>
        </p:blipFill>
        <p:spPr bwMode="auto">
          <a:xfrm rot="10800000">
            <a:off x="-13728" y="-7925"/>
            <a:ext cx="9162293" cy="6865925"/>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de-DE" dirty="0" err="1">
                <a:solidFill>
                  <a:srgbClr val="FFEA00"/>
                </a:solidFill>
              </a:rPr>
              <a:t>Thank</a:t>
            </a:r>
            <a:r>
              <a:rPr lang="de-DE" dirty="0">
                <a:solidFill>
                  <a:srgbClr val="FFEA00"/>
                </a:solidFill>
              </a:rPr>
              <a:t> </a:t>
            </a:r>
            <a:r>
              <a:rPr lang="de-DE" dirty="0" err="1">
                <a:solidFill>
                  <a:srgbClr val="FFEA00"/>
                </a:solidFill>
              </a:rPr>
              <a:t>you</a:t>
            </a:r>
            <a:r>
              <a:rPr lang="de-DE" dirty="0">
                <a:solidFill>
                  <a:srgbClr val="FFEA00"/>
                </a:solidFill>
              </a:rPr>
              <a:t>!</a:t>
            </a:r>
          </a:p>
        </p:txBody>
      </p:sp>
      <p:sp>
        <p:nvSpPr>
          <p:cNvPr id="3" name="Inhaltsplatzhalter 2"/>
          <p:cNvSpPr>
            <a:spLocks noGrp="1"/>
          </p:cNvSpPr>
          <p:nvPr>
            <p:ph idx="1"/>
          </p:nvPr>
        </p:nvSpPr>
        <p:spPr/>
        <p:txBody>
          <a:bodyPr/>
          <a:lstStyle/>
          <a:p>
            <a:pPr marL="1588" lvl="1" indent="0">
              <a:spcAft>
                <a:spcPts val="0"/>
              </a:spcAft>
              <a:buNone/>
            </a:pPr>
            <a:r>
              <a:rPr lang="de-DE" dirty="0" err="1">
                <a:solidFill>
                  <a:srgbClr val="FFFFFF"/>
                </a:solidFill>
              </a:rPr>
              <a:t>If</a:t>
            </a:r>
            <a:r>
              <a:rPr lang="de-DE" dirty="0">
                <a:solidFill>
                  <a:srgbClr val="FFFFFF"/>
                </a:solidFill>
              </a:rPr>
              <a:t> </a:t>
            </a:r>
            <a:r>
              <a:rPr lang="de-DE" dirty="0" err="1">
                <a:solidFill>
                  <a:srgbClr val="FFFFFF"/>
                </a:solidFill>
              </a:rPr>
              <a:t>you</a:t>
            </a:r>
            <a:r>
              <a:rPr lang="de-DE" dirty="0">
                <a:solidFill>
                  <a:srgbClr val="FFFFFF"/>
                </a:solidFill>
              </a:rPr>
              <a:t> </a:t>
            </a:r>
            <a:r>
              <a:rPr lang="de-DE" dirty="0" err="1">
                <a:solidFill>
                  <a:srgbClr val="FFFFFF"/>
                </a:solidFill>
              </a:rPr>
              <a:t>need</a:t>
            </a:r>
            <a:r>
              <a:rPr lang="de-DE" dirty="0">
                <a:solidFill>
                  <a:srgbClr val="FFFFFF"/>
                </a:solidFill>
              </a:rPr>
              <a:t> </a:t>
            </a:r>
            <a:r>
              <a:rPr lang="de-DE" dirty="0" err="1">
                <a:solidFill>
                  <a:srgbClr val="FFFFFF"/>
                </a:solidFill>
              </a:rPr>
              <a:t>any</a:t>
            </a:r>
            <a:r>
              <a:rPr lang="de-DE" dirty="0">
                <a:solidFill>
                  <a:srgbClr val="FFFFFF"/>
                </a:solidFill>
              </a:rPr>
              <a:t> </a:t>
            </a:r>
            <a:r>
              <a:rPr lang="de-DE" dirty="0" err="1">
                <a:solidFill>
                  <a:srgbClr val="FFFFFF"/>
                </a:solidFill>
              </a:rPr>
              <a:t>further</a:t>
            </a:r>
            <a:r>
              <a:rPr lang="de-DE" dirty="0">
                <a:solidFill>
                  <a:srgbClr val="FFFFFF"/>
                </a:solidFill>
              </a:rPr>
              <a:t> </a:t>
            </a:r>
            <a:r>
              <a:rPr lang="de-DE" dirty="0" err="1">
                <a:solidFill>
                  <a:srgbClr val="FFFFFF"/>
                </a:solidFill>
              </a:rPr>
              <a:t>information</a:t>
            </a:r>
            <a:r>
              <a:rPr lang="de-DE" dirty="0">
                <a:solidFill>
                  <a:srgbClr val="FFFFFF"/>
                </a:solidFill>
              </a:rPr>
              <a:t>, </a:t>
            </a:r>
            <a:r>
              <a:rPr lang="de-DE" dirty="0" err="1">
                <a:solidFill>
                  <a:srgbClr val="FFFFFF"/>
                </a:solidFill>
              </a:rPr>
              <a:t>please</a:t>
            </a:r>
            <a:r>
              <a:rPr lang="de-DE" dirty="0">
                <a:solidFill>
                  <a:srgbClr val="FFFFFF"/>
                </a:solidFill>
              </a:rPr>
              <a:t> </a:t>
            </a:r>
            <a:r>
              <a:rPr lang="de-DE" dirty="0" err="1">
                <a:solidFill>
                  <a:srgbClr val="FFFFFF"/>
                </a:solidFill>
              </a:rPr>
              <a:t>contact</a:t>
            </a:r>
            <a:r>
              <a:rPr lang="de-DE" dirty="0">
                <a:solidFill>
                  <a:srgbClr val="FFFFFF"/>
                </a:solidFill>
              </a:rPr>
              <a:t> </a:t>
            </a:r>
            <a:r>
              <a:rPr lang="de-DE" dirty="0" err="1">
                <a:solidFill>
                  <a:srgbClr val="FFFFFF"/>
                </a:solidFill>
              </a:rPr>
              <a:t>us</a:t>
            </a:r>
            <a:r>
              <a:rPr lang="de-DE" dirty="0">
                <a:solidFill>
                  <a:srgbClr val="FFFFFF"/>
                </a:solidFill>
              </a:rPr>
              <a:t>:</a:t>
            </a:r>
          </a:p>
          <a:p>
            <a:pPr marL="1588" lvl="1" indent="0">
              <a:spcAft>
                <a:spcPts val="0"/>
              </a:spcAft>
              <a:buNone/>
            </a:pPr>
            <a:endParaRPr lang="de-DE" dirty="0">
              <a:solidFill>
                <a:srgbClr val="FFFFFF"/>
              </a:solidFill>
            </a:endParaRPr>
          </a:p>
          <a:p>
            <a:pPr marL="1588" lvl="1" indent="0">
              <a:spcAft>
                <a:spcPts val="0"/>
              </a:spcAft>
              <a:buNone/>
            </a:pPr>
            <a:r>
              <a:rPr lang="de-DE" dirty="0">
                <a:solidFill>
                  <a:srgbClr val="FFFFFF"/>
                </a:solidFill>
              </a:rPr>
              <a:t>Uniper SE</a:t>
            </a:r>
          </a:p>
          <a:p>
            <a:pPr marL="1588" lvl="1" indent="0">
              <a:spcAft>
                <a:spcPts val="0"/>
              </a:spcAft>
              <a:buNone/>
            </a:pPr>
            <a:r>
              <a:rPr lang="de-DE" dirty="0">
                <a:solidFill>
                  <a:srgbClr val="FFFFFF"/>
                </a:solidFill>
              </a:rPr>
              <a:t>E.ON-Platz 1</a:t>
            </a:r>
          </a:p>
          <a:p>
            <a:pPr marL="1588" lvl="1" indent="0">
              <a:spcAft>
                <a:spcPts val="0"/>
              </a:spcAft>
              <a:buNone/>
            </a:pPr>
            <a:r>
              <a:rPr lang="de-DE" dirty="0">
                <a:solidFill>
                  <a:srgbClr val="FFFFFF"/>
                </a:solidFill>
              </a:rPr>
              <a:t>40479 Düsseldorf</a:t>
            </a:r>
          </a:p>
          <a:p>
            <a:pPr marL="1588" lvl="1" indent="0">
              <a:spcAft>
                <a:spcPts val="0"/>
              </a:spcAft>
              <a:buNone/>
            </a:pPr>
            <a:r>
              <a:rPr lang="de-DE" dirty="0">
                <a:solidFill>
                  <a:srgbClr val="FFFFFF"/>
                </a:solidFill>
              </a:rPr>
              <a:t>www.uniper.energy</a:t>
            </a:r>
          </a:p>
          <a:p>
            <a:pPr marL="1588" lvl="1" indent="0">
              <a:spcAft>
                <a:spcPts val="0"/>
              </a:spcAft>
              <a:buNone/>
            </a:pPr>
            <a:endParaRPr lang="de-DE" dirty="0">
              <a:solidFill>
                <a:srgbClr val="FFFFFF"/>
              </a:solidFill>
            </a:endParaRPr>
          </a:p>
          <a:p>
            <a:pPr marL="1588" lvl="1" indent="0">
              <a:spcAft>
                <a:spcPts val="0"/>
              </a:spcAft>
              <a:buNone/>
            </a:pPr>
            <a:endParaRPr lang="de-DE" dirty="0">
              <a:solidFill>
                <a:srgbClr val="FFFFFF"/>
              </a:solidFill>
            </a:endParaRPr>
          </a:p>
          <a:p>
            <a:pPr marL="1588" lvl="1" indent="0">
              <a:spcAft>
                <a:spcPts val="0"/>
              </a:spcAft>
              <a:buNone/>
            </a:pPr>
            <a:endParaRPr lang="de-DE" dirty="0">
              <a:solidFill>
                <a:srgbClr val="FFFFFF"/>
              </a:solidFill>
            </a:endParaRPr>
          </a:p>
          <a:p>
            <a:pPr marL="1588" lvl="1" indent="0">
              <a:spcAft>
                <a:spcPts val="0"/>
              </a:spcAft>
              <a:buNone/>
            </a:pPr>
            <a:endParaRPr lang="de-DE" dirty="0">
              <a:solidFill>
                <a:srgbClr val="FFFFFF"/>
              </a:solidFill>
            </a:endParaRPr>
          </a:p>
          <a:p>
            <a:pPr marL="1588" lvl="1" indent="0">
              <a:spcAft>
                <a:spcPts val="0"/>
              </a:spcAft>
              <a:buNone/>
            </a:pPr>
            <a:endParaRPr lang="de-DE" dirty="0">
              <a:solidFill>
                <a:srgbClr val="FFFFFF"/>
              </a:solidFill>
            </a:endParaRPr>
          </a:p>
          <a:p>
            <a:pPr marL="1588" lvl="1" indent="0">
              <a:spcAft>
                <a:spcPts val="0"/>
              </a:spcAft>
              <a:buNone/>
            </a:pPr>
            <a:endParaRPr lang="de-DE" dirty="0">
              <a:solidFill>
                <a:srgbClr val="FFFFFF"/>
              </a:solidFill>
            </a:endParaRPr>
          </a:p>
          <a:p>
            <a:pPr marL="1588" lvl="1" indent="0">
              <a:spcAft>
                <a:spcPts val="0"/>
              </a:spcAft>
              <a:buNone/>
            </a:pPr>
            <a:r>
              <a:rPr lang="en-US" sz="1200" dirty="0" err="1">
                <a:solidFill>
                  <a:srgbClr val="FFFFFF"/>
                </a:solidFill>
              </a:rPr>
              <a:t>Uniper</a:t>
            </a:r>
            <a:r>
              <a:rPr lang="en-US" sz="1200" dirty="0">
                <a:solidFill>
                  <a:srgbClr val="FFFFFF"/>
                </a:solidFill>
              </a:rPr>
              <a:t> disclaimer:</a:t>
            </a:r>
          </a:p>
          <a:p>
            <a:pPr marL="1588" lvl="1" indent="0">
              <a:spcAft>
                <a:spcPts val="0"/>
              </a:spcAft>
              <a:buNone/>
            </a:pPr>
            <a:r>
              <a:rPr lang="en-US" sz="1200" dirty="0">
                <a:solidFill>
                  <a:srgbClr val="FFFFFF"/>
                </a:solidFill>
              </a:rPr>
              <a:t>This presentation may contain forward-looking statements based on current assumptions and forecasts made by Uniper SE management and other information currently available to Uniper. Various known and unknown risks, uncertainties and other factors could lead to material differences between the actual future results, financial situation, development or performance of the company and the estimates given here. Uniper SE does not intend, and does not assume any liability whatsoever, to update these forward-looking statements or to conform them to future events or developments.</a:t>
            </a:r>
          </a:p>
          <a:p>
            <a:pPr marL="1588" lvl="1" indent="0">
              <a:spcAft>
                <a:spcPts val="0"/>
              </a:spcAft>
              <a:buNone/>
            </a:pPr>
            <a:endParaRPr lang="de-DE" dirty="0">
              <a:solidFill>
                <a:srgbClr val="FFFFFF"/>
              </a:solidFill>
            </a:endParaRPr>
          </a:p>
          <a:p>
            <a:pPr marL="1588" lvl="1" indent="0">
              <a:spcAft>
                <a:spcPts val="0"/>
              </a:spcAft>
              <a:buNone/>
            </a:pPr>
            <a:endParaRPr lang="de-DE" dirty="0">
              <a:solidFill>
                <a:srgbClr val="FFFFFF"/>
              </a:solidFill>
            </a:endParaRPr>
          </a:p>
          <a:p>
            <a:pPr marL="1588" lvl="1" indent="0">
              <a:spcAft>
                <a:spcPts val="0"/>
              </a:spcAft>
              <a:buNone/>
            </a:pPr>
            <a:endParaRPr lang="de-DE" dirty="0">
              <a:solidFill>
                <a:srgbClr val="FFFFFF"/>
              </a:solidFill>
            </a:endParaRPr>
          </a:p>
          <a:p>
            <a:pPr marL="1588" lvl="1" indent="0">
              <a:spcAft>
                <a:spcPts val="0"/>
              </a:spcAft>
              <a:buNone/>
            </a:pPr>
            <a:endParaRPr lang="de-DE" dirty="0">
              <a:solidFill>
                <a:srgbClr val="FFFFFF"/>
              </a:solidFill>
            </a:endParaRPr>
          </a:p>
        </p:txBody>
      </p:sp>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4825" y="6037767"/>
            <a:ext cx="580955" cy="501056"/>
          </a:xfrm>
          <a:prstGeom prst="rect">
            <a:avLst/>
          </a:prstGeom>
          <a:noFill/>
        </p:spPr>
      </p:pic>
      <p:sp>
        <p:nvSpPr>
          <p:cNvPr id="4" name="Textfeld 3"/>
          <p:cNvSpPr txBox="1"/>
          <p:nvPr/>
        </p:nvSpPr>
        <p:spPr>
          <a:xfrm>
            <a:off x="504825" y="5248276"/>
            <a:ext cx="7048501" cy="276999"/>
          </a:xfrm>
          <a:prstGeom prst="rect">
            <a:avLst/>
          </a:prstGeom>
          <a:noFill/>
        </p:spPr>
        <p:txBody>
          <a:bodyPr wrap="square" rtlCol="0">
            <a:spAutoFit/>
          </a:bodyPr>
          <a:lstStyle/>
          <a:p>
            <a:pPr marL="1588" lvl="1">
              <a:buClr>
                <a:srgbClr val="0078DC"/>
              </a:buClr>
            </a:pPr>
            <a:endParaRPr lang="en-US" sz="1200" dirty="0">
              <a:solidFill>
                <a:srgbClr val="FFFFFF"/>
              </a:solidFill>
            </a:endParaRPr>
          </a:p>
        </p:txBody>
      </p:sp>
    </p:spTree>
    <p:extLst>
      <p:ext uri="{BB962C8B-B14F-4D97-AF65-F5344CB8AC3E}">
        <p14:creationId xmlns:p14="http://schemas.microsoft.com/office/powerpoint/2010/main" val="32974746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rtl="0"/>
            <a:r>
              <a:rPr lang="en-GB" b="1" i="0" u="none" baseline="0"/>
              <a:t>We are Uniper</a:t>
            </a:r>
            <a:endParaRPr lang="en-GB" dirty="0"/>
          </a:p>
        </p:txBody>
      </p:sp>
      <p:sp>
        <p:nvSpPr>
          <p:cNvPr id="3" name="Inhaltsplatzhalter 2"/>
          <p:cNvSpPr>
            <a:spLocks noGrp="1"/>
          </p:cNvSpPr>
          <p:nvPr>
            <p:ph idx="1"/>
          </p:nvPr>
        </p:nvSpPr>
        <p:spPr>
          <a:xfrm>
            <a:off x="504000" y="1328399"/>
            <a:ext cx="4550600" cy="4546800"/>
          </a:xfrm>
        </p:spPr>
        <p:txBody>
          <a:bodyPr/>
          <a:lstStyle/>
          <a:p>
            <a:pPr lvl="1" algn="l" rtl="0"/>
            <a:r>
              <a:rPr lang="en-GB" sz="1600" b="0" i="0" u="none" baseline="0" dirty="0"/>
              <a:t>Uniper is an international energy company with approximately 12,000 employees and operations in more than 40 countries.</a:t>
            </a:r>
          </a:p>
          <a:p>
            <a:pPr lvl="1" algn="l" rtl="0"/>
            <a:r>
              <a:rPr lang="en-GB" sz="1600" b="0" i="0" u="none" baseline="0" dirty="0"/>
              <a:t>Our portfolio comprises industrial-scale plants, trading activities and service provision. </a:t>
            </a:r>
          </a:p>
          <a:p>
            <a:pPr lvl="1" algn="l" rtl="0"/>
            <a:r>
              <a:rPr lang="en-GB" sz="1600" b="0" i="0" u="none" baseline="0" dirty="0"/>
              <a:t>We </a:t>
            </a:r>
            <a:r>
              <a:rPr lang="en-GB" sz="1600" dirty="0"/>
              <a:t>stand for</a:t>
            </a:r>
            <a:r>
              <a:rPr lang="en-GB" sz="1600" b="0" i="0" u="none" baseline="0" dirty="0"/>
              <a:t> a reliable supply of energy.</a:t>
            </a:r>
          </a:p>
          <a:p>
            <a:pPr lvl="1" algn="l" rtl="0"/>
            <a:r>
              <a:rPr lang="en-GB" sz="1600" b="0" i="0" u="none" baseline="0" dirty="0"/>
              <a:t>Since September 2016, Uniper has been listed on the stock exchange and represented in the MDAX</a:t>
            </a:r>
            <a:r>
              <a:rPr lang="en-GB" sz="1600" dirty="0"/>
              <a:t> and MSCI-Germany.</a:t>
            </a:r>
            <a:endParaRPr lang="en-GB" sz="1600" b="0" i="0" u="none" baseline="0" dirty="0"/>
          </a:p>
          <a:p>
            <a:pPr marL="0" lvl="1" indent="0" algn="l" rtl="0" fontAlgn="base">
              <a:lnSpc>
                <a:spcPct val="110000"/>
              </a:lnSpc>
              <a:spcBef>
                <a:spcPts val="100"/>
              </a:spcBef>
              <a:spcAft>
                <a:spcPts val="100"/>
              </a:spcAft>
              <a:buSzPct val="100000"/>
              <a:buNone/>
            </a:pPr>
            <a:endParaRPr lang="en-GB" b="1" dirty="0">
              <a:solidFill>
                <a:schemeClr val="accent4"/>
              </a:solidFill>
            </a:endParaRPr>
          </a:p>
        </p:txBody>
      </p:sp>
      <p:sp>
        <p:nvSpPr>
          <p:cNvPr id="4" name="Foliennummernplatzhalter 3"/>
          <p:cNvSpPr>
            <a:spLocks noGrp="1"/>
          </p:cNvSpPr>
          <p:nvPr>
            <p:ph type="sldNum" sz="quarter" idx="12"/>
          </p:nvPr>
        </p:nvSpPr>
        <p:spPr/>
        <p:txBody>
          <a:bodyPr/>
          <a:lstStyle/>
          <a:p>
            <a:pPr algn="r" rtl="0"/>
            <a:fld id="{9D543ADB-E95E-4587-963D-D3C6AB2E96C0}" type="slidenum">
              <a:rPr/>
              <a:pPr algn="r" rtl="0"/>
              <a:t>2</a:t>
            </a:fld>
            <a:endParaRPr lang="en-GB" dirty="0"/>
          </a:p>
        </p:txBody>
      </p:sp>
      <p:sp>
        <p:nvSpPr>
          <p:cNvPr id="5" name="Eine Ecke des Rechtecks abrunden 4"/>
          <p:cNvSpPr/>
          <p:nvPr/>
        </p:nvSpPr>
        <p:spPr>
          <a:xfrm flipV="1">
            <a:off x="5194300" y="1328420"/>
            <a:ext cx="3429000" cy="4495800"/>
          </a:xfrm>
          <a:prstGeom prst="round1Rect">
            <a:avLst/>
          </a:prstGeom>
          <a:solidFill>
            <a:srgbClr val="E6F4FE"/>
          </a:solidFill>
          <a:ln>
            <a:solidFill>
              <a:srgbClr val="E6F4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 name="Rechteck 5"/>
          <p:cNvSpPr/>
          <p:nvPr/>
        </p:nvSpPr>
        <p:spPr>
          <a:xfrm>
            <a:off x="5273946" y="1313180"/>
            <a:ext cx="1053494" cy="279757"/>
          </a:xfrm>
          <a:prstGeom prst="rect">
            <a:avLst/>
          </a:prstGeom>
        </p:spPr>
        <p:txBody>
          <a:bodyPr wrap="none">
            <a:spAutoFit/>
          </a:bodyPr>
          <a:lstStyle/>
          <a:p>
            <a:pPr marL="0" lvl="1" algn="l" rtl="0" fontAlgn="base">
              <a:lnSpc>
                <a:spcPct val="110000"/>
              </a:lnSpc>
              <a:spcBef>
                <a:spcPts val="100"/>
              </a:spcBef>
              <a:spcAft>
                <a:spcPts val="100"/>
              </a:spcAft>
              <a:buClr>
                <a:srgbClr val="0078DC"/>
              </a:buClr>
              <a:buSzPct val="100000"/>
            </a:pPr>
            <a:r>
              <a:rPr lang="en-GB" sz="1200" b="1" i="0" u="none" baseline="0" dirty="0">
                <a:solidFill>
                  <a:schemeClr val="tx2"/>
                </a:solidFill>
              </a:rPr>
              <a:t>Employees</a:t>
            </a:r>
            <a:r>
              <a:rPr lang="en-GB" sz="1200" b="1" i="0" u="none" baseline="30000" dirty="0">
                <a:solidFill>
                  <a:schemeClr val="tx2"/>
                </a:solidFill>
              </a:rPr>
              <a:t>1</a:t>
            </a:r>
            <a:endParaRPr lang="en-GB" sz="1200" b="1" baseline="30000" dirty="0">
              <a:solidFill>
                <a:schemeClr val="tx2"/>
              </a:solidFill>
            </a:endParaRPr>
          </a:p>
        </p:txBody>
      </p:sp>
      <p:sp>
        <p:nvSpPr>
          <p:cNvPr id="18" name="Freeform 5"/>
          <p:cNvSpPr>
            <a:spLocks/>
          </p:cNvSpPr>
          <p:nvPr/>
        </p:nvSpPr>
        <p:spPr bwMode="gray">
          <a:xfrm>
            <a:off x="5361891" y="3646769"/>
            <a:ext cx="4075800" cy="276265"/>
          </a:xfrm>
          <a:prstGeom prst="rect">
            <a:avLst/>
          </a:prstGeom>
          <a:noFill/>
          <a:ln>
            <a:noFill/>
          </a:ln>
        </p:spPr>
        <p:txBody>
          <a:bodyPr vert="horz" wrap="square" lIns="0" tIns="0" rIns="0" bIns="0" numCol="1" anchor="t" anchorCtr="0" compatLnSpc="1">
            <a:prstTxWarp prst="textNoShape">
              <a:avLst/>
            </a:prstTxWarp>
          </a:bodyPr>
          <a:lstStyle/>
          <a:p>
            <a:pPr marL="0" lvl="1" algn="l" rtl="0" fontAlgn="base">
              <a:lnSpc>
                <a:spcPct val="110000"/>
              </a:lnSpc>
              <a:spcBef>
                <a:spcPts val="100"/>
              </a:spcBef>
              <a:spcAft>
                <a:spcPts val="100"/>
              </a:spcAft>
              <a:buClr>
                <a:srgbClr val="0078DC"/>
              </a:buClr>
              <a:buSzPct val="100000"/>
            </a:pPr>
            <a:r>
              <a:rPr lang="en-GB" sz="1200" b="1" i="0" u="none" baseline="0">
                <a:solidFill>
                  <a:schemeClr val="tx2"/>
                </a:solidFill>
              </a:rPr>
              <a:t>Share price development</a:t>
            </a:r>
            <a:endParaRPr lang="en-GB" sz="1200" b="1" dirty="0">
              <a:solidFill>
                <a:schemeClr val="tx2"/>
              </a:solidFill>
            </a:endParaRPr>
          </a:p>
        </p:txBody>
      </p:sp>
      <p:graphicFrame>
        <p:nvGraphicFramePr>
          <p:cNvPr id="30" name="Diagramm 17"/>
          <p:cNvGraphicFramePr/>
          <p:nvPr>
            <p:extLst/>
          </p:nvPr>
        </p:nvGraphicFramePr>
        <p:xfrm>
          <a:off x="5401206" y="1642501"/>
          <a:ext cx="3006194" cy="17307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Diagramm 11">
            <a:extLst/>
          </p:cNvPr>
          <p:cNvGraphicFramePr>
            <a:graphicFrameLocks/>
          </p:cNvGraphicFramePr>
          <p:nvPr>
            <p:extLst/>
          </p:nvPr>
        </p:nvGraphicFramePr>
        <p:xfrm>
          <a:off x="5361891" y="3923034"/>
          <a:ext cx="3045509" cy="170191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feld 12"/>
          <p:cNvSpPr txBox="1"/>
          <p:nvPr/>
        </p:nvSpPr>
        <p:spPr>
          <a:xfrm>
            <a:off x="5637827" y="3925984"/>
            <a:ext cx="242374" cy="215444"/>
          </a:xfrm>
          <a:prstGeom prst="rect">
            <a:avLst/>
          </a:prstGeom>
          <a:noFill/>
        </p:spPr>
        <p:txBody>
          <a:bodyPr wrap="none" rtlCol="0">
            <a:spAutoFit/>
          </a:bodyPr>
          <a:lstStyle/>
          <a:p>
            <a:r>
              <a:rPr lang="de-DE" sz="800" dirty="0"/>
              <a:t>€</a:t>
            </a:r>
          </a:p>
        </p:txBody>
      </p:sp>
      <p:sp>
        <p:nvSpPr>
          <p:cNvPr id="11" name="Textfeld 10"/>
          <p:cNvSpPr txBox="1"/>
          <p:nvPr/>
        </p:nvSpPr>
        <p:spPr>
          <a:xfrm>
            <a:off x="1736430" y="6282556"/>
            <a:ext cx="933269" cy="215444"/>
          </a:xfrm>
          <a:prstGeom prst="rect">
            <a:avLst/>
          </a:prstGeom>
          <a:noFill/>
        </p:spPr>
        <p:txBody>
          <a:bodyPr wrap="none" rtlCol="0">
            <a:spAutoFit/>
          </a:bodyPr>
          <a:lstStyle/>
          <a:p>
            <a:r>
              <a:rPr lang="de-DE" sz="800" dirty="0"/>
              <a:t>1 As </a:t>
            </a:r>
            <a:r>
              <a:rPr lang="de-DE" sz="800" dirty="0" err="1"/>
              <a:t>of</a:t>
            </a:r>
            <a:r>
              <a:rPr lang="de-DE" sz="800" dirty="0"/>
              <a:t> YE 2017</a:t>
            </a:r>
          </a:p>
        </p:txBody>
      </p:sp>
    </p:spTree>
    <p:extLst>
      <p:ext uri="{BB962C8B-B14F-4D97-AF65-F5344CB8AC3E}">
        <p14:creationId xmlns:p14="http://schemas.microsoft.com/office/powerpoint/2010/main" val="4111532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eck: eine Ecke abgerundet 27"/>
          <p:cNvSpPr/>
          <p:nvPr/>
        </p:nvSpPr>
        <p:spPr>
          <a:xfrm flipV="1">
            <a:off x="8388625" y="4443906"/>
            <a:ext cx="251375" cy="1422563"/>
          </a:xfrm>
          <a:prstGeom prst="round1Rect">
            <a:avLst/>
          </a:prstGeom>
          <a:solidFill>
            <a:srgbClr val="E6F4F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00" dirty="0">
              <a:solidFill>
                <a:srgbClr val="E6F4FE"/>
              </a:solidFill>
            </a:endParaRPr>
          </a:p>
        </p:txBody>
      </p:sp>
      <p:sp>
        <p:nvSpPr>
          <p:cNvPr id="2" name="Titel 1"/>
          <p:cNvSpPr>
            <a:spLocks noGrp="1"/>
          </p:cNvSpPr>
          <p:nvPr>
            <p:ph type="title"/>
          </p:nvPr>
        </p:nvSpPr>
        <p:spPr>
          <a:xfrm>
            <a:off x="504000" y="330200"/>
            <a:ext cx="6354000" cy="900000"/>
          </a:xfrm>
        </p:spPr>
        <p:txBody>
          <a:bodyPr vert="horz" lIns="0" tIns="0" rIns="0" bIns="0" rtlCol="0" anchor="t" anchorCtr="0">
            <a:noAutofit/>
          </a:bodyPr>
          <a:lstStyle/>
          <a:p>
            <a:r>
              <a:rPr lang="de-DE" sz="2400" dirty="0"/>
              <a:t>Uniper – At a </a:t>
            </a:r>
            <a:r>
              <a:rPr lang="de-DE" sz="2400" dirty="0" err="1"/>
              <a:t>glance</a:t>
            </a:r>
            <a:endParaRPr lang="en-GB" sz="2400" dirty="0"/>
          </a:p>
        </p:txBody>
      </p:sp>
      <p:sp>
        <p:nvSpPr>
          <p:cNvPr id="4" name="Foliennummernplatzhalter 3"/>
          <p:cNvSpPr>
            <a:spLocks noGrp="1"/>
          </p:cNvSpPr>
          <p:nvPr>
            <p:ph type="sldNum" sz="quarter" idx="12"/>
          </p:nvPr>
        </p:nvSpPr>
        <p:spPr/>
        <p:txBody>
          <a:bodyPr/>
          <a:lstStyle/>
          <a:p>
            <a:r>
              <a:rPr lang="en-GB" dirty="0"/>
              <a:t>Intro A</a:t>
            </a:r>
          </a:p>
        </p:txBody>
      </p:sp>
      <p:cxnSp>
        <p:nvCxnSpPr>
          <p:cNvPr id="121" name="Straight Connector 120"/>
          <p:cNvCxnSpPr/>
          <p:nvPr/>
        </p:nvCxnSpPr>
        <p:spPr bwMode="auto">
          <a:xfrm>
            <a:off x="458579" y="2981320"/>
            <a:ext cx="3722143" cy="11611"/>
          </a:xfrm>
          <a:prstGeom prst="line">
            <a:avLst/>
          </a:prstGeom>
          <a:noFill/>
          <a:ln w="57150" cap="flat" cmpd="sng" algn="ctr">
            <a:solidFill>
              <a:schemeClr val="bg1"/>
            </a:solidFill>
            <a:prstDash val="solid"/>
            <a:miter lim="800000"/>
            <a:headEnd type="none" w="med" len="med"/>
            <a:tailEnd type="none" w="med" len="med"/>
          </a:ln>
          <a:effectLst/>
        </p:spPr>
      </p:cxnSp>
      <p:sp>
        <p:nvSpPr>
          <p:cNvPr id="122" name="Isosceles Triangle 30"/>
          <p:cNvSpPr>
            <a:spLocks noChangeArrowheads="1"/>
          </p:cNvSpPr>
          <p:nvPr/>
        </p:nvSpPr>
        <p:spPr bwMode="auto">
          <a:xfrm rot="16200000">
            <a:off x="-516736" y="3050842"/>
            <a:ext cx="3570050" cy="1087053"/>
          </a:xfrm>
          <a:prstGeom prst="triangle">
            <a:avLst>
              <a:gd name="adj" fmla="val 50000"/>
            </a:avLst>
          </a:prstGeom>
          <a:gradFill rotWithShape="1">
            <a:gsLst>
              <a:gs pos="0">
                <a:srgbClr val="E6F4FE"/>
              </a:gs>
              <a:gs pos="0">
                <a:schemeClr val="bg1"/>
              </a:gs>
              <a:gs pos="0">
                <a:srgbClr val="E6F4FE"/>
              </a:gs>
            </a:gsLst>
            <a:lin ang="16200000" scaled="1"/>
          </a:gradFill>
          <a:ln w="9525" cap="flat" cmpd="sng" algn="ctr">
            <a:noFill/>
            <a:prstDash val="solid"/>
            <a:round/>
            <a:headEnd type="none" w="med" len="med"/>
            <a:tailEnd type="none" w="med" len="med"/>
          </a:ln>
        </p:spPr>
        <p:txBody>
          <a:bodyPr wrap="none" lIns="45720" rIns="45720" anchor="ctr"/>
          <a:lstStyle/>
          <a:p>
            <a:endParaRPr lang="en-GB" dirty="0">
              <a:solidFill>
                <a:prstClr val="black"/>
              </a:solidFill>
              <a:ea typeface="Arial Unicode MS"/>
            </a:endParaRPr>
          </a:p>
        </p:txBody>
      </p:sp>
      <p:sp>
        <p:nvSpPr>
          <p:cNvPr id="113" name="Rectangle 34"/>
          <p:cNvSpPr>
            <a:spLocks noChangeArrowheads="1"/>
          </p:cNvSpPr>
          <p:nvPr/>
        </p:nvSpPr>
        <p:spPr bwMode="auto">
          <a:xfrm>
            <a:off x="1816891" y="4443913"/>
            <a:ext cx="1208489" cy="1438740"/>
          </a:xfrm>
          <a:prstGeom prst="rect">
            <a:avLst/>
          </a:prstGeom>
          <a:solidFill>
            <a:srgbClr val="69AB46"/>
          </a:solidFill>
          <a:ln w="9525" algn="ctr">
            <a:noFill/>
            <a:round/>
            <a:headEnd/>
            <a:tailEnd/>
          </a:ln>
          <a:effectLst/>
          <a:extLst/>
        </p:spPr>
        <p:txBody>
          <a:bodyPr lIns="0" tIns="0" rIns="0" bIns="0" anchor="ctr"/>
          <a:lstStyle>
            <a:lvl1pPr eaLnBrk="0" hangingPunct="0">
              <a:defRPr sz="1400">
                <a:solidFill>
                  <a:schemeClr val="tx1"/>
                </a:solidFill>
                <a:latin typeface="Polo" pitchFamily="2" charset="0"/>
              </a:defRPr>
            </a:lvl1pPr>
            <a:lvl2pPr marL="742950" indent="-285750" eaLnBrk="0" hangingPunct="0">
              <a:defRPr sz="1400">
                <a:solidFill>
                  <a:schemeClr val="tx1"/>
                </a:solidFill>
                <a:latin typeface="Polo" pitchFamily="2" charset="0"/>
              </a:defRPr>
            </a:lvl2pPr>
            <a:lvl3pPr marL="1143000" indent="-228600" eaLnBrk="0" hangingPunct="0">
              <a:defRPr sz="1400">
                <a:solidFill>
                  <a:schemeClr val="tx1"/>
                </a:solidFill>
                <a:latin typeface="Polo" pitchFamily="2" charset="0"/>
              </a:defRPr>
            </a:lvl3pPr>
            <a:lvl4pPr marL="1600200" indent="-228600" eaLnBrk="0" hangingPunct="0">
              <a:defRPr sz="1400">
                <a:solidFill>
                  <a:schemeClr val="tx1"/>
                </a:solidFill>
                <a:latin typeface="Polo" pitchFamily="2" charset="0"/>
              </a:defRPr>
            </a:lvl4pPr>
            <a:lvl5pPr marL="2057400" indent="-228600" eaLnBrk="0" hangingPunct="0">
              <a:defRPr sz="1400">
                <a:solidFill>
                  <a:schemeClr val="tx1"/>
                </a:solidFill>
                <a:latin typeface="Polo" pitchFamily="2" charset="0"/>
              </a:defRPr>
            </a:lvl5pPr>
            <a:lvl6pPr marL="2514600" indent="-228600" algn="ctr" eaLnBrk="0" fontAlgn="base" hangingPunct="0">
              <a:spcBef>
                <a:spcPct val="0"/>
              </a:spcBef>
              <a:spcAft>
                <a:spcPct val="0"/>
              </a:spcAft>
              <a:defRPr sz="1400">
                <a:solidFill>
                  <a:schemeClr val="tx1"/>
                </a:solidFill>
                <a:latin typeface="Polo" pitchFamily="2" charset="0"/>
              </a:defRPr>
            </a:lvl6pPr>
            <a:lvl7pPr marL="2971800" indent="-228600" algn="ctr" eaLnBrk="0" fontAlgn="base" hangingPunct="0">
              <a:spcBef>
                <a:spcPct val="0"/>
              </a:spcBef>
              <a:spcAft>
                <a:spcPct val="0"/>
              </a:spcAft>
              <a:defRPr sz="1400">
                <a:solidFill>
                  <a:schemeClr val="tx1"/>
                </a:solidFill>
                <a:latin typeface="Polo" pitchFamily="2" charset="0"/>
              </a:defRPr>
            </a:lvl7pPr>
            <a:lvl8pPr marL="3429000" indent="-228600" algn="ctr" eaLnBrk="0" fontAlgn="base" hangingPunct="0">
              <a:spcBef>
                <a:spcPct val="0"/>
              </a:spcBef>
              <a:spcAft>
                <a:spcPct val="0"/>
              </a:spcAft>
              <a:defRPr sz="1400">
                <a:solidFill>
                  <a:schemeClr val="tx1"/>
                </a:solidFill>
                <a:latin typeface="Polo" pitchFamily="2" charset="0"/>
              </a:defRPr>
            </a:lvl8pPr>
            <a:lvl9pPr marL="3886200" indent="-228600" algn="ctr" eaLnBrk="0" fontAlgn="base" hangingPunct="0">
              <a:spcBef>
                <a:spcPct val="0"/>
              </a:spcBef>
              <a:spcAft>
                <a:spcPct val="0"/>
              </a:spcAft>
              <a:defRPr sz="1400">
                <a:solidFill>
                  <a:schemeClr val="tx1"/>
                </a:solidFill>
                <a:latin typeface="Polo" pitchFamily="2" charset="0"/>
              </a:defRPr>
            </a:lvl9pPr>
          </a:lstStyle>
          <a:p>
            <a:pPr algn="ctr" eaLnBrk="1" hangingPunct="1"/>
            <a:r>
              <a:rPr lang="en-GB" altLang="en-US" b="1" dirty="0">
                <a:solidFill>
                  <a:prstClr val="white"/>
                </a:solidFill>
                <a:latin typeface="+mj-lt"/>
              </a:rPr>
              <a:t>International</a:t>
            </a:r>
            <a:br>
              <a:rPr lang="en-GB" altLang="en-US" b="1" dirty="0">
                <a:solidFill>
                  <a:prstClr val="white"/>
                </a:solidFill>
                <a:latin typeface="+mj-lt"/>
              </a:rPr>
            </a:br>
            <a:r>
              <a:rPr lang="en-GB" altLang="en-US" b="1" dirty="0">
                <a:solidFill>
                  <a:prstClr val="white"/>
                </a:solidFill>
                <a:latin typeface="+mj-lt"/>
              </a:rPr>
              <a:t>Power</a:t>
            </a:r>
            <a:endParaRPr lang="en-GB" altLang="en-US" b="1" dirty="0">
              <a:solidFill>
                <a:prstClr val="white"/>
              </a:solidFill>
              <a:latin typeface="+mj-lt"/>
              <a:cs typeface="Calibri" pitchFamily="34" charset="0"/>
            </a:endParaRPr>
          </a:p>
        </p:txBody>
      </p:sp>
      <p:sp>
        <p:nvSpPr>
          <p:cNvPr id="120" name="Rectangle 34"/>
          <p:cNvSpPr>
            <a:spLocks noChangeArrowheads="1"/>
          </p:cNvSpPr>
          <p:nvPr/>
        </p:nvSpPr>
        <p:spPr bwMode="auto">
          <a:xfrm>
            <a:off x="1816892" y="1340503"/>
            <a:ext cx="1208489" cy="1441608"/>
          </a:xfrm>
          <a:prstGeom prst="rect">
            <a:avLst/>
          </a:prstGeom>
          <a:solidFill>
            <a:srgbClr val="0078DC"/>
          </a:solidFill>
          <a:ln w="9525" algn="ctr">
            <a:noFill/>
            <a:round/>
            <a:headEnd/>
            <a:tailEnd/>
          </a:ln>
          <a:effectLst/>
          <a:extLst/>
        </p:spPr>
        <p:txBody>
          <a:bodyPr lIns="0" tIns="0" rIns="0" bIns="0" anchor="ctr"/>
          <a:lstStyle/>
          <a:p>
            <a:pPr algn="ctr"/>
            <a:r>
              <a:rPr lang="en-GB" sz="1400" b="1" dirty="0">
                <a:solidFill>
                  <a:prstClr val="white"/>
                </a:solidFill>
                <a:latin typeface="+mj-lt"/>
              </a:rPr>
              <a:t>European</a:t>
            </a:r>
            <a:br>
              <a:rPr lang="en-GB" sz="1400" b="1" dirty="0">
                <a:solidFill>
                  <a:prstClr val="white"/>
                </a:solidFill>
                <a:latin typeface="+mj-lt"/>
              </a:rPr>
            </a:br>
            <a:r>
              <a:rPr lang="en-GB" sz="1400" b="1" dirty="0">
                <a:solidFill>
                  <a:prstClr val="white"/>
                </a:solidFill>
                <a:latin typeface="+mj-lt"/>
              </a:rPr>
              <a:t>Generation</a:t>
            </a:r>
            <a:endParaRPr lang="en-GB" altLang="en-US" sz="1400" b="1" dirty="0">
              <a:solidFill>
                <a:prstClr val="white"/>
              </a:solidFill>
              <a:latin typeface="+mj-lt"/>
            </a:endParaRPr>
          </a:p>
        </p:txBody>
      </p:sp>
      <p:sp>
        <p:nvSpPr>
          <p:cNvPr id="169" name="Rectangle 34"/>
          <p:cNvSpPr>
            <a:spLocks noChangeArrowheads="1"/>
          </p:cNvSpPr>
          <p:nvPr/>
        </p:nvSpPr>
        <p:spPr bwMode="auto">
          <a:xfrm>
            <a:off x="1811812" y="2906826"/>
            <a:ext cx="1208489" cy="1415887"/>
          </a:xfrm>
          <a:prstGeom prst="rect">
            <a:avLst/>
          </a:prstGeom>
          <a:solidFill>
            <a:srgbClr val="ED8C1C"/>
          </a:solidFill>
          <a:ln w="9525" algn="ctr">
            <a:noFill/>
            <a:round/>
            <a:headEnd/>
            <a:tailEnd/>
          </a:ln>
          <a:effectLst/>
          <a:extLst/>
        </p:spPr>
        <p:txBody>
          <a:bodyPr lIns="0" tIns="0" rIns="0" bIns="0" anchor="ctr"/>
          <a:lstStyle>
            <a:lvl1pPr eaLnBrk="0" hangingPunct="0">
              <a:defRPr sz="1400">
                <a:solidFill>
                  <a:schemeClr val="tx1"/>
                </a:solidFill>
                <a:latin typeface="Polo" pitchFamily="2" charset="0"/>
              </a:defRPr>
            </a:lvl1pPr>
            <a:lvl2pPr marL="742950" indent="-285750" eaLnBrk="0" hangingPunct="0">
              <a:defRPr sz="1400">
                <a:solidFill>
                  <a:schemeClr val="tx1"/>
                </a:solidFill>
                <a:latin typeface="Polo" pitchFamily="2" charset="0"/>
              </a:defRPr>
            </a:lvl2pPr>
            <a:lvl3pPr marL="1143000" indent="-228600" eaLnBrk="0" hangingPunct="0">
              <a:defRPr sz="1400">
                <a:solidFill>
                  <a:schemeClr val="tx1"/>
                </a:solidFill>
                <a:latin typeface="Polo" pitchFamily="2" charset="0"/>
              </a:defRPr>
            </a:lvl3pPr>
            <a:lvl4pPr marL="1600200" indent="-228600" eaLnBrk="0" hangingPunct="0">
              <a:defRPr sz="1400">
                <a:solidFill>
                  <a:schemeClr val="tx1"/>
                </a:solidFill>
                <a:latin typeface="Polo" pitchFamily="2" charset="0"/>
              </a:defRPr>
            </a:lvl4pPr>
            <a:lvl5pPr marL="2057400" indent="-228600" eaLnBrk="0" hangingPunct="0">
              <a:defRPr sz="1400">
                <a:solidFill>
                  <a:schemeClr val="tx1"/>
                </a:solidFill>
                <a:latin typeface="Polo" pitchFamily="2" charset="0"/>
              </a:defRPr>
            </a:lvl5pPr>
            <a:lvl6pPr marL="2514600" indent="-228600" algn="ctr" eaLnBrk="0" fontAlgn="base" hangingPunct="0">
              <a:spcBef>
                <a:spcPct val="0"/>
              </a:spcBef>
              <a:spcAft>
                <a:spcPct val="0"/>
              </a:spcAft>
              <a:defRPr sz="1400">
                <a:solidFill>
                  <a:schemeClr val="tx1"/>
                </a:solidFill>
                <a:latin typeface="Polo" pitchFamily="2" charset="0"/>
              </a:defRPr>
            </a:lvl6pPr>
            <a:lvl7pPr marL="2971800" indent="-228600" algn="ctr" eaLnBrk="0" fontAlgn="base" hangingPunct="0">
              <a:spcBef>
                <a:spcPct val="0"/>
              </a:spcBef>
              <a:spcAft>
                <a:spcPct val="0"/>
              </a:spcAft>
              <a:defRPr sz="1400">
                <a:solidFill>
                  <a:schemeClr val="tx1"/>
                </a:solidFill>
                <a:latin typeface="Polo" pitchFamily="2" charset="0"/>
              </a:defRPr>
            </a:lvl7pPr>
            <a:lvl8pPr marL="3429000" indent="-228600" algn="ctr" eaLnBrk="0" fontAlgn="base" hangingPunct="0">
              <a:spcBef>
                <a:spcPct val="0"/>
              </a:spcBef>
              <a:spcAft>
                <a:spcPct val="0"/>
              </a:spcAft>
              <a:defRPr sz="1400">
                <a:solidFill>
                  <a:schemeClr val="tx1"/>
                </a:solidFill>
                <a:latin typeface="Polo" pitchFamily="2" charset="0"/>
              </a:defRPr>
            </a:lvl8pPr>
            <a:lvl9pPr marL="3886200" indent="-228600" algn="ctr" eaLnBrk="0" fontAlgn="base" hangingPunct="0">
              <a:spcBef>
                <a:spcPct val="0"/>
              </a:spcBef>
              <a:spcAft>
                <a:spcPct val="0"/>
              </a:spcAft>
              <a:defRPr sz="1400">
                <a:solidFill>
                  <a:schemeClr val="tx1"/>
                </a:solidFill>
                <a:latin typeface="Polo" pitchFamily="2" charset="0"/>
              </a:defRPr>
            </a:lvl9pPr>
          </a:lstStyle>
          <a:p>
            <a:pPr algn="ctr" eaLnBrk="1" hangingPunct="1"/>
            <a:r>
              <a:rPr lang="en-GB" b="1" dirty="0">
                <a:solidFill>
                  <a:srgbClr val="FFFFFF"/>
                </a:solidFill>
                <a:latin typeface="+mj-lt"/>
              </a:rPr>
              <a:t>Global</a:t>
            </a:r>
          </a:p>
          <a:p>
            <a:pPr algn="ctr" eaLnBrk="1" hangingPunct="1"/>
            <a:r>
              <a:rPr lang="en-GB" altLang="en-US" b="1" dirty="0">
                <a:solidFill>
                  <a:srgbClr val="FFFFFF"/>
                </a:solidFill>
                <a:latin typeface="+mj-lt"/>
                <a:cs typeface="Calibri" pitchFamily="34" charset="0"/>
              </a:rPr>
              <a:t>Commodities</a:t>
            </a:r>
          </a:p>
        </p:txBody>
      </p:sp>
      <p:graphicFrame>
        <p:nvGraphicFramePr>
          <p:cNvPr id="44" name="Diagramm 43">
            <a:extLst>
              <a:ext uri="{FF2B5EF4-FFF2-40B4-BE49-F238E27FC236}">
                <a16:creationId xmlns:a16="http://schemas.microsoft.com/office/drawing/2014/main" xmlns="" id="{E1A86CC8-C512-4C5B-8A3A-0E3B2C2C9E4B}"/>
              </a:ext>
            </a:extLst>
          </p:cNvPr>
          <p:cNvGraphicFramePr>
            <a:graphicFrameLocks/>
          </p:cNvGraphicFramePr>
          <p:nvPr>
            <p:extLst/>
          </p:nvPr>
        </p:nvGraphicFramePr>
        <p:xfrm>
          <a:off x="18283" y="2782519"/>
          <a:ext cx="1959470" cy="1600794"/>
        </p:xfrm>
        <a:graphic>
          <a:graphicData uri="http://schemas.openxmlformats.org/drawingml/2006/chart">
            <c:chart xmlns:c="http://schemas.openxmlformats.org/drawingml/2006/chart" xmlns:r="http://schemas.openxmlformats.org/officeDocument/2006/relationships" r:id="rId3"/>
          </a:graphicData>
        </a:graphic>
      </p:graphicFrame>
      <p:sp>
        <p:nvSpPr>
          <p:cNvPr id="3" name="Ellipse 2">
            <a:extLst>
              <a:ext uri="{FF2B5EF4-FFF2-40B4-BE49-F238E27FC236}">
                <a16:creationId xmlns:a16="http://schemas.microsoft.com/office/drawing/2014/main" xmlns="" id="{6F6B3EA8-BAE9-4266-8CA1-5000D946A700}"/>
              </a:ext>
            </a:extLst>
          </p:cNvPr>
          <p:cNvSpPr/>
          <p:nvPr/>
        </p:nvSpPr>
        <p:spPr>
          <a:xfrm>
            <a:off x="651391" y="3245786"/>
            <a:ext cx="674259" cy="67425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Textfeld 44">
            <a:extLst>
              <a:ext uri="{FF2B5EF4-FFF2-40B4-BE49-F238E27FC236}">
                <a16:creationId xmlns:a16="http://schemas.microsoft.com/office/drawing/2014/main" xmlns="" id="{E6E7991F-F92F-4A6C-B840-EFA3BE59A7B5}"/>
              </a:ext>
            </a:extLst>
          </p:cNvPr>
          <p:cNvSpPr txBox="1"/>
          <p:nvPr/>
        </p:nvSpPr>
        <p:spPr>
          <a:xfrm>
            <a:off x="623844" y="3403663"/>
            <a:ext cx="759546" cy="369332"/>
          </a:xfrm>
          <a:prstGeom prst="rect">
            <a:avLst/>
          </a:prstGeom>
          <a:noFill/>
        </p:spPr>
        <p:txBody>
          <a:bodyPr wrap="square" rtlCol="0">
            <a:spAutoFit/>
          </a:bodyPr>
          <a:lstStyle/>
          <a:p>
            <a:pPr algn="ctr"/>
            <a:r>
              <a:rPr lang="de-DE" dirty="0"/>
              <a:t>Split</a:t>
            </a:r>
            <a:r>
              <a:rPr lang="de-DE" baseline="30000" dirty="0"/>
              <a:t>1</a:t>
            </a:r>
          </a:p>
        </p:txBody>
      </p:sp>
      <p:sp>
        <p:nvSpPr>
          <p:cNvPr id="48" name="Fußzeilenplatzhalter 5">
            <a:extLst>
              <a:ext uri="{FF2B5EF4-FFF2-40B4-BE49-F238E27FC236}">
                <a16:creationId xmlns:a16="http://schemas.microsoft.com/office/drawing/2014/main" xmlns="" id="{00C597ED-53F9-4727-9994-676E15E34E99}"/>
              </a:ext>
            </a:extLst>
          </p:cNvPr>
          <p:cNvSpPr>
            <a:spLocks noGrp="1"/>
          </p:cNvSpPr>
          <p:nvPr>
            <p:ph type="ftr" sz="quarter" idx="11"/>
          </p:nvPr>
        </p:nvSpPr>
        <p:spPr>
          <a:xfrm>
            <a:off x="1474838" y="5962916"/>
            <a:ext cx="4979725" cy="526712"/>
          </a:xfrm>
        </p:spPr>
        <p:txBody>
          <a:bodyPr/>
          <a:lstStyle/>
          <a:p>
            <a:r>
              <a:rPr lang="en-GB" dirty="0"/>
              <a:t>1. Underlying EBIT 2017: Split</a:t>
            </a:r>
            <a:r>
              <a:rPr lang="de-DE" dirty="0"/>
              <a:t> </a:t>
            </a:r>
            <a:r>
              <a:rPr lang="de-DE" dirty="0" err="1"/>
              <a:t>excludes</a:t>
            </a:r>
            <a:r>
              <a:rPr lang="de-DE" dirty="0"/>
              <a:t> </a:t>
            </a:r>
            <a:r>
              <a:rPr lang="de-DE" dirty="0" err="1"/>
              <a:t>contribution</a:t>
            </a:r>
            <a:r>
              <a:rPr lang="de-DE" dirty="0"/>
              <a:t> </a:t>
            </a:r>
            <a:r>
              <a:rPr lang="de-DE" dirty="0" err="1"/>
              <a:t>of</a:t>
            </a:r>
            <a:r>
              <a:rPr lang="de-DE" dirty="0"/>
              <a:t> </a:t>
            </a:r>
            <a:r>
              <a:rPr lang="de-DE" dirty="0" err="1"/>
              <a:t>disposed</a:t>
            </a:r>
            <a:r>
              <a:rPr lang="de-DE" dirty="0"/>
              <a:t> </a:t>
            </a:r>
            <a:r>
              <a:rPr lang="de-DE" dirty="0" err="1"/>
              <a:t>Yuzhno</a:t>
            </a:r>
            <a:r>
              <a:rPr lang="de-DE" dirty="0"/>
              <a:t> </a:t>
            </a:r>
            <a:r>
              <a:rPr lang="de-DE" dirty="0" err="1"/>
              <a:t>Russkoye</a:t>
            </a:r>
            <a:r>
              <a:rPr lang="de-DE" dirty="0"/>
              <a:t> gas </a:t>
            </a:r>
            <a:r>
              <a:rPr lang="de-DE" dirty="0" err="1"/>
              <a:t>field</a:t>
            </a:r>
            <a:r>
              <a:rPr lang="de-DE" dirty="0"/>
              <a:t> </a:t>
            </a:r>
            <a:r>
              <a:rPr lang="de-DE" dirty="0" err="1"/>
              <a:t>and</a:t>
            </a:r>
            <a:r>
              <a:rPr lang="de-DE" dirty="0"/>
              <a:t/>
            </a:r>
            <a:br>
              <a:rPr lang="de-DE" dirty="0"/>
            </a:br>
            <a:r>
              <a:rPr lang="de-DE" dirty="0"/>
              <a:t>    </a:t>
            </a:r>
            <a:r>
              <a:rPr lang="de-DE" dirty="0" err="1"/>
              <a:t>insurance</a:t>
            </a:r>
            <a:r>
              <a:rPr lang="de-DE" dirty="0"/>
              <a:t> </a:t>
            </a:r>
            <a:r>
              <a:rPr lang="de-DE" dirty="0" err="1"/>
              <a:t>payment</a:t>
            </a:r>
            <a:r>
              <a:rPr lang="de-DE" dirty="0"/>
              <a:t> </a:t>
            </a:r>
            <a:r>
              <a:rPr lang="de-DE" dirty="0" err="1"/>
              <a:t>for</a:t>
            </a:r>
            <a:r>
              <a:rPr lang="de-DE" dirty="0"/>
              <a:t> </a:t>
            </a:r>
            <a:r>
              <a:rPr lang="de-DE" dirty="0" err="1"/>
              <a:t>Russian</a:t>
            </a:r>
            <a:r>
              <a:rPr lang="de-DE" dirty="0"/>
              <a:t> power </a:t>
            </a:r>
            <a:r>
              <a:rPr lang="de-DE" dirty="0" err="1"/>
              <a:t>station</a:t>
            </a:r>
            <a:r>
              <a:rPr lang="de-DE" dirty="0"/>
              <a:t> </a:t>
            </a:r>
            <a:r>
              <a:rPr lang="de-DE" dirty="0" err="1"/>
              <a:t>Berezovskaya</a:t>
            </a:r>
            <a:r>
              <a:rPr lang="de-DE" dirty="0"/>
              <a:t> III.</a:t>
            </a:r>
            <a:endParaRPr lang="en-GB" dirty="0"/>
          </a:p>
        </p:txBody>
      </p:sp>
      <p:pic>
        <p:nvPicPr>
          <p:cNvPr id="49" name="Picture 39">
            <a:extLst>
              <a:ext uri="{FF2B5EF4-FFF2-40B4-BE49-F238E27FC236}">
                <a16:creationId xmlns:a16="http://schemas.microsoft.com/office/drawing/2014/main" xmlns="" id="{67DADC12-5AC8-40AD-B1DC-B3234760DEF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3121" y="4501891"/>
            <a:ext cx="558374" cy="617566"/>
          </a:xfrm>
          <a:prstGeom prst="rect">
            <a:avLst/>
          </a:prstGeom>
        </p:spPr>
      </p:pic>
      <p:pic>
        <p:nvPicPr>
          <p:cNvPr id="51" name="Picture 40">
            <a:extLst>
              <a:ext uri="{FF2B5EF4-FFF2-40B4-BE49-F238E27FC236}">
                <a16:creationId xmlns:a16="http://schemas.microsoft.com/office/drawing/2014/main" xmlns="" id="{6854A939-83D5-4861-8CF6-AE06FE030A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53706" y="5141184"/>
            <a:ext cx="722071" cy="534867"/>
          </a:xfrm>
          <a:prstGeom prst="rect">
            <a:avLst/>
          </a:prstGeom>
        </p:spPr>
      </p:pic>
      <p:pic>
        <p:nvPicPr>
          <p:cNvPr id="53" name="Picture 39">
            <a:extLst>
              <a:ext uri="{FF2B5EF4-FFF2-40B4-BE49-F238E27FC236}">
                <a16:creationId xmlns:a16="http://schemas.microsoft.com/office/drawing/2014/main" xmlns="" id="{11B0E391-C487-4A40-BCFD-07824DFE983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0016" y="1286034"/>
            <a:ext cx="558374" cy="617566"/>
          </a:xfrm>
          <a:prstGeom prst="rect">
            <a:avLst/>
          </a:prstGeom>
        </p:spPr>
      </p:pic>
      <p:pic>
        <p:nvPicPr>
          <p:cNvPr id="54" name="Picture 40">
            <a:extLst>
              <a:ext uri="{FF2B5EF4-FFF2-40B4-BE49-F238E27FC236}">
                <a16:creationId xmlns:a16="http://schemas.microsoft.com/office/drawing/2014/main" xmlns="" id="{608DF80F-D9C2-4B8D-88F3-45B87B25851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02171" y="1530338"/>
            <a:ext cx="648096" cy="534867"/>
          </a:xfrm>
          <a:prstGeom prst="rect">
            <a:avLst/>
          </a:prstGeom>
        </p:spPr>
      </p:pic>
      <p:pic>
        <p:nvPicPr>
          <p:cNvPr id="56" name="Picture 50">
            <a:extLst>
              <a:ext uri="{FF2B5EF4-FFF2-40B4-BE49-F238E27FC236}">
                <a16:creationId xmlns:a16="http://schemas.microsoft.com/office/drawing/2014/main" xmlns="" id="{72B5592B-A14E-4241-8BDE-0A39B3859FC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58195" y="2145468"/>
            <a:ext cx="740755" cy="561549"/>
          </a:xfrm>
          <a:prstGeom prst="rect">
            <a:avLst/>
          </a:prstGeom>
        </p:spPr>
      </p:pic>
      <p:pic>
        <p:nvPicPr>
          <p:cNvPr id="59" name="Picture 49">
            <a:extLst>
              <a:ext uri="{FF2B5EF4-FFF2-40B4-BE49-F238E27FC236}">
                <a16:creationId xmlns:a16="http://schemas.microsoft.com/office/drawing/2014/main" xmlns="" id="{B9286585-6435-47DC-A1A5-455A9EE1AD7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83121" y="2063541"/>
            <a:ext cx="564329" cy="541091"/>
          </a:xfrm>
          <a:prstGeom prst="rect">
            <a:avLst/>
          </a:prstGeom>
        </p:spPr>
      </p:pic>
      <p:pic>
        <p:nvPicPr>
          <p:cNvPr id="62" name="Picture 48">
            <a:extLst>
              <a:ext uri="{FF2B5EF4-FFF2-40B4-BE49-F238E27FC236}">
                <a16:creationId xmlns:a16="http://schemas.microsoft.com/office/drawing/2014/main" xmlns="" id="{DC3653DA-99C1-42AC-85B9-D2170C3918F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26564" y="3431208"/>
            <a:ext cx="713318" cy="373106"/>
          </a:xfrm>
          <a:prstGeom prst="rect">
            <a:avLst/>
          </a:prstGeom>
        </p:spPr>
      </p:pic>
      <p:pic>
        <p:nvPicPr>
          <p:cNvPr id="68" name="Picture 43">
            <a:extLst>
              <a:ext uri="{FF2B5EF4-FFF2-40B4-BE49-F238E27FC236}">
                <a16:creationId xmlns:a16="http://schemas.microsoft.com/office/drawing/2014/main" xmlns="" id="{11580317-234D-499E-B27D-02B9AC2E3CE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63283" y="3062433"/>
            <a:ext cx="816267" cy="263226"/>
          </a:xfrm>
          <a:prstGeom prst="rect">
            <a:avLst/>
          </a:prstGeom>
        </p:spPr>
      </p:pic>
      <p:pic>
        <p:nvPicPr>
          <p:cNvPr id="71" name="Picture 46">
            <a:extLst>
              <a:ext uri="{FF2B5EF4-FFF2-40B4-BE49-F238E27FC236}">
                <a16:creationId xmlns:a16="http://schemas.microsoft.com/office/drawing/2014/main" xmlns="" id="{725B8391-B88B-427E-8CE8-4A56DFA2FC8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16340" y="3771558"/>
            <a:ext cx="720464" cy="454089"/>
          </a:xfrm>
          <a:prstGeom prst="rect">
            <a:avLst/>
          </a:prstGeom>
        </p:spPr>
      </p:pic>
      <p:sp>
        <p:nvSpPr>
          <p:cNvPr id="25" name="Inhaltsplatzhalter 2"/>
          <p:cNvSpPr txBox="1">
            <a:spLocks/>
          </p:cNvSpPr>
          <p:nvPr/>
        </p:nvSpPr>
        <p:spPr>
          <a:xfrm>
            <a:off x="4569700" y="1340503"/>
            <a:ext cx="4070300" cy="1441608"/>
          </a:xfrm>
          <a:prstGeom prst="rect">
            <a:avLst/>
          </a:prstGeom>
          <a:solidFill>
            <a:srgbClr val="E6F4FE"/>
          </a:solidFill>
          <a:extLst/>
        </p:spPr>
        <p:txBody>
          <a:bodyPr vert="horz" lIns="72000" tIns="0" rIns="0" bIns="0" rtlCol="0" anchor="ctr" anchorCtr="0">
            <a:noAutofit/>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pPr marL="285750" lvl="1" indent="-285750">
              <a:lnSpc>
                <a:spcPct val="110000"/>
              </a:lnSpc>
              <a:buClr>
                <a:schemeClr val="tx2"/>
              </a:buClr>
              <a:buSzPct val="130000"/>
            </a:pPr>
            <a:r>
              <a:rPr lang="en-GB" sz="1100" dirty="0">
                <a:cs typeface="Arial" pitchFamily="34" charset="0"/>
              </a:rPr>
              <a:t>One of the largest European generators with 26 GW</a:t>
            </a:r>
            <a:br>
              <a:rPr lang="en-GB" sz="1100" dirty="0">
                <a:cs typeface="Arial" pitchFamily="34" charset="0"/>
              </a:rPr>
            </a:br>
            <a:r>
              <a:rPr lang="en-GB" sz="1100" dirty="0">
                <a:cs typeface="Arial" pitchFamily="34" charset="0"/>
              </a:rPr>
              <a:t>of own, mostly dispatchable generation capacity</a:t>
            </a:r>
          </a:p>
          <a:p>
            <a:pPr marL="285750" lvl="1" indent="-285750">
              <a:lnSpc>
                <a:spcPct val="110000"/>
              </a:lnSpc>
              <a:buClr>
                <a:schemeClr val="tx2"/>
              </a:buClr>
              <a:buSzPct val="130000"/>
            </a:pPr>
            <a:r>
              <a:rPr lang="en-GB" sz="1100" dirty="0">
                <a:cs typeface="Arial" pitchFamily="34" charset="0"/>
              </a:rPr>
              <a:t>Diversified base across technologies and markets</a:t>
            </a:r>
          </a:p>
          <a:p>
            <a:pPr marL="285750" lvl="1" indent="-285750">
              <a:lnSpc>
                <a:spcPct val="110000"/>
              </a:lnSpc>
              <a:spcAft>
                <a:spcPts val="0"/>
              </a:spcAft>
              <a:buClr>
                <a:schemeClr val="tx2"/>
              </a:buClr>
              <a:buSzPct val="130000"/>
            </a:pPr>
            <a:r>
              <a:rPr lang="en-GB" sz="1100" dirty="0">
                <a:cs typeface="Arial" pitchFamily="34" charset="0"/>
              </a:rPr>
              <a:t>Strong capabilities in construction, operations and maintenance</a:t>
            </a:r>
            <a:endParaRPr lang="en-US" sz="1200" dirty="0">
              <a:cs typeface="Arial" pitchFamily="34" charset="0"/>
            </a:endParaRPr>
          </a:p>
        </p:txBody>
      </p:sp>
      <p:sp>
        <p:nvSpPr>
          <p:cNvPr id="26" name="Inhaltsplatzhalter 2"/>
          <p:cNvSpPr txBox="1">
            <a:spLocks/>
          </p:cNvSpPr>
          <p:nvPr/>
        </p:nvSpPr>
        <p:spPr>
          <a:xfrm>
            <a:off x="4576853" y="2910235"/>
            <a:ext cx="4063147" cy="1408060"/>
          </a:xfrm>
          <a:prstGeom prst="rect">
            <a:avLst/>
          </a:prstGeom>
          <a:solidFill>
            <a:srgbClr val="E6F4FE"/>
          </a:solidFill>
        </p:spPr>
        <p:txBody>
          <a:bodyPr vert="horz" lIns="72000" tIns="0" rIns="0" bIns="0" rtlCol="0" anchor="ctr" anchorCtr="0">
            <a:noAutofit/>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pPr marL="285750" lvl="1" indent="-285750">
              <a:lnSpc>
                <a:spcPct val="110000"/>
              </a:lnSpc>
              <a:buClr>
                <a:srgbClr val="ED8C1C"/>
              </a:buClr>
              <a:buSzPct val="130000"/>
            </a:pPr>
            <a:r>
              <a:rPr lang="en-GB" sz="1100" dirty="0">
                <a:cs typeface="Arial" pitchFamily="34" charset="0"/>
              </a:rPr>
              <a:t>Leading physical energy trader, global footprint</a:t>
            </a:r>
          </a:p>
          <a:p>
            <a:pPr marL="285750" lvl="1" indent="-285750">
              <a:lnSpc>
                <a:spcPct val="110000"/>
              </a:lnSpc>
              <a:buClr>
                <a:srgbClr val="ED8C1C"/>
              </a:buClr>
              <a:buSzPct val="130000"/>
            </a:pPr>
            <a:r>
              <a:rPr lang="en-GB" sz="1100" dirty="0">
                <a:cs typeface="Arial" pitchFamily="34" charset="0"/>
              </a:rPr>
              <a:t>Large gas midstream business in Europe with more </a:t>
            </a:r>
            <a:br>
              <a:rPr lang="en-GB" sz="1100" dirty="0">
                <a:cs typeface="Arial" pitchFamily="34" charset="0"/>
              </a:rPr>
            </a:br>
            <a:r>
              <a:rPr lang="en-GB" sz="1100" dirty="0">
                <a:cs typeface="Arial" pitchFamily="34" charset="0"/>
              </a:rPr>
              <a:t>than 400 </a:t>
            </a:r>
            <a:r>
              <a:rPr lang="en-GB" sz="1100" dirty="0" err="1">
                <a:cs typeface="Arial" pitchFamily="34" charset="0"/>
              </a:rPr>
              <a:t>TWh</a:t>
            </a:r>
            <a:r>
              <a:rPr lang="en-GB" sz="1100" dirty="0">
                <a:cs typeface="Arial" pitchFamily="34" charset="0"/>
              </a:rPr>
              <a:t> gas LTC portfolio, own storage capacity</a:t>
            </a:r>
            <a:br>
              <a:rPr lang="en-GB" sz="1100" dirty="0">
                <a:cs typeface="Arial" pitchFamily="34" charset="0"/>
              </a:rPr>
            </a:br>
            <a:r>
              <a:rPr lang="en-GB" sz="1100" dirty="0">
                <a:cs typeface="Arial" pitchFamily="34" charset="0"/>
              </a:rPr>
              <a:t>of 8.2 </a:t>
            </a:r>
            <a:r>
              <a:rPr lang="en-GB" sz="1100" dirty="0" err="1">
                <a:cs typeface="Arial" pitchFamily="34" charset="0"/>
              </a:rPr>
              <a:t>bcm</a:t>
            </a:r>
            <a:r>
              <a:rPr lang="en-GB" sz="1100" dirty="0">
                <a:cs typeface="Arial" pitchFamily="34" charset="0"/>
              </a:rPr>
              <a:t> and pipeline shareholdings</a:t>
            </a:r>
          </a:p>
          <a:p>
            <a:pPr marL="285750" lvl="1" indent="-285750">
              <a:lnSpc>
                <a:spcPct val="110000"/>
              </a:lnSpc>
              <a:spcAft>
                <a:spcPts val="0"/>
              </a:spcAft>
              <a:buClr>
                <a:srgbClr val="ED8C1C"/>
              </a:buClr>
              <a:buSzPct val="130000"/>
            </a:pPr>
            <a:r>
              <a:rPr lang="en-US" sz="1100" dirty="0">
                <a:cs typeface="Arial" pitchFamily="34" charset="0"/>
              </a:rPr>
              <a:t>Optimization of European Generation portfolio</a:t>
            </a:r>
            <a:endParaRPr lang="en-GB" sz="1400" dirty="0">
              <a:cs typeface="Arial" pitchFamily="34" charset="0"/>
            </a:endParaRPr>
          </a:p>
        </p:txBody>
      </p:sp>
      <p:sp>
        <p:nvSpPr>
          <p:cNvPr id="27" name="Inhaltsplatzhalter 2"/>
          <p:cNvSpPr txBox="1">
            <a:spLocks/>
          </p:cNvSpPr>
          <p:nvPr/>
        </p:nvSpPr>
        <p:spPr>
          <a:xfrm>
            <a:off x="4569700" y="4446419"/>
            <a:ext cx="3890488" cy="1420053"/>
          </a:xfrm>
          <a:prstGeom prst="rect">
            <a:avLst/>
          </a:prstGeom>
          <a:solidFill>
            <a:srgbClr val="E6F4FE"/>
          </a:solidFill>
        </p:spPr>
        <p:txBody>
          <a:bodyPr vert="horz" lIns="72000" tIns="0" rIns="0" bIns="0" rtlCol="0" anchor="ctr" anchorCtr="0">
            <a:noAutofit/>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pPr marL="285750" lvl="1" indent="-285750">
              <a:lnSpc>
                <a:spcPct val="110000"/>
              </a:lnSpc>
              <a:buClr>
                <a:srgbClr val="69AB46"/>
              </a:buClr>
              <a:buSzPct val="130000"/>
            </a:pPr>
            <a:r>
              <a:rPr lang="en-GB" sz="1100" dirty="0">
                <a:cs typeface="Arial" pitchFamily="34" charset="0"/>
              </a:rPr>
              <a:t>Primarily power business in Russia</a:t>
            </a:r>
          </a:p>
          <a:p>
            <a:pPr marL="285750" lvl="1" indent="-285750">
              <a:lnSpc>
                <a:spcPct val="110000"/>
              </a:lnSpc>
              <a:buClr>
                <a:srgbClr val="69AB46"/>
              </a:buClr>
              <a:buSzPct val="130000"/>
            </a:pPr>
            <a:r>
              <a:rPr lang="en-GB" sz="1100" dirty="0" err="1">
                <a:cs typeface="Arial" pitchFamily="34" charset="0"/>
              </a:rPr>
              <a:t>Unipro</a:t>
            </a:r>
            <a:r>
              <a:rPr lang="en-GB" sz="1100" dirty="0">
                <a:cs typeface="Arial" pitchFamily="34" charset="0"/>
              </a:rPr>
              <a:t> as number 3 privately-owned Russian generation company</a:t>
            </a:r>
          </a:p>
          <a:p>
            <a:pPr marL="285750" lvl="1" indent="-285750">
              <a:lnSpc>
                <a:spcPct val="110000"/>
              </a:lnSpc>
              <a:spcAft>
                <a:spcPts val="0"/>
              </a:spcAft>
              <a:buClr>
                <a:srgbClr val="69AB46"/>
              </a:buClr>
              <a:buSzPct val="130000"/>
            </a:pPr>
            <a:r>
              <a:rPr lang="en-GB" sz="1100" dirty="0">
                <a:cs typeface="Arial" pitchFamily="34" charset="0"/>
              </a:rPr>
              <a:t>11 GW of generation assets</a:t>
            </a:r>
          </a:p>
        </p:txBody>
      </p:sp>
      <p:sp>
        <p:nvSpPr>
          <p:cNvPr id="29" name="Textfeld 28"/>
          <p:cNvSpPr txBox="1"/>
          <p:nvPr/>
        </p:nvSpPr>
        <p:spPr>
          <a:xfrm>
            <a:off x="5447490" y="6257925"/>
            <a:ext cx="2506556" cy="240092"/>
          </a:xfrm>
          <a:prstGeom prst="rect">
            <a:avLst/>
          </a:prstGeom>
          <a:ln>
            <a:noFill/>
          </a:ln>
        </p:spPr>
        <p:style>
          <a:lnRef idx="2">
            <a:schemeClr val="accent5"/>
          </a:lnRef>
          <a:fillRef idx="1">
            <a:schemeClr val="lt1"/>
          </a:fillRef>
          <a:effectRef idx="0">
            <a:schemeClr val="accent5"/>
          </a:effectRef>
          <a:fontRef idx="minor">
            <a:schemeClr val="dk1"/>
          </a:fontRef>
        </p:style>
        <p:txBody>
          <a:bodyPr vert="horz" wrap="square" lIns="0" tIns="0" rIns="0" bIns="0" rtlCol="0" anchor="b">
            <a:noAutofit/>
          </a:bodyPr>
          <a:lstStyle/>
          <a:p>
            <a:pPr algn="r"/>
            <a:r>
              <a:rPr lang="de-DE" sz="800" dirty="0">
                <a:solidFill>
                  <a:srgbClr val="0078DC"/>
                </a:solidFill>
              </a:rPr>
              <a:t/>
            </a:r>
            <a:br>
              <a:rPr lang="de-DE" sz="800" dirty="0">
                <a:solidFill>
                  <a:srgbClr val="0078DC"/>
                </a:solidFill>
              </a:rPr>
            </a:br>
            <a:r>
              <a:rPr lang="de-DE" sz="800" dirty="0">
                <a:solidFill>
                  <a:srgbClr val="0078DC"/>
                </a:solidFill>
              </a:rPr>
              <a:t>Capital </a:t>
            </a:r>
            <a:r>
              <a:rPr lang="de-DE" sz="800" dirty="0" err="1">
                <a:solidFill>
                  <a:srgbClr val="0078DC"/>
                </a:solidFill>
              </a:rPr>
              <a:t>Markets</a:t>
            </a:r>
            <a:r>
              <a:rPr lang="de-DE" sz="800" dirty="0">
                <a:solidFill>
                  <a:srgbClr val="0078DC"/>
                </a:solidFill>
              </a:rPr>
              <a:t> Story, Aug - </a:t>
            </a:r>
            <a:r>
              <a:rPr lang="de-DE" sz="800" dirty="0" err="1">
                <a:solidFill>
                  <a:srgbClr val="0078DC"/>
                </a:solidFill>
              </a:rPr>
              <a:t>Oct</a:t>
            </a:r>
            <a:r>
              <a:rPr lang="de-DE" sz="800" dirty="0">
                <a:solidFill>
                  <a:srgbClr val="0078DC"/>
                </a:solidFill>
              </a:rPr>
              <a:t> 2018</a:t>
            </a:r>
          </a:p>
        </p:txBody>
      </p:sp>
    </p:spTree>
    <p:extLst>
      <p:ext uri="{BB962C8B-B14F-4D97-AF65-F5344CB8AC3E}">
        <p14:creationId xmlns:p14="http://schemas.microsoft.com/office/powerpoint/2010/main" val="28808611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D3320AF5-CD33-4111-91F2-FBAF2445EC63}"/>
              </a:ext>
            </a:extLst>
          </p:cNvPr>
          <p:cNvSpPr>
            <a:spLocks noGrp="1"/>
          </p:cNvSpPr>
          <p:nvPr>
            <p:ph type="title"/>
          </p:nvPr>
        </p:nvSpPr>
        <p:spPr/>
        <p:txBody>
          <a:bodyPr/>
          <a:lstStyle/>
          <a:p>
            <a:r>
              <a:rPr lang="de-DE" sz="2400" dirty="0"/>
              <a:t>Global Commodities – Strong </a:t>
            </a:r>
            <a:r>
              <a:rPr lang="de-DE" sz="2400" dirty="0" err="1"/>
              <a:t>asset</a:t>
            </a:r>
            <a:r>
              <a:rPr lang="de-DE" sz="2400" dirty="0"/>
              <a:t> </a:t>
            </a:r>
            <a:r>
              <a:rPr lang="de-DE" sz="2400" dirty="0" err="1"/>
              <a:t>base</a:t>
            </a:r>
            <a:r>
              <a:rPr lang="de-DE" sz="2400" dirty="0"/>
              <a:t> </a:t>
            </a:r>
            <a:r>
              <a:rPr lang="de-DE" sz="2400" dirty="0" err="1"/>
              <a:t>along</a:t>
            </a:r>
            <a:r>
              <a:rPr lang="de-DE" sz="2400" dirty="0"/>
              <a:t> </a:t>
            </a:r>
            <a:r>
              <a:rPr lang="de-DE" sz="2400" dirty="0" err="1"/>
              <a:t>the</a:t>
            </a:r>
            <a:r>
              <a:rPr lang="de-DE" sz="2400" dirty="0"/>
              <a:t> </a:t>
            </a:r>
            <a:r>
              <a:rPr lang="de-DE" sz="2400" dirty="0" err="1"/>
              <a:t>entire</a:t>
            </a:r>
            <a:r>
              <a:rPr lang="de-DE" sz="2400" dirty="0"/>
              <a:t> gas </a:t>
            </a:r>
            <a:r>
              <a:rPr lang="de-DE" sz="2400" dirty="0" err="1"/>
              <a:t>value</a:t>
            </a:r>
            <a:r>
              <a:rPr lang="de-DE" sz="2400" dirty="0"/>
              <a:t> </a:t>
            </a:r>
            <a:r>
              <a:rPr lang="de-DE" sz="2400" dirty="0" err="1"/>
              <a:t>chain</a:t>
            </a:r>
            <a:endParaRPr lang="de-DE" sz="2400" dirty="0"/>
          </a:p>
        </p:txBody>
      </p:sp>
      <p:sp>
        <p:nvSpPr>
          <p:cNvPr id="4" name="Foliennummernplatzhalter 3">
            <a:extLst>
              <a:ext uri="{FF2B5EF4-FFF2-40B4-BE49-F238E27FC236}">
                <a16:creationId xmlns:a16="http://schemas.microsoft.com/office/drawing/2014/main" xmlns="" id="{F606B806-AA5F-417E-9AFA-5D325FB4D418}"/>
              </a:ext>
            </a:extLst>
          </p:cNvPr>
          <p:cNvSpPr>
            <a:spLocks noGrp="1"/>
          </p:cNvSpPr>
          <p:nvPr>
            <p:ph type="sldNum" sz="quarter" idx="12"/>
          </p:nvPr>
        </p:nvSpPr>
        <p:spPr/>
        <p:txBody>
          <a:bodyPr/>
          <a:lstStyle/>
          <a:p>
            <a:r>
              <a:rPr lang="de-DE" dirty="0"/>
              <a:t>Intro C</a:t>
            </a:r>
          </a:p>
        </p:txBody>
      </p:sp>
      <p:sp>
        <p:nvSpPr>
          <p:cNvPr id="7" name="Textfeld 6">
            <a:extLst>
              <a:ext uri="{FF2B5EF4-FFF2-40B4-BE49-F238E27FC236}">
                <a16:creationId xmlns:a16="http://schemas.microsoft.com/office/drawing/2014/main" xmlns="" id="{F838B721-8F8B-48FB-8335-47CBA7185050}"/>
              </a:ext>
            </a:extLst>
          </p:cNvPr>
          <p:cNvSpPr txBox="1"/>
          <p:nvPr/>
        </p:nvSpPr>
        <p:spPr>
          <a:xfrm>
            <a:off x="1439865" y="6062995"/>
            <a:ext cx="582211" cy="400110"/>
          </a:xfrm>
          <a:prstGeom prst="rect">
            <a:avLst/>
          </a:prstGeom>
          <a:noFill/>
        </p:spPr>
        <p:txBody>
          <a:bodyPr wrap="none" rtlCol="0">
            <a:spAutoFit/>
          </a:bodyPr>
          <a:lstStyle/>
          <a:p>
            <a:pPr>
              <a:lnSpc>
                <a:spcPts val="2400"/>
              </a:lnSpc>
            </a:pPr>
            <a:r>
              <a:rPr lang="en-US" sz="1400" b="1" dirty="0">
                <a:solidFill>
                  <a:schemeClr val="bg1"/>
                </a:solidFill>
              </a:rPr>
              <a:t>2016</a:t>
            </a:r>
          </a:p>
        </p:txBody>
      </p:sp>
      <p:sp>
        <p:nvSpPr>
          <p:cNvPr id="103" name="Textfeld 7">
            <a:extLst>
              <a:ext uri="{FF2B5EF4-FFF2-40B4-BE49-F238E27FC236}">
                <a16:creationId xmlns:a16="http://schemas.microsoft.com/office/drawing/2014/main" xmlns="" id="{E53377E3-7B45-4E8A-8BF5-9EE0D357D4CD}"/>
              </a:ext>
            </a:extLst>
          </p:cNvPr>
          <p:cNvSpPr txBox="1"/>
          <p:nvPr/>
        </p:nvSpPr>
        <p:spPr bwMode="gray">
          <a:xfrm>
            <a:off x="1483552" y="6079429"/>
            <a:ext cx="3790163" cy="414020"/>
          </a:xfrm>
          <a:prstGeom prst="rect">
            <a:avLst/>
          </a:prstGeom>
          <a:noFill/>
        </p:spPr>
        <p:txBody>
          <a:bodyPr vert="horz" wrap="square" lIns="0" tIns="0" rIns="0" bIns="0" rtlCol="0" anchor="b">
            <a:noAutofit/>
          </a:bodyPr>
          <a:lstStyle/>
          <a:p>
            <a:pPr>
              <a:spcAft>
                <a:spcPts val="200"/>
              </a:spcAft>
            </a:pPr>
            <a:r>
              <a:rPr lang="en-US" sz="800" dirty="0">
                <a:solidFill>
                  <a:srgbClr val="5E5E5E"/>
                </a:solidFill>
              </a:rPr>
              <a:t/>
            </a:r>
            <a:br>
              <a:rPr lang="en-US" sz="800" dirty="0">
                <a:solidFill>
                  <a:srgbClr val="5E5E5E"/>
                </a:solidFill>
              </a:rPr>
            </a:br>
            <a:r>
              <a:rPr lang="en-US" sz="800" dirty="0">
                <a:solidFill>
                  <a:srgbClr val="5E5E5E"/>
                </a:solidFill>
              </a:rPr>
              <a:t>1. Reflecting annual contracted quantity (ACQ) and not minimum offtake obligation.</a:t>
            </a:r>
          </a:p>
          <a:p>
            <a:pPr>
              <a:spcAft>
                <a:spcPts val="200"/>
              </a:spcAft>
            </a:pPr>
            <a:r>
              <a:rPr lang="en-GB" sz="800" dirty="0">
                <a:solidFill>
                  <a:srgbClr val="5E5E5E"/>
                </a:solidFill>
              </a:rPr>
              <a:t>2. Volume depending on gas to power demand and temperatures</a:t>
            </a:r>
            <a:r>
              <a:rPr lang="en-US" sz="800" dirty="0">
                <a:solidFill>
                  <a:srgbClr val="5E5E5E"/>
                </a:solidFill>
              </a:rPr>
              <a:t>.</a:t>
            </a:r>
          </a:p>
        </p:txBody>
      </p:sp>
      <p:sp>
        <p:nvSpPr>
          <p:cNvPr id="63" name="Textfeld 62">
            <a:extLst>
              <a:ext uri="{FF2B5EF4-FFF2-40B4-BE49-F238E27FC236}">
                <a16:creationId xmlns:a16="http://schemas.microsoft.com/office/drawing/2014/main" xmlns="" id="{A231C4E9-36DC-4642-921D-D9D29AD99F65}"/>
              </a:ext>
            </a:extLst>
          </p:cNvPr>
          <p:cNvSpPr txBox="1"/>
          <p:nvPr/>
        </p:nvSpPr>
        <p:spPr>
          <a:xfrm>
            <a:off x="5447490" y="6257925"/>
            <a:ext cx="2506556" cy="240092"/>
          </a:xfrm>
          <a:prstGeom prst="rect">
            <a:avLst/>
          </a:prstGeom>
          <a:ln>
            <a:noFill/>
          </a:ln>
        </p:spPr>
        <p:style>
          <a:lnRef idx="2">
            <a:schemeClr val="accent5"/>
          </a:lnRef>
          <a:fillRef idx="1">
            <a:schemeClr val="lt1"/>
          </a:fillRef>
          <a:effectRef idx="0">
            <a:schemeClr val="accent5"/>
          </a:effectRef>
          <a:fontRef idx="minor">
            <a:schemeClr val="dk1"/>
          </a:fontRef>
        </p:style>
        <p:txBody>
          <a:bodyPr vert="horz" wrap="square" lIns="0" tIns="0" rIns="0" bIns="0" rtlCol="0" anchor="b">
            <a:noAutofit/>
          </a:bodyPr>
          <a:lstStyle/>
          <a:p>
            <a:pPr algn="r"/>
            <a:r>
              <a:rPr lang="de-DE" sz="800" dirty="0">
                <a:solidFill>
                  <a:srgbClr val="0078DC"/>
                </a:solidFill>
              </a:rPr>
              <a:t/>
            </a:r>
            <a:br>
              <a:rPr lang="de-DE" sz="800" dirty="0">
                <a:solidFill>
                  <a:srgbClr val="0078DC"/>
                </a:solidFill>
              </a:rPr>
            </a:br>
            <a:r>
              <a:rPr lang="de-DE" sz="800" dirty="0">
                <a:solidFill>
                  <a:srgbClr val="0078DC"/>
                </a:solidFill>
              </a:rPr>
              <a:t>Capital </a:t>
            </a:r>
            <a:r>
              <a:rPr lang="de-DE" sz="800" dirty="0" err="1">
                <a:solidFill>
                  <a:srgbClr val="0078DC"/>
                </a:solidFill>
              </a:rPr>
              <a:t>Markets</a:t>
            </a:r>
            <a:r>
              <a:rPr lang="de-DE" sz="800" dirty="0">
                <a:solidFill>
                  <a:srgbClr val="0078DC"/>
                </a:solidFill>
              </a:rPr>
              <a:t> Story, Aug - </a:t>
            </a:r>
            <a:r>
              <a:rPr lang="de-DE" sz="800" dirty="0" err="1">
                <a:solidFill>
                  <a:srgbClr val="0078DC"/>
                </a:solidFill>
              </a:rPr>
              <a:t>Oct</a:t>
            </a:r>
            <a:r>
              <a:rPr lang="de-DE" sz="800" dirty="0">
                <a:solidFill>
                  <a:srgbClr val="0078DC"/>
                </a:solidFill>
              </a:rPr>
              <a:t> 2018</a:t>
            </a:r>
          </a:p>
        </p:txBody>
      </p:sp>
      <p:sp>
        <p:nvSpPr>
          <p:cNvPr id="65" name="Rechteck 20">
            <a:extLst>
              <a:ext uri="{FF2B5EF4-FFF2-40B4-BE49-F238E27FC236}">
                <a16:creationId xmlns:a16="http://schemas.microsoft.com/office/drawing/2014/main" xmlns="" id="{506AAA5E-473E-4657-A554-C36ABB4F882B}"/>
              </a:ext>
            </a:extLst>
          </p:cNvPr>
          <p:cNvSpPr/>
          <p:nvPr/>
        </p:nvSpPr>
        <p:spPr bwMode="gray">
          <a:xfrm>
            <a:off x="5428490" y="1780673"/>
            <a:ext cx="1530304" cy="4094418"/>
          </a:xfrm>
          <a:prstGeom prst="rect">
            <a:avLst/>
          </a:prstGeom>
          <a:solidFill>
            <a:srgbClr val="E6F4FE"/>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1296000" rIns="90000" bIns="36000" rtlCol="0" anchor="t" anchorCtr="0"/>
          <a:lstStyle/>
          <a:p>
            <a:pPr marL="179388" lvl="1" indent="-179388" fontAlgn="base">
              <a:spcAft>
                <a:spcPts val="300"/>
              </a:spcAft>
              <a:buClr>
                <a:srgbClr val="0078DC"/>
              </a:buClr>
              <a:buSzPct val="100000"/>
              <a:buFont typeface="Wingdings"/>
              <a:buChar char=""/>
            </a:pPr>
            <a:r>
              <a:rPr lang="en-US" sz="1050" dirty="0">
                <a:solidFill>
                  <a:srgbClr val="5E5E5E"/>
                </a:solidFill>
              </a:rPr>
              <a:t>#3 storage player in Europe with a flexible, diversified storage portfolio</a:t>
            </a:r>
          </a:p>
          <a:p>
            <a:pPr marL="179388" lvl="1" indent="-179388" fontAlgn="base">
              <a:spcAft>
                <a:spcPts val="300"/>
              </a:spcAft>
              <a:buClr>
                <a:srgbClr val="0078DC"/>
              </a:buClr>
              <a:buSzPct val="100000"/>
              <a:buFont typeface="Wingdings"/>
              <a:buChar char=""/>
            </a:pPr>
            <a:r>
              <a:rPr lang="en-US" sz="1050" dirty="0">
                <a:solidFill>
                  <a:srgbClr val="5E5E5E"/>
                </a:solidFill>
              </a:rPr>
              <a:t>8.2 </a:t>
            </a:r>
            <a:r>
              <a:rPr lang="en-US" sz="1050" dirty="0" err="1">
                <a:solidFill>
                  <a:srgbClr val="5E5E5E"/>
                </a:solidFill>
              </a:rPr>
              <a:t>bcm</a:t>
            </a:r>
            <a:r>
              <a:rPr lang="en-US" sz="1050" dirty="0">
                <a:solidFill>
                  <a:srgbClr val="5E5E5E"/>
                </a:solidFill>
              </a:rPr>
              <a:t> of storage capacity</a:t>
            </a:r>
          </a:p>
        </p:txBody>
      </p:sp>
      <p:sp>
        <p:nvSpPr>
          <p:cNvPr id="66" name="Rechteck 20">
            <a:extLst>
              <a:ext uri="{FF2B5EF4-FFF2-40B4-BE49-F238E27FC236}">
                <a16:creationId xmlns:a16="http://schemas.microsoft.com/office/drawing/2014/main" xmlns="" id="{70823E1F-9BF6-4AD6-A3AE-D2DB954E8D41}"/>
              </a:ext>
            </a:extLst>
          </p:cNvPr>
          <p:cNvSpPr/>
          <p:nvPr/>
        </p:nvSpPr>
        <p:spPr bwMode="gray">
          <a:xfrm>
            <a:off x="3770886" y="1780673"/>
            <a:ext cx="1579375" cy="4094418"/>
          </a:xfrm>
          <a:prstGeom prst="rect">
            <a:avLst/>
          </a:prstGeom>
          <a:solidFill>
            <a:srgbClr val="E6F4FE"/>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1296000" rIns="90000" bIns="36000" rtlCol="0" anchor="t" anchorCtr="0"/>
          <a:lstStyle/>
          <a:p>
            <a:pPr marL="179388" lvl="1" indent="-179388" fontAlgn="base">
              <a:spcAft>
                <a:spcPts val="300"/>
              </a:spcAft>
              <a:buClr>
                <a:srgbClr val="0078DC"/>
              </a:buClr>
              <a:buSzPct val="100000"/>
              <a:buFont typeface="Wingdings"/>
              <a:buChar char=""/>
            </a:pPr>
            <a:r>
              <a:rPr lang="en-GB" sz="1050" dirty="0">
                <a:solidFill>
                  <a:srgbClr val="5E5E5E"/>
                </a:solidFill>
              </a:rPr>
              <a:t>Shareholdings in major European transit pipelines</a:t>
            </a:r>
          </a:p>
          <a:p>
            <a:pPr marL="179388" lvl="1" indent="-179388" fontAlgn="base">
              <a:spcAft>
                <a:spcPts val="200"/>
              </a:spcAft>
              <a:buClr>
                <a:srgbClr val="0078DC"/>
              </a:buClr>
              <a:buSzPct val="100000"/>
              <a:buFont typeface="Wingdings"/>
              <a:buChar char=""/>
            </a:pPr>
            <a:r>
              <a:rPr lang="en-GB" sz="1050" dirty="0">
                <a:solidFill>
                  <a:srgbClr val="5E5E5E"/>
                </a:solidFill>
              </a:rPr>
              <a:t>Bookings across Europe:</a:t>
            </a:r>
          </a:p>
          <a:p>
            <a:pPr marL="268288" lvl="1" indent="-88900" fontAlgn="base">
              <a:buClr>
                <a:srgbClr val="0078DC"/>
              </a:buClr>
              <a:buSzPct val="100000"/>
              <a:buFont typeface="Wingdings"/>
              <a:buChar char=""/>
            </a:pPr>
            <a:r>
              <a:rPr lang="en-GB" sz="1050" dirty="0">
                <a:solidFill>
                  <a:srgbClr val="5E5E5E"/>
                </a:solidFill>
              </a:rPr>
              <a:t>Hub-to-hub</a:t>
            </a:r>
          </a:p>
          <a:p>
            <a:pPr marL="268288" lvl="1" indent="-88900" fontAlgn="base">
              <a:buClr>
                <a:srgbClr val="0078DC"/>
              </a:buClr>
              <a:buSzPct val="100000"/>
              <a:buFont typeface="Wingdings"/>
              <a:buChar char=""/>
            </a:pPr>
            <a:r>
              <a:rPr lang="en-GB" sz="1050" dirty="0">
                <a:solidFill>
                  <a:srgbClr val="5E5E5E"/>
                </a:solidFill>
              </a:rPr>
              <a:t>Market entry-exit</a:t>
            </a:r>
          </a:p>
          <a:p>
            <a:pPr marL="268288" lvl="1" indent="-88900" fontAlgn="base">
              <a:buClr>
                <a:srgbClr val="0078DC"/>
              </a:buClr>
              <a:buSzPct val="100000"/>
              <a:buFont typeface="Wingdings"/>
              <a:buChar char=""/>
            </a:pPr>
            <a:r>
              <a:rPr lang="en-GB" sz="1050" dirty="0">
                <a:solidFill>
                  <a:srgbClr val="5E5E5E"/>
                </a:solidFill>
              </a:rPr>
              <a:t>Storage entry-exit</a:t>
            </a:r>
            <a:endParaRPr lang="en-US" sz="1000" dirty="0">
              <a:solidFill>
                <a:srgbClr val="5E5E5E"/>
              </a:solidFill>
            </a:endParaRPr>
          </a:p>
        </p:txBody>
      </p:sp>
      <p:sp>
        <p:nvSpPr>
          <p:cNvPr id="67" name="Rechteck 20">
            <a:extLst>
              <a:ext uri="{FF2B5EF4-FFF2-40B4-BE49-F238E27FC236}">
                <a16:creationId xmlns:a16="http://schemas.microsoft.com/office/drawing/2014/main" xmlns="" id="{F7BCD602-CA7B-4655-B36B-A03C9179F669}"/>
              </a:ext>
            </a:extLst>
          </p:cNvPr>
          <p:cNvSpPr/>
          <p:nvPr/>
        </p:nvSpPr>
        <p:spPr bwMode="gray">
          <a:xfrm>
            <a:off x="2174034" y="1780673"/>
            <a:ext cx="1537917" cy="4094418"/>
          </a:xfrm>
          <a:prstGeom prst="rect">
            <a:avLst/>
          </a:prstGeom>
          <a:solidFill>
            <a:srgbClr val="E6F4FE"/>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1296000" rIns="90000" bIns="36000" rtlCol="0" anchor="t" anchorCtr="0"/>
          <a:lstStyle/>
          <a:p>
            <a:pPr marL="179388" lvl="1" indent="-179388" fontAlgn="base">
              <a:spcAft>
                <a:spcPts val="300"/>
              </a:spcAft>
              <a:buClr>
                <a:srgbClr val="0078DC"/>
              </a:buClr>
              <a:buSzPct val="100000"/>
              <a:buFont typeface="Wingdings"/>
              <a:buChar char=""/>
            </a:pPr>
            <a:r>
              <a:rPr lang="en-US" sz="1050" dirty="0">
                <a:solidFill>
                  <a:srgbClr val="5E5E5E"/>
                </a:solidFill>
              </a:rPr>
              <a:t>Shareholdings in OLT Regasification terminal with regulated earnings</a:t>
            </a:r>
          </a:p>
          <a:p>
            <a:pPr marL="179388" lvl="1" indent="-179388" fontAlgn="base">
              <a:spcAft>
                <a:spcPts val="300"/>
              </a:spcAft>
              <a:buClr>
                <a:srgbClr val="0078DC"/>
              </a:buClr>
              <a:buSzPct val="100000"/>
              <a:buFont typeface="Wingdings"/>
              <a:buChar char=""/>
            </a:pPr>
            <a:r>
              <a:rPr lang="en-US" sz="1050" dirty="0">
                <a:solidFill>
                  <a:srgbClr val="5E5E5E"/>
                </a:solidFill>
              </a:rPr>
              <a:t>LNG bookings in Gate and Grain and access to terminals in Spain with the ability to bring additional volumes into the market</a:t>
            </a:r>
          </a:p>
        </p:txBody>
      </p:sp>
      <p:sp>
        <p:nvSpPr>
          <p:cNvPr id="68" name="Rechteck 20">
            <a:extLst>
              <a:ext uri="{FF2B5EF4-FFF2-40B4-BE49-F238E27FC236}">
                <a16:creationId xmlns:a16="http://schemas.microsoft.com/office/drawing/2014/main" xmlns="" id="{F016C3D8-F91E-4BC8-B9AA-83A842F09187}"/>
              </a:ext>
            </a:extLst>
          </p:cNvPr>
          <p:cNvSpPr/>
          <p:nvPr/>
        </p:nvSpPr>
        <p:spPr bwMode="gray">
          <a:xfrm>
            <a:off x="525180" y="1780674"/>
            <a:ext cx="1574036" cy="4094417"/>
          </a:xfrm>
          <a:prstGeom prst="rect">
            <a:avLst/>
          </a:prstGeom>
          <a:solidFill>
            <a:srgbClr val="E6F4FE"/>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1296000" rIns="90000" bIns="36000" rtlCol="0" anchor="t" anchorCtr="0"/>
          <a:lstStyle/>
          <a:p>
            <a:pPr marL="179388" lvl="1" indent="-179388" fontAlgn="base">
              <a:spcAft>
                <a:spcPts val="300"/>
              </a:spcAft>
              <a:buClr>
                <a:srgbClr val="0078DC"/>
              </a:buClr>
              <a:buSzPct val="100000"/>
              <a:buFont typeface="Wingdings"/>
              <a:buChar char=""/>
            </a:pPr>
            <a:r>
              <a:rPr lang="en-US" sz="1050" dirty="0">
                <a:solidFill>
                  <a:srgbClr val="5E5E5E"/>
                </a:solidFill>
              </a:rPr>
              <a:t>Procurement of in total ~1,700 </a:t>
            </a:r>
            <a:r>
              <a:rPr lang="en-US" sz="1050" dirty="0" err="1">
                <a:solidFill>
                  <a:srgbClr val="5E5E5E"/>
                </a:solidFill>
              </a:rPr>
              <a:t>TWh</a:t>
            </a:r>
            <a:r>
              <a:rPr lang="en-US" sz="1050" dirty="0">
                <a:solidFill>
                  <a:srgbClr val="5E5E5E"/>
                </a:solidFill>
              </a:rPr>
              <a:t> from domestic and foreign producers</a:t>
            </a:r>
          </a:p>
          <a:p>
            <a:pPr marL="179388" lvl="1" indent="-179388" fontAlgn="base">
              <a:spcAft>
                <a:spcPts val="300"/>
              </a:spcAft>
              <a:buClr>
                <a:srgbClr val="0078DC"/>
              </a:buClr>
              <a:buSzPct val="100000"/>
              <a:buFont typeface="Wingdings"/>
              <a:buChar char=""/>
            </a:pPr>
            <a:r>
              <a:rPr lang="en-US" sz="1050" dirty="0">
                <a:solidFill>
                  <a:srgbClr val="5E5E5E"/>
                </a:solidFill>
              </a:rPr>
              <a:t>Thereof ~400 </a:t>
            </a:r>
            <a:r>
              <a:rPr lang="en-US" sz="1050" dirty="0" err="1">
                <a:solidFill>
                  <a:srgbClr val="5E5E5E"/>
                </a:solidFill>
              </a:rPr>
              <a:t>TWh</a:t>
            </a:r>
            <a:r>
              <a:rPr lang="en-US" sz="1050" dirty="0">
                <a:solidFill>
                  <a:srgbClr val="5E5E5E"/>
                </a:solidFill>
              </a:rPr>
              <a:t> contracted long-term with time and volume flex</a:t>
            </a:r>
          </a:p>
          <a:p>
            <a:pPr marL="179388" lvl="1" indent="-179388" fontAlgn="base">
              <a:spcAft>
                <a:spcPts val="300"/>
              </a:spcAft>
              <a:buClr>
                <a:srgbClr val="0078DC"/>
              </a:buClr>
              <a:buSzPct val="100000"/>
              <a:buFont typeface="Wingdings"/>
              <a:buChar char=""/>
            </a:pPr>
            <a:r>
              <a:rPr lang="en-US" sz="1050" dirty="0">
                <a:solidFill>
                  <a:srgbClr val="5E5E5E"/>
                </a:solidFill>
              </a:rPr>
              <a:t>Market-reflective pricing</a:t>
            </a:r>
          </a:p>
          <a:p>
            <a:pPr marL="180975" lvl="1" indent="-180975" fontAlgn="base">
              <a:spcBef>
                <a:spcPts val="400"/>
              </a:spcBef>
              <a:spcAft>
                <a:spcPts val="400"/>
              </a:spcAft>
              <a:buClr>
                <a:srgbClr val="0078DC"/>
              </a:buClr>
              <a:buSzPct val="100000"/>
              <a:buFont typeface="Wingdings"/>
              <a:buChar char=""/>
            </a:pPr>
            <a:endParaRPr lang="en-US" sz="1000" dirty="0">
              <a:solidFill>
                <a:srgbClr val="5E5E5E"/>
              </a:solidFill>
            </a:endParaRPr>
          </a:p>
          <a:p>
            <a:endParaRPr lang="en-US" dirty="0"/>
          </a:p>
          <a:p>
            <a:endParaRPr lang="en-US" dirty="0"/>
          </a:p>
        </p:txBody>
      </p:sp>
      <p:pic>
        <p:nvPicPr>
          <p:cNvPr id="69" name="Picture 4" descr="S:\Information\Flags\Rectangular Flags\Austria-Flag-256.png">
            <a:extLst>
              <a:ext uri="{FF2B5EF4-FFF2-40B4-BE49-F238E27FC236}">
                <a16:creationId xmlns:a16="http://schemas.microsoft.com/office/drawing/2014/main" xmlns="" id="{8429891B-6B3D-4671-9CA4-FA00E3AA6B1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6062936" y="5528590"/>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5" descr="S:\Information\Flags\Rectangular Flags\United-Kingdom-flag-256.png">
            <a:extLst>
              <a:ext uri="{FF2B5EF4-FFF2-40B4-BE49-F238E27FC236}">
                <a16:creationId xmlns:a16="http://schemas.microsoft.com/office/drawing/2014/main" xmlns="" id="{0986A6D2-8CEA-48B8-B275-ECDD6CAF43C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473631" y="5528590"/>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3" descr="S:\Information\Flags\Rectangular Flags\Germany-Flag-256.png">
            <a:extLst>
              <a:ext uri="{FF2B5EF4-FFF2-40B4-BE49-F238E27FC236}">
                <a16:creationId xmlns:a16="http://schemas.microsoft.com/office/drawing/2014/main" xmlns="" id="{C608CA90-A6CB-476A-B50D-D05B045236C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5652241" y="5528590"/>
            <a:ext cx="252000" cy="252000"/>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532">
            <a:extLst>
              <a:ext uri="{FF2B5EF4-FFF2-40B4-BE49-F238E27FC236}">
                <a16:creationId xmlns:a16="http://schemas.microsoft.com/office/drawing/2014/main" xmlns="" id="{47C247DB-1C1C-4D6A-A2AD-6ABA58BE8487}"/>
              </a:ext>
            </a:extLst>
          </p:cNvPr>
          <p:cNvGrpSpPr/>
          <p:nvPr/>
        </p:nvGrpSpPr>
        <p:grpSpPr>
          <a:xfrm>
            <a:off x="3947790" y="4554546"/>
            <a:ext cx="1152354" cy="1209992"/>
            <a:chOff x="3030303" y="1528780"/>
            <a:chExt cx="3002539" cy="3152721"/>
          </a:xfrm>
        </p:grpSpPr>
        <p:grpSp>
          <p:nvGrpSpPr>
            <p:cNvPr id="73" name="Group 533">
              <a:extLst>
                <a:ext uri="{FF2B5EF4-FFF2-40B4-BE49-F238E27FC236}">
                  <a16:creationId xmlns:a16="http://schemas.microsoft.com/office/drawing/2014/main" xmlns="" id="{1024862B-438D-4DA6-B824-637851B28EA9}"/>
                </a:ext>
              </a:extLst>
            </p:cNvPr>
            <p:cNvGrpSpPr/>
            <p:nvPr/>
          </p:nvGrpSpPr>
          <p:grpSpPr>
            <a:xfrm>
              <a:off x="3030303" y="1528780"/>
              <a:ext cx="3002539" cy="3152721"/>
              <a:chOff x="3030303" y="1528780"/>
              <a:chExt cx="3002539" cy="3152721"/>
            </a:xfrm>
          </p:grpSpPr>
          <p:grpSp>
            <p:nvGrpSpPr>
              <p:cNvPr id="99" name="Group 536">
                <a:extLst>
                  <a:ext uri="{FF2B5EF4-FFF2-40B4-BE49-F238E27FC236}">
                    <a16:creationId xmlns:a16="http://schemas.microsoft.com/office/drawing/2014/main" xmlns="" id="{8D7E7BC5-FE0C-4990-8019-97D5D1984B90}"/>
                  </a:ext>
                </a:extLst>
              </p:cNvPr>
              <p:cNvGrpSpPr/>
              <p:nvPr/>
            </p:nvGrpSpPr>
            <p:grpSpPr>
              <a:xfrm>
                <a:off x="3030303" y="1528780"/>
                <a:ext cx="3002539" cy="3152721"/>
                <a:chOff x="3030303" y="1528780"/>
                <a:chExt cx="3002539" cy="3152721"/>
              </a:xfrm>
            </p:grpSpPr>
            <p:grpSp>
              <p:nvGrpSpPr>
                <p:cNvPr id="102" name="Group 538">
                  <a:extLst>
                    <a:ext uri="{FF2B5EF4-FFF2-40B4-BE49-F238E27FC236}">
                      <a16:creationId xmlns:a16="http://schemas.microsoft.com/office/drawing/2014/main" xmlns="" id="{81385554-692C-459B-8B7B-8B2003A56C9E}"/>
                    </a:ext>
                  </a:extLst>
                </p:cNvPr>
                <p:cNvGrpSpPr/>
                <p:nvPr/>
              </p:nvGrpSpPr>
              <p:grpSpPr bwMode="gray">
                <a:xfrm>
                  <a:off x="3030303" y="1528780"/>
                  <a:ext cx="3002539" cy="3152721"/>
                  <a:chOff x="3030303" y="1528780"/>
                  <a:chExt cx="3002539" cy="3152721"/>
                </a:xfrm>
              </p:grpSpPr>
              <p:sp>
                <p:nvSpPr>
                  <p:cNvPr id="113" name="Freeform 1822">
                    <a:extLst>
                      <a:ext uri="{FF2B5EF4-FFF2-40B4-BE49-F238E27FC236}">
                        <a16:creationId xmlns:a16="http://schemas.microsoft.com/office/drawing/2014/main" xmlns="" id="{E539032C-8C27-4D79-A60A-8A15F4C56517}"/>
                      </a:ext>
                    </a:extLst>
                  </p:cNvPr>
                  <p:cNvSpPr>
                    <a:spLocks/>
                  </p:cNvSpPr>
                  <p:nvPr/>
                </p:nvSpPr>
                <p:spPr bwMode="gray">
                  <a:xfrm>
                    <a:off x="4220775" y="3095146"/>
                    <a:ext cx="8900" cy="3337"/>
                  </a:xfrm>
                  <a:custGeom>
                    <a:avLst/>
                    <a:gdLst>
                      <a:gd name="T0" fmla="*/ 0 w 8"/>
                      <a:gd name="T1" fmla="*/ 0 h 3"/>
                      <a:gd name="T2" fmla="*/ 0 w 8"/>
                      <a:gd name="T3" fmla="*/ 2147483647 h 3"/>
                      <a:gd name="T4" fmla="*/ 2147483647 w 8"/>
                      <a:gd name="T5" fmla="*/ 2147483647 h 3"/>
                      <a:gd name="T6" fmla="*/ 2147483647 w 8"/>
                      <a:gd name="T7" fmla="*/ 0 h 3"/>
                      <a:gd name="T8" fmla="*/ 2147483647 w 8"/>
                      <a:gd name="T9" fmla="*/ 0 h 3"/>
                      <a:gd name="T10" fmla="*/ 2147483647 w 8"/>
                      <a:gd name="T11" fmla="*/ 0 h 3"/>
                      <a:gd name="T12" fmla="*/ 2147483647 w 8"/>
                      <a:gd name="T13" fmla="*/ 0 h 3"/>
                      <a:gd name="T14" fmla="*/ 2147483647 w 8"/>
                      <a:gd name="T15" fmla="*/ 0 h 3"/>
                      <a:gd name="T16" fmla="*/ 2147483647 w 8"/>
                      <a:gd name="T17" fmla="*/ 0 h 3"/>
                      <a:gd name="T18" fmla="*/ 2147483647 w 8"/>
                      <a:gd name="T19" fmla="*/ 0 h 3"/>
                      <a:gd name="T20" fmla="*/ 0 w 8"/>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3">
                        <a:moveTo>
                          <a:pt x="0" y="0"/>
                        </a:moveTo>
                        <a:lnTo>
                          <a:pt x="0" y="3"/>
                        </a:lnTo>
                        <a:lnTo>
                          <a:pt x="2" y="1"/>
                        </a:lnTo>
                        <a:lnTo>
                          <a:pt x="4" y="0"/>
                        </a:lnTo>
                        <a:lnTo>
                          <a:pt x="7" y="0"/>
                        </a:lnTo>
                        <a:lnTo>
                          <a:pt x="8" y="0"/>
                        </a:lnTo>
                        <a:lnTo>
                          <a:pt x="7" y="0"/>
                        </a:lnTo>
                        <a:lnTo>
                          <a:pt x="4" y="0"/>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14" name="Freeform 1824">
                    <a:extLst>
                      <a:ext uri="{FF2B5EF4-FFF2-40B4-BE49-F238E27FC236}">
                        <a16:creationId xmlns:a16="http://schemas.microsoft.com/office/drawing/2014/main" xmlns="" id="{3EF26C40-07EA-441C-B9B1-978EDC21C87D}"/>
                      </a:ext>
                    </a:extLst>
                  </p:cNvPr>
                  <p:cNvSpPr>
                    <a:spLocks/>
                  </p:cNvSpPr>
                  <p:nvPr/>
                </p:nvSpPr>
                <p:spPr bwMode="gray">
                  <a:xfrm>
                    <a:off x="4176274" y="3095146"/>
                    <a:ext cx="16688" cy="7787"/>
                  </a:xfrm>
                  <a:custGeom>
                    <a:avLst/>
                    <a:gdLst>
                      <a:gd name="T0" fmla="*/ 2147483647 w 15"/>
                      <a:gd name="T1" fmla="*/ 0 h 7"/>
                      <a:gd name="T2" fmla="*/ 2147483647 w 15"/>
                      <a:gd name="T3" fmla="*/ 2147483647 h 7"/>
                      <a:gd name="T4" fmla="*/ 2147483647 w 15"/>
                      <a:gd name="T5" fmla="*/ 2147483647 h 7"/>
                      <a:gd name="T6" fmla="*/ 2147483647 w 15"/>
                      <a:gd name="T7" fmla="*/ 2147483647 h 7"/>
                      <a:gd name="T8" fmla="*/ 0 w 15"/>
                      <a:gd name="T9" fmla="*/ 2147483647 h 7"/>
                      <a:gd name="T10" fmla="*/ 2147483647 w 15"/>
                      <a:gd name="T11" fmla="*/ 2147483647 h 7"/>
                      <a:gd name="T12" fmla="*/ 2147483647 w 15"/>
                      <a:gd name="T13" fmla="*/ 2147483647 h 7"/>
                      <a:gd name="T14" fmla="*/ 2147483647 w 15"/>
                      <a:gd name="T15" fmla="*/ 2147483647 h 7"/>
                      <a:gd name="T16" fmla="*/ 2147483647 w 15"/>
                      <a:gd name="T17" fmla="*/ 2147483647 h 7"/>
                      <a:gd name="T18" fmla="*/ 2147483647 w 15"/>
                      <a:gd name="T19" fmla="*/ 2147483647 h 7"/>
                      <a:gd name="T20" fmla="*/ 2147483647 w 15"/>
                      <a:gd name="T21" fmla="*/ 2147483647 h 7"/>
                      <a:gd name="T22" fmla="*/ 2147483647 w 15"/>
                      <a:gd name="T23" fmla="*/ 2147483647 h 7"/>
                      <a:gd name="T24" fmla="*/ 2147483647 w 15"/>
                      <a:gd name="T25" fmla="*/ 2147483647 h 7"/>
                      <a:gd name="T26" fmla="*/ 2147483647 w 15"/>
                      <a:gd name="T27" fmla="*/ 0 h 7"/>
                      <a:gd name="T28" fmla="*/ 2147483647 w 15"/>
                      <a:gd name="T29" fmla="*/ 0 h 7"/>
                      <a:gd name="T30" fmla="*/ 2147483647 w 15"/>
                      <a:gd name="T31" fmla="*/ 0 h 7"/>
                      <a:gd name="T32" fmla="*/ 2147483647 w 15"/>
                      <a:gd name="T33" fmla="*/ 0 h 7"/>
                      <a:gd name="T34" fmla="*/ 2147483647 w 15"/>
                      <a:gd name="T35" fmla="*/ 0 h 7"/>
                      <a:gd name="T36" fmla="*/ 2147483647 w 15"/>
                      <a:gd name="T37" fmla="*/ 0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 h="7">
                        <a:moveTo>
                          <a:pt x="11" y="0"/>
                        </a:moveTo>
                        <a:lnTo>
                          <a:pt x="7" y="1"/>
                        </a:lnTo>
                        <a:lnTo>
                          <a:pt x="3" y="5"/>
                        </a:lnTo>
                        <a:lnTo>
                          <a:pt x="2" y="6"/>
                        </a:lnTo>
                        <a:lnTo>
                          <a:pt x="0" y="7"/>
                        </a:lnTo>
                        <a:lnTo>
                          <a:pt x="2" y="7"/>
                        </a:lnTo>
                        <a:lnTo>
                          <a:pt x="5" y="7"/>
                        </a:lnTo>
                        <a:lnTo>
                          <a:pt x="5" y="6"/>
                        </a:lnTo>
                        <a:lnTo>
                          <a:pt x="6" y="5"/>
                        </a:lnTo>
                        <a:lnTo>
                          <a:pt x="7" y="4"/>
                        </a:lnTo>
                        <a:lnTo>
                          <a:pt x="8" y="3"/>
                        </a:lnTo>
                        <a:lnTo>
                          <a:pt x="10" y="3"/>
                        </a:lnTo>
                        <a:lnTo>
                          <a:pt x="13" y="2"/>
                        </a:lnTo>
                        <a:lnTo>
                          <a:pt x="15" y="0"/>
                        </a:lnTo>
                        <a:lnTo>
                          <a:pt x="14" y="0"/>
                        </a:lnTo>
                        <a:lnTo>
                          <a:pt x="13" y="0"/>
                        </a:lnTo>
                        <a:lnTo>
                          <a:pt x="1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15" name="Freeform 1826">
                    <a:extLst>
                      <a:ext uri="{FF2B5EF4-FFF2-40B4-BE49-F238E27FC236}">
                        <a16:creationId xmlns:a16="http://schemas.microsoft.com/office/drawing/2014/main" xmlns="" id="{E02F3F58-6604-4DF3-B066-BEA79BD40537}"/>
                      </a:ext>
                    </a:extLst>
                  </p:cNvPr>
                  <p:cNvSpPr>
                    <a:spLocks/>
                  </p:cNvSpPr>
                  <p:nvPr/>
                </p:nvSpPr>
                <p:spPr bwMode="gray">
                  <a:xfrm>
                    <a:off x="4198525" y="3091809"/>
                    <a:ext cx="18913" cy="6675"/>
                  </a:xfrm>
                  <a:custGeom>
                    <a:avLst/>
                    <a:gdLst>
                      <a:gd name="T0" fmla="*/ 2147483647 w 17"/>
                      <a:gd name="T1" fmla="*/ 0 h 6"/>
                      <a:gd name="T2" fmla="*/ 2147483647 w 17"/>
                      <a:gd name="T3" fmla="*/ 0 h 6"/>
                      <a:gd name="T4" fmla="*/ 2147483647 w 17"/>
                      <a:gd name="T5" fmla="*/ 0 h 6"/>
                      <a:gd name="T6" fmla="*/ 2147483647 w 17"/>
                      <a:gd name="T7" fmla="*/ 2147483647 h 6"/>
                      <a:gd name="T8" fmla="*/ 2147483647 w 17"/>
                      <a:gd name="T9" fmla="*/ 2147483647 h 6"/>
                      <a:gd name="T10" fmla="*/ 0 w 17"/>
                      <a:gd name="T11" fmla="*/ 2147483647 h 6"/>
                      <a:gd name="T12" fmla="*/ 2147483647 w 17"/>
                      <a:gd name="T13" fmla="*/ 2147483647 h 6"/>
                      <a:gd name="T14" fmla="*/ 2147483647 w 17"/>
                      <a:gd name="T15" fmla="*/ 2147483647 h 6"/>
                      <a:gd name="T16" fmla="*/ 2147483647 w 17"/>
                      <a:gd name="T17" fmla="*/ 2147483647 h 6"/>
                      <a:gd name="T18" fmla="*/ 2147483647 w 17"/>
                      <a:gd name="T19" fmla="*/ 2147483647 h 6"/>
                      <a:gd name="T20" fmla="*/ 2147483647 w 17"/>
                      <a:gd name="T21" fmla="*/ 2147483647 h 6"/>
                      <a:gd name="T22" fmla="*/ 2147483647 w 17"/>
                      <a:gd name="T23" fmla="*/ 2147483647 h 6"/>
                      <a:gd name="T24" fmla="*/ 2147483647 w 17"/>
                      <a:gd name="T25" fmla="*/ 2147483647 h 6"/>
                      <a:gd name="T26" fmla="*/ 2147483647 w 17"/>
                      <a:gd name="T27" fmla="*/ 2147483647 h 6"/>
                      <a:gd name="T28" fmla="*/ 2147483647 w 17"/>
                      <a:gd name="T29" fmla="*/ 0 h 6"/>
                      <a:gd name="T30" fmla="*/ 2147483647 w 17"/>
                      <a:gd name="T31" fmla="*/ 0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7" h="6">
                        <a:moveTo>
                          <a:pt x="11" y="0"/>
                        </a:moveTo>
                        <a:lnTo>
                          <a:pt x="11" y="0"/>
                        </a:lnTo>
                        <a:lnTo>
                          <a:pt x="9" y="0"/>
                        </a:lnTo>
                        <a:lnTo>
                          <a:pt x="5" y="1"/>
                        </a:lnTo>
                        <a:lnTo>
                          <a:pt x="1" y="2"/>
                        </a:lnTo>
                        <a:lnTo>
                          <a:pt x="0" y="3"/>
                        </a:lnTo>
                        <a:lnTo>
                          <a:pt x="1" y="3"/>
                        </a:lnTo>
                        <a:lnTo>
                          <a:pt x="2" y="4"/>
                        </a:lnTo>
                        <a:lnTo>
                          <a:pt x="4" y="6"/>
                        </a:lnTo>
                        <a:lnTo>
                          <a:pt x="10" y="5"/>
                        </a:lnTo>
                        <a:lnTo>
                          <a:pt x="15" y="3"/>
                        </a:lnTo>
                        <a:lnTo>
                          <a:pt x="17" y="2"/>
                        </a:lnTo>
                        <a:lnTo>
                          <a:pt x="17" y="1"/>
                        </a:lnTo>
                        <a:lnTo>
                          <a:pt x="15" y="0"/>
                        </a:lnTo>
                        <a:lnTo>
                          <a:pt x="1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16" name="Freeform 1828">
                    <a:extLst>
                      <a:ext uri="{FF2B5EF4-FFF2-40B4-BE49-F238E27FC236}">
                        <a16:creationId xmlns:a16="http://schemas.microsoft.com/office/drawing/2014/main" xmlns="" id="{F0588941-4656-483D-B356-D10EFEDBF572}"/>
                      </a:ext>
                    </a:extLst>
                  </p:cNvPr>
                  <p:cNvSpPr>
                    <a:spLocks/>
                  </p:cNvSpPr>
                  <p:nvPr/>
                </p:nvSpPr>
                <p:spPr bwMode="gray">
                  <a:xfrm>
                    <a:off x="4145123" y="3382158"/>
                    <a:ext cx="41163" cy="57847"/>
                  </a:xfrm>
                  <a:custGeom>
                    <a:avLst/>
                    <a:gdLst>
                      <a:gd name="T0" fmla="*/ 2147483647 w 37"/>
                      <a:gd name="T1" fmla="*/ 2147483647 h 52"/>
                      <a:gd name="T2" fmla="*/ 2147483647 w 37"/>
                      <a:gd name="T3" fmla="*/ 2147483647 h 52"/>
                      <a:gd name="T4" fmla="*/ 2147483647 w 37"/>
                      <a:gd name="T5" fmla="*/ 2147483647 h 52"/>
                      <a:gd name="T6" fmla="*/ 2147483647 w 37"/>
                      <a:gd name="T7" fmla="*/ 2147483647 h 52"/>
                      <a:gd name="T8" fmla="*/ 2147483647 w 37"/>
                      <a:gd name="T9" fmla="*/ 2147483647 h 52"/>
                      <a:gd name="T10" fmla="*/ 2147483647 w 37"/>
                      <a:gd name="T11" fmla="*/ 2147483647 h 52"/>
                      <a:gd name="T12" fmla="*/ 2147483647 w 37"/>
                      <a:gd name="T13" fmla="*/ 2147483647 h 52"/>
                      <a:gd name="T14" fmla="*/ 0 w 37"/>
                      <a:gd name="T15" fmla="*/ 2147483647 h 52"/>
                      <a:gd name="T16" fmla="*/ 2147483647 w 37"/>
                      <a:gd name="T17" fmla="*/ 2147483647 h 52"/>
                      <a:gd name="T18" fmla="*/ 2147483647 w 37"/>
                      <a:gd name="T19" fmla="*/ 2147483647 h 52"/>
                      <a:gd name="T20" fmla="*/ 2147483647 w 37"/>
                      <a:gd name="T21" fmla="*/ 2147483647 h 52"/>
                      <a:gd name="T22" fmla="*/ 2147483647 w 37"/>
                      <a:gd name="T23" fmla="*/ 2147483647 h 52"/>
                      <a:gd name="T24" fmla="*/ 2147483647 w 37"/>
                      <a:gd name="T25" fmla="*/ 2147483647 h 52"/>
                      <a:gd name="T26" fmla="*/ 2147483647 w 37"/>
                      <a:gd name="T27" fmla="*/ 0 h 52"/>
                      <a:gd name="T28" fmla="*/ 2147483647 w 37"/>
                      <a:gd name="T29" fmla="*/ 0 h 52"/>
                      <a:gd name="T30" fmla="*/ 2147483647 w 37"/>
                      <a:gd name="T31" fmla="*/ 0 h 52"/>
                      <a:gd name="T32" fmla="*/ 2147483647 w 37"/>
                      <a:gd name="T33" fmla="*/ 2147483647 h 52"/>
                      <a:gd name="T34" fmla="*/ 2147483647 w 37"/>
                      <a:gd name="T35" fmla="*/ 2147483647 h 52"/>
                      <a:gd name="T36" fmla="*/ 2147483647 w 37"/>
                      <a:gd name="T37" fmla="*/ 2147483647 h 52"/>
                      <a:gd name="T38" fmla="*/ 2147483647 w 37"/>
                      <a:gd name="T39" fmla="*/ 2147483647 h 52"/>
                      <a:gd name="T40" fmla="*/ 2147483647 w 37"/>
                      <a:gd name="T41" fmla="*/ 2147483647 h 52"/>
                      <a:gd name="T42" fmla="*/ 2147483647 w 37"/>
                      <a:gd name="T43" fmla="*/ 2147483647 h 52"/>
                      <a:gd name="T44" fmla="*/ 2147483647 w 37"/>
                      <a:gd name="T45" fmla="*/ 2147483647 h 52"/>
                      <a:gd name="T46" fmla="*/ 2147483647 w 37"/>
                      <a:gd name="T47" fmla="*/ 2147483647 h 52"/>
                      <a:gd name="T48" fmla="*/ 2147483647 w 37"/>
                      <a:gd name="T49" fmla="*/ 2147483647 h 52"/>
                      <a:gd name="T50" fmla="*/ 2147483647 w 37"/>
                      <a:gd name="T51" fmla="*/ 2147483647 h 52"/>
                      <a:gd name="T52" fmla="*/ 2147483647 w 37"/>
                      <a:gd name="T53" fmla="*/ 2147483647 h 52"/>
                      <a:gd name="T54" fmla="*/ 2147483647 w 37"/>
                      <a:gd name="T55" fmla="*/ 2147483647 h 52"/>
                      <a:gd name="T56" fmla="*/ 2147483647 w 37"/>
                      <a:gd name="T57" fmla="*/ 2147483647 h 52"/>
                      <a:gd name="T58" fmla="*/ 2147483647 w 37"/>
                      <a:gd name="T59" fmla="*/ 2147483647 h 52"/>
                      <a:gd name="T60" fmla="*/ 2147483647 w 37"/>
                      <a:gd name="T61" fmla="*/ 2147483647 h 52"/>
                      <a:gd name="T62" fmla="*/ 2147483647 w 37"/>
                      <a:gd name="T63" fmla="*/ 2147483647 h 52"/>
                      <a:gd name="T64" fmla="*/ 2147483647 w 37"/>
                      <a:gd name="T65" fmla="*/ 2147483647 h 52"/>
                      <a:gd name="T66" fmla="*/ 2147483647 w 37"/>
                      <a:gd name="T67" fmla="*/ 2147483647 h 52"/>
                      <a:gd name="T68" fmla="*/ 2147483647 w 37"/>
                      <a:gd name="T69" fmla="*/ 2147483647 h 52"/>
                      <a:gd name="T70" fmla="*/ 2147483647 w 37"/>
                      <a:gd name="T71" fmla="*/ 2147483647 h 52"/>
                      <a:gd name="T72" fmla="*/ 2147483647 w 37"/>
                      <a:gd name="T73" fmla="*/ 2147483647 h 52"/>
                      <a:gd name="T74" fmla="*/ 2147483647 w 37"/>
                      <a:gd name="T75" fmla="*/ 2147483647 h 52"/>
                      <a:gd name="T76" fmla="*/ 2147483647 w 37"/>
                      <a:gd name="T77" fmla="*/ 2147483647 h 52"/>
                      <a:gd name="T78" fmla="*/ 2147483647 w 37"/>
                      <a:gd name="T79" fmla="*/ 2147483647 h 52"/>
                      <a:gd name="T80" fmla="*/ 2147483647 w 37"/>
                      <a:gd name="T81" fmla="*/ 2147483647 h 52"/>
                      <a:gd name="T82" fmla="*/ 2147483647 w 37"/>
                      <a:gd name="T83" fmla="*/ 2147483647 h 52"/>
                      <a:gd name="T84" fmla="*/ 2147483647 w 37"/>
                      <a:gd name="T85" fmla="*/ 2147483647 h 52"/>
                      <a:gd name="T86" fmla="*/ 2147483647 w 37"/>
                      <a:gd name="T87" fmla="*/ 2147483647 h 52"/>
                      <a:gd name="T88" fmla="*/ 2147483647 w 37"/>
                      <a:gd name="T89" fmla="*/ 2147483647 h 52"/>
                      <a:gd name="T90" fmla="*/ 2147483647 w 37"/>
                      <a:gd name="T91" fmla="*/ 2147483647 h 52"/>
                      <a:gd name="T92" fmla="*/ 2147483647 w 37"/>
                      <a:gd name="T93" fmla="*/ 2147483647 h 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7" h="52">
                        <a:moveTo>
                          <a:pt x="1" y="41"/>
                        </a:moveTo>
                        <a:lnTo>
                          <a:pt x="1" y="39"/>
                        </a:lnTo>
                        <a:lnTo>
                          <a:pt x="3" y="38"/>
                        </a:lnTo>
                        <a:lnTo>
                          <a:pt x="4" y="38"/>
                        </a:lnTo>
                        <a:lnTo>
                          <a:pt x="3" y="36"/>
                        </a:lnTo>
                        <a:lnTo>
                          <a:pt x="1" y="31"/>
                        </a:lnTo>
                        <a:lnTo>
                          <a:pt x="0" y="26"/>
                        </a:lnTo>
                        <a:lnTo>
                          <a:pt x="1" y="19"/>
                        </a:lnTo>
                        <a:lnTo>
                          <a:pt x="2" y="17"/>
                        </a:lnTo>
                        <a:lnTo>
                          <a:pt x="4" y="14"/>
                        </a:lnTo>
                        <a:lnTo>
                          <a:pt x="10" y="8"/>
                        </a:lnTo>
                        <a:lnTo>
                          <a:pt x="18" y="2"/>
                        </a:lnTo>
                        <a:lnTo>
                          <a:pt x="20" y="0"/>
                        </a:lnTo>
                        <a:lnTo>
                          <a:pt x="21" y="0"/>
                        </a:lnTo>
                        <a:lnTo>
                          <a:pt x="27" y="0"/>
                        </a:lnTo>
                        <a:lnTo>
                          <a:pt x="27" y="1"/>
                        </a:lnTo>
                        <a:lnTo>
                          <a:pt x="27" y="5"/>
                        </a:lnTo>
                        <a:lnTo>
                          <a:pt x="27" y="10"/>
                        </a:lnTo>
                        <a:lnTo>
                          <a:pt x="27" y="15"/>
                        </a:lnTo>
                        <a:lnTo>
                          <a:pt x="27" y="19"/>
                        </a:lnTo>
                        <a:lnTo>
                          <a:pt x="27" y="22"/>
                        </a:lnTo>
                        <a:lnTo>
                          <a:pt x="27" y="23"/>
                        </a:lnTo>
                        <a:lnTo>
                          <a:pt x="27" y="25"/>
                        </a:lnTo>
                        <a:lnTo>
                          <a:pt x="30" y="28"/>
                        </a:lnTo>
                        <a:lnTo>
                          <a:pt x="34" y="30"/>
                        </a:lnTo>
                        <a:lnTo>
                          <a:pt x="35" y="32"/>
                        </a:lnTo>
                        <a:lnTo>
                          <a:pt x="37" y="34"/>
                        </a:lnTo>
                        <a:lnTo>
                          <a:pt x="36" y="36"/>
                        </a:lnTo>
                        <a:lnTo>
                          <a:pt x="35" y="37"/>
                        </a:lnTo>
                        <a:lnTo>
                          <a:pt x="33" y="38"/>
                        </a:lnTo>
                        <a:lnTo>
                          <a:pt x="30" y="41"/>
                        </a:lnTo>
                        <a:lnTo>
                          <a:pt x="29" y="44"/>
                        </a:lnTo>
                        <a:lnTo>
                          <a:pt x="28" y="46"/>
                        </a:lnTo>
                        <a:lnTo>
                          <a:pt x="27" y="49"/>
                        </a:lnTo>
                        <a:lnTo>
                          <a:pt x="27" y="50"/>
                        </a:lnTo>
                        <a:lnTo>
                          <a:pt x="25" y="49"/>
                        </a:lnTo>
                        <a:lnTo>
                          <a:pt x="23" y="48"/>
                        </a:lnTo>
                        <a:lnTo>
                          <a:pt x="19" y="47"/>
                        </a:lnTo>
                        <a:lnTo>
                          <a:pt x="17" y="48"/>
                        </a:lnTo>
                        <a:lnTo>
                          <a:pt x="14" y="50"/>
                        </a:lnTo>
                        <a:lnTo>
                          <a:pt x="12" y="52"/>
                        </a:lnTo>
                        <a:lnTo>
                          <a:pt x="9" y="51"/>
                        </a:lnTo>
                        <a:lnTo>
                          <a:pt x="7" y="49"/>
                        </a:lnTo>
                        <a:lnTo>
                          <a:pt x="4" y="47"/>
                        </a:lnTo>
                        <a:lnTo>
                          <a:pt x="4" y="45"/>
                        </a:lnTo>
                        <a:lnTo>
                          <a:pt x="1" y="4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17" name="Freeform 1830">
                    <a:extLst>
                      <a:ext uri="{FF2B5EF4-FFF2-40B4-BE49-F238E27FC236}">
                        <a16:creationId xmlns:a16="http://schemas.microsoft.com/office/drawing/2014/main" xmlns="" id="{BFD3574A-3C6E-4E6D-8E6A-002111143C8D}"/>
                      </a:ext>
                    </a:extLst>
                  </p:cNvPr>
                  <p:cNvSpPr>
                    <a:spLocks/>
                  </p:cNvSpPr>
                  <p:nvPr/>
                </p:nvSpPr>
                <p:spPr bwMode="gray">
                  <a:xfrm>
                    <a:off x="4378752" y="4425637"/>
                    <a:ext cx="3338" cy="4450"/>
                  </a:xfrm>
                  <a:custGeom>
                    <a:avLst/>
                    <a:gdLst>
                      <a:gd name="T0" fmla="*/ 0 w 3"/>
                      <a:gd name="T1" fmla="*/ 0 h 4"/>
                      <a:gd name="T2" fmla="*/ 0 w 3"/>
                      <a:gd name="T3" fmla="*/ 0 h 4"/>
                      <a:gd name="T4" fmla="*/ 0 w 3"/>
                      <a:gd name="T5" fmla="*/ 2147483647 h 4"/>
                      <a:gd name="T6" fmla="*/ 0 w 3"/>
                      <a:gd name="T7" fmla="*/ 2147483647 h 4"/>
                      <a:gd name="T8" fmla="*/ 0 w 3"/>
                      <a:gd name="T9" fmla="*/ 2147483647 h 4"/>
                      <a:gd name="T10" fmla="*/ 2147483647 w 3"/>
                      <a:gd name="T11" fmla="*/ 2147483647 h 4"/>
                      <a:gd name="T12" fmla="*/ 2147483647 w 3"/>
                      <a:gd name="T13" fmla="*/ 2147483647 h 4"/>
                      <a:gd name="T14" fmla="*/ 2147483647 w 3"/>
                      <a:gd name="T15" fmla="*/ 2147483647 h 4"/>
                      <a:gd name="T16" fmla="*/ 0 w 3"/>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4">
                        <a:moveTo>
                          <a:pt x="0" y="0"/>
                        </a:moveTo>
                        <a:lnTo>
                          <a:pt x="0" y="0"/>
                        </a:lnTo>
                        <a:lnTo>
                          <a:pt x="0" y="1"/>
                        </a:lnTo>
                        <a:lnTo>
                          <a:pt x="0" y="2"/>
                        </a:lnTo>
                        <a:lnTo>
                          <a:pt x="0" y="3"/>
                        </a:lnTo>
                        <a:lnTo>
                          <a:pt x="2" y="4"/>
                        </a:lnTo>
                        <a:lnTo>
                          <a:pt x="3" y="3"/>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18" name="Freeform 1832">
                    <a:extLst>
                      <a:ext uri="{FF2B5EF4-FFF2-40B4-BE49-F238E27FC236}">
                        <a16:creationId xmlns:a16="http://schemas.microsoft.com/office/drawing/2014/main" xmlns="" id="{A966ABFE-4696-46BF-A0CD-2319B15039B8}"/>
                      </a:ext>
                    </a:extLst>
                  </p:cNvPr>
                  <p:cNvSpPr>
                    <a:spLocks/>
                  </p:cNvSpPr>
                  <p:nvPr/>
                </p:nvSpPr>
                <p:spPr bwMode="gray">
                  <a:xfrm>
                    <a:off x="4389877" y="4621428"/>
                    <a:ext cx="3338" cy="3337"/>
                  </a:xfrm>
                  <a:custGeom>
                    <a:avLst/>
                    <a:gdLst>
                      <a:gd name="T0" fmla="*/ 0 w 3"/>
                      <a:gd name="T1" fmla="*/ 0 h 3"/>
                      <a:gd name="T2" fmla="*/ 0 w 3"/>
                      <a:gd name="T3" fmla="*/ 2147483647 h 3"/>
                      <a:gd name="T4" fmla="*/ 0 w 3"/>
                      <a:gd name="T5" fmla="*/ 2147483647 h 3"/>
                      <a:gd name="T6" fmla="*/ 2147483647 w 3"/>
                      <a:gd name="T7" fmla="*/ 2147483647 h 3"/>
                      <a:gd name="T8" fmla="*/ 2147483647 w 3"/>
                      <a:gd name="T9" fmla="*/ 2147483647 h 3"/>
                      <a:gd name="T10" fmla="*/ 2147483647 w 3"/>
                      <a:gd name="T11" fmla="*/ 2147483647 h 3"/>
                      <a:gd name="T12" fmla="*/ 2147483647 w 3"/>
                      <a:gd name="T13" fmla="*/ 0 h 3"/>
                      <a:gd name="T14" fmla="*/ 2147483647 w 3"/>
                      <a:gd name="T15" fmla="*/ 0 h 3"/>
                      <a:gd name="T16" fmla="*/ 0 w 3"/>
                      <a:gd name="T17" fmla="*/ 0 h 3"/>
                      <a:gd name="T18" fmla="*/ 0 w 3"/>
                      <a:gd name="T19" fmla="*/ 0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3">
                        <a:moveTo>
                          <a:pt x="0" y="0"/>
                        </a:moveTo>
                        <a:lnTo>
                          <a:pt x="0" y="3"/>
                        </a:lnTo>
                        <a:lnTo>
                          <a:pt x="1" y="3"/>
                        </a:lnTo>
                        <a:lnTo>
                          <a:pt x="2" y="3"/>
                        </a:lnTo>
                        <a:lnTo>
                          <a:pt x="3" y="3"/>
                        </a:lnTo>
                        <a:lnTo>
                          <a:pt x="3"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19" name="Freeform 1834">
                    <a:extLst>
                      <a:ext uri="{FF2B5EF4-FFF2-40B4-BE49-F238E27FC236}">
                        <a16:creationId xmlns:a16="http://schemas.microsoft.com/office/drawing/2014/main" xmlns="" id="{44CAFD42-4493-47FC-BE87-1F38E0B49D41}"/>
                      </a:ext>
                    </a:extLst>
                  </p:cNvPr>
                  <p:cNvSpPr>
                    <a:spLocks/>
                  </p:cNvSpPr>
                  <p:nvPr/>
                </p:nvSpPr>
                <p:spPr bwMode="gray">
                  <a:xfrm>
                    <a:off x="4402116" y="4410063"/>
                    <a:ext cx="206928" cy="132381"/>
                  </a:xfrm>
                  <a:custGeom>
                    <a:avLst/>
                    <a:gdLst>
                      <a:gd name="T0" fmla="*/ 2147483647 w 186"/>
                      <a:gd name="T1" fmla="*/ 2147483647 h 119"/>
                      <a:gd name="T2" fmla="*/ 2147483647 w 186"/>
                      <a:gd name="T3" fmla="*/ 0 h 119"/>
                      <a:gd name="T4" fmla="*/ 2147483647 w 186"/>
                      <a:gd name="T5" fmla="*/ 0 h 119"/>
                      <a:gd name="T6" fmla="*/ 2147483647 w 186"/>
                      <a:gd name="T7" fmla="*/ 2147483647 h 119"/>
                      <a:gd name="T8" fmla="*/ 2147483647 w 186"/>
                      <a:gd name="T9" fmla="*/ 2147483647 h 119"/>
                      <a:gd name="T10" fmla="*/ 2147483647 w 186"/>
                      <a:gd name="T11" fmla="*/ 2147483647 h 119"/>
                      <a:gd name="T12" fmla="*/ 2147483647 w 186"/>
                      <a:gd name="T13" fmla="*/ 2147483647 h 119"/>
                      <a:gd name="T14" fmla="*/ 2147483647 w 186"/>
                      <a:gd name="T15" fmla="*/ 2147483647 h 119"/>
                      <a:gd name="T16" fmla="*/ 2147483647 w 186"/>
                      <a:gd name="T17" fmla="*/ 2147483647 h 119"/>
                      <a:gd name="T18" fmla="*/ 2147483647 w 186"/>
                      <a:gd name="T19" fmla="*/ 2147483647 h 119"/>
                      <a:gd name="T20" fmla="*/ 2147483647 w 186"/>
                      <a:gd name="T21" fmla="*/ 2147483647 h 119"/>
                      <a:gd name="T22" fmla="*/ 2147483647 w 186"/>
                      <a:gd name="T23" fmla="*/ 2147483647 h 119"/>
                      <a:gd name="T24" fmla="*/ 2147483647 w 186"/>
                      <a:gd name="T25" fmla="*/ 0 h 119"/>
                      <a:gd name="T26" fmla="*/ 2147483647 w 186"/>
                      <a:gd name="T27" fmla="*/ 0 h 119"/>
                      <a:gd name="T28" fmla="*/ 2147483647 w 186"/>
                      <a:gd name="T29" fmla="*/ 2147483647 h 119"/>
                      <a:gd name="T30" fmla="*/ 2147483647 w 186"/>
                      <a:gd name="T31" fmla="*/ 2147483647 h 119"/>
                      <a:gd name="T32" fmla="*/ 2147483647 w 186"/>
                      <a:gd name="T33" fmla="*/ 2147483647 h 119"/>
                      <a:gd name="T34" fmla="*/ 2147483647 w 186"/>
                      <a:gd name="T35" fmla="*/ 0 h 119"/>
                      <a:gd name="T36" fmla="*/ 2147483647 w 186"/>
                      <a:gd name="T37" fmla="*/ 2147483647 h 119"/>
                      <a:gd name="T38" fmla="*/ 2147483647 w 186"/>
                      <a:gd name="T39" fmla="*/ 2147483647 h 119"/>
                      <a:gd name="T40" fmla="*/ 0 w 186"/>
                      <a:gd name="T41" fmla="*/ 2147483647 h 119"/>
                      <a:gd name="T42" fmla="*/ 2147483647 w 186"/>
                      <a:gd name="T43" fmla="*/ 2147483647 h 119"/>
                      <a:gd name="T44" fmla="*/ 2147483647 w 186"/>
                      <a:gd name="T45" fmla="*/ 2147483647 h 119"/>
                      <a:gd name="T46" fmla="*/ 2147483647 w 186"/>
                      <a:gd name="T47" fmla="*/ 2147483647 h 119"/>
                      <a:gd name="T48" fmla="*/ 2147483647 w 186"/>
                      <a:gd name="T49" fmla="*/ 2147483647 h 119"/>
                      <a:gd name="T50" fmla="*/ 2147483647 w 186"/>
                      <a:gd name="T51" fmla="*/ 2147483647 h 119"/>
                      <a:gd name="T52" fmla="*/ 2147483647 w 186"/>
                      <a:gd name="T53" fmla="*/ 2147483647 h 119"/>
                      <a:gd name="T54" fmla="*/ 2147483647 w 186"/>
                      <a:gd name="T55" fmla="*/ 2147483647 h 119"/>
                      <a:gd name="T56" fmla="*/ 2147483647 w 186"/>
                      <a:gd name="T57" fmla="*/ 2147483647 h 119"/>
                      <a:gd name="T58" fmla="*/ 2147483647 w 186"/>
                      <a:gd name="T59" fmla="*/ 2147483647 h 119"/>
                      <a:gd name="T60" fmla="*/ 2147483647 w 186"/>
                      <a:gd name="T61" fmla="*/ 2147483647 h 119"/>
                      <a:gd name="T62" fmla="*/ 2147483647 w 186"/>
                      <a:gd name="T63" fmla="*/ 2147483647 h 119"/>
                      <a:gd name="T64" fmla="*/ 2147483647 w 186"/>
                      <a:gd name="T65" fmla="*/ 2147483647 h 119"/>
                      <a:gd name="T66" fmla="*/ 2147483647 w 186"/>
                      <a:gd name="T67" fmla="*/ 2147483647 h 119"/>
                      <a:gd name="T68" fmla="*/ 2147483647 w 186"/>
                      <a:gd name="T69" fmla="*/ 2147483647 h 119"/>
                      <a:gd name="T70" fmla="*/ 2147483647 w 186"/>
                      <a:gd name="T71" fmla="*/ 2147483647 h 119"/>
                      <a:gd name="T72" fmla="*/ 2147483647 w 186"/>
                      <a:gd name="T73" fmla="*/ 2147483647 h 119"/>
                      <a:gd name="T74" fmla="*/ 2147483647 w 186"/>
                      <a:gd name="T75" fmla="*/ 2147483647 h 119"/>
                      <a:gd name="T76" fmla="*/ 2147483647 w 186"/>
                      <a:gd name="T77" fmla="*/ 2147483647 h 119"/>
                      <a:gd name="T78" fmla="*/ 2147483647 w 186"/>
                      <a:gd name="T79" fmla="*/ 2147483647 h 119"/>
                      <a:gd name="T80" fmla="*/ 2147483647 w 186"/>
                      <a:gd name="T81" fmla="*/ 2147483647 h 119"/>
                      <a:gd name="T82" fmla="*/ 2147483647 w 186"/>
                      <a:gd name="T83" fmla="*/ 2147483647 h 119"/>
                      <a:gd name="T84" fmla="*/ 2147483647 w 186"/>
                      <a:gd name="T85" fmla="*/ 2147483647 h 119"/>
                      <a:gd name="T86" fmla="*/ 2147483647 w 186"/>
                      <a:gd name="T87" fmla="*/ 2147483647 h 119"/>
                      <a:gd name="T88" fmla="*/ 2147483647 w 186"/>
                      <a:gd name="T89" fmla="*/ 2147483647 h 119"/>
                      <a:gd name="T90" fmla="*/ 2147483647 w 186"/>
                      <a:gd name="T91" fmla="*/ 2147483647 h 119"/>
                      <a:gd name="T92" fmla="*/ 2147483647 w 186"/>
                      <a:gd name="T93" fmla="*/ 2147483647 h 119"/>
                      <a:gd name="T94" fmla="*/ 2147483647 w 186"/>
                      <a:gd name="T95" fmla="*/ 2147483647 h 119"/>
                      <a:gd name="T96" fmla="*/ 2147483647 w 186"/>
                      <a:gd name="T97" fmla="*/ 2147483647 h 119"/>
                      <a:gd name="T98" fmla="*/ 2147483647 w 186"/>
                      <a:gd name="T99" fmla="*/ 2147483647 h 11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86" h="119">
                        <a:moveTo>
                          <a:pt x="185" y="0"/>
                        </a:moveTo>
                        <a:lnTo>
                          <a:pt x="180" y="0"/>
                        </a:lnTo>
                        <a:lnTo>
                          <a:pt x="175" y="1"/>
                        </a:lnTo>
                        <a:lnTo>
                          <a:pt x="171" y="2"/>
                        </a:lnTo>
                        <a:lnTo>
                          <a:pt x="166" y="3"/>
                        </a:lnTo>
                        <a:lnTo>
                          <a:pt x="166" y="2"/>
                        </a:lnTo>
                        <a:lnTo>
                          <a:pt x="165" y="1"/>
                        </a:lnTo>
                        <a:lnTo>
                          <a:pt x="163" y="0"/>
                        </a:lnTo>
                        <a:lnTo>
                          <a:pt x="162" y="0"/>
                        </a:lnTo>
                        <a:lnTo>
                          <a:pt x="160" y="0"/>
                        </a:lnTo>
                        <a:lnTo>
                          <a:pt x="160" y="3"/>
                        </a:lnTo>
                        <a:lnTo>
                          <a:pt x="157" y="6"/>
                        </a:lnTo>
                        <a:lnTo>
                          <a:pt x="156" y="9"/>
                        </a:lnTo>
                        <a:lnTo>
                          <a:pt x="154" y="10"/>
                        </a:lnTo>
                        <a:lnTo>
                          <a:pt x="150" y="9"/>
                        </a:lnTo>
                        <a:lnTo>
                          <a:pt x="147" y="8"/>
                        </a:lnTo>
                        <a:lnTo>
                          <a:pt x="144" y="7"/>
                        </a:lnTo>
                        <a:lnTo>
                          <a:pt x="140" y="6"/>
                        </a:lnTo>
                        <a:lnTo>
                          <a:pt x="140" y="7"/>
                        </a:lnTo>
                        <a:lnTo>
                          <a:pt x="139" y="7"/>
                        </a:lnTo>
                        <a:lnTo>
                          <a:pt x="133" y="10"/>
                        </a:lnTo>
                        <a:lnTo>
                          <a:pt x="126" y="11"/>
                        </a:lnTo>
                        <a:lnTo>
                          <a:pt x="123" y="12"/>
                        </a:lnTo>
                        <a:lnTo>
                          <a:pt x="121" y="12"/>
                        </a:lnTo>
                        <a:lnTo>
                          <a:pt x="121" y="13"/>
                        </a:lnTo>
                        <a:lnTo>
                          <a:pt x="121" y="15"/>
                        </a:lnTo>
                        <a:lnTo>
                          <a:pt x="120" y="18"/>
                        </a:lnTo>
                        <a:lnTo>
                          <a:pt x="118" y="19"/>
                        </a:lnTo>
                        <a:lnTo>
                          <a:pt x="113" y="18"/>
                        </a:lnTo>
                        <a:lnTo>
                          <a:pt x="107" y="17"/>
                        </a:lnTo>
                        <a:lnTo>
                          <a:pt x="101" y="16"/>
                        </a:lnTo>
                        <a:lnTo>
                          <a:pt x="95" y="15"/>
                        </a:lnTo>
                        <a:lnTo>
                          <a:pt x="94" y="16"/>
                        </a:lnTo>
                        <a:lnTo>
                          <a:pt x="91" y="17"/>
                        </a:lnTo>
                        <a:lnTo>
                          <a:pt x="89" y="18"/>
                        </a:lnTo>
                        <a:lnTo>
                          <a:pt x="86" y="19"/>
                        </a:lnTo>
                        <a:lnTo>
                          <a:pt x="84" y="18"/>
                        </a:lnTo>
                        <a:lnTo>
                          <a:pt x="82" y="17"/>
                        </a:lnTo>
                        <a:lnTo>
                          <a:pt x="80" y="16"/>
                        </a:lnTo>
                        <a:lnTo>
                          <a:pt x="80" y="15"/>
                        </a:lnTo>
                        <a:lnTo>
                          <a:pt x="74" y="15"/>
                        </a:lnTo>
                        <a:lnTo>
                          <a:pt x="70" y="14"/>
                        </a:lnTo>
                        <a:lnTo>
                          <a:pt x="68" y="11"/>
                        </a:lnTo>
                        <a:lnTo>
                          <a:pt x="67" y="6"/>
                        </a:lnTo>
                        <a:lnTo>
                          <a:pt x="61" y="8"/>
                        </a:lnTo>
                        <a:lnTo>
                          <a:pt x="58" y="8"/>
                        </a:lnTo>
                        <a:lnTo>
                          <a:pt x="57" y="5"/>
                        </a:lnTo>
                        <a:lnTo>
                          <a:pt x="57" y="0"/>
                        </a:lnTo>
                        <a:lnTo>
                          <a:pt x="54" y="0"/>
                        </a:lnTo>
                        <a:lnTo>
                          <a:pt x="50" y="0"/>
                        </a:lnTo>
                        <a:lnTo>
                          <a:pt x="45" y="0"/>
                        </a:lnTo>
                        <a:lnTo>
                          <a:pt x="44" y="0"/>
                        </a:lnTo>
                        <a:lnTo>
                          <a:pt x="41" y="0"/>
                        </a:lnTo>
                        <a:lnTo>
                          <a:pt x="39" y="0"/>
                        </a:lnTo>
                        <a:lnTo>
                          <a:pt x="38" y="0"/>
                        </a:lnTo>
                        <a:lnTo>
                          <a:pt x="36" y="1"/>
                        </a:lnTo>
                        <a:lnTo>
                          <a:pt x="36" y="3"/>
                        </a:lnTo>
                        <a:lnTo>
                          <a:pt x="38" y="6"/>
                        </a:lnTo>
                        <a:lnTo>
                          <a:pt x="38" y="7"/>
                        </a:lnTo>
                        <a:lnTo>
                          <a:pt x="38" y="9"/>
                        </a:lnTo>
                        <a:lnTo>
                          <a:pt x="37" y="9"/>
                        </a:lnTo>
                        <a:lnTo>
                          <a:pt x="35" y="10"/>
                        </a:lnTo>
                        <a:lnTo>
                          <a:pt x="32" y="9"/>
                        </a:lnTo>
                        <a:lnTo>
                          <a:pt x="31" y="8"/>
                        </a:lnTo>
                        <a:lnTo>
                          <a:pt x="25" y="3"/>
                        </a:lnTo>
                        <a:lnTo>
                          <a:pt x="26" y="2"/>
                        </a:lnTo>
                        <a:lnTo>
                          <a:pt x="26" y="1"/>
                        </a:lnTo>
                        <a:lnTo>
                          <a:pt x="24" y="0"/>
                        </a:lnTo>
                        <a:lnTo>
                          <a:pt x="22" y="0"/>
                        </a:lnTo>
                        <a:lnTo>
                          <a:pt x="19" y="0"/>
                        </a:lnTo>
                        <a:lnTo>
                          <a:pt x="16" y="3"/>
                        </a:lnTo>
                        <a:lnTo>
                          <a:pt x="14" y="5"/>
                        </a:lnTo>
                        <a:lnTo>
                          <a:pt x="13" y="8"/>
                        </a:lnTo>
                        <a:lnTo>
                          <a:pt x="9" y="9"/>
                        </a:lnTo>
                        <a:lnTo>
                          <a:pt x="6" y="10"/>
                        </a:lnTo>
                        <a:lnTo>
                          <a:pt x="6" y="11"/>
                        </a:lnTo>
                        <a:lnTo>
                          <a:pt x="6" y="12"/>
                        </a:lnTo>
                        <a:lnTo>
                          <a:pt x="6" y="13"/>
                        </a:lnTo>
                        <a:lnTo>
                          <a:pt x="6" y="15"/>
                        </a:lnTo>
                        <a:lnTo>
                          <a:pt x="4" y="17"/>
                        </a:lnTo>
                        <a:lnTo>
                          <a:pt x="2" y="19"/>
                        </a:lnTo>
                        <a:lnTo>
                          <a:pt x="0" y="22"/>
                        </a:lnTo>
                        <a:lnTo>
                          <a:pt x="0" y="25"/>
                        </a:lnTo>
                        <a:lnTo>
                          <a:pt x="3" y="25"/>
                        </a:lnTo>
                        <a:lnTo>
                          <a:pt x="3" y="27"/>
                        </a:lnTo>
                        <a:lnTo>
                          <a:pt x="3" y="29"/>
                        </a:lnTo>
                        <a:lnTo>
                          <a:pt x="3" y="30"/>
                        </a:lnTo>
                        <a:lnTo>
                          <a:pt x="3" y="32"/>
                        </a:lnTo>
                        <a:lnTo>
                          <a:pt x="3" y="33"/>
                        </a:lnTo>
                        <a:lnTo>
                          <a:pt x="5" y="34"/>
                        </a:lnTo>
                        <a:lnTo>
                          <a:pt x="6" y="35"/>
                        </a:lnTo>
                        <a:lnTo>
                          <a:pt x="10" y="35"/>
                        </a:lnTo>
                        <a:lnTo>
                          <a:pt x="9" y="37"/>
                        </a:lnTo>
                        <a:lnTo>
                          <a:pt x="8" y="39"/>
                        </a:lnTo>
                        <a:lnTo>
                          <a:pt x="8" y="41"/>
                        </a:lnTo>
                        <a:lnTo>
                          <a:pt x="10" y="41"/>
                        </a:lnTo>
                        <a:lnTo>
                          <a:pt x="13" y="45"/>
                        </a:lnTo>
                        <a:lnTo>
                          <a:pt x="22" y="45"/>
                        </a:lnTo>
                        <a:lnTo>
                          <a:pt x="27" y="46"/>
                        </a:lnTo>
                        <a:lnTo>
                          <a:pt x="30" y="48"/>
                        </a:lnTo>
                        <a:lnTo>
                          <a:pt x="32" y="51"/>
                        </a:lnTo>
                        <a:lnTo>
                          <a:pt x="35" y="55"/>
                        </a:lnTo>
                        <a:lnTo>
                          <a:pt x="39" y="55"/>
                        </a:lnTo>
                        <a:lnTo>
                          <a:pt x="41" y="55"/>
                        </a:lnTo>
                        <a:lnTo>
                          <a:pt x="41" y="58"/>
                        </a:lnTo>
                        <a:lnTo>
                          <a:pt x="43" y="58"/>
                        </a:lnTo>
                        <a:lnTo>
                          <a:pt x="44" y="59"/>
                        </a:lnTo>
                        <a:lnTo>
                          <a:pt x="45" y="60"/>
                        </a:lnTo>
                        <a:lnTo>
                          <a:pt x="48" y="60"/>
                        </a:lnTo>
                        <a:lnTo>
                          <a:pt x="48" y="61"/>
                        </a:lnTo>
                        <a:lnTo>
                          <a:pt x="50" y="62"/>
                        </a:lnTo>
                        <a:lnTo>
                          <a:pt x="51" y="63"/>
                        </a:lnTo>
                        <a:lnTo>
                          <a:pt x="51" y="64"/>
                        </a:lnTo>
                        <a:lnTo>
                          <a:pt x="51" y="65"/>
                        </a:lnTo>
                        <a:lnTo>
                          <a:pt x="51" y="66"/>
                        </a:lnTo>
                        <a:lnTo>
                          <a:pt x="51" y="67"/>
                        </a:lnTo>
                        <a:lnTo>
                          <a:pt x="53" y="68"/>
                        </a:lnTo>
                        <a:lnTo>
                          <a:pt x="55" y="68"/>
                        </a:lnTo>
                        <a:lnTo>
                          <a:pt x="56" y="67"/>
                        </a:lnTo>
                        <a:lnTo>
                          <a:pt x="57" y="67"/>
                        </a:lnTo>
                        <a:lnTo>
                          <a:pt x="59" y="70"/>
                        </a:lnTo>
                        <a:lnTo>
                          <a:pt x="62" y="71"/>
                        </a:lnTo>
                        <a:lnTo>
                          <a:pt x="66" y="74"/>
                        </a:lnTo>
                        <a:lnTo>
                          <a:pt x="67" y="76"/>
                        </a:lnTo>
                        <a:lnTo>
                          <a:pt x="70" y="77"/>
                        </a:lnTo>
                        <a:lnTo>
                          <a:pt x="73" y="80"/>
                        </a:lnTo>
                        <a:lnTo>
                          <a:pt x="76" y="83"/>
                        </a:lnTo>
                        <a:lnTo>
                          <a:pt x="77" y="86"/>
                        </a:lnTo>
                        <a:lnTo>
                          <a:pt x="81" y="86"/>
                        </a:lnTo>
                        <a:lnTo>
                          <a:pt x="84" y="85"/>
                        </a:lnTo>
                        <a:lnTo>
                          <a:pt x="87" y="85"/>
                        </a:lnTo>
                        <a:lnTo>
                          <a:pt x="90" y="86"/>
                        </a:lnTo>
                        <a:lnTo>
                          <a:pt x="92" y="86"/>
                        </a:lnTo>
                        <a:lnTo>
                          <a:pt x="96" y="88"/>
                        </a:lnTo>
                        <a:lnTo>
                          <a:pt x="100" y="88"/>
                        </a:lnTo>
                        <a:lnTo>
                          <a:pt x="103" y="88"/>
                        </a:lnTo>
                        <a:lnTo>
                          <a:pt x="105" y="89"/>
                        </a:lnTo>
                        <a:lnTo>
                          <a:pt x="107" y="93"/>
                        </a:lnTo>
                        <a:lnTo>
                          <a:pt x="109" y="97"/>
                        </a:lnTo>
                        <a:lnTo>
                          <a:pt x="110" y="102"/>
                        </a:lnTo>
                        <a:lnTo>
                          <a:pt x="112" y="105"/>
                        </a:lnTo>
                        <a:lnTo>
                          <a:pt x="114" y="107"/>
                        </a:lnTo>
                        <a:lnTo>
                          <a:pt x="115" y="107"/>
                        </a:lnTo>
                        <a:lnTo>
                          <a:pt x="116" y="107"/>
                        </a:lnTo>
                        <a:lnTo>
                          <a:pt x="118" y="109"/>
                        </a:lnTo>
                        <a:lnTo>
                          <a:pt x="118" y="110"/>
                        </a:lnTo>
                        <a:lnTo>
                          <a:pt x="119" y="111"/>
                        </a:lnTo>
                        <a:lnTo>
                          <a:pt x="121" y="112"/>
                        </a:lnTo>
                        <a:lnTo>
                          <a:pt x="124" y="113"/>
                        </a:lnTo>
                        <a:lnTo>
                          <a:pt x="127" y="114"/>
                        </a:lnTo>
                        <a:lnTo>
                          <a:pt x="130" y="114"/>
                        </a:lnTo>
                        <a:lnTo>
                          <a:pt x="135" y="115"/>
                        </a:lnTo>
                        <a:lnTo>
                          <a:pt x="138" y="115"/>
                        </a:lnTo>
                        <a:lnTo>
                          <a:pt x="140" y="117"/>
                        </a:lnTo>
                        <a:lnTo>
                          <a:pt x="142" y="118"/>
                        </a:lnTo>
                        <a:lnTo>
                          <a:pt x="146" y="119"/>
                        </a:lnTo>
                        <a:lnTo>
                          <a:pt x="150" y="119"/>
                        </a:lnTo>
                        <a:lnTo>
                          <a:pt x="150" y="113"/>
                        </a:lnTo>
                        <a:lnTo>
                          <a:pt x="151" y="109"/>
                        </a:lnTo>
                        <a:lnTo>
                          <a:pt x="151" y="106"/>
                        </a:lnTo>
                        <a:lnTo>
                          <a:pt x="152" y="103"/>
                        </a:lnTo>
                        <a:lnTo>
                          <a:pt x="156" y="99"/>
                        </a:lnTo>
                        <a:lnTo>
                          <a:pt x="159" y="97"/>
                        </a:lnTo>
                        <a:lnTo>
                          <a:pt x="163" y="95"/>
                        </a:lnTo>
                        <a:lnTo>
                          <a:pt x="162" y="94"/>
                        </a:lnTo>
                        <a:lnTo>
                          <a:pt x="163" y="93"/>
                        </a:lnTo>
                        <a:lnTo>
                          <a:pt x="163" y="91"/>
                        </a:lnTo>
                        <a:lnTo>
                          <a:pt x="163" y="89"/>
                        </a:lnTo>
                        <a:lnTo>
                          <a:pt x="160" y="87"/>
                        </a:lnTo>
                        <a:lnTo>
                          <a:pt x="159" y="86"/>
                        </a:lnTo>
                        <a:lnTo>
                          <a:pt x="156" y="85"/>
                        </a:lnTo>
                        <a:lnTo>
                          <a:pt x="154" y="83"/>
                        </a:lnTo>
                        <a:lnTo>
                          <a:pt x="154" y="81"/>
                        </a:lnTo>
                        <a:lnTo>
                          <a:pt x="155" y="79"/>
                        </a:lnTo>
                        <a:lnTo>
                          <a:pt x="157" y="77"/>
                        </a:lnTo>
                        <a:lnTo>
                          <a:pt x="157" y="73"/>
                        </a:lnTo>
                        <a:lnTo>
                          <a:pt x="156" y="72"/>
                        </a:lnTo>
                        <a:lnTo>
                          <a:pt x="154" y="71"/>
                        </a:lnTo>
                        <a:lnTo>
                          <a:pt x="151" y="69"/>
                        </a:lnTo>
                        <a:lnTo>
                          <a:pt x="150" y="67"/>
                        </a:lnTo>
                        <a:lnTo>
                          <a:pt x="151" y="61"/>
                        </a:lnTo>
                        <a:lnTo>
                          <a:pt x="154" y="57"/>
                        </a:lnTo>
                        <a:lnTo>
                          <a:pt x="157" y="54"/>
                        </a:lnTo>
                        <a:lnTo>
                          <a:pt x="160" y="51"/>
                        </a:lnTo>
                        <a:lnTo>
                          <a:pt x="160" y="48"/>
                        </a:lnTo>
                        <a:lnTo>
                          <a:pt x="160" y="45"/>
                        </a:lnTo>
                        <a:lnTo>
                          <a:pt x="162" y="41"/>
                        </a:lnTo>
                        <a:lnTo>
                          <a:pt x="163" y="38"/>
                        </a:lnTo>
                        <a:lnTo>
                          <a:pt x="166" y="33"/>
                        </a:lnTo>
                        <a:lnTo>
                          <a:pt x="170" y="25"/>
                        </a:lnTo>
                        <a:lnTo>
                          <a:pt x="175" y="18"/>
                        </a:lnTo>
                        <a:lnTo>
                          <a:pt x="179" y="12"/>
                        </a:lnTo>
                        <a:lnTo>
                          <a:pt x="180" y="11"/>
                        </a:lnTo>
                        <a:lnTo>
                          <a:pt x="183" y="8"/>
                        </a:lnTo>
                        <a:lnTo>
                          <a:pt x="186" y="3"/>
                        </a:lnTo>
                        <a:lnTo>
                          <a:pt x="186" y="1"/>
                        </a:lnTo>
                        <a:lnTo>
                          <a:pt x="18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0" name="Freeform 1836">
                    <a:extLst>
                      <a:ext uri="{FF2B5EF4-FFF2-40B4-BE49-F238E27FC236}">
                        <a16:creationId xmlns:a16="http://schemas.microsoft.com/office/drawing/2014/main" xmlns="" id="{91F61341-66B1-4E67-9691-2D55AE0A892A}"/>
                      </a:ext>
                    </a:extLst>
                  </p:cNvPr>
                  <p:cNvSpPr>
                    <a:spLocks/>
                  </p:cNvSpPr>
                  <p:nvPr/>
                </p:nvSpPr>
                <p:spPr bwMode="gray">
                  <a:xfrm>
                    <a:off x="4407678" y="4596954"/>
                    <a:ext cx="3338" cy="3337"/>
                  </a:xfrm>
                  <a:custGeom>
                    <a:avLst/>
                    <a:gdLst>
                      <a:gd name="T0" fmla="*/ 0 w 3"/>
                      <a:gd name="T1" fmla="*/ 0 h 3"/>
                      <a:gd name="T2" fmla="*/ 0 w 3"/>
                      <a:gd name="T3" fmla="*/ 2147483647 h 3"/>
                      <a:gd name="T4" fmla="*/ 2147483647 w 3"/>
                      <a:gd name="T5" fmla="*/ 2147483647 h 3"/>
                      <a:gd name="T6" fmla="*/ 2147483647 w 3"/>
                      <a:gd name="T7" fmla="*/ 2147483647 h 3"/>
                      <a:gd name="T8" fmla="*/ 2147483647 w 3"/>
                      <a:gd name="T9" fmla="*/ 2147483647 h 3"/>
                      <a:gd name="T10" fmla="*/ 2147483647 w 3"/>
                      <a:gd name="T11" fmla="*/ 0 h 3"/>
                      <a:gd name="T12" fmla="*/ 0 w 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3">
                        <a:moveTo>
                          <a:pt x="0" y="0"/>
                        </a:moveTo>
                        <a:lnTo>
                          <a:pt x="0" y="3"/>
                        </a:lnTo>
                        <a:lnTo>
                          <a:pt x="3" y="3"/>
                        </a:lnTo>
                        <a:lnTo>
                          <a:pt x="1" y="2"/>
                        </a:lnTo>
                        <a:lnTo>
                          <a:pt x="1" y="1"/>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1" name="Freeform 1838">
                    <a:extLst>
                      <a:ext uri="{FF2B5EF4-FFF2-40B4-BE49-F238E27FC236}">
                        <a16:creationId xmlns:a16="http://schemas.microsoft.com/office/drawing/2014/main" xmlns="" id="{B4D707F6-7A72-43FB-8854-EF0D9D70EE46}"/>
                      </a:ext>
                    </a:extLst>
                  </p:cNvPr>
                  <p:cNvSpPr>
                    <a:spLocks/>
                  </p:cNvSpPr>
                  <p:nvPr/>
                </p:nvSpPr>
                <p:spPr bwMode="gray">
                  <a:xfrm>
                    <a:off x="4393216" y="4421186"/>
                    <a:ext cx="8900" cy="7787"/>
                  </a:xfrm>
                  <a:custGeom>
                    <a:avLst/>
                    <a:gdLst>
                      <a:gd name="T0" fmla="*/ 2147483647 w 8"/>
                      <a:gd name="T1" fmla="*/ 2147483647 h 7"/>
                      <a:gd name="T2" fmla="*/ 2147483647 w 8"/>
                      <a:gd name="T3" fmla="*/ 2147483647 h 7"/>
                      <a:gd name="T4" fmla="*/ 2147483647 w 8"/>
                      <a:gd name="T5" fmla="*/ 2147483647 h 7"/>
                      <a:gd name="T6" fmla="*/ 2147483647 w 8"/>
                      <a:gd name="T7" fmla="*/ 0 h 7"/>
                      <a:gd name="T8" fmla="*/ 2147483647 w 8"/>
                      <a:gd name="T9" fmla="*/ 0 h 7"/>
                      <a:gd name="T10" fmla="*/ 2147483647 w 8"/>
                      <a:gd name="T11" fmla="*/ 2147483647 h 7"/>
                      <a:gd name="T12" fmla="*/ 2147483647 w 8"/>
                      <a:gd name="T13" fmla="*/ 2147483647 h 7"/>
                      <a:gd name="T14" fmla="*/ 2147483647 w 8"/>
                      <a:gd name="T15" fmla="*/ 2147483647 h 7"/>
                      <a:gd name="T16" fmla="*/ 0 w 8"/>
                      <a:gd name="T17" fmla="*/ 2147483647 h 7"/>
                      <a:gd name="T18" fmla="*/ 0 w 8"/>
                      <a:gd name="T19" fmla="*/ 2147483647 h 7"/>
                      <a:gd name="T20" fmla="*/ 2147483647 w 8"/>
                      <a:gd name="T21" fmla="*/ 2147483647 h 7"/>
                      <a:gd name="T22" fmla="*/ 2147483647 w 8"/>
                      <a:gd name="T23" fmla="*/ 2147483647 h 7"/>
                      <a:gd name="T24" fmla="*/ 2147483647 w 8"/>
                      <a:gd name="T25" fmla="*/ 2147483647 h 7"/>
                      <a:gd name="T26" fmla="*/ 2147483647 w 8"/>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7">
                        <a:moveTo>
                          <a:pt x="8" y="3"/>
                        </a:moveTo>
                        <a:lnTo>
                          <a:pt x="8" y="3"/>
                        </a:lnTo>
                        <a:lnTo>
                          <a:pt x="7" y="1"/>
                        </a:lnTo>
                        <a:lnTo>
                          <a:pt x="6" y="0"/>
                        </a:lnTo>
                        <a:lnTo>
                          <a:pt x="3" y="0"/>
                        </a:lnTo>
                        <a:lnTo>
                          <a:pt x="3" y="2"/>
                        </a:lnTo>
                        <a:lnTo>
                          <a:pt x="3" y="3"/>
                        </a:lnTo>
                        <a:lnTo>
                          <a:pt x="0" y="3"/>
                        </a:lnTo>
                        <a:lnTo>
                          <a:pt x="0" y="7"/>
                        </a:lnTo>
                        <a:lnTo>
                          <a:pt x="5" y="7"/>
                        </a:lnTo>
                        <a:lnTo>
                          <a:pt x="7" y="7"/>
                        </a:lnTo>
                        <a:lnTo>
                          <a:pt x="8" y="7"/>
                        </a:lnTo>
                        <a:lnTo>
                          <a:pt x="8"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2" name="Freeform 1840">
                    <a:extLst>
                      <a:ext uri="{FF2B5EF4-FFF2-40B4-BE49-F238E27FC236}">
                        <a16:creationId xmlns:a16="http://schemas.microsoft.com/office/drawing/2014/main" xmlns="" id="{A0504DBD-FC69-48F7-B9F2-2096E9A4E767}"/>
                      </a:ext>
                    </a:extLst>
                  </p:cNvPr>
                  <p:cNvSpPr>
                    <a:spLocks/>
                  </p:cNvSpPr>
                  <p:nvPr/>
                </p:nvSpPr>
                <p:spPr bwMode="gray">
                  <a:xfrm>
                    <a:off x="4145123" y="4295480"/>
                    <a:ext cx="4450" cy="4450"/>
                  </a:xfrm>
                  <a:custGeom>
                    <a:avLst/>
                    <a:gdLst>
                      <a:gd name="T0" fmla="*/ 2147483647 w 4"/>
                      <a:gd name="T1" fmla="*/ 0 h 4"/>
                      <a:gd name="T2" fmla="*/ 2147483647 w 4"/>
                      <a:gd name="T3" fmla="*/ 0 h 4"/>
                      <a:gd name="T4" fmla="*/ 2147483647 w 4"/>
                      <a:gd name="T5" fmla="*/ 0 h 4"/>
                      <a:gd name="T6" fmla="*/ 2147483647 w 4"/>
                      <a:gd name="T7" fmla="*/ 0 h 4"/>
                      <a:gd name="T8" fmla="*/ 2147483647 w 4"/>
                      <a:gd name="T9" fmla="*/ 0 h 4"/>
                      <a:gd name="T10" fmla="*/ 2147483647 w 4"/>
                      <a:gd name="T11" fmla="*/ 2147483647 h 4"/>
                      <a:gd name="T12" fmla="*/ 0 w 4"/>
                      <a:gd name="T13" fmla="*/ 2147483647 h 4"/>
                      <a:gd name="T14" fmla="*/ 0 w 4"/>
                      <a:gd name="T15" fmla="*/ 2147483647 h 4"/>
                      <a:gd name="T16" fmla="*/ 2147483647 w 4"/>
                      <a:gd name="T17" fmla="*/ 2147483647 h 4"/>
                      <a:gd name="T18" fmla="*/ 2147483647 w 4"/>
                      <a:gd name="T19" fmla="*/ 2147483647 h 4"/>
                      <a:gd name="T20" fmla="*/ 2147483647 w 4"/>
                      <a:gd name="T21" fmla="*/ 2147483647 h 4"/>
                      <a:gd name="T22" fmla="*/ 2147483647 w 4"/>
                      <a:gd name="T23" fmla="*/ 2147483647 h 4"/>
                      <a:gd name="T24" fmla="*/ 2147483647 w 4"/>
                      <a:gd name="T25" fmla="*/ 2147483647 h 4"/>
                      <a:gd name="T26" fmla="*/ 2147483647 w 4"/>
                      <a:gd name="T27" fmla="*/ 2147483647 h 4"/>
                      <a:gd name="T28" fmla="*/ 2147483647 w 4"/>
                      <a:gd name="T29" fmla="*/ 2147483647 h 4"/>
                      <a:gd name="T30" fmla="*/ 2147483647 w 4"/>
                      <a:gd name="T31" fmla="*/ 0 h 4"/>
                      <a:gd name="T32" fmla="*/ 2147483647 w 4"/>
                      <a:gd name="T33" fmla="*/ 0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4">
                        <a:moveTo>
                          <a:pt x="4" y="0"/>
                        </a:moveTo>
                        <a:lnTo>
                          <a:pt x="4" y="0"/>
                        </a:lnTo>
                        <a:lnTo>
                          <a:pt x="3" y="0"/>
                        </a:lnTo>
                        <a:lnTo>
                          <a:pt x="2" y="0"/>
                        </a:lnTo>
                        <a:lnTo>
                          <a:pt x="1" y="0"/>
                        </a:lnTo>
                        <a:lnTo>
                          <a:pt x="1" y="1"/>
                        </a:lnTo>
                        <a:lnTo>
                          <a:pt x="0" y="1"/>
                        </a:lnTo>
                        <a:lnTo>
                          <a:pt x="1" y="3"/>
                        </a:lnTo>
                        <a:lnTo>
                          <a:pt x="2" y="4"/>
                        </a:lnTo>
                        <a:lnTo>
                          <a:pt x="3" y="4"/>
                        </a:lnTo>
                        <a:lnTo>
                          <a:pt x="4" y="3"/>
                        </a:lnTo>
                        <a:lnTo>
                          <a:pt x="4" y="2"/>
                        </a:lnTo>
                        <a:lnTo>
                          <a:pt x="4" y="1"/>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3" name="Freeform 1842">
                    <a:extLst>
                      <a:ext uri="{FF2B5EF4-FFF2-40B4-BE49-F238E27FC236}">
                        <a16:creationId xmlns:a16="http://schemas.microsoft.com/office/drawing/2014/main" xmlns="" id="{AF874205-69D9-405F-A538-F7DDFC40F47B}"/>
                      </a:ext>
                    </a:extLst>
                  </p:cNvPr>
                  <p:cNvSpPr>
                    <a:spLocks/>
                  </p:cNvSpPr>
                  <p:nvPr/>
                </p:nvSpPr>
                <p:spPr bwMode="gray">
                  <a:xfrm>
                    <a:off x="4149573" y="4135287"/>
                    <a:ext cx="109027" cy="189117"/>
                  </a:xfrm>
                  <a:custGeom>
                    <a:avLst/>
                    <a:gdLst>
                      <a:gd name="T0" fmla="*/ 2147483647 w 98"/>
                      <a:gd name="T1" fmla="*/ 2147483647 h 170"/>
                      <a:gd name="T2" fmla="*/ 2147483647 w 98"/>
                      <a:gd name="T3" fmla="*/ 2147483647 h 170"/>
                      <a:gd name="T4" fmla="*/ 2147483647 w 98"/>
                      <a:gd name="T5" fmla="*/ 0 h 170"/>
                      <a:gd name="T6" fmla="*/ 2147483647 w 98"/>
                      <a:gd name="T7" fmla="*/ 2147483647 h 170"/>
                      <a:gd name="T8" fmla="*/ 2147483647 w 98"/>
                      <a:gd name="T9" fmla="*/ 2147483647 h 170"/>
                      <a:gd name="T10" fmla="*/ 2147483647 w 98"/>
                      <a:gd name="T11" fmla="*/ 2147483647 h 170"/>
                      <a:gd name="T12" fmla="*/ 2147483647 w 98"/>
                      <a:gd name="T13" fmla="*/ 2147483647 h 170"/>
                      <a:gd name="T14" fmla="*/ 2147483647 w 98"/>
                      <a:gd name="T15" fmla="*/ 2147483647 h 170"/>
                      <a:gd name="T16" fmla="*/ 2147483647 w 98"/>
                      <a:gd name="T17" fmla="*/ 2147483647 h 170"/>
                      <a:gd name="T18" fmla="*/ 2147483647 w 98"/>
                      <a:gd name="T19" fmla="*/ 2147483647 h 170"/>
                      <a:gd name="T20" fmla="*/ 2147483647 w 98"/>
                      <a:gd name="T21" fmla="*/ 2147483647 h 170"/>
                      <a:gd name="T22" fmla="*/ 2147483647 w 98"/>
                      <a:gd name="T23" fmla="*/ 2147483647 h 170"/>
                      <a:gd name="T24" fmla="*/ 2147483647 w 98"/>
                      <a:gd name="T25" fmla="*/ 2147483647 h 170"/>
                      <a:gd name="T26" fmla="*/ 2147483647 w 98"/>
                      <a:gd name="T27" fmla="*/ 2147483647 h 170"/>
                      <a:gd name="T28" fmla="*/ 2147483647 w 98"/>
                      <a:gd name="T29" fmla="*/ 2147483647 h 170"/>
                      <a:gd name="T30" fmla="*/ 2147483647 w 98"/>
                      <a:gd name="T31" fmla="*/ 2147483647 h 170"/>
                      <a:gd name="T32" fmla="*/ 2147483647 w 98"/>
                      <a:gd name="T33" fmla="*/ 2147483647 h 170"/>
                      <a:gd name="T34" fmla="*/ 2147483647 w 98"/>
                      <a:gd name="T35" fmla="*/ 2147483647 h 170"/>
                      <a:gd name="T36" fmla="*/ 2147483647 w 98"/>
                      <a:gd name="T37" fmla="*/ 2147483647 h 170"/>
                      <a:gd name="T38" fmla="*/ 2147483647 w 98"/>
                      <a:gd name="T39" fmla="*/ 2147483647 h 170"/>
                      <a:gd name="T40" fmla="*/ 2147483647 w 98"/>
                      <a:gd name="T41" fmla="*/ 2147483647 h 170"/>
                      <a:gd name="T42" fmla="*/ 2147483647 w 98"/>
                      <a:gd name="T43" fmla="*/ 2147483647 h 170"/>
                      <a:gd name="T44" fmla="*/ 2147483647 w 98"/>
                      <a:gd name="T45" fmla="*/ 2147483647 h 170"/>
                      <a:gd name="T46" fmla="*/ 2147483647 w 98"/>
                      <a:gd name="T47" fmla="*/ 2147483647 h 170"/>
                      <a:gd name="T48" fmla="*/ 2147483647 w 98"/>
                      <a:gd name="T49" fmla="*/ 2147483647 h 170"/>
                      <a:gd name="T50" fmla="*/ 2147483647 w 98"/>
                      <a:gd name="T51" fmla="*/ 2147483647 h 170"/>
                      <a:gd name="T52" fmla="*/ 2147483647 w 98"/>
                      <a:gd name="T53" fmla="*/ 2147483647 h 170"/>
                      <a:gd name="T54" fmla="*/ 2147483647 w 98"/>
                      <a:gd name="T55" fmla="*/ 2147483647 h 170"/>
                      <a:gd name="T56" fmla="*/ 2147483647 w 98"/>
                      <a:gd name="T57" fmla="*/ 2147483647 h 170"/>
                      <a:gd name="T58" fmla="*/ 2147483647 w 98"/>
                      <a:gd name="T59" fmla="*/ 2147483647 h 170"/>
                      <a:gd name="T60" fmla="*/ 2147483647 w 98"/>
                      <a:gd name="T61" fmla="*/ 2147483647 h 170"/>
                      <a:gd name="T62" fmla="*/ 2147483647 w 98"/>
                      <a:gd name="T63" fmla="*/ 2147483647 h 170"/>
                      <a:gd name="T64" fmla="*/ 2147483647 w 98"/>
                      <a:gd name="T65" fmla="*/ 2147483647 h 170"/>
                      <a:gd name="T66" fmla="*/ 0 w 98"/>
                      <a:gd name="T67" fmla="*/ 2147483647 h 170"/>
                      <a:gd name="T68" fmla="*/ 2147483647 w 98"/>
                      <a:gd name="T69" fmla="*/ 2147483647 h 170"/>
                      <a:gd name="T70" fmla="*/ 2147483647 w 98"/>
                      <a:gd name="T71" fmla="*/ 2147483647 h 170"/>
                      <a:gd name="T72" fmla="*/ 2147483647 w 98"/>
                      <a:gd name="T73" fmla="*/ 2147483647 h 170"/>
                      <a:gd name="T74" fmla="*/ 2147483647 w 98"/>
                      <a:gd name="T75" fmla="*/ 2147483647 h 170"/>
                      <a:gd name="T76" fmla="*/ 2147483647 w 98"/>
                      <a:gd name="T77" fmla="*/ 2147483647 h 170"/>
                      <a:gd name="T78" fmla="*/ 2147483647 w 98"/>
                      <a:gd name="T79" fmla="*/ 2147483647 h 170"/>
                      <a:gd name="T80" fmla="*/ 2147483647 w 98"/>
                      <a:gd name="T81" fmla="*/ 2147483647 h 170"/>
                      <a:gd name="T82" fmla="*/ 2147483647 w 98"/>
                      <a:gd name="T83" fmla="*/ 2147483647 h 170"/>
                      <a:gd name="T84" fmla="*/ 2147483647 w 98"/>
                      <a:gd name="T85" fmla="*/ 2147483647 h 170"/>
                      <a:gd name="T86" fmla="*/ 2147483647 w 98"/>
                      <a:gd name="T87" fmla="*/ 2147483647 h 170"/>
                      <a:gd name="T88" fmla="*/ 2147483647 w 98"/>
                      <a:gd name="T89" fmla="*/ 2147483647 h 170"/>
                      <a:gd name="T90" fmla="*/ 2147483647 w 98"/>
                      <a:gd name="T91" fmla="*/ 2147483647 h 170"/>
                      <a:gd name="T92" fmla="*/ 2147483647 w 98"/>
                      <a:gd name="T93" fmla="*/ 2147483647 h 170"/>
                      <a:gd name="T94" fmla="*/ 2147483647 w 98"/>
                      <a:gd name="T95" fmla="*/ 2147483647 h 170"/>
                      <a:gd name="T96" fmla="*/ 2147483647 w 98"/>
                      <a:gd name="T97" fmla="*/ 2147483647 h 170"/>
                      <a:gd name="T98" fmla="*/ 2147483647 w 98"/>
                      <a:gd name="T99" fmla="*/ 2147483647 h 170"/>
                      <a:gd name="T100" fmla="*/ 2147483647 w 98"/>
                      <a:gd name="T101" fmla="*/ 2147483647 h 170"/>
                      <a:gd name="T102" fmla="*/ 2147483647 w 98"/>
                      <a:gd name="T103" fmla="*/ 2147483647 h 170"/>
                      <a:gd name="T104" fmla="*/ 2147483647 w 98"/>
                      <a:gd name="T105" fmla="*/ 2147483647 h 170"/>
                      <a:gd name="T106" fmla="*/ 2147483647 w 98"/>
                      <a:gd name="T107" fmla="*/ 2147483647 h 170"/>
                      <a:gd name="T108" fmla="*/ 2147483647 w 98"/>
                      <a:gd name="T109" fmla="*/ 2147483647 h 170"/>
                      <a:gd name="T110" fmla="*/ 2147483647 w 98"/>
                      <a:gd name="T111" fmla="*/ 2147483647 h 170"/>
                      <a:gd name="T112" fmla="*/ 2147483647 w 98"/>
                      <a:gd name="T113" fmla="*/ 2147483647 h 170"/>
                      <a:gd name="T114" fmla="*/ 2147483647 w 98"/>
                      <a:gd name="T115" fmla="*/ 2147483647 h 170"/>
                      <a:gd name="T116" fmla="*/ 2147483647 w 98"/>
                      <a:gd name="T117" fmla="*/ 2147483647 h 170"/>
                      <a:gd name="T118" fmla="*/ 2147483647 w 98"/>
                      <a:gd name="T119" fmla="*/ 2147483647 h 1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8" h="170">
                        <a:moveTo>
                          <a:pt x="93" y="29"/>
                        </a:moveTo>
                        <a:lnTo>
                          <a:pt x="91" y="26"/>
                        </a:lnTo>
                        <a:lnTo>
                          <a:pt x="90" y="22"/>
                        </a:lnTo>
                        <a:lnTo>
                          <a:pt x="90" y="12"/>
                        </a:lnTo>
                        <a:lnTo>
                          <a:pt x="89" y="12"/>
                        </a:lnTo>
                        <a:lnTo>
                          <a:pt x="87" y="12"/>
                        </a:lnTo>
                        <a:lnTo>
                          <a:pt x="85" y="6"/>
                        </a:lnTo>
                        <a:lnTo>
                          <a:pt x="81" y="4"/>
                        </a:lnTo>
                        <a:lnTo>
                          <a:pt x="78" y="2"/>
                        </a:lnTo>
                        <a:lnTo>
                          <a:pt x="70" y="0"/>
                        </a:lnTo>
                        <a:lnTo>
                          <a:pt x="70" y="2"/>
                        </a:lnTo>
                        <a:lnTo>
                          <a:pt x="70" y="3"/>
                        </a:lnTo>
                        <a:lnTo>
                          <a:pt x="69" y="5"/>
                        </a:lnTo>
                        <a:lnTo>
                          <a:pt x="67" y="6"/>
                        </a:lnTo>
                        <a:lnTo>
                          <a:pt x="66" y="6"/>
                        </a:lnTo>
                        <a:lnTo>
                          <a:pt x="65" y="6"/>
                        </a:lnTo>
                        <a:lnTo>
                          <a:pt x="65" y="9"/>
                        </a:lnTo>
                        <a:lnTo>
                          <a:pt x="64" y="9"/>
                        </a:lnTo>
                        <a:lnTo>
                          <a:pt x="63" y="9"/>
                        </a:lnTo>
                        <a:lnTo>
                          <a:pt x="58" y="9"/>
                        </a:lnTo>
                        <a:lnTo>
                          <a:pt x="58" y="11"/>
                        </a:lnTo>
                        <a:lnTo>
                          <a:pt x="58" y="12"/>
                        </a:lnTo>
                        <a:lnTo>
                          <a:pt x="56" y="14"/>
                        </a:lnTo>
                        <a:lnTo>
                          <a:pt x="54" y="15"/>
                        </a:lnTo>
                        <a:lnTo>
                          <a:pt x="52" y="15"/>
                        </a:lnTo>
                        <a:lnTo>
                          <a:pt x="51" y="15"/>
                        </a:lnTo>
                        <a:lnTo>
                          <a:pt x="49" y="16"/>
                        </a:lnTo>
                        <a:lnTo>
                          <a:pt x="48" y="17"/>
                        </a:lnTo>
                        <a:lnTo>
                          <a:pt x="48" y="18"/>
                        </a:lnTo>
                        <a:lnTo>
                          <a:pt x="48" y="19"/>
                        </a:lnTo>
                        <a:lnTo>
                          <a:pt x="45" y="20"/>
                        </a:lnTo>
                        <a:lnTo>
                          <a:pt x="44" y="21"/>
                        </a:lnTo>
                        <a:lnTo>
                          <a:pt x="41" y="21"/>
                        </a:lnTo>
                        <a:lnTo>
                          <a:pt x="39" y="22"/>
                        </a:lnTo>
                        <a:lnTo>
                          <a:pt x="38" y="23"/>
                        </a:lnTo>
                        <a:lnTo>
                          <a:pt x="37" y="24"/>
                        </a:lnTo>
                        <a:lnTo>
                          <a:pt x="36" y="25"/>
                        </a:lnTo>
                        <a:lnTo>
                          <a:pt x="32" y="25"/>
                        </a:lnTo>
                        <a:lnTo>
                          <a:pt x="30" y="24"/>
                        </a:lnTo>
                        <a:lnTo>
                          <a:pt x="29" y="23"/>
                        </a:lnTo>
                        <a:lnTo>
                          <a:pt x="26" y="22"/>
                        </a:lnTo>
                        <a:lnTo>
                          <a:pt x="24" y="21"/>
                        </a:lnTo>
                        <a:lnTo>
                          <a:pt x="23" y="22"/>
                        </a:lnTo>
                        <a:lnTo>
                          <a:pt x="21" y="21"/>
                        </a:lnTo>
                        <a:lnTo>
                          <a:pt x="20" y="19"/>
                        </a:lnTo>
                        <a:lnTo>
                          <a:pt x="18" y="17"/>
                        </a:lnTo>
                        <a:lnTo>
                          <a:pt x="16" y="15"/>
                        </a:lnTo>
                        <a:lnTo>
                          <a:pt x="16" y="17"/>
                        </a:lnTo>
                        <a:lnTo>
                          <a:pt x="16" y="19"/>
                        </a:lnTo>
                        <a:lnTo>
                          <a:pt x="16" y="20"/>
                        </a:lnTo>
                        <a:lnTo>
                          <a:pt x="16" y="22"/>
                        </a:lnTo>
                        <a:lnTo>
                          <a:pt x="16" y="23"/>
                        </a:lnTo>
                        <a:lnTo>
                          <a:pt x="15" y="24"/>
                        </a:lnTo>
                        <a:lnTo>
                          <a:pt x="14" y="26"/>
                        </a:lnTo>
                        <a:lnTo>
                          <a:pt x="13" y="29"/>
                        </a:lnTo>
                        <a:lnTo>
                          <a:pt x="12" y="30"/>
                        </a:lnTo>
                        <a:lnTo>
                          <a:pt x="12" y="31"/>
                        </a:lnTo>
                        <a:lnTo>
                          <a:pt x="13" y="33"/>
                        </a:lnTo>
                        <a:lnTo>
                          <a:pt x="13" y="35"/>
                        </a:lnTo>
                        <a:lnTo>
                          <a:pt x="11" y="37"/>
                        </a:lnTo>
                        <a:lnTo>
                          <a:pt x="10" y="38"/>
                        </a:lnTo>
                        <a:lnTo>
                          <a:pt x="10" y="39"/>
                        </a:lnTo>
                        <a:lnTo>
                          <a:pt x="10" y="41"/>
                        </a:lnTo>
                        <a:lnTo>
                          <a:pt x="12" y="42"/>
                        </a:lnTo>
                        <a:lnTo>
                          <a:pt x="15" y="43"/>
                        </a:lnTo>
                        <a:lnTo>
                          <a:pt x="17" y="44"/>
                        </a:lnTo>
                        <a:lnTo>
                          <a:pt x="20" y="45"/>
                        </a:lnTo>
                        <a:lnTo>
                          <a:pt x="20" y="54"/>
                        </a:lnTo>
                        <a:lnTo>
                          <a:pt x="20" y="58"/>
                        </a:lnTo>
                        <a:lnTo>
                          <a:pt x="20" y="60"/>
                        </a:lnTo>
                        <a:lnTo>
                          <a:pt x="20" y="61"/>
                        </a:lnTo>
                        <a:lnTo>
                          <a:pt x="21" y="62"/>
                        </a:lnTo>
                        <a:lnTo>
                          <a:pt x="23" y="63"/>
                        </a:lnTo>
                        <a:lnTo>
                          <a:pt x="23" y="64"/>
                        </a:lnTo>
                        <a:lnTo>
                          <a:pt x="23" y="73"/>
                        </a:lnTo>
                        <a:lnTo>
                          <a:pt x="23" y="76"/>
                        </a:lnTo>
                        <a:lnTo>
                          <a:pt x="23" y="79"/>
                        </a:lnTo>
                        <a:lnTo>
                          <a:pt x="23" y="80"/>
                        </a:lnTo>
                        <a:lnTo>
                          <a:pt x="21" y="80"/>
                        </a:lnTo>
                        <a:lnTo>
                          <a:pt x="20" y="80"/>
                        </a:lnTo>
                        <a:lnTo>
                          <a:pt x="18" y="80"/>
                        </a:lnTo>
                        <a:lnTo>
                          <a:pt x="16" y="80"/>
                        </a:lnTo>
                        <a:lnTo>
                          <a:pt x="16" y="83"/>
                        </a:lnTo>
                        <a:lnTo>
                          <a:pt x="16" y="86"/>
                        </a:lnTo>
                        <a:lnTo>
                          <a:pt x="16" y="90"/>
                        </a:lnTo>
                        <a:lnTo>
                          <a:pt x="16" y="92"/>
                        </a:lnTo>
                        <a:lnTo>
                          <a:pt x="20" y="94"/>
                        </a:lnTo>
                        <a:lnTo>
                          <a:pt x="21" y="94"/>
                        </a:lnTo>
                        <a:lnTo>
                          <a:pt x="21" y="95"/>
                        </a:lnTo>
                        <a:lnTo>
                          <a:pt x="23" y="99"/>
                        </a:lnTo>
                        <a:lnTo>
                          <a:pt x="21" y="99"/>
                        </a:lnTo>
                        <a:lnTo>
                          <a:pt x="20" y="100"/>
                        </a:lnTo>
                        <a:lnTo>
                          <a:pt x="20" y="102"/>
                        </a:lnTo>
                        <a:lnTo>
                          <a:pt x="20" y="100"/>
                        </a:lnTo>
                        <a:lnTo>
                          <a:pt x="20" y="99"/>
                        </a:lnTo>
                        <a:lnTo>
                          <a:pt x="16" y="99"/>
                        </a:lnTo>
                        <a:lnTo>
                          <a:pt x="16" y="102"/>
                        </a:lnTo>
                        <a:lnTo>
                          <a:pt x="15" y="106"/>
                        </a:lnTo>
                        <a:lnTo>
                          <a:pt x="14" y="111"/>
                        </a:lnTo>
                        <a:lnTo>
                          <a:pt x="13" y="115"/>
                        </a:lnTo>
                        <a:lnTo>
                          <a:pt x="13" y="117"/>
                        </a:lnTo>
                        <a:lnTo>
                          <a:pt x="13" y="121"/>
                        </a:lnTo>
                        <a:lnTo>
                          <a:pt x="11" y="121"/>
                        </a:lnTo>
                        <a:lnTo>
                          <a:pt x="10" y="121"/>
                        </a:lnTo>
                        <a:lnTo>
                          <a:pt x="10" y="131"/>
                        </a:lnTo>
                        <a:lnTo>
                          <a:pt x="6" y="135"/>
                        </a:lnTo>
                        <a:lnTo>
                          <a:pt x="6" y="138"/>
                        </a:lnTo>
                        <a:lnTo>
                          <a:pt x="6" y="140"/>
                        </a:lnTo>
                        <a:lnTo>
                          <a:pt x="6" y="144"/>
                        </a:lnTo>
                        <a:lnTo>
                          <a:pt x="6" y="147"/>
                        </a:lnTo>
                        <a:lnTo>
                          <a:pt x="3" y="147"/>
                        </a:lnTo>
                        <a:lnTo>
                          <a:pt x="3" y="149"/>
                        </a:lnTo>
                        <a:lnTo>
                          <a:pt x="3" y="150"/>
                        </a:lnTo>
                        <a:lnTo>
                          <a:pt x="0" y="150"/>
                        </a:lnTo>
                        <a:lnTo>
                          <a:pt x="0" y="151"/>
                        </a:lnTo>
                        <a:lnTo>
                          <a:pt x="0" y="153"/>
                        </a:lnTo>
                        <a:lnTo>
                          <a:pt x="0" y="157"/>
                        </a:lnTo>
                        <a:lnTo>
                          <a:pt x="3" y="157"/>
                        </a:lnTo>
                        <a:lnTo>
                          <a:pt x="5" y="158"/>
                        </a:lnTo>
                        <a:lnTo>
                          <a:pt x="6" y="157"/>
                        </a:lnTo>
                        <a:lnTo>
                          <a:pt x="7" y="155"/>
                        </a:lnTo>
                        <a:lnTo>
                          <a:pt x="8" y="154"/>
                        </a:lnTo>
                        <a:lnTo>
                          <a:pt x="10" y="154"/>
                        </a:lnTo>
                        <a:lnTo>
                          <a:pt x="11" y="154"/>
                        </a:lnTo>
                        <a:lnTo>
                          <a:pt x="13" y="154"/>
                        </a:lnTo>
                        <a:lnTo>
                          <a:pt x="13" y="157"/>
                        </a:lnTo>
                        <a:lnTo>
                          <a:pt x="13" y="160"/>
                        </a:lnTo>
                        <a:lnTo>
                          <a:pt x="13" y="161"/>
                        </a:lnTo>
                        <a:lnTo>
                          <a:pt x="13" y="163"/>
                        </a:lnTo>
                        <a:lnTo>
                          <a:pt x="13" y="165"/>
                        </a:lnTo>
                        <a:lnTo>
                          <a:pt x="13" y="166"/>
                        </a:lnTo>
                        <a:lnTo>
                          <a:pt x="15" y="166"/>
                        </a:lnTo>
                        <a:lnTo>
                          <a:pt x="16" y="166"/>
                        </a:lnTo>
                        <a:lnTo>
                          <a:pt x="18" y="166"/>
                        </a:lnTo>
                        <a:lnTo>
                          <a:pt x="20" y="166"/>
                        </a:lnTo>
                        <a:lnTo>
                          <a:pt x="21" y="167"/>
                        </a:lnTo>
                        <a:lnTo>
                          <a:pt x="24" y="168"/>
                        </a:lnTo>
                        <a:lnTo>
                          <a:pt x="29" y="169"/>
                        </a:lnTo>
                        <a:lnTo>
                          <a:pt x="32" y="170"/>
                        </a:lnTo>
                        <a:lnTo>
                          <a:pt x="33" y="168"/>
                        </a:lnTo>
                        <a:lnTo>
                          <a:pt x="36" y="165"/>
                        </a:lnTo>
                        <a:lnTo>
                          <a:pt x="38" y="161"/>
                        </a:lnTo>
                        <a:lnTo>
                          <a:pt x="39" y="160"/>
                        </a:lnTo>
                        <a:lnTo>
                          <a:pt x="40" y="157"/>
                        </a:lnTo>
                        <a:lnTo>
                          <a:pt x="40" y="155"/>
                        </a:lnTo>
                        <a:lnTo>
                          <a:pt x="39" y="153"/>
                        </a:lnTo>
                        <a:lnTo>
                          <a:pt x="39" y="150"/>
                        </a:lnTo>
                        <a:lnTo>
                          <a:pt x="42" y="150"/>
                        </a:lnTo>
                        <a:lnTo>
                          <a:pt x="46" y="149"/>
                        </a:lnTo>
                        <a:lnTo>
                          <a:pt x="51" y="149"/>
                        </a:lnTo>
                        <a:lnTo>
                          <a:pt x="55" y="150"/>
                        </a:lnTo>
                        <a:lnTo>
                          <a:pt x="55" y="151"/>
                        </a:lnTo>
                        <a:lnTo>
                          <a:pt x="55" y="153"/>
                        </a:lnTo>
                        <a:lnTo>
                          <a:pt x="55" y="154"/>
                        </a:lnTo>
                        <a:lnTo>
                          <a:pt x="56" y="154"/>
                        </a:lnTo>
                        <a:lnTo>
                          <a:pt x="58" y="155"/>
                        </a:lnTo>
                        <a:lnTo>
                          <a:pt x="60" y="157"/>
                        </a:lnTo>
                        <a:lnTo>
                          <a:pt x="61" y="157"/>
                        </a:lnTo>
                        <a:lnTo>
                          <a:pt x="62" y="158"/>
                        </a:lnTo>
                        <a:lnTo>
                          <a:pt x="63" y="157"/>
                        </a:lnTo>
                        <a:lnTo>
                          <a:pt x="66" y="157"/>
                        </a:lnTo>
                        <a:lnTo>
                          <a:pt x="67" y="157"/>
                        </a:lnTo>
                        <a:lnTo>
                          <a:pt x="69" y="157"/>
                        </a:lnTo>
                        <a:lnTo>
                          <a:pt x="70" y="157"/>
                        </a:lnTo>
                        <a:lnTo>
                          <a:pt x="70" y="154"/>
                        </a:lnTo>
                        <a:lnTo>
                          <a:pt x="70" y="151"/>
                        </a:lnTo>
                        <a:lnTo>
                          <a:pt x="70" y="150"/>
                        </a:lnTo>
                        <a:lnTo>
                          <a:pt x="75" y="145"/>
                        </a:lnTo>
                        <a:lnTo>
                          <a:pt x="78" y="143"/>
                        </a:lnTo>
                        <a:lnTo>
                          <a:pt x="78" y="140"/>
                        </a:lnTo>
                        <a:lnTo>
                          <a:pt x="78" y="137"/>
                        </a:lnTo>
                        <a:lnTo>
                          <a:pt x="78" y="133"/>
                        </a:lnTo>
                        <a:lnTo>
                          <a:pt x="78" y="129"/>
                        </a:lnTo>
                        <a:lnTo>
                          <a:pt x="78" y="125"/>
                        </a:lnTo>
                        <a:lnTo>
                          <a:pt x="78" y="124"/>
                        </a:lnTo>
                        <a:lnTo>
                          <a:pt x="79" y="123"/>
                        </a:lnTo>
                        <a:lnTo>
                          <a:pt x="80" y="120"/>
                        </a:lnTo>
                        <a:lnTo>
                          <a:pt x="80" y="118"/>
                        </a:lnTo>
                        <a:lnTo>
                          <a:pt x="82" y="117"/>
                        </a:lnTo>
                        <a:lnTo>
                          <a:pt x="82" y="116"/>
                        </a:lnTo>
                        <a:lnTo>
                          <a:pt x="81" y="114"/>
                        </a:lnTo>
                        <a:lnTo>
                          <a:pt x="80" y="112"/>
                        </a:lnTo>
                        <a:lnTo>
                          <a:pt x="82" y="112"/>
                        </a:lnTo>
                        <a:lnTo>
                          <a:pt x="83" y="111"/>
                        </a:lnTo>
                        <a:lnTo>
                          <a:pt x="84" y="109"/>
                        </a:lnTo>
                        <a:lnTo>
                          <a:pt x="85" y="106"/>
                        </a:lnTo>
                        <a:lnTo>
                          <a:pt x="86" y="104"/>
                        </a:lnTo>
                        <a:lnTo>
                          <a:pt x="86" y="101"/>
                        </a:lnTo>
                        <a:lnTo>
                          <a:pt x="87" y="99"/>
                        </a:lnTo>
                        <a:lnTo>
                          <a:pt x="88" y="99"/>
                        </a:lnTo>
                        <a:lnTo>
                          <a:pt x="89" y="99"/>
                        </a:lnTo>
                        <a:lnTo>
                          <a:pt x="90" y="99"/>
                        </a:lnTo>
                        <a:lnTo>
                          <a:pt x="90" y="94"/>
                        </a:lnTo>
                        <a:lnTo>
                          <a:pt x="89" y="91"/>
                        </a:lnTo>
                        <a:lnTo>
                          <a:pt x="88" y="89"/>
                        </a:lnTo>
                        <a:lnTo>
                          <a:pt x="87" y="86"/>
                        </a:lnTo>
                        <a:lnTo>
                          <a:pt x="87" y="85"/>
                        </a:lnTo>
                        <a:lnTo>
                          <a:pt x="88" y="81"/>
                        </a:lnTo>
                        <a:lnTo>
                          <a:pt x="89" y="79"/>
                        </a:lnTo>
                        <a:lnTo>
                          <a:pt x="90" y="76"/>
                        </a:lnTo>
                        <a:lnTo>
                          <a:pt x="90" y="75"/>
                        </a:lnTo>
                        <a:lnTo>
                          <a:pt x="91" y="73"/>
                        </a:lnTo>
                        <a:lnTo>
                          <a:pt x="93" y="70"/>
                        </a:lnTo>
                        <a:lnTo>
                          <a:pt x="97" y="63"/>
                        </a:lnTo>
                        <a:lnTo>
                          <a:pt x="98" y="55"/>
                        </a:lnTo>
                        <a:lnTo>
                          <a:pt x="98" y="46"/>
                        </a:lnTo>
                        <a:lnTo>
                          <a:pt x="96" y="35"/>
                        </a:lnTo>
                        <a:lnTo>
                          <a:pt x="96" y="34"/>
                        </a:lnTo>
                        <a:lnTo>
                          <a:pt x="95" y="32"/>
                        </a:lnTo>
                        <a:lnTo>
                          <a:pt x="93" y="30"/>
                        </a:lnTo>
                        <a:lnTo>
                          <a:pt x="93" y="2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4" name="Freeform 1844">
                    <a:extLst>
                      <a:ext uri="{FF2B5EF4-FFF2-40B4-BE49-F238E27FC236}">
                        <a16:creationId xmlns:a16="http://schemas.microsoft.com/office/drawing/2014/main" xmlns="" id="{121C0FD5-B476-48E3-884F-1951CB62BB7E}"/>
                      </a:ext>
                    </a:extLst>
                  </p:cNvPr>
                  <p:cNvSpPr>
                    <a:spLocks/>
                  </p:cNvSpPr>
                  <p:nvPr/>
                </p:nvSpPr>
                <p:spPr bwMode="gray">
                  <a:xfrm>
                    <a:off x="4246363" y="4137511"/>
                    <a:ext cx="2225" cy="3337"/>
                  </a:xfrm>
                  <a:custGeom>
                    <a:avLst/>
                    <a:gdLst>
                      <a:gd name="T0" fmla="*/ 0 w 2"/>
                      <a:gd name="T1" fmla="*/ 0 h 3"/>
                      <a:gd name="T2" fmla="*/ 0 w 2"/>
                      <a:gd name="T3" fmla="*/ 2147483647 h 3"/>
                      <a:gd name="T4" fmla="*/ 2147483647 w 2"/>
                      <a:gd name="T5" fmla="*/ 2147483647 h 3"/>
                      <a:gd name="T6" fmla="*/ 2147483647 w 2"/>
                      <a:gd name="T7" fmla="*/ 2147483647 h 3"/>
                      <a:gd name="T8" fmla="*/ 2147483647 w 2"/>
                      <a:gd name="T9" fmla="*/ 0 h 3"/>
                      <a:gd name="T10" fmla="*/ 0 w 2"/>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3">
                        <a:moveTo>
                          <a:pt x="0" y="0"/>
                        </a:moveTo>
                        <a:lnTo>
                          <a:pt x="0" y="3"/>
                        </a:lnTo>
                        <a:lnTo>
                          <a:pt x="1" y="2"/>
                        </a:lnTo>
                        <a:lnTo>
                          <a:pt x="2" y="1"/>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5" name="Freeform 1846">
                    <a:extLst>
                      <a:ext uri="{FF2B5EF4-FFF2-40B4-BE49-F238E27FC236}">
                        <a16:creationId xmlns:a16="http://schemas.microsoft.com/office/drawing/2014/main" xmlns="" id="{5C915A36-E3BA-4D77-A3B2-8DC3B9A29C11}"/>
                      </a:ext>
                    </a:extLst>
                  </p:cNvPr>
                  <p:cNvSpPr>
                    <a:spLocks/>
                  </p:cNvSpPr>
                  <p:nvPr/>
                </p:nvSpPr>
                <p:spPr bwMode="gray">
                  <a:xfrm>
                    <a:off x="4290864" y="3983994"/>
                    <a:ext cx="6675" cy="10012"/>
                  </a:xfrm>
                  <a:custGeom>
                    <a:avLst/>
                    <a:gdLst>
                      <a:gd name="T0" fmla="*/ 0 w 6"/>
                      <a:gd name="T1" fmla="*/ 2147483647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2147483647 h 9"/>
                      <a:gd name="T12" fmla="*/ 2147483647 w 6"/>
                      <a:gd name="T13" fmla="*/ 2147483647 h 9"/>
                      <a:gd name="T14" fmla="*/ 2147483647 w 6"/>
                      <a:gd name="T15" fmla="*/ 2147483647 h 9"/>
                      <a:gd name="T16" fmla="*/ 2147483647 w 6"/>
                      <a:gd name="T17" fmla="*/ 2147483647 h 9"/>
                      <a:gd name="T18" fmla="*/ 2147483647 w 6"/>
                      <a:gd name="T19" fmla="*/ 0 h 9"/>
                      <a:gd name="T20" fmla="*/ 2147483647 w 6"/>
                      <a:gd name="T21" fmla="*/ 2147483647 h 9"/>
                      <a:gd name="T22" fmla="*/ 2147483647 w 6"/>
                      <a:gd name="T23" fmla="*/ 2147483647 h 9"/>
                      <a:gd name="T24" fmla="*/ 0 w 6"/>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9">
                        <a:moveTo>
                          <a:pt x="0" y="9"/>
                        </a:moveTo>
                        <a:lnTo>
                          <a:pt x="1" y="9"/>
                        </a:lnTo>
                        <a:lnTo>
                          <a:pt x="2" y="9"/>
                        </a:lnTo>
                        <a:lnTo>
                          <a:pt x="3" y="9"/>
                        </a:lnTo>
                        <a:lnTo>
                          <a:pt x="4" y="9"/>
                        </a:lnTo>
                        <a:lnTo>
                          <a:pt x="5" y="9"/>
                        </a:lnTo>
                        <a:lnTo>
                          <a:pt x="6" y="9"/>
                        </a:lnTo>
                        <a:lnTo>
                          <a:pt x="6" y="3"/>
                        </a:lnTo>
                        <a:lnTo>
                          <a:pt x="3" y="0"/>
                        </a:lnTo>
                        <a:lnTo>
                          <a:pt x="2" y="4"/>
                        </a:lnTo>
                        <a:lnTo>
                          <a:pt x="1" y="6"/>
                        </a:lnTo>
                        <a:lnTo>
                          <a:pt x="0" y="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6" name="Freeform 1848">
                    <a:extLst>
                      <a:ext uri="{FF2B5EF4-FFF2-40B4-BE49-F238E27FC236}">
                        <a16:creationId xmlns:a16="http://schemas.microsoft.com/office/drawing/2014/main" xmlns="" id="{938D79C8-AB9D-43E2-944F-391BAD7AF09B}"/>
                      </a:ext>
                    </a:extLst>
                  </p:cNvPr>
                  <p:cNvSpPr>
                    <a:spLocks/>
                  </p:cNvSpPr>
                  <p:nvPr/>
                </p:nvSpPr>
                <p:spPr bwMode="gray">
                  <a:xfrm>
                    <a:off x="4304214" y="4005130"/>
                    <a:ext cx="24475" cy="14462"/>
                  </a:xfrm>
                  <a:custGeom>
                    <a:avLst/>
                    <a:gdLst>
                      <a:gd name="T0" fmla="*/ 2147483647 w 22"/>
                      <a:gd name="T1" fmla="*/ 0 h 13"/>
                      <a:gd name="T2" fmla="*/ 2147483647 w 22"/>
                      <a:gd name="T3" fmla="*/ 2147483647 h 13"/>
                      <a:gd name="T4" fmla="*/ 2147483647 w 22"/>
                      <a:gd name="T5" fmla="*/ 2147483647 h 13"/>
                      <a:gd name="T6" fmla="*/ 2147483647 w 22"/>
                      <a:gd name="T7" fmla="*/ 2147483647 h 13"/>
                      <a:gd name="T8" fmla="*/ 2147483647 w 22"/>
                      <a:gd name="T9" fmla="*/ 0 h 13"/>
                      <a:gd name="T10" fmla="*/ 2147483647 w 22"/>
                      <a:gd name="T11" fmla="*/ 0 h 13"/>
                      <a:gd name="T12" fmla="*/ 2147483647 w 22"/>
                      <a:gd name="T13" fmla="*/ 0 h 13"/>
                      <a:gd name="T14" fmla="*/ 2147483647 w 22"/>
                      <a:gd name="T15" fmla="*/ 2147483647 h 13"/>
                      <a:gd name="T16" fmla="*/ 2147483647 w 22"/>
                      <a:gd name="T17" fmla="*/ 2147483647 h 13"/>
                      <a:gd name="T18" fmla="*/ 0 w 22"/>
                      <a:gd name="T19" fmla="*/ 2147483647 h 13"/>
                      <a:gd name="T20" fmla="*/ 0 w 22"/>
                      <a:gd name="T21" fmla="*/ 2147483647 h 13"/>
                      <a:gd name="T22" fmla="*/ 2147483647 w 22"/>
                      <a:gd name="T23" fmla="*/ 2147483647 h 13"/>
                      <a:gd name="T24" fmla="*/ 2147483647 w 22"/>
                      <a:gd name="T25" fmla="*/ 2147483647 h 13"/>
                      <a:gd name="T26" fmla="*/ 0 w 22"/>
                      <a:gd name="T27" fmla="*/ 2147483647 h 13"/>
                      <a:gd name="T28" fmla="*/ 2147483647 w 22"/>
                      <a:gd name="T29" fmla="*/ 2147483647 h 13"/>
                      <a:gd name="T30" fmla="*/ 2147483647 w 22"/>
                      <a:gd name="T31" fmla="*/ 2147483647 h 13"/>
                      <a:gd name="T32" fmla="*/ 2147483647 w 22"/>
                      <a:gd name="T33" fmla="*/ 2147483647 h 13"/>
                      <a:gd name="T34" fmla="*/ 2147483647 w 22"/>
                      <a:gd name="T35" fmla="*/ 2147483647 h 13"/>
                      <a:gd name="T36" fmla="*/ 2147483647 w 22"/>
                      <a:gd name="T37" fmla="*/ 2147483647 h 13"/>
                      <a:gd name="T38" fmla="*/ 2147483647 w 22"/>
                      <a:gd name="T39" fmla="*/ 2147483647 h 13"/>
                      <a:gd name="T40" fmla="*/ 2147483647 w 22"/>
                      <a:gd name="T41" fmla="*/ 2147483647 h 13"/>
                      <a:gd name="T42" fmla="*/ 2147483647 w 22"/>
                      <a:gd name="T43" fmla="*/ 2147483647 h 13"/>
                      <a:gd name="T44" fmla="*/ 2147483647 w 22"/>
                      <a:gd name="T45" fmla="*/ 2147483647 h 13"/>
                      <a:gd name="T46" fmla="*/ 2147483647 w 22"/>
                      <a:gd name="T47" fmla="*/ 2147483647 h 13"/>
                      <a:gd name="T48" fmla="*/ 2147483647 w 22"/>
                      <a:gd name="T49" fmla="*/ 2147483647 h 13"/>
                      <a:gd name="T50" fmla="*/ 2147483647 w 22"/>
                      <a:gd name="T51" fmla="*/ 2147483647 h 13"/>
                      <a:gd name="T52" fmla="*/ 2147483647 w 22"/>
                      <a:gd name="T53" fmla="*/ 2147483647 h 13"/>
                      <a:gd name="T54" fmla="*/ 2147483647 w 22"/>
                      <a:gd name="T55" fmla="*/ 2147483647 h 13"/>
                      <a:gd name="T56" fmla="*/ 2147483647 w 22"/>
                      <a:gd name="T57" fmla="*/ 2147483647 h 13"/>
                      <a:gd name="T58" fmla="*/ 2147483647 w 22"/>
                      <a:gd name="T59" fmla="*/ 2147483647 h 13"/>
                      <a:gd name="T60" fmla="*/ 2147483647 w 22"/>
                      <a:gd name="T61" fmla="*/ 2147483647 h 13"/>
                      <a:gd name="T62" fmla="*/ 2147483647 w 22"/>
                      <a:gd name="T63" fmla="*/ 2147483647 h 13"/>
                      <a:gd name="T64" fmla="*/ 2147483647 w 22"/>
                      <a:gd name="T65" fmla="*/ 2147483647 h 13"/>
                      <a:gd name="T66" fmla="*/ 2147483647 w 22"/>
                      <a:gd name="T67" fmla="*/ 0 h 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 h="13">
                        <a:moveTo>
                          <a:pt x="18" y="0"/>
                        </a:moveTo>
                        <a:lnTo>
                          <a:pt x="12" y="3"/>
                        </a:lnTo>
                        <a:lnTo>
                          <a:pt x="10" y="2"/>
                        </a:lnTo>
                        <a:lnTo>
                          <a:pt x="8" y="1"/>
                        </a:lnTo>
                        <a:lnTo>
                          <a:pt x="5" y="0"/>
                        </a:lnTo>
                        <a:lnTo>
                          <a:pt x="3" y="0"/>
                        </a:lnTo>
                        <a:lnTo>
                          <a:pt x="2" y="1"/>
                        </a:lnTo>
                        <a:lnTo>
                          <a:pt x="1" y="2"/>
                        </a:lnTo>
                        <a:lnTo>
                          <a:pt x="0" y="3"/>
                        </a:lnTo>
                        <a:lnTo>
                          <a:pt x="0" y="5"/>
                        </a:lnTo>
                        <a:lnTo>
                          <a:pt x="1" y="6"/>
                        </a:lnTo>
                        <a:lnTo>
                          <a:pt x="1" y="7"/>
                        </a:lnTo>
                        <a:lnTo>
                          <a:pt x="0" y="9"/>
                        </a:lnTo>
                        <a:lnTo>
                          <a:pt x="1" y="9"/>
                        </a:lnTo>
                        <a:lnTo>
                          <a:pt x="2" y="10"/>
                        </a:lnTo>
                        <a:lnTo>
                          <a:pt x="3" y="11"/>
                        </a:lnTo>
                        <a:lnTo>
                          <a:pt x="3" y="13"/>
                        </a:lnTo>
                        <a:lnTo>
                          <a:pt x="5" y="12"/>
                        </a:lnTo>
                        <a:lnTo>
                          <a:pt x="8" y="11"/>
                        </a:lnTo>
                        <a:lnTo>
                          <a:pt x="10" y="11"/>
                        </a:lnTo>
                        <a:lnTo>
                          <a:pt x="12" y="13"/>
                        </a:lnTo>
                        <a:lnTo>
                          <a:pt x="13" y="13"/>
                        </a:lnTo>
                        <a:lnTo>
                          <a:pt x="14" y="13"/>
                        </a:lnTo>
                        <a:lnTo>
                          <a:pt x="15" y="13"/>
                        </a:lnTo>
                        <a:lnTo>
                          <a:pt x="17" y="13"/>
                        </a:lnTo>
                        <a:lnTo>
                          <a:pt x="18" y="13"/>
                        </a:lnTo>
                        <a:lnTo>
                          <a:pt x="19" y="13"/>
                        </a:lnTo>
                        <a:lnTo>
                          <a:pt x="21" y="13"/>
                        </a:lnTo>
                        <a:lnTo>
                          <a:pt x="22" y="9"/>
                        </a:lnTo>
                        <a:lnTo>
                          <a:pt x="22" y="5"/>
                        </a:lnTo>
                        <a:lnTo>
                          <a:pt x="21" y="1"/>
                        </a:lnTo>
                        <a:lnTo>
                          <a:pt x="18"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7" name="Freeform 1850">
                    <a:extLst>
                      <a:ext uri="{FF2B5EF4-FFF2-40B4-BE49-F238E27FC236}">
                        <a16:creationId xmlns:a16="http://schemas.microsoft.com/office/drawing/2014/main" xmlns="" id="{2B8879AC-272C-4CCE-B348-8CAF9AAA422D}"/>
                      </a:ext>
                    </a:extLst>
                  </p:cNvPr>
                  <p:cNvSpPr>
                    <a:spLocks/>
                  </p:cNvSpPr>
                  <p:nvPr/>
                </p:nvSpPr>
                <p:spPr bwMode="gray">
                  <a:xfrm>
                    <a:off x="4580119" y="4396713"/>
                    <a:ext cx="4450" cy="6675"/>
                  </a:xfrm>
                  <a:custGeom>
                    <a:avLst/>
                    <a:gdLst>
                      <a:gd name="T0" fmla="*/ 0 w 4"/>
                      <a:gd name="T1" fmla="*/ 2147483647 h 6"/>
                      <a:gd name="T2" fmla="*/ 0 w 4"/>
                      <a:gd name="T3" fmla="*/ 2147483647 h 6"/>
                      <a:gd name="T4" fmla="*/ 0 w 4"/>
                      <a:gd name="T5" fmla="*/ 2147483647 h 6"/>
                      <a:gd name="T6" fmla="*/ 0 w 4"/>
                      <a:gd name="T7" fmla="*/ 2147483647 h 6"/>
                      <a:gd name="T8" fmla="*/ 0 w 4"/>
                      <a:gd name="T9" fmla="*/ 2147483647 h 6"/>
                      <a:gd name="T10" fmla="*/ 2147483647 w 4"/>
                      <a:gd name="T11" fmla="*/ 2147483647 h 6"/>
                      <a:gd name="T12" fmla="*/ 2147483647 w 4"/>
                      <a:gd name="T13" fmla="*/ 2147483647 h 6"/>
                      <a:gd name="T14" fmla="*/ 2147483647 w 4"/>
                      <a:gd name="T15" fmla="*/ 2147483647 h 6"/>
                      <a:gd name="T16" fmla="*/ 2147483647 w 4"/>
                      <a:gd name="T17" fmla="*/ 2147483647 h 6"/>
                      <a:gd name="T18" fmla="*/ 2147483647 w 4"/>
                      <a:gd name="T19" fmla="*/ 2147483647 h 6"/>
                      <a:gd name="T20" fmla="*/ 2147483647 w 4"/>
                      <a:gd name="T21" fmla="*/ 2147483647 h 6"/>
                      <a:gd name="T22" fmla="*/ 2147483647 w 4"/>
                      <a:gd name="T23" fmla="*/ 0 h 6"/>
                      <a:gd name="T24" fmla="*/ 0 w 4"/>
                      <a:gd name="T25" fmla="*/ 0 h 6"/>
                      <a:gd name="T26" fmla="*/ 0 w 4"/>
                      <a:gd name="T27" fmla="*/ 2147483647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6">
                        <a:moveTo>
                          <a:pt x="0" y="3"/>
                        </a:moveTo>
                        <a:lnTo>
                          <a:pt x="0" y="3"/>
                        </a:lnTo>
                        <a:lnTo>
                          <a:pt x="0" y="4"/>
                        </a:lnTo>
                        <a:lnTo>
                          <a:pt x="0" y="5"/>
                        </a:lnTo>
                        <a:lnTo>
                          <a:pt x="0" y="6"/>
                        </a:lnTo>
                        <a:lnTo>
                          <a:pt x="2" y="4"/>
                        </a:lnTo>
                        <a:lnTo>
                          <a:pt x="2" y="3"/>
                        </a:lnTo>
                        <a:lnTo>
                          <a:pt x="4" y="3"/>
                        </a:lnTo>
                        <a:lnTo>
                          <a:pt x="3" y="1"/>
                        </a:lnTo>
                        <a:lnTo>
                          <a:pt x="2" y="0"/>
                        </a:lnTo>
                        <a:lnTo>
                          <a:pt x="0" y="0"/>
                        </a:lnTo>
                        <a:lnTo>
                          <a:pt x="0"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8" name="Freeform 1852">
                    <a:extLst>
                      <a:ext uri="{FF2B5EF4-FFF2-40B4-BE49-F238E27FC236}">
                        <a16:creationId xmlns:a16="http://schemas.microsoft.com/office/drawing/2014/main" xmlns="" id="{44DFD99C-C164-447A-A65B-D6644B8697C1}"/>
                      </a:ext>
                    </a:extLst>
                  </p:cNvPr>
                  <p:cNvSpPr>
                    <a:spLocks/>
                  </p:cNvSpPr>
                  <p:nvPr/>
                </p:nvSpPr>
                <p:spPr bwMode="gray">
                  <a:xfrm>
                    <a:off x="4120647" y="3674733"/>
                    <a:ext cx="683088" cy="774265"/>
                  </a:xfrm>
                  <a:custGeom>
                    <a:avLst/>
                    <a:gdLst>
                      <a:gd name="T0" fmla="*/ 2147483647 w 614"/>
                      <a:gd name="T1" fmla="*/ 2147483647 h 696"/>
                      <a:gd name="T2" fmla="*/ 2147483647 w 614"/>
                      <a:gd name="T3" fmla="*/ 2147483647 h 696"/>
                      <a:gd name="T4" fmla="*/ 2147483647 w 614"/>
                      <a:gd name="T5" fmla="*/ 2147483647 h 696"/>
                      <a:gd name="T6" fmla="*/ 2147483647 w 614"/>
                      <a:gd name="T7" fmla="*/ 2147483647 h 696"/>
                      <a:gd name="T8" fmla="*/ 2147483647 w 614"/>
                      <a:gd name="T9" fmla="*/ 2147483647 h 696"/>
                      <a:gd name="T10" fmla="*/ 2147483647 w 614"/>
                      <a:gd name="T11" fmla="*/ 2147483647 h 696"/>
                      <a:gd name="T12" fmla="*/ 2147483647 w 614"/>
                      <a:gd name="T13" fmla="*/ 2147483647 h 696"/>
                      <a:gd name="T14" fmla="*/ 2147483647 w 614"/>
                      <a:gd name="T15" fmla="*/ 2147483647 h 696"/>
                      <a:gd name="T16" fmla="*/ 2147483647 w 614"/>
                      <a:gd name="T17" fmla="*/ 2147483647 h 696"/>
                      <a:gd name="T18" fmla="*/ 2147483647 w 614"/>
                      <a:gd name="T19" fmla="*/ 2147483647 h 696"/>
                      <a:gd name="T20" fmla="*/ 2147483647 w 614"/>
                      <a:gd name="T21" fmla="*/ 2147483647 h 696"/>
                      <a:gd name="T22" fmla="*/ 2147483647 w 614"/>
                      <a:gd name="T23" fmla="*/ 2147483647 h 696"/>
                      <a:gd name="T24" fmla="*/ 2147483647 w 614"/>
                      <a:gd name="T25" fmla="*/ 2147483647 h 696"/>
                      <a:gd name="T26" fmla="*/ 2147483647 w 614"/>
                      <a:gd name="T27" fmla="*/ 2147483647 h 696"/>
                      <a:gd name="T28" fmla="*/ 2147483647 w 614"/>
                      <a:gd name="T29" fmla="*/ 2147483647 h 696"/>
                      <a:gd name="T30" fmla="*/ 2147483647 w 614"/>
                      <a:gd name="T31" fmla="*/ 2147483647 h 696"/>
                      <a:gd name="T32" fmla="*/ 2147483647 w 614"/>
                      <a:gd name="T33" fmla="*/ 2147483647 h 696"/>
                      <a:gd name="T34" fmla="*/ 2147483647 w 614"/>
                      <a:gd name="T35" fmla="*/ 2147483647 h 696"/>
                      <a:gd name="T36" fmla="*/ 2147483647 w 614"/>
                      <a:gd name="T37" fmla="*/ 2147483647 h 696"/>
                      <a:gd name="T38" fmla="*/ 2147483647 w 614"/>
                      <a:gd name="T39" fmla="*/ 2147483647 h 696"/>
                      <a:gd name="T40" fmla="*/ 2147483647 w 614"/>
                      <a:gd name="T41" fmla="*/ 2147483647 h 696"/>
                      <a:gd name="T42" fmla="*/ 2147483647 w 614"/>
                      <a:gd name="T43" fmla="*/ 2147483647 h 696"/>
                      <a:gd name="T44" fmla="*/ 2147483647 w 614"/>
                      <a:gd name="T45" fmla="*/ 2147483647 h 696"/>
                      <a:gd name="T46" fmla="*/ 2147483647 w 614"/>
                      <a:gd name="T47" fmla="*/ 2147483647 h 696"/>
                      <a:gd name="T48" fmla="*/ 2147483647 w 614"/>
                      <a:gd name="T49" fmla="*/ 2147483647 h 696"/>
                      <a:gd name="T50" fmla="*/ 2147483647 w 614"/>
                      <a:gd name="T51" fmla="*/ 2147483647 h 696"/>
                      <a:gd name="T52" fmla="*/ 2147483647 w 614"/>
                      <a:gd name="T53" fmla="*/ 2147483647 h 696"/>
                      <a:gd name="T54" fmla="*/ 2147483647 w 614"/>
                      <a:gd name="T55" fmla="*/ 2147483647 h 696"/>
                      <a:gd name="T56" fmla="*/ 2147483647 w 614"/>
                      <a:gd name="T57" fmla="*/ 2147483647 h 696"/>
                      <a:gd name="T58" fmla="*/ 2147483647 w 614"/>
                      <a:gd name="T59" fmla="*/ 2147483647 h 696"/>
                      <a:gd name="T60" fmla="*/ 2147483647 w 614"/>
                      <a:gd name="T61" fmla="*/ 2147483647 h 696"/>
                      <a:gd name="T62" fmla="*/ 2147483647 w 614"/>
                      <a:gd name="T63" fmla="*/ 2147483647 h 696"/>
                      <a:gd name="T64" fmla="*/ 2147483647 w 614"/>
                      <a:gd name="T65" fmla="*/ 2147483647 h 696"/>
                      <a:gd name="T66" fmla="*/ 2147483647 w 614"/>
                      <a:gd name="T67" fmla="*/ 2147483647 h 696"/>
                      <a:gd name="T68" fmla="*/ 2147483647 w 614"/>
                      <a:gd name="T69" fmla="*/ 2147483647 h 696"/>
                      <a:gd name="T70" fmla="*/ 2147483647 w 614"/>
                      <a:gd name="T71" fmla="*/ 2147483647 h 696"/>
                      <a:gd name="T72" fmla="*/ 2147483647 w 614"/>
                      <a:gd name="T73" fmla="*/ 2147483647 h 696"/>
                      <a:gd name="T74" fmla="*/ 2147483647 w 614"/>
                      <a:gd name="T75" fmla="*/ 2147483647 h 696"/>
                      <a:gd name="T76" fmla="*/ 2147483647 w 614"/>
                      <a:gd name="T77" fmla="*/ 2147483647 h 696"/>
                      <a:gd name="T78" fmla="*/ 2147483647 w 614"/>
                      <a:gd name="T79" fmla="*/ 2147483647 h 696"/>
                      <a:gd name="T80" fmla="*/ 2147483647 w 614"/>
                      <a:gd name="T81" fmla="*/ 2147483647 h 696"/>
                      <a:gd name="T82" fmla="*/ 2147483647 w 614"/>
                      <a:gd name="T83" fmla="*/ 2147483647 h 696"/>
                      <a:gd name="T84" fmla="*/ 2147483647 w 614"/>
                      <a:gd name="T85" fmla="*/ 2147483647 h 696"/>
                      <a:gd name="T86" fmla="*/ 2147483647 w 614"/>
                      <a:gd name="T87" fmla="*/ 2147483647 h 696"/>
                      <a:gd name="T88" fmla="*/ 2147483647 w 614"/>
                      <a:gd name="T89" fmla="*/ 2147483647 h 696"/>
                      <a:gd name="T90" fmla="*/ 2147483647 w 614"/>
                      <a:gd name="T91" fmla="*/ 2147483647 h 696"/>
                      <a:gd name="T92" fmla="*/ 2147483647 w 614"/>
                      <a:gd name="T93" fmla="*/ 2147483647 h 696"/>
                      <a:gd name="T94" fmla="*/ 2147483647 w 614"/>
                      <a:gd name="T95" fmla="*/ 2147483647 h 696"/>
                      <a:gd name="T96" fmla="*/ 2147483647 w 614"/>
                      <a:gd name="T97" fmla="*/ 2147483647 h 696"/>
                      <a:gd name="T98" fmla="*/ 2147483647 w 614"/>
                      <a:gd name="T99" fmla="*/ 2147483647 h 696"/>
                      <a:gd name="T100" fmla="*/ 2147483647 w 614"/>
                      <a:gd name="T101" fmla="*/ 2147483647 h 696"/>
                      <a:gd name="T102" fmla="*/ 2147483647 w 614"/>
                      <a:gd name="T103" fmla="*/ 2147483647 h 696"/>
                      <a:gd name="T104" fmla="*/ 2147483647 w 614"/>
                      <a:gd name="T105" fmla="*/ 2147483647 h 696"/>
                      <a:gd name="T106" fmla="*/ 2147483647 w 614"/>
                      <a:gd name="T107" fmla="*/ 2147483647 h 696"/>
                      <a:gd name="T108" fmla="*/ 2147483647 w 614"/>
                      <a:gd name="T109" fmla="*/ 2147483647 h 696"/>
                      <a:gd name="T110" fmla="*/ 2147483647 w 614"/>
                      <a:gd name="T111" fmla="*/ 2147483647 h 696"/>
                      <a:gd name="T112" fmla="*/ 2147483647 w 614"/>
                      <a:gd name="T113" fmla="*/ 2147483647 h 696"/>
                      <a:gd name="T114" fmla="*/ 2147483647 w 614"/>
                      <a:gd name="T115" fmla="*/ 2147483647 h 696"/>
                      <a:gd name="T116" fmla="*/ 2147483647 w 614"/>
                      <a:gd name="T117" fmla="*/ 2147483647 h 696"/>
                      <a:gd name="T118" fmla="*/ 2147483647 w 614"/>
                      <a:gd name="T119" fmla="*/ 2147483647 h 696"/>
                      <a:gd name="T120" fmla="*/ 2147483647 w 614"/>
                      <a:gd name="T121" fmla="*/ 2147483647 h 696"/>
                      <a:gd name="T122" fmla="*/ 2147483647 w 614"/>
                      <a:gd name="T123" fmla="*/ 2147483647 h 69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4" h="696">
                        <a:moveTo>
                          <a:pt x="612" y="523"/>
                        </a:moveTo>
                        <a:lnTo>
                          <a:pt x="611" y="521"/>
                        </a:lnTo>
                        <a:lnTo>
                          <a:pt x="609" y="520"/>
                        </a:lnTo>
                        <a:lnTo>
                          <a:pt x="607" y="518"/>
                        </a:lnTo>
                        <a:lnTo>
                          <a:pt x="606" y="517"/>
                        </a:lnTo>
                        <a:lnTo>
                          <a:pt x="606" y="516"/>
                        </a:lnTo>
                        <a:lnTo>
                          <a:pt x="606" y="514"/>
                        </a:lnTo>
                        <a:lnTo>
                          <a:pt x="596" y="504"/>
                        </a:lnTo>
                        <a:lnTo>
                          <a:pt x="594" y="501"/>
                        </a:lnTo>
                        <a:lnTo>
                          <a:pt x="593" y="497"/>
                        </a:lnTo>
                        <a:lnTo>
                          <a:pt x="591" y="493"/>
                        </a:lnTo>
                        <a:lnTo>
                          <a:pt x="589" y="491"/>
                        </a:lnTo>
                        <a:lnTo>
                          <a:pt x="589" y="490"/>
                        </a:lnTo>
                        <a:lnTo>
                          <a:pt x="588" y="490"/>
                        </a:lnTo>
                        <a:lnTo>
                          <a:pt x="587" y="491"/>
                        </a:lnTo>
                        <a:lnTo>
                          <a:pt x="586" y="491"/>
                        </a:lnTo>
                        <a:lnTo>
                          <a:pt x="586" y="490"/>
                        </a:lnTo>
                        <a:lnTo>
                          <a:pt x="586" y="488"/>
                        </a:lnTo>
                        <a:lnTo>
                          <a:pt x="584" y="486"/>
                        </a:lnTo>
                        <a:lnTo>
                          <a:pt x="579" y="485"/>
                        </a:lnTo>
                        <a:lnTo>
                          <a:pt x="574" y="483"/>
                        </a:lnTo>
                        <a:lnTo>
                          <a:pt x="570" y="481"/>
                        </a:lnTo>
                        <a:lnTo>
                          <a:pt x="568" y="482"/>
                        </a:lnTo>
                        <a:lnTo>
                          <a:pt x="567" y="482"/>
                        </a:lnTo>
                        <a:lnTo>
                          <a:pt x="566" y="483"/>
                        </a:lnTo>
                        <a:lnTo>
                          <a:pt x="564" y="481"/>
                        </a:lnTo>
                        <a:lnTo>
                          <a:pt x="563" y="481"/>
                        </a:lnTo>
                        <a:lnTo>
                          <a:pt x="562" y="480"/>
                        </a:lnTo>
                        <a:lnTo>
                          <a:pt x="561" y="478"/>
                        </a:lnTo>
                        <a:lnTo>
                          <a:pt x="560" y="478"/>
                        </a:lnTo>
                        <a:lnTo>
                          <a:pt x="560" y="476"/>
                        </a:lnTo>
                        <a:lnTo>
                          <a:pt x="559" y="475"/>
                        </a:lnTo>
                        <a:lnTo>
                          <a:pt x="554" y="475"/>
                        </a:lnTo>
                        <a:lnTo>
                          <a:pt x="554" y="474"/>
                        </a:lnTo>
                        <a:lnTo>
                          <a:pt x="554" y="473"/>
                        </a:lnTo>
                        <a:lnTo>
                          <a:pt x="554" y="472"/>
                        </a:lnTo>
                        <a:lnTo>
                          <a:pt x="554" y="471"/>
                        </a:lnTo>
                        <a:lnTo>
                          <a:pt x="553" y="469"/>
                        </a:lnTo>
                        <a:lnTo>
                          <a:pt x="552" y="468"/>
                        </a:lnTo>
                        <a:lnTo>
                          <a:pt x="551" y="468"/>
                        </a:lnTo>
                        <a:lnTo>
                          <a:pt x="547" y="466"/>
                        </a:lnTo>
                        <a:lnTo>
                          <a:pt x="543" y="462"/>
                        </a:lnTo>
                        <a:lnTo>
                          <a:pt x="539" y="458"/>
                        </a:lnTo>
                        <a:lnTo>
                          <a:pt x="535" y="455"/>
                        </a:lnTo>
                        <a:lnTo>
                          <a:pt x="530" y="453"/>
                        </a:lnTo>
                        <a:lnTo>
                          <a:pt x="525" y="452"/>
                        </a:lnTo>
                        <a:lnTo>
                          <a:pt x="520" y="451"/>
                        </a:lnTo>
                        <a:lnTo>
                          <a:pt x="515" y="449"/>
                        </a:lnTo>
                        <a:lnTo>
                          <a:pt x="512" y="446"/>
                        </a:lnTo>
                        <a:lnTo>
                          <a:pt x="507" y="443"/>
                        </a:lnTo>
                        <a:lnTo>
                          <a:pt x="502" y="439"/>
                        </a:lnTo>
                        <a:lnTo>
                          <a:pt x="496" y="436"/>
                        </a:lnTo>
                        <a:lnTo>
                          <a:pt x="487" y="436"/>
                        </a:lnTo>
                        <a:lnTo>
                          <a:pt x="486" y="434"/>
                        </a:lnTo>
                        <a:lnTo>
                          <a:pt x="485" y="433"/>
                        </a:lnTo>
                        <a:lnTo>
                          <a:pt x="484" y="433"/>
                        </a:lnTo>
                        <a:lnTo>
                          <a:pt x="483" y="431"/>
                        </a:lnTo>
                        <a:lnTo>
                          <a:pt x="482" y="432"/>
                        </a:lnTo>
                        <a:lnTo>
                          <a:pt x="481" y="432"/>
                        </a:lnTo>
                        <a:lnTo>
                          <a:pt x="480" y="433"/>
                        </a:lnTo>
                        <a:lnTo>
                          <a:pt x="478" y="431"/>
                        </a:lnTo>
                        <a:lnTo>
                          <a:pt x="477" y="429"/>
                        </a:lnTo>
                        <a:lnTo>
                          <a:pt x="475" y="428"/>
                        </a:lnTo>
                        <a:lnTo>
                          <a:pt x="473" y="426"/>
                        </a:lnTo>
                        <a:lnTo>
                          <a:pt x="473" y="424"/>
                        </a:lnTo>
                        <a:lnTo>
                          <a:pt x="473" y="423"/>
                        </a:lnTo>
                        <a:lnTo>
                          <a:pt x="474" y="421"/>
                        </a:lnTo>
                        <a:lnTo>
                          <a:pt x="476" y="420"/>
                        </a:lnTo>
                        <a:lnTo>
                          <a:pt x="478" y="419"/>
                        </a:lnTo>
                        <a:lnTo>
                          <a:pt x="480" y="417"/>
                        </a:lnTo>
                        <a:lnTo>
                          <a:pt x="481" y="416"/>
                        </a:lnTo>
                        <a:lnTo>
                          <a:pt x="482" y="414"/>
                        </a:lnTo>
                        <a:lnTo>
                          <a:pt x="483" y="411"/>
                        </a:lnTo>
                        <a:lnTo>
                          <a:pt x="484" y="410"/>
                        </a:lnTo>
                        <a:lnTo>
                          <a:pt x="485" y="410"/>
                        </a:lnTo>
                        <a:lnTo>
                          <a:pt x="486" y="410"/>
                        </a:lnTo>
                        <a:lnTo>
                          <a:pt x="487" y="410"/>
                        </a:lnTo>
                        <a:lnTo>
                          <a:pt x="489" y="408"/>
                        </a:lnTo>
                        <a:lnTo>
                          <a:pt x="491" y="405"/>
                        </a:lnTo>
                        <a:lnTo>
                          <a:pt x="491" y="403"/>
                        </a:lnTo>
                        <a:lnTo>
                          <a:pt x="491" y="400"/>
                        </a:lnTo>
                        <a:lnTo>
                          <a:pt x="488" y="396"/>
                        </a:lnTo>
                        <a:lnTo>
                          <a:pt x="484" y="391"/>
                        </a:lnTo>
                        <a:lnTo>
                          <a:pt x="482" y="391"/>
                        </a:lnTo>
                        <a:lnTo>
                          <a:pt x="480" y="391"/>
                        </a:lnTo>
                        <a:lnTo>
                          <a:pt x="479" y="391"/>
                        </a:lnTo>
                        <a:lnTo>
                          <a:pt x="477" y="391"/>
                        </a:lnTo>
                        <a:lnTo>
                          <a:pt x="475" y="392"/>
                        </a:lnTo>
                        <a:lnTo>
                          <a:pt x="473" y="393"/>
                        </a:lnTo>
                        <a:lnTo>
                          <a:pt x="472" y="394"/>
                        </a:lnTo>
                        <a:lnTo>
                          <a:pt x="470" y="394"/>
                        </a:lnTo>
                        <a:lnTo>
                          <a:pt x="465" y="394"/>
                        </a:lnTo>
                        <a:lnTo>
                          <a:pt x="462" y="394"/>
                        </a:lnTo>
                        <a:lnTo>
                          <a:pt x="458" y="394"/>
                        </a:lnTo>
                        <a:lnTo>
                          <a:pt x="457" y="394"/>
                        </a:lnTo>
                        <a:lnTo>
                          <a:pt x="455" y="394"/>
                        </a:lnTo>
                        <a:lnTo>
                          <a:pt x="450" y="394"/>
                        </a:lnTo>
                        <a:lnTo>
                          <a:pt x="447" y="394"/>
                        </a:lnTo>
                        <a:lnTo>
                          <a:pt x="445" y="394"/>
                        </a:lnTo>
                        <a:lnTo>
                          <a:pt x="444" y="394"/>
                        </a:lnTo>
                        <a:lnTo>
                          <a:pt x="440" y="394"/>
                        </a:lnTo>
                        <a:lnTo>
                          <a:pt x="436" y="393"/>
                        </a:lnTo>
                        <a:lnTo>
                          <a:pt x="432" y="391"/>
                        </a:lnTo>
                        <a:lnTo>
                          <a:pt x="431" y="390"/>
                        </a:lnTo>
                        <a:lnTo>
                          <a:pt x="429" y="388"/>
                        </a:lnTo>
                        <a:lnTo>
                          <a:pt x="425" y="386"/>
                        </a:lnTo>
                        <a:lnTo>
                          <a:pt x="421" y="383"/>
                        </a:lnTo>
                        <a:lnTo>
                          <a:pt x="414" y="377"/>
                        </a:lnTo>
                        <a:lnTo>
                          <a:pt x="411" y="375"/>
                        </a:lnTo>
                        <a:lnTo>
                          <a:pt x="409" y="374"/>
                        </a:lnTo>
                        <a:lnTo>
                          <a:pt x="409" y="372"/>
                        </a:lnTo>
                        <a:lnTo>
                          <a:pt x="409" y="370"/>
                        </a:lnTo>
                        <a:lnTo>
                          <a:pt x="409" y="368"/>
                        </a:lnTo>
                        <a:lnTo>
                          <a:pt x="406" y="366"/>
                        </a:lnTo>
                        <a:lnTo>
                          <a:pt x="403" y="365"/>
                        </a:lnTo>
                        <a:lnTo>
                          <a:pt x="400" y="364"/>
                        </a:lnTo>
                        <a:lnTo>
                          <a:pt x="399" y="362"/>
                        </a:lnTo>
                        <a:lnTo>
                          <a:pt x="397" y="361"/>
                        </a:lnTo>
                        <a:lnTo>
                          <a:pt x="396" y="360"/>
                        </a:lnTo>
                        <a:lnTo>
                          <a:pt x="396" y="355"/>
                        </a:lnTo>
                        <a:lnTo>
                          <a:pt x="393" y="353"/>
                        </a:lnTo>
                        <a:lnTo>
                          <a:pt x="390" y="352"/>
                        </a:lnTo>
                        <a:lnTo>
                          <a:pt x="386" y="350"/>
                        </a:lnTo>
                        <a:lnTo>
                          <a:pt x="383" y="349"/>
                        </a:lnTo>
                        <a:lnTo>
                          <a:pt x="382" y="345"/>
                        </a:lnTo>
                        <a:lnTo>
                          <a:pt x="381" y="341"/>
                        </a:lnTo>
                        <a:lnTo>
                          <a:pt x="380" y="337"/>
                        </a:lnTo>
                        <a:lnTo>
                          <a:pt x="380" y="332"/>
                        </a:lnTo>
                        <a:lnTo>
                          <a:pt x="378" y="332"/>
                        </a:lnTo>
                        <a:lnTo>
                          <a:pt x="377" y="331"/>
                        </a:lnTo>
                        <a:lnTo>
                          <a:pt x="377" y="326"/>
                        </a:lnTo>
                        <a:lnTo>
                          <a:pt x="375" y="325"/>
                        </a:lnTo>
                        <a:lnTo>
                          <a:pt x="373" y="325"/>
                        </a:lnTo>
                        <a:lnTo>
                          <a:pt x="372" y="324"/>
                        </a:lnTo>
                        <a:lnTo>
                          <a:pt x="370" y="323"/>
                        </a:lnTo>
                        <a:lnTo>
                          <a:pt x="370" y="321"/>
                        </a:lnTo>
                        <a:lnTo>
                          <a:pt x="372" y="318"/>
                        </a:lnTo>
                        <a:lnTo>
                          <a:pt x="373" y="316"/>
                        </a:lnTo>
                        <a:lnTo>
                          <a:pt x="373" y="313"/>
                        </a:lnTo>
                        <a:lnTo>
                          <a:pt x="370" y="310"/>
                        </a:lnTo>
                        <a:lnTo>
                          <a:pt x="370" y="307"/>
                        </a:lnTo>
                        <a:lnTo>
                          <a:pt x="370" y="301"/>
                        </a:lnTo>
                        <a:lnTo>
                          <a:pt x="370" y="295"/>
                        </a:lnTo>
                        <a:lnTo>
                          <a:pt x="370" y="288"/>
                        </a:lnTo>
                        <a:lnTo>
                          <a:pt x="369" y="288"/>
                        </a:lnTo>
                        <a:lnTo>
                          <a:pt x="368" y="286"/>
                        </a:lnTo>
                        <a:lnTo>
                          <a:pt x="368" y="285"/>
                        </a:lnTo>
                        <a:lnTo>
                          <a:pt x="366" y="283"/>
                        </a:lnTo>
                        <a:lnTo>
                          <a:pt x="366" y="280"/>
                        </a:lnTo>
                        <a:lnTo>
                          <a:pt x="366" y="277"/>
                        </a:lnTo>
                        <a:lnTo>
                          <a:pt x="364" y="275"/>
                        </a:lnTo>
                        <a:lnTo>
                          <a:pt x="363" y="271"/>
                        </a:lnTo>
                        <a:lnTo>
                          <a:pt x="359" y="267"/>
                        </a:lnTo>
                        <a:lnTo>
                          <a:pt x="354" y="262"/>
                        </a:lnTo>
                        <a:lnTo>
                          <a:pt x="351" y="259"/>
                        </a:lnTo>
                        <a:lnTo>
                          <a:pt x="350" y="259"/>
                        </a:lnTo>
                        <a:lnTo>
                          <a:pt x="349" y="259"/>
                        </a:lnTo>
                        <a:lnTo>
                          <a:pt x="348" y="259"/>
                        </a:lnTo>
                        <a:lnTo>
                          <a:pt x="347" y="259"/>
                        </a:lnTo>
                        <a:lnTo>
                          <a:pt x="347" y="256"/>
                        </a:lnTo>
                        <a:lnTo>
                          <a:pt x="346" y="256"/>
                        </a:lnTo>
                        <a:lnTo>
                          <a:pt x="344" y="256"/>
                        </a:lnTo>
                        <a:lnTo>
                          <a:pt x="342" y="256"/>
                        </a:lnTo>
                        <a:lnTo>
                          <a:pt x="339" y="253"/>
                        </a:lnTo>
                        <a:lnTo>
                          <a:pt x="336" y="249"/>
                        </a:lnTo>
                        <a:lnTo>
                          <a:pt x="333" y="245"/>
                        </a:lnTo>
                        <a:lnTo>
                          <a:pt x="328" y="242"/>
                        </a:lnTo>
                        <a:lnTo>
                          <a:pt x="325" y="241"/>
                        </a:lnTo>
                        <a:lnTo>
                          <a:pt x="322" y="238"/>
                        </a:lnTo>
                        <a:lnTo>
                          <a:pt x="319" y="236"/>
                        </a:lnTo>
                        <a:lnTo>
                          <a:pt x="316" y="233"/>
                        </a:lnTo>
                        <a:lnTo>
                          <a:pt x="310" y="228"/>
                        </a:lnTo>
                        <a:lnTo>
                          <a:pt x="306" y="221"/>
                        </a:lnTo>
                        <a:lnTo>
                          <a:pt x="302" y="214"/>
                        </a:lnTo>
                        <a:lnTo>
                          <a:pt x="300" y="206"/>
                        </a:lnTo>
                        <a:lnTo>
                          <a:pt x="297" y="188"/>
                        </a:lnTo>
                        <a:lnTo>
                          <a:pt x="296" y="168"/>
                        </a:lnTo>
                        <a:lnTo>
                          <a:pt x="298" y="168"/>
                        </a:lnTo>
                        <a:lnTo>
                          <a:pt x="299" y="167"/>
                        </a:lnTo>
                        <a:lnTo>
                          <a:pt x="299" y="166"/>
                        </a:lnTo>
                        <a:lnTo>
                          <a:pt x="300" y="166"/>
                        </a:lnTo>
                        <a:lnTo>
                          <a:pt x="301" y="166"/>
                        </a:lnTo>
                        <a:lnTo>
                          <a:pt x="302" y="166"/>
                        </a:lnTo>
                        <a:lnTo>
                          <a:pt x="304" y="163"/>
                        </a:lnTo>
                        <a:lnTo>
                          <a:pt x="306" y="161"/>
                        </a:lnTo>
                        <a:lnTo>
                          <a:pt x="307" y="158"/>
                        </a:lnTo>
                        <a:lnTo>
                          <a:pt x="309" y="155"/>
                        </a:lnTo>
                        <a:lnTo>
                          <a:pt x="312" y="155"/>
                        </a:lnTo>
                        <a:lnTo>
                          <a:pt x="310" y="152"/>
                        </a:lnTo>
                        <a:lnTo>
                          <a:pt x="308" y="148"/>
                        </a:lnTo>
                        <a:lnTo>
                          <a:pt x="306" y="144"/>
                        </a:lnTo>
                        <a:lnTo>
                          <a:pt x="306" y="143"/>
                        </a:lnTo>
                        <a:lnTo>
                          <a:pt x="306" y="138"/>
                        </a:lnTo>
                        <a:lnTo>
                          <a:pt x="306" y="137"/>
                        </a:lnTo>
                        <a:lnTo>
                          <a:pt x="306" y="136"/>
                        </a:lnTo>
                        <a:lnTo>
                          <a:pt x="303" y="134"/>
                        </a:lnTo>
                        <a:lnTo>
                          <a:pt x="301" y="133"/>
                        </a:lnTo>
                        <a:lnTo>
                          <a:pt x="300" y="132"/>
                        </a:lnTo>
                        <a:lnTo>
                          <a:pt x="299" y="130"/>
                        </a:lnTo>
                        <a:lnTo>
                          <a:pt x="300" y="129"/>
                        </a:lnTo>
                        <a:lnTo>
                          <a:pt x="300" y="128"/>
                        </a:lnTo>
                        <a:lnTo>
                          <a:pt x="301" y="127"/>
                        </a:lnTo>
                        <a:lnTo>
                          <a:pt x="299" y="126"/>
                        </a:lnTo>
                        <a:lnTo>
                          <a:pt x="301" y="125"/>
                        </a:lnTo>
                        <a:lnTo>
                          <a:pt x="302" y="123"/>
                        </a:lnTo>
                        <a:lnTo>
                          <a:pt x="304" y="121"/>
                        </a:lnTo>
                        <a:lnTo>
                          <a:pt x="306" y="120"/>
                        </a:lnTo>
                        <a:lnTo>
                          <a:pt x="308" y="119"/>
                        </a:lnTo>
                        <a:lnTo>
                          <a:pt x="311" y="119"/>
                        </a:lnTo>
                        <a:lnTo>
                          <a:pt x="313" y="120"/>
                        </a:lnTo>
                        <a:lnTo>
                          <a:pt x="316" y="120"/>
                        </a:lnTo>
                        <a:lnTo>
                          <a:pt x="320" y="118"/>
                        </a:lnTo>
                        <a:lnTo>
                          <a:pt x="323" y="116"/>
                        </a:lnTo>
                        <a:lnTo>
                          <a:pt x="326" y="114"/>
                        </a:lnTo>
                        <a:lnTo>
                          <a:pt x="328" y="114"/>
                        </a:lnTo>
                        <a:lnTo>
                          <a:pt x="331" y="113"/>
                        </a:lnTo>
                        <a:lnTo>
                          <a:pt x="333" y="112"/>
                        </a:lnTo>
                        <a:lnTo>
                          <a:pt x="336" y="111"/>
                        </a:lnTo>
                        <a:lnTo>
                          <a:pt x="338" y="110"/>
                        </a:lnTo>
                        <a:lnTo>
                          <a:pt x="340" y="110"/>
                        </a:lnTo>
                        <a:lnTo>
                          <a:pt x="342" y="110"/>
                        </a:lnTo>
                        <a:lnTo>
                          <a:pt x="343" y="110"/>
                        </a:lnTo>
                        <a:lnTo>
                          <a:pt x="344" y="110"/>
                        </a:lnTo>
                        <a:lnTo>
                          <a:pt x="345" y="109"/>
                        </a:lnTo>
                        <a:lnTo>
                          <a:pt x="346" y="107"/>
                        </a:lnTo>
                        <a:lnTo>
                          <a:pt x="347" y="107"/>
                        </a:lnTo>
                        <a:lnTo>
                          <a:pt x="347" y="105"/>
                        </a:lnTo>
                        <a:lnTo>
                          <a:pt x="346" y="104"/>
                        </a:lnTo>
                        <a:lnTo>
                          <a:pt x="345" y="104"/>
                        </a:lnTo>
                        <a:lnTo>
                          <a:pt x="344" y="104"/>
                        </a:lnTo>
                        <a:lnTo>
                          <a:pt x="345" y="104"/>
                        </a:lnTo>
                        <a:lnTo>
                          <a:pt x="345" y="103"/>
                        </a:lnTo>
                        <a:lnTo>
                          <a:pt x="346" y="102"/>
                        </a:lnTo>
                        <a:lnTo>
                          <a:pt x="344" y="100"/>
                        </a:lnTo>
                        <a:lnTo>
                          <a:pt x="349" y="100"/>
                        </a:lnTo>
                        <a:lnTo>
                          <a:pt x="353" y="101"/>
                        </a:lnTo>
                        <a:lnTo>
                          <a:pt x="356" y="102"/>
                        </a:lnTo>
                        <a:lnTo>
                          <a:pt x="361" y="104"/>
                        </a:lnTo>
                        <a:lnTo>
                          <a:pt x="361" y="106"/>
                        </a:lnTo>
                        <a:lnTo>
                          <a:pt x="362" y="108"/>
                        </a:lnTo>
                        <a:lnTo>
                          <a:pt x="364" y="110"/>
                        </a:lnTo>
                        <a:lnTo>
                          <a:pt x="368" y="106"/>
                        </a:lnTo>
                        <a:lnTo>
                          <a:pt x="371" y="104"/>
                        </a:lnTo>
                        <a:lnTo>
                          <a:pt x="373" y="104"/>
                        </a:lnTo>
                        <a:lnTo>
                          <a:pt x="377" y="106"/>
                        </a:lnTo>
                        <a:lnTo>
                          <a:pt x="379" y="109"/>
                        </a:lnTo>
                        <a:lnTo>
                          <a:pt x="379" y="111"/>
                        </a:lnTo>
                        <a:lnTo>
                          <a:pt x="377" y="114"/>
                        </a:lnTo>
                        <a:lnTo>
                          <a:pt x="379" y="116"/>
                        </a:lnTo>
                        <a:lnTo>
                          <a:pt x="380" y="117"/>
                        </a:lnTo>
                        <a:lnTo>
                          <a:pt x="381" y="117"/>
                        </a:lnTo>
                        <a:lnTo>
                          <a:pt x="383" y="117"/>
                        </a:lnTo>
                        <a:lnTo>
                          <a:pt x="385" y="117"/>
                        </a:lnTo>
                        <a:lnTo>
                          <a:pt x="386" y="117"/>
                        </a:lnTo>
                        <a:lnTo>
                          <a:pt x="387" y="116"/>
                        </a:lnTo>
                        <a:lnTo>
                          <a:pt x="387" y="114"/>
                        </a:lnTo>
                        <a:lnTo>
                          <a:pt x="389" y="113"/>
                        </a:lnTo>
                        <a:lnTo>
                          <a:pt x="389" y="110"/>
                        </a:lnTo>
                        <a:lnTo>
                          <a:pt x="389" y="108"/>
                        </a:lnTo>
                        <a:lnTo>
                          <a:pt x="387" y="107"/>
                        </a:lnTo>
                        <a:lnTo>
                          <a:pt x="385" y="106"/>
                        </a:lnTo>
                        <a:lnTo>
                          <a:pt x="383" y="106"/>
                        </a:lnTo>
                        <a:lnTo>
                          <a:pt x="382" y="107"/>
                        </a:lnTo>
                        <a:lnTo>
                          <a:pt x="380" y="107"/>
                        </a:lnTo>
                        <a:lnTo>
                          <a:pt x="380" y="102"/>
                        </a:lnTo>
                        <a:lnTo>
                          <a:pt x="379" y="101"/>
                        </a:lnTo>
                        <a:lnTo>
                          <a:pt x="377" y="100"/>
                        </a:lnTo>
                        <a:lnTo>
                          <a:pt x="376" y="100"/>
                        </a:lnTo>
                        <a:lnTo>
                          <a:pt x="375" y="100"/>
                        </a:lnTo>
                        <a:lnTo>
                          <a:pt x="373" y="100"/>
                        </a:lnTo>
                        <a:lnTo>
                          <a:pt x="373" y="98"/>
                        </a:lnTo>
                        <a:lnTo>
                          <a:pt x="373" y="97"/>
                        </a:lnTo>
                        <a:lnTo>
                          <a:pt x="374" y="95"/>
                        </a:lnTo>
                        <a:lnTo>
                          <a:pt x="375" y="92"/>
                        </a:lnTo>
                        <a:lnTo>
                          <a:pt x="375" y="89"/>
                        </a:lnTo>
                        <a:lnTo>
                          <a:pt x="373" y="88"/>
                        </a:lnTo>
                        <a:lnTo>
                          <a:pt x="371" y="88"/>
                        </a:lnTo>
                        <a:lnTo>
                          <a:pt x="370" y="90"/>
                        </a:lnTo>
                        <a:lnTo>
                          <a:pt x="369" y="91"/>
                        </a:lnTo>
                        <a:lnTo>
                          <a:pt x="368" y="91"/>
                        </a:lnTo>
                        <a:lnTo>
                          <a:pt x="368" y="90"/>
                        </a:lnTo>
                        <a:lnTo>
                          <a:pt x="368" y="88"/>
                        </a:lnTo>
                        <a:lnTo>
                          <a:pt x="369" y="86"/>
                        </a:lnTo>
                        <a:lnTo>
                          <a:pt x="370" y="84"/>
                        </a:lnTo>
                        <a:lnTo>
                          <a:pt x="370" y="83"/>
                        </a:lnTo>
                        <a:lnTo>
                          <a:pt x="370" y="81"/>
                        </a:lnTo>
                        <a:lnTo>
                          <a:pt x="372" y="81"/>
                        </a:lnTo>
                        <a:lnTo>
                          <a:pt x="373" y="80"/>
                        </a:lnTo>
                        <a:lnTo>
                          <a:pt x="373" y="78"/>
                        </a:lnTo>
                        <a:lnTo>
                          <a:pt x="372" y="78"/>
                        </a:lnTo>
                        <a:lnTo>
                          <a:pt x="370" y="78"/>
                        </a:lnTo>
                        <a:lnTo>
                          <a:pt x="370" y="76"/>
                        </a:lnTo>
                        <a:lnTo>
                          <a:pt x="370" y="75"/>
                        </a:lnTo>
                        <a:lnTo>
                          <a:pt x="370" y="74"/>
                        </a:lnTo>
                        <a:lnTo>
                          <a:pt x="368" y="73"/>
                        </a:lnTo>
                        <a:lnTo>
                          <a:pt x="368" y="74"/>
                        </a:lnTo>
                        <a:lnTo>
                          <a:pt x="366" y="74"/>
                        </a:lnTo>
                        <a:lnTo>
                          <a:pt x="365" y="74"/>
                        </a:lnTo>
                        <a:lnTo>
                          <a:pt x="364" y="73"/>
                        </a:lnTo>
                        <a:lnTo>
                          <a:pt x="364" y="72"/>
                        </a:lnTo>
                        <a:lnTo>
                          <a:pt x="364" y="71"/>
                        </a:lnTo>
                        <a:lnTo>
                          <a:pt x="364" y="69"/>
                        </a:lnTo>
                        <a:lnTo>
                          <a:pt x="366" y="67"/>
                        </a:lnTo>
                        <a:lnTo>
                          <a:pt x="366" y="66"/>
                        </a:lnTo>
                        <a:lnTo>
                          <a:pt x="366" y="65"/>
                        </a:lnTo>
                        <a:lnTo>
                          <a:pt x="368" y="65"/>
                        </a:lnTo>
                        <a:lnTo>
                          <a:pt x="368" y="63"/>
                        </a:lnTo>
                        <a:lnTo>
                          <a:pt x="368" y="62"/>
                        </a:lnTo>
                        <a:lnTo>
                          <a:pt x="370" y="62"/>
                        </a:lnTo>
                        <a:lnTo>
                          <a:pt x="372" y="60"/>
                        </a:lnTo>
                        <a:lnTo>
                          <a:pt x="373" y="59"/>
                        </a:lnTo>
                        <a:lnTo>
                          <a:pt x="375" y="59"/>
                        </a:lnTo>
                        <a:lnTo>
                          <a:pt x="377" y="59"/>
                        </a:lnTo>
                        <a:lnTo>
                          <a:pt x="377" y="57"/>
                        </a:lnTo>
                        <a:lnTo>
                          <a:pt x="378" y="56"/>
                        </a:lnTo>
                        <a:lnTo>
                          <a:pt x="380" y="55"/>
                        </a:lnTo>
                        <a:lnTo>
                          <a:pt x="380" y="51"/>
                        </a:lnTo>
                        <a:lnTo>
                          <a:pt x="380" y="49"/>
                        </a:lnTo>
                        <a:lnTo>
                          <a:pt x="380" y="48"/>
                        </a:lnTo>
                        <a:lnTo>
                          <a:pt x="378" y="48"/>
                        </a:lnTo>
                        <a:lnTo>
                          <a:pt x="377" y="47"/>
                        </a:lnTo>
                        <a:lnTo>
                          <a:pt x="375" y="46"/>
                        </a:lnTo>
                        <a:lnTo>
                          <a:pt x="373" y="46"/>
                        </a:lnTo>
                        <a:lnTo>
                          <a:pt x="371" y="46"/>
                        </a:lnTo>
                        <a:lnTo>
                          <a:pt x="368" y="46"/>
                        </a:lnTo>
                        <a:lnTo>
                          <a:pt x="367" y="46"/>
                        </a:lnTo>
                        <a:lnTo>
                          <a:pt x="365" y="46"/>
                        </a:lnTo>
                        <a:lnTo>
                          <a:pt x="361" y="46"/>
                        </a:lnTo>
                        <a:lnTo>
                          <a:pt x="360" y="46"/>
                        </a:lnTo>
                        <a:lnTo>
                          <a:pt x="359" y="46"/>
                        </a:lnTo>
                        <a:lnTo>
                          <a:pt x="358" y="46"/>
                        </a:lnTo>
                        <a:lnTo>
                          <a:pt x="356" y="46"/>
                        </a:lnTo>
                        <a:lnTo>
                          <a:pt x="354" y="46"/>
                        </a:lnTo>
                        <a:lnTo>
                          <a:pt x="353" y="46"/>
                        </a:lnTo>
                        <a:lnTo>
                          <a:pt x="351" y="46"/>
                        </a:lnTo>
                        <a:lnTo>
                          <a:pt x="349" y="44"/>
                        </a:lnTo>
                        <a:lnTo>
                          <a:pt x="348" y="43"/>
                        </a:lnTo>
                        <a:lnTo>
                          <a:pt x="347" y="43"/>
                        </a:lnTo>
                        <a:lnTo>
                          <a:pt x="345" y="43"/>
                        </a:lnTo>
                        <a:lnTo>
                          <a:pt x="344" y="43"/>
                        </a:lnTo>
                        <a:lnTo>
                          <a:pt x="342" y="43"/>
                        </a:lnTo>
                        <a:lnTo>
                          <a:pt x="340" y="41"/>
                        </a:lnTo>
                        <a:lnTo>
                          <a:pt x="338" y="39"/>
                        </a:lnTo>
                        <a:lnTo>
                          <a:pt x="337" y="38"/>
                        </a:lnTo>
                        <a:lnTo>
                          <a:pt x="335" y="36"/>
                        </a:lnTo>
                        <a:lnTo>
                          <a:pt x="333" y="36"/>
                        </a:lnTo>
                        <a:lnTo>
                          <a:pt x="332" y="36"/>
                        </a:lnTo>
                        <a:lnTo>
                          <a:pt x="330" y="36"/>
                        </a:lnTo>
                        <a:lnTo>
                          <a:pt x="328" y="36"/>
                        </a:lnTo>
                        <a:lnTo>
                          <a:pt x="326" y="34"/>
                        </a:lnTo>
                        <a:lnTo>
                          <a:pt x="323" y="33"/>
                        </a:lnTo>
                        <a:lnTo>
                          <a:pt x="319" y="33"/>
                        </a:lnTo>
                        <a:lnTo>
                          <a:pt x="319" y="31"/>
                        </a:lnTo>
                        <a:lnTo>
                          <a:pt x="319" y="30"/>
                        </a:lnTo>
                        <a:lnTo>
                          <a:pt x="318" y="29"/>
                        </a:lnTo>
                        <a:lnTo>
                          <a:pt x="316" y="29"/>
                        </a:lnTo>
                        <a:lnTo>
                          <a:pt x="316" y="27"/>
                        </a:lnTo>
                        <a:lnTo>
                          <a:pt x="316" y="26"/>
                        </a:lnTo>
                        <a:lnTo>
                          <a:pt x="316" y="25"/>
                        </a:lnTo>
                        <a:lnTo>
                          <a:pt x="316" y="24"/>
                        </a:lnTo>
                        <a:lnTo>
                          <a:pt x="316" y="23"/>
                        </a:lnTo>
                        <a:lnTo>
                          <a:pt x="315" y="21"/>
                        </a:lnTo>
                        <a:lnTo>
                          <a:pt x="314" y="19"/>
                        </a:lnTo>
                        <a:lnTo>
                          <a:pt x="312" y="17"/>
                        </a:lnTo>
                        <a:lnTo>
                          <a:pt x="311" y="17"/>
                        </a:lnTo>
                        <a:lnTo>
                          <a:pt x="310" y="17"/>
                        </a:lnTo>
                        <a:lnTo>
                          <a:pt x="309" y="17"/>
                        </a:lnTo>
                        <a:lnTo>
                          <a:pt x="309" y="15"/>
                        </a:lnTo>
                        <a:lnTo>
                          <a:pt x="307" y="14"/>
                        </a:lnTo>
                        <a:lnTo>
                          <a:pt x="306" y="14"/>
                        </a:lnTo>
                        <a:lnTo>
                          <a:pt x="306" y="13"/>
                        </a:lnTo>
                        <a:lnTo>
                          <a:pt x="308" y="12"/>
                        </a:lnTo>
                        <a:lnTo>
                          <a:pt x="309" y="11"/>
                        </a:lnTo>
                        <a:lnTo>
                          <a:pt x="310" y="10"/>
                        </a:lnTo>
                        <a:lnTo>
                          <a:pt x="312" y="10"/>
                        </a:lnTo>
                        <a:lnTo>
                          <a:pt x="313" y="9"/>
                        </a:lnTo>
                        <a:lnTo>
                          <a:pt x="315" y="8"/>
                        </a:lnTo>
                        <a:lnTo>
                          <a:pt x="317" y="8"/>
                        </a:lnTo>
                        <a:lnTo>
                          <a:pt x="319" y="7"/>
                        </a:lnTo>
                        <a:lnTo>
                          <a:pt x="319" y="5"/>
                        </a:lnTo>
                        <a:lnTo>
                          <a:pt x="319" y="4"/>
                        </a:lnTo>
                        <a:lnTo>
                          <a:pt x="319" y="3"/>
                        </a:lnTo>
                        <a:lnTo>
                          <a:pt x="318" y="1"/>
                        </a:lnTo>
                        <a:lnTo>
                          <a:pt x="317" y="0"/>
                        </a:lnTo>
                        <a:lnTo>
                          <a:pt x="314" y="1"/>
                        </a:lnTo>
                        <a:lnTo>
                          <a:pt x="310" y="2"/>
                        </a:lnTo>
                        <a:lnTo>
                          <a:pt x="306" y="3"/>
                        </a:lnTo>
                        <a:lnTo>
                          <a:pt x="304" y="3"/>
                        </a:lnTo>
                        <a:lnTo>
                          <a:pt x="302" y="3"/>
                        </a:lnTo>
                        <a:lnTo>
                          <a:pt x="301" y="3"/>
                        </a:lnTo>
                        <a:lnTo>
                          <a:pt x="299" y="3"/>
                        </a:lnTo>
                        <a:lnTo>
                          <a:pt x="297" y="4"/>
                        </a:lnTo>
                        <a:lnTo>
                          <a:pt x="296" y="5"/>
                        </a:lnTo>
                        <a:lnTo>
                          <a:pt x="295" y="6"/>
                        </a:lnTo>
                        <a:lnTo>
                          <a:pt x="293" y="7"/>
                        </a:lnTo>
                        <a:lnTo>
                          <a:pt x="291" y="7"/>
                        </a:lnTo>
                        <a:lnTo>
                          <a:pt x="290" y="7"/>
                        </a:lnTo>
                        <a:lnTo>
                          <a:pt x="289" y="7"/>
                        </a:lnTo>
                        <a:lnTo>
                          <a:pt x="287" y="7"/>
                        </a:lnTo>
                        <a:lnTo>
                          <a:pt x="285" y="7"/>
                        </a:lnTo>
                        <a:lnTo>
                          <a:pt x="283" y="7"/>
                        </a:lnTo>
                        <a:lnTo>
                          <a:pt x="282" y="7"/>
                        </a:lnTo>
                        <a:lnTo>
                          <a:pt x="280" y="7"/>
                        </a:lnTo>
                        <a:lnTo>
                          <a:pt x="279" y="7"/>
                        </a:lnTo>
                        <a:lnTo>
                          <a:pt x="278" y="7"/>
                        </a:lnTo>
                        <a:lnTo>
                          <a:pt x="273" y="7"/>
                        </a:lnTo>
                        <a:lnTo>
                          <a:pt x="272" y="7"/>
                        </a:lnTo>
                        <a:lnTo>
                          <a:pt x="271" y="6"/>
                        </a:lnTo>
                        <a:lnTo>
                          <a:pt x="269" y="5"/>
                        </a:lnTo>
                        <a:lnTo>
                          <a:pt x="267" y="3"/>
                        </a:lnTo>
                        <a:lnTo>
                          <a:pt x="265" y="3"/>
                        </a:lnTo>
                        <a:lnTo>
                          <a:pt x="262" y="2"/>
                        </a:lnTo>
                        <a:lnTo>
                          <a:pt x="260" y="0"/>
                        </a:lnTo>
                        <a:lnTo>
                          <a:pt x="257" y="0"/>
                        </a:lnTo>
                        <a:lnTo>
                          <a:pt x="256" y="2"/>
                        </a:lnTo>
                        <a:lnTo>
                          <a:pt x="256" y="5"/>
                        </a:lnTo>
                        <a:lnTo>
                          <a:pt x="256" y="6"/>
                        </a:lnTo>
                        <a:lnTo>
                          <a:pt x="254" y="7"/>
                        </a:lnTo>
                        <a:lnTo>
                          <a:pt x="252" y="7"/>
                        </a:lnTo>
                        <a:lnTo>
                          <a:pt x="251" y="7"/>
                        </a:lnTo>
                        <a:lnTo>
                          <a:pt x="249" y="7"/>
                        </a:lnTo>
                        <a:lnTo>
                          <a:pt x="248" y="7"/>
                        </a:lnTo>
                        <a:lnTo>
                          <a:pt x="247" y="7"/>
                        </a:lnTo>
                        <a:lnTo>
                          <a:pt x="245" y="7"/>
                        </a:lnTo>
                        <a:lnTo>
                          <a:pt x="244" y="7"/>
                        </a:lnTo>
                        <a:lnTo>
                          <a:pt x="243" y="7"/>
                        </a:lnTo>
                        <a:lnTo>
                          <a:pt x="242" y="7"/>
                        </a:lnTo>
                        <a:lnTo>
                          <a:pt x="240" y="4"/>
                        </a:lnTo>
                        <a:lnTo>
                          <a:pt x="238" y="3"/>
                        </a:lnTo>
                        <a:lnTo>
                          <a:pt x="237" y="2"/>
                        </a:lnTo>
                        <a:lnTo>
                          <a:pt x="235" y="3"/>
                        </a:lnTo>
                        <a:lnTo>
                          <a:pt x="232" y="4"/>
                        </a:lnTo>
                        <a:lnTo>
                          <a:pt x="230" y="6"/>
                        </a:lnTo>
                        <a:lnTo>
                          <a:pt x="227" y="9"/>
                        </a:lnTo>
                        <a:lnTo>
                          <a:pt x="225" y="13"/>
                        </a:lnTo>
                        <a:lnTo>
                          <a:pt x="225" y="14"/>
                        </a:lnTo>
                        <a:lnTo>
                          <a:pt x="225" y="15"/>
                        </a:lnTo>
                        <a:lnTo>
                          <a:pt x="225" y="16"/>
                        </a:lnTo>
                        <a:lnTo>
                          <a:pt x="225" y="17"/>
                        </a:lnTo>
                        <a:lnTo>
                          <a:pt x="226" y="17"/>
                        </a:lnTo>
                        <a:lnTo>
                          <a:pt x="228" y="19"/>
                        </a:lnTo>
                        <a:lnTo>
                          <a:pt x="229" y="20"/>
                        </a:lnTo>
                        <a:lnTo>
                          <a:pt x="228" y="20"/>
                        </a:lnTo>
                        <a:lnTo>
                          <a:pt x="229" y="22"/>
                        </a:lnTo>
                        <a:lnTo>
                          <a:pt x="230" y="24"/>
                        </a:lnTo>
                        <a:lnTo>
                          <a:pt x="231" y="24"/>
                        </a:lnTo>
                        <a:lnTo>
                          <a:pt x="231" y="26"/>
                        </a:lnTo>
                        <a:lnTo>
                          <a:pt x="228" y="27"/>
                        </a:lnTo>
                        <a:lnTo>
                          <a:pt x="225" y="26"/>
                        </a:lnTo>
                        <a:lnTo>
                          <a:pt x="222" y="24"/>
                        </a:lnTo>
                        <a:lnTo>
                          <a:pt x="219" y="24"/>
                        </a:lnTo>
                        <a:lnTo>
                          <a:pt x="219" y="22"/>
                        </a:lnTo>
                        <a:lnTo>
                          <a:pt x="217" y="22"/>
                        </a:lnTo>
                        <a:lnTo>
                          <a:pt x="216" y="23"/>
                        </a:lnTo>
                        <a:lnTo>
                          <a:pt x="216" y="24"/>
                        </a:lnTo>
                        <a:lnTo>
                          <a:pt x="215" y="22"/>
                        </a:lnTo>
                        <a:lnTo>
                          <a:pt x="214" y="20"/>
                        </a:lnTo>
                        <a:lnTo>
                          <a:pt x="213" y="19"/>
                        </a:lnTo>
                        <a:lnTo>
                          <a:pt x="212" y="17"/>
                        </a:lnTo>
                        <a:lnTo>
                          <a:pt x="210" y="17"/>
                        </a:lnTo>
                        <a:lnTo>
                          <a:pt x="206" y="17"/>
                        </a:lnTo>
                        <a:lnTo>
                          <a:pt x="206" y="19"/>
                        </a:lnTo>
                        <a:lnTo>
                          <a:pt x="206" y="20"/>
                        </a:lnTo>
                        <a:lnTo>
                          <a:pt x="204" y="20"/>
                        </a:lnTo>
                        <a:lnTo>
                          <a:pt x="203" y="21"/>
                        </a:lnTo>
                        <a:lnTo>
                          <a:pt x="202" y="22"/>
                        </a:lnTo>
                        <a:lnTo>
                          <a:pt x="202" y="24"/>
                        </a:lnTo>
                        <a:lnTo>
                          <a:pt x="203" y="24"/>
                        </a:lnTo>
                        <a:lnTo>
                          <a:pt x="206" y="24"/>
                        </a:lnTo>
                        <a:lnTo>
                          <a:pt x="208" y="24"/>
                        </a:lnTo>
                        <a:lnTo>
                          <a:pt x="209" y="26"/>
                        </a:lnTo>
                        <a:lnTo>
                          <a:pt x="208" y="28"/>
                        </a:lnTo>
                        <a:lnTo>
                          <a:pt x="207" y="29"/>
                        </a:lnTo>
                        <a:lnTo>
                          <a:pt x="206" y="29"/>
                        </a:lnTo>
                        <a:lnTo>
                          <a:pt x="205" y="31"/>
                        </a:lnTo>
                        <a:lnTo>
                          <a:pt x="204" y="33"/>
                        </a:lnTo>
                        <a:lnTo>
                          <a:pt x="203" y="34"/>
                        </a:lnTo>
                        <a:lnTo>
                          <a:pt x="202" y="36"/>
                        </a:lnTo>
                        <a:lnTo>
                          <a:pt x="203" y="36"/>
                        </a:lnTo>
                        <a:lnTo>
                          <a:pt x="204" y="36"/>
                        </a:lnTo>
                        <a:lnTo>
                          <a:pt x="205" y="37"/>
                        </a:lnTo>
                        <a:lnTo>
                          <a:pt x="206" y="39"/>
                        </a:lnTo>
                        <a:lnTo>
                          <a:pt x="205" y="40"/>
                        </a:lnTo>
                        <a:lnTo>
                          <a:pt x="204" y="41"/>
                        </a:lnTo>
                        <a:lnTo>
                          <a:pt x="203" y="41"/>
                        </a:lnTo>
                        <a:lnTo>
                          <a:pt x="202" y="39"/>
                        </a:lnTo>
                        <a:lnTo>
                          <a:pt x="200" y="40"/>
                        </a:lnTo>
                        <a:lnTo>
                          <a:pt x="200" y="41"/>
                        </a:lnTo>
                        <a:lnTo>
                          <a:pt x="200" y="39"/>
                        </a:lnTo>
                        <a:lnTo>
                          <a:pt x="199" y="39"/>
                        </a:lnTo>
                        <a:lnTo>
                          <a:pt x="198" y="39"/>
                        </a:lnTo>
                        <a:lnTo>
                          <a:pt x="197" y="38"/>
                        </a:lnTo>
                        <a:lnTo>
                          <a:pt x="197" y="36"/>
                        </a:lnTo>
                        <a:lnTo>
                          <a:pt x="198" y="36"/>
                        </a:lnTo>
                        <a:lnTo>
                          <a:pt x="198" y="35"/>
                        </a:lnTo>
                        <a:lnTo>
                          <a:pt x="197" y="33"/>
                        </a:lnTo>
                        <a:lnTo>
                          <a:pt x="197" y="32"/>
                        </a:lnTo>
                        <a:lnTo>
                          <a:pt x="197" y="31"/>
                        </a:lnTo>
                        <a:lnTo>
                          <a:pt x="197" y="30"/>
                        </a:lnTo>
                        <a:lnTo>
                          <a:pt x="197" y="29"/>
                        </a:lnTo>
                        <a:lnTo>
                          <a:pt x="194" y="30"/>
                        </a:lnTo>
                        <a:lnTo>
                          <a:pt x="192" y="31"/>
                        </a:lnTo>
                        <a:lnTo>
                          <a:pt x="190" y="32"/>
                        </a:lnTo>
                        <a:lnTo>
                          <a:pt x="190" y="33"/>
                        </a:lnTo>
                        <a:lnTo>
                          <a:pt x="187" y="33"/>
                        </a:lnTo>
                        <a:lnTo>
                          <a:pt x="185" y="34"/>
                        </a:lnTo>
                        <a:lnTo>
                          <a:pt x="182" y="35"/>
                        </a:lnTo>
                        <a:lnTo>
                          <a:pt x="180" y="36"/>
                        </a:lnTo>
                        <a:lnTo>
                          <a:pt x="176" y="36"/>
                        </a:lnTo>
                        <a:lnTo>
                          <a:pt x="175" y="36"/>
                        </a:lnTo>
                        <a:lnTo>
                          <a:pt x="174" y="36"/>
                        </a:lnTo>
                        <a:lnTo>
                          <a:pt x="172" y="37"/>
                        </a:lnTo>
                        <a:lnTo>
                          <a:pt x="171" y="35"/>
                        </a:lnTo>
                        <a:lnTo>
                          <a:pt x="171" y="32"/>
                        </a:lnTo>
                        <a:lnTo>
                          <a:pt x="171" y="29"/>
                        </a:lnTo>
                        <a:lnTo>
                          <a:pt x="171" y="28"/>
                        </a:lnTo>
                        <a:lnTo>
                          <a:pt x="171" y="26"/>
                        </a:lnTo>
                        <a:lnTo>
                          <a:pt x="171" y="24"/>
                        </a:lnTo>
                        <a:lnTo>
                          <a:pt x="171" y="19"/>
                        </a:lnTo>
                        <a:lnTo>
                          <a:pt x="171" y="17"/>
                        </a:lnTo>
                        <a:lnTo>
                          <a:pt x="169" y="17"/>
                        </a:lnTo>
                        <a:lnTo>
                          <a:pt x="167" y="17"/>
                        </a:lnTo>
                        <a:lnTo>
                          <a:pt x="166" y="17"/>
                        </a:lnTo>
                        <a:lnTo>
                          <a:pt x="164" y="17"/>
                        </a:lnTo>
                        <a:lnTo>
                          <a:pt x="163" y="17"/>
                        </a:lnTo>
                        <a:lnTo>
                          <a:pt x="161" y="17"/>
                        </a:lnTo>
                        <a:lnTo>
                          <a:pt x="161" y="19"/>
                        </a:lnTo>
                        <a:lnTo>
                          <a:pt x="161" y="20"/>
                        </a:lnTo>
                        <a:lnTo>
                          <a:pt x="161" y="22"/>
                        </a:lnTo>
                        <a:lnTo>
                          <a:pt x="161" y="24"/>
                        </a:lnTo>
                        <a:lnTo>
                          <a:pt x="161" y="26"/>
                        </a:lnTo>
                        <a:lnTo>
                          <a:pt x="161" y="27"/>
                        </a:lnTo>
                        <a:lnTo>
                          <a:pt x="161" y="29"/>
                        </a:lnTo>
                        <a:lnTo>
                          <a:pt x="159" y="31"/>
                        </a:lnTo>
                        <a:lnTo>
                          <a:pt x="158" y="31"/>
                        </a:lnTo>
                        <a:lnTo>
                          <a:pt x="157" y="31"/>
                        </a:lnTo>
                        <a:lnTo>
                          <a:pt x="157" y="33"/>
                        </a:lnTo>
                        <a:lnTo>
                          <a:pt x="155" y="33"/>
                        </a:lnTo>
                        <a:lnTo>
                          <a:pt x="153" y="34"/>
                        </a:lnTo>
                        <a:lnTo>
                          <a:pt x="152" y="35"/>
                        </a:lnTo>
                        <a:lnTo>
                          <a:pt x="152" y="36"/>
                        </a:lnTo>
                        <a:lnTo>
                          <a:pt x="149" y="39"/>
                        </a:lnTo>
                        <a:lnTo>
                          <a:pt x="147" y="43"/>
                        </a:lnTo>
                        <a:lnTo>
                          <a:pt x="144" y="46"/>
                        </a:lnTo>
                        <a:lnTo>
                          <a:pt x="141" y="48"/>
                        </a:lnTo>
                        <a:lnTo>
                          <a:pt x="141" y="50"/>
                        </a:lnTo>
                        <a:lnTo>
                          <a:pt x="141" y="52"/>
                        </a:lnTo>
                        <a:lnTo>
                          <a:pt x="141" y="53"/>
                        </a:lnTo>
                        <a:lnTo>
                          <a:pt x="141" y="55"/>
                        </a:lnTo>
                        <a:lnTo>
                          <a:pt x="142" y="55"/>
                        </a:lnTo>
                        <a:lnTo>
                          <a:pt x="143" y="56"/>
                        </a:lnTo>
                        <a:lnTo>
                          <a:pt x="144" y="57"/>
                        </a:lnTo>
                        <a:lnTo>
                          <a:pt x="145" y="59"/>
                        </a:lnTo>
                        <a:lnTo>
                          <a:pt x="144" y="61"/>
                        </a:lnTo>
                        <a:lnTo>
                          <a:pt x="143" y="62"/>
                        </a:lnTo>
                        <a:lnTo>
                          <a:pt x="142" y="62"/>
                        </a:lnTo>
                        <a:lnTo>
                          <a:pt x="141" y="62"/>
                        </a:lnTo>
                        <a:lnTo>
                          <a:pt x="140" y="64"/>
                        </a:lnTo>
                        <a:lnTo>
                          <a:pt x="139" y="67"/>
                        </a:lnTo>
                        <a:lnTo>
                          <a:pt x="138" y="68"/>
                        </a:lnTo>
                        <a:lnTo>
                          <a:pt x="138" y="69"/>
                        </a:lnTo>
                        <a:lnTo>
                          <a:pt x="136" y="69"/>
                        </a:lnTo>
                        <a:lnTo>
                          <a:pt x="135" y="68"/>
                        </a:lnTo>
                        <a:lnTo>
                          <a:pt x="133" y="67"/>
                        </a:lnTo>
                        <a:lnTo>
                          <a:pt x="131" y="65"/>
                        </a:lnTo>
                        <a:lnTo>
                          <a:pt x="129" y="66"/>
                        </a:lnTo>
                        <a:lnTo>
                          <a:pt x="128" y="67"/>
                        </a:lnTo>
                        <a:lnTo>
                          <a:pt x="126" y="67"/>
                        </a:lnTo>
                        <a:lnTo>
                          <a:pt x="126" y="65"/>
                        </a:lnTo>
                        <a:lnTo>
                          <a:pt x="126" y="63"/>
                        </a:lnTo>
                        <a:lnTo>
                          <a:pt x="127" y="62"/>
                        </a:lnTo>
                        <a:lnTo>
                          <a:pt x="128" y="61"/>
                        </a:lnTo>
                        <a:lnTo>
                          <a:pt x="128" y="59"/>
                        </a:lnTo>
                        <a:lnTo>
                          <a:pt x="129" y="58"/>
                        </a:lnTo>
                        <a:lnTo>
                          <a:pt x="129" y="57"/>
                        </a:lnTo>
                        <a:lnTo>
                          <a:pt x="128" y="55"/>
                        </a:lnTo>
                        <a:lnTo>
                          <a:pt x="129" y="55"/>
                        </a:lnTo>
                        <a:lnTo>
                          <a:pt x="131" y="55"/>
                        </a:lnTo>
                        <a:lnTo>
                          <a:pt x="132" y="54"/>
                        </a:lnTo>
                        <a:lnTo>
                          <a:pt x="131" y="52"/>
                        </a:lnTo>
                        <a:lnTo>
                          <a:pt x="129" y="50"/>
                        </a:lnTo>
                        <a:lnTo>
                          <a:pt x="128" y="49"/>
                        </a:lnTo>
                        <a:lnTo>
                          <a:pt x="126" y="48"/>
                        </a:lnTo>
                        <a:lnTo>
                          <a:pt x="125" y="48"/>
                        </a:lnTo>
                        <a:lnTo>
                          <a:pt x="124" y="48"/>
                        </a:lnTo>
                        <a:lnTo>
                          <a:pt x="122" y="46"/>
                        </a:lnTo>
                        <a:lnTo>
                          <a:pt x="123" y="46"/>
                        </a:lnTo>
                        <a:lnTo>
                          <a:pt x="126" y="46"/>
                        </a:lnTo>
                        <a:lnTo>
                          <a:pt x="128" y="45"/>
                        </a:lnTo>
                        <a:lnTo>
                          <a:pt x="128" y="43"/>
                        </a:lnTo>
                        <a:lnTo>
                          <a:pt x="127" y="43"/>
                        </a:lnTo>
                        <a:lnTo>
                          <a:pt x="122" y="43"/>
                        </a:lnTo>
                        <a:lnTo>
                          <a:pt x="119" y="46"/>
                        </a:lnTo>
                        <a:lnTo>
                          <a:pt x="119" y="48"/>
                        </a:lnTo>
                        <a:lnTo>
                          <a:pt x="119" y="52"/>
                        </a:lnTo>
                        <a:lnTo>
                          <a:pt x="116" y="52"/>
                        </a:lnTo>
                        <a:lnTo>
                          <a:pt x="116" y="55"/>
                        </a:lnTo>
                        <a:lnTo>
                          <a:pt x="112" y="59"/>
                        </a:lnTo>
                        <a:lnTo>
                          <a:pt x="109" y="62"/>
                        </a:lnTo>
                        <a:lnTo>
                          <a:pt x="112" y="65"/>
                        </a:lnTo>
                        <a:lnTo>
                          <a:pt x="112" y="69"/>
                        </a:lnTo>
                        <a:lnTo>
                          <a:pt x="112" y="72"/>
                        </a:lnTo>
                        <a:lnTo>
                          <a:pt x="112" y="74"/>
                        </a:lnTo>
                        <a:lnTo>
                          <a:pt x="109" y="78"/>
                        </a:lnTo>
                        <a:lnTo>
                          <a:pt x="109" y="81"/>
                        </a:lnTo>
                        <a:lnTo>
                          <a:pt x="105" y="81"/>
                        </a:lnTo>
                        <a:lnTo>
                          <a:pt x="105" y="78"/>
                        </a:lnTo>
                        <a:lnTo>
                          <a:pt x="105" y="74"/>
                        </a:lnTo>
                        <a:lnTo>
                          <a:pt x="109" y="72"/>
                        </a:lnTo>
                        <a:lnTo>
                          <a:pt x="109" y="69"/>
                        </a:lnTo>
                        <a:lnTo>
                          <a:pt x="105" y="65"/>
                        </a:lnTo>
                        <a:lnTo>
                          <a:pt x="105" y="62"/>
                        </a:lnTo>
                        <a:lnTo>
                          <a:pt x="103" y="62"/>
                        </a:lnTo>
                        <a:lnTo>
                          <a:pt x="103" y="59"/>
                        </a:lnTo>
                        <a:lnTo>
                          <a:pt x="105" y="62"/>
                        </a:lnTo>
                        <a:lnTo>
                          <a:pt x="109" y="59"/>
                        </a:lnTo>
                        <a:lnTo>
                          <a:pt x="109" y="55"/>
                        </a:lnTo>
                        <a:lnTo>
                          <a:pt x="112" y="55"/>
                        </a:lnTo>
                        <a:lnTo>
                          <a:pt x="112" y="52"/>
                        </a:lnTo>
                        <a:lnTo>
                          <a:pt x="116" y="52"/>
                        </a:lnTo>
                        <a:lnTo>
                          <a:pt x="116" y="48"/>
                        </a:lnTo>
                        <a:lnTo>
                          <a:pt x="116" y="43"/>
                        </a:lnTo>
                        <a:lnTo>
                          <a:pt x="119" y="43"/>
                        </a:lnTo>
                        <a:lnTo>
                          <a:pt x="119" y="39"/>
                        </a:lnTo>
                        <a:lnTo>
                          <a:pt x="114" y="39"/>
                        </a:lnTo>
                        <a:lnTo>
                          <a:pt x="113" y="39"/>
                        </a:lnTo>
                        <a:lnTo>
                          <a:pt x="112" y="39"/>
                        </a:lnTo>
                        <a:lnTo>
                          <a:pt x="109" y="38"/>
                        </a:lnTo>
                        <a:lnTo>
                          <a:pt x="108" y="38"/>
                        </a:lnTo>
                        <a:lnTo>
                          <a:pt x="107" y="39"/>
                        </a:lnTo>
                        <a:lnTo>
                          <a:pt x="105" y="39"/>
                        </a:lnTo>
                        <a:lnTo>
                          <a:pt x="105" y="37"/>
                        </a:lnTo>
                        <a:lnTo>
                          <a:pt x="104" y="36"/>
                        </a:lnTo>
                        <a:lnTo>
                          <a:pt x="104" y="35"/>
                        </a:lnTo>
                        <a:lnTo>
                          <a:pt x="103" y="33"/>
                        </a:lnTo>
                        <a:lnTo>
                          <a:pt x="103" y="32"/>
                        </a:lnTo>
                        <a:lnTo>
                          <a:pt x="103" y="31"/>
                        </a:lnTo>
                        <a:lnTo>
                          <a:pt x="103" y="29"/>
                        </a:lnTo>
                        <a:lnTo>
                          <a:pt x="103" y="27"/>
                        </a:lnTo>
                        <a:lnTo>
                          <a:pt x="103" y="26"/>
                        </a:lnTo>
                        <a:lnTo>
                          <a:pt x="103" y="25"/>
                        </a:lnTo>
                        <a:lnTo>
                          <a:pt x="103" y="24"/>
                        </a:lnTo>
                        <a:lnTo>
                          <a:pt x="104" y="23"/>
                        </a:lnTo>
                        <a:lnTo>
                          <a:pt x="104" y="22"/>
                        </a:lnTo>
                        <a:lnTo>
                          <a:pt x="105" y="21"/>
                        </a:lnTo>
                        <a:lnTo>
                          <a:pt x="105" y="20"/>
                        </a:lnTo>
                        <a:lnTo>
                          <a:pt x="104" y="19"/>
                        </a:lnTo>
                        <a:lnTo>
                          <a:pt x="104" y="17"/>
                        </a:lnTo>
                        <a:lnTo>
                          <a:pt x="103" y="17"/>
                        </a:lnTo>
                        <a:lnTo>
                          <a:pt x="101" y="17"/>
                        </a:lnTo>
                        <a:lnTo>
                          <a:pt x="99" y="18"/>
                        </a:lnTo>
                        <a:lnTo>
                          <a:pt x="96" y="20"/>
                        </a:lnTo>
                        <a:lnTo>
                          <a:pt x="94" y="22"/>
                        </a:lnTo>
                        <a:lnTo>
                          <a:pt x="93" y="23"/>
                        </a:lnTo>
                        <a:lnTo>
                          <a:pt x="92" y="24"/>
                        </a:lnTo>
                        <a:lnTo>
                          <a:pt x="90" y="24"/>
                        </a:lnTo>
                        <a:lnTo>
                          <a:pt x="90" y="26"/>
                        </a:lnTo>
                        <a:lnTo>
                          <a:pt x="87" y="25"/>
                        </a:lnTo>
                        <a:lnTo>
                          <a:pt x="85" y="24"/>
                        </a:lnTo>
                        <a:lnTo>
                          <a:pt x="84" y="24"/>
                        </a:lnTo>
                        <a:lnTo>
                          <a:pt x="83" y="24"/>
                        </a:lnTo>
                        <a:lnTo>
                          <a:pt x="83" y="25"/>
                        </a:lnTo>
                        <a:lnTo>
                          <a:pt x="83" y="26"/>
                        </a:lnTo>
                        <a:lnTo>
                          <a:pt x="83" y="27"/>
                        </a:lnTo>
                        <a:lnTo>
                          <a:pt x="83" y="29"/>
                        </a:lnTo>
                        <a:lnTo>
                          <a:pt x="81" y="29"/>
                        </a:lnTo>
                        <a:lnTo>
                          <a:pt x="80" y="28"/>
                        </a:lnTo>
                        <a:lnTo>
                          <a:pt x="80" y="26"/>
                        </a:lnTo>
                        <a:lnTo>
                          <a:pt x="78" y="27"/>
                        </a:lnTo>
                        <a:lnTo>
                          <a:pt x="76" y="27"/>
                        </a:lnTo>
                        <a:lnTo>
                          <a:pt x="73" y="26"/>
                        </a:lnTo>
                        <a:lnTo>
                          <a:pt x="71" y="26"/>
                        </a:lnTo>
                        <a:lnTo>
                          <a:pt x="71" y="27"/>
                        </a:lnTo>
                        <a:lnTo>
                          <a:pt x="70" y="28"/>
                        </a:lnTo>
                        <a:lnTo>
                          <a:pt x="69" y="30"/>
                        </a:lnTo>
                        <a:lnTo>
                          <a:pt x="67" y="33"/>
                        </a:lnTo>
                        <a:lnTo>
                          <a:pt x="67" y="34"/>
                        </a:lnTo>
                        <a:lnTo>
                          <a:pt x="67" y="35"/>
                        </a:lnTo>
                        <a:lnTo>
                          <a:pt x="67" y="36"/>
                        </a:lnTo>
                        <a:lnTo>
                          <a:pt x="67" y="38"/>
                        </a:lnTo>
                        <a:lnTo>
                          <a:pt x="66" y="39"/>
                        </a:lnTo>
                        <a:lnTo>
                          <a:pt x="64" y="39"/>
                        </a:lnTo>
                        <a:lnTo>
                          <a:pt x="63" y="41"/>
                        </a:lnTo>
                        <a:lnTo>
                          <a:pt x="62" y="41"/>
                        </a:lnTo>
                        <a:lnTo>
                          <a:pt x="60" y="40"/>
                        </a:lnTo>
                        <a:lnTo>
                          <a:pt x="57" y="39"/>
                        </a:lnTo>
                        <a:lnTo>
                          <a:pt x="56" y="40"/>
                        </a:lnTo>
                        <a:lnTo>
                          <a:pt x="55" y="41"/>
                        </a:lnTo>
                        <a:lnTo>
                          <a:pt x="53" y="42"/>
                        </a:lnTo>
                        <a:lnTo>
                          <a:pt x="51" y="43"/>
                        </a:lnTo>
                        <a:lnTo>
                          <a:pt x="51" y="42"/>
                        </a:lnTo>
                        <a:lnTo>
                          <a:pt x="50" y="41"/>
                        </a:lnTo>
                        <a:lnTo>
                          <a:pt x="49" y="40"/>
                        </a:lnTo>
                        <a:lnTo>
                          <a:pt x="48" y="39"/>
                        </a:lnTo>
                        <a:lnTo>
                          <a:pt x="43" y="39"/>
                        </a:lnTo>
                        <a:lnTo>
                          <a:pt x="42" y="39"/>
                        </a:lnTo>
                        <a:lnTo>
                          <a:pt x="41" y="39"/>
                        </a:lnTo>
                        <a:lnTo>
                          <a:pt x="39" y="41"/>
                        </a:lnTo>
                        <a:lnTo>
                          <a:pt x="38" y="42"/>
                        </a:lnTo>
                        <a:lnTo>
                          <a:pt x="37" y="43"/>
                        </a:lnTo>
                        <a:lnTo>
                          <a:pt x="35" y="43"/>
                        </a:lnTo>
                        <a:lnTo>
                          <a:pt x="33" y="40"/>
                        </a:lnTo>
                        <a:lnTo>
                          <a:pt x="33" y="38"/>
                        </a:lnTo>
                        <a:lnTo>
                          <a:pt x="33" y="35"/>
                        </a:lnTo>
                        <a:lnTo>
                          <a:pt x="32" y="33"/>
                        </a:lnTo>
                        <a:lnTo>
                          <a:pt x="32" y="38"/>
                        </a:lnTo>
                        <a:lnTo>
                          <a:pt x="31" y="40"/>
                        </a:lnTo>
                        <a:lnTo>
                          <a:pt x="29" y="43"/>
                        </a:lnTo>
                        <a:lnTo>
                          <a:pt x="28" y="43"/>
                        </a:lnTo>
                        <a:lnTo>
                          <a:pt x="27" y="43"/>
                        </a:lnTo>
                        <a:lnTo>
                          <a:pt x="26" y="44"/>
                        </a:lnTo>
                        <a:lnTo>
                          <a:pt x="25" y="46"/>
                        </a:lnTo>
                        <a:lnTo>
                          <a:pt x="27" y="48"/>
                        </a:lnTo>
                        <a:lnTo>
                          <a:pt x="28" y="48"/>
                        </a:lnTo>
                        <a:lnTo>
                          <a:pt x="29" y="48"/>
                        </a:lnTo>
                        <a:lnTo>
                          <a:pt x="30" y="50"/>
                        </a:lnTo>
                        <a:lnTo>
                          <a:pt x="30" y="52"/>
                        </a:lnTo>
                        <a:lnTo>
                          <a:pt x="29" y="53"/>
                        </a:lnTo>
                        <a:lnTo>
                          <a:pt x="29" y="55"/>
                        </a:lnTo>
                        <a:lnTo>
                          <a:pt x="29" y="57"/>
                        </a:lnTo>
                        <a:lnTo>
                          <a:pt x="29" y="58"/>
                        </a:lnTo>
                        <a:lnTo>
                          <a:pt x="29" y="59"/>
                        </a:lnTo>
                        <a:lnTo>
                          <a:pt x="27" y="61"/>
                        </a:lnTo>
                        <a:lnTo>
                          <a:pt x="26" y="64"/>
                        </a:lnTo>
                        <a:lnTo>
                          <a:pt x="25" y="69"/>
                        </a:lnTo>
                        <a:lnTo>
                          <a:pt x="26" y="71"/>
                        </a:lnTo>
                        <a:lnTo>
                          <a:pt x="28" y="72"/>
                        </a:lnTo>
                        <a:lnTo>
                          <a:pt x="32" y="72"/>
                        </a:lnTo>
                        <a:lnTo>
                          <a:pt x="32" y="73"/>
                        </a:lnTo>
                        <a:lnTo>
                          <a:pt x="32" y="74"/>
                        </a:lnTo>
                        <a:lnTo>
                          <a:pt x="31" y="76"/>
                        </a:lnTo>
                        <a:lnTo>
                          <a:pt x="29" y="78"/>
                        </a:lnTo>
                        <a:lnTo>
                          <a:pt x="28" y="80"/>
                        </a:lnTo>
                        <a:lnTo>
                          <a:pt x="27" y="81"/>
                        </a:lnTo>
                        <a:lnTo>
                          <a:pt x="22" y="81"/>
                        </a:lnTo>
                        <a:lnTo>
                          <a:pt x="22" y="84"/>
                        </a:lnTo>
                        <a:lnTo>
                          <a:pt x="20" y="86"/>
                        </a:lnTo>
                        <a:lnTo>
                          <a:pt x="18" y="87"/>
                        </a:lnTo>
                        <a:lnTo>
                          <a:pt x="15" y="88"/>
                        </a:lnTo>
                        <a:lnTo>
                          <a:pt x="13" y="89"/>
                        </a:lnTo>
                        <a:lnTo>
                          <a:pt x="10" y="90"/>
                        </a:lnTo>
                        <a:lnTo>
                          <a:pt x="8" y="90"/>
                        </a:lnTo>
                        <a:lnTo>
                          <a:pt x="6" y="91"/>
                        </a:lnTo>
                        <a:lnTo>
                          <a:pt x="4" y="93"/>
                        </a:lnTo>
                        <a:lnTo>
                          <a:pt x="3" y="93"/>
                        </a:lnTo>
                        <a:lnTo>
                          <a:pt x="2" y="93"/>
                        </a:lnTo>
                        <a:lnTo>
                          <a:pt x="0" y="95"/>
                        </a:lnTo>
                        <a:lnTo>
                          <a:pt x="0" y="96"/>
                        </a:lnTo>
                        <a:lnTo>
                          <a:pt x="2" y="97"/>
                        </a:lnTo>
                        <a:lnTo>
                          <a:pt x="6" y="97"/>
                        </a:lnTo>
                        <a:lnTo>
                          <a:pt x="7" y="99"/>
                        </a:lnTo>
                        <a:lnTo>
                          <a:pt x="8" y="102"/>
                        </a:lnTo>
                        <a:lnTo>
                          <a:pt x="8" y="103"/>
                        </a:lnTo>
                        <a:lnTo>
                          <a:pt x="9" y="104"/>
                        </a:lnTo>
                        <a:lnTo>
                          <a:pt x="10" y="106"/>
                        </a:lnTo>
                        <a:lnTo>
                          <a:pt x="10" y="108"/>
                        </a:lnTo>
                        <a:lnTo>
                          <a:pt x="11" y="110"/>
                        </a:lnTo>
                        <a:lnTo>
                          <a:pt x="12" y="110"/>
                        </a:lnTo>
                        <a:lnTo>
                          <a:pt x="14" y="112"/>
                        </a:lnTo>
                        <a:lnTo>
                          <a:pt x="15" y="112"/>
                        </a:lnTo>
                        <a:lnTo>
                          <a:pt x="17" y="111"/>
                        </a:lnTo>
                        <a:lnTo>
                          <a:pt x="19" y="110"/>
                        </a:lnTo>
                        <a:lnTo>
                          <a:pt x="21" y="110"/>
                        </a:lnTo>
                        <a:lnTo>
                          <a:pt x="22" y="110"/>
                        </a:lnTo>
                        <a:lnTo>
                          <a:pt x="25" y="115"/>
                        </a:lnTo>
                        <a:lnTo>
                          <a:pt x="26" y="118"/>
                        </a:lnTo>
                        <a:lnTo>
                          <a:pt x="27" y="120"/>
                        </a:lnTo>
                        <a:lnTo>
                          <a:pt x="25" y="123"/>
                        </a:lnTo>
                        <a:lnTo>
                          <a:pt x="22" y="125"/>
                        </a:lnTo>
                        <a:lnTo>
                          <a:pt x="21" y="128"/>
                        </a:lnTo>
                        <a:lnTo>
                          <a:pt x="20" y="132"/>
                        </a:lnTo>
                        <a:lnTo>
                          <a:pt x="19" y="136"/>
                        </a:lnTo>
                        <a:lnTo>
                          <a:pt x="17" y="138"/>
                        </a:lnTo>
                        <a:lnTo>
                          <a:pt x="15" y="140"/>
                        </a:lnTo>
                        <a:lnTo>
                          <a:pt x="14" y="141"/>
                        </a:lnTo>
                        <a:lnTo>
                          <a:pt x="12" y="143"/>
                        </a:lnTo>
                        <a:lnTo>
                          <a:pt x="10" y="144"/>
                        </a:lnTo>
                        <a:lnTo>
                          <a:pt x="9" y="145"/>
                        </a:lnTo>
                        <a:lnTo>
                          <a:pt x="10" y="147"/>
                        </a:lnTo>
                        <a:lnTo>
                          <a:pt x="13" y="150"/>
                        </a:lnTo>
                        <a:lnTo>
                          <a:pt x="15" y="152"/>
                        </a:lnTo>
                        <a:lnTo>
                          <a:pt x="17" y="156"/>
                        </a:lnTo>
                        <a:lnTo>
                          <a:pt x="19" y="158"/>
                        </a:lnTo>
                        <a:lnTo>
                          <a:pt x="20" y="160"/>
                        </a:lnTo>
                        <a:lnTo>
                          <a:pt x="22" y="162"/>
                        </a:lnTo>
                        <a:lnTo>
                          <a:pt x="27" y="167"/>
                        </a:lnTo>
                        <a:lnTo>
                          <a:pt x="30" y="168"/>
                        </a:lnTo>
                        <a:lnTo>
                          <a:pt x="32" y="168"/>
                        </a:lnTo>
                        <a:lnTo>
                          <a:pt x="36" y="173"/>
                        </a:lnTo>
                        <a:lnTo>
                          <a:pt x="39" y="174"/>
                        </a:lnTo>
                        <a:lnTo>
                          <a:pt x="41" y="175"/>
                        </a:lnTo>
                        <a:lnTo>
                          <a:pt x="43" y="176"/>
                        </a:lnTo>
                        <a:lnTo>
                          <a:pt x="45" y="176"/>
                        </a:lnTo>
                        <a:lnTo>
                          <a:pt x="46" y="175"/>
                        </a:lnTo>
                        <a:lnTo>
                          <a:pt x="48" y="175"/>
                        </a:lnTo>
                        <a:lnTo>
                          <a:pt x="50" y="177"/>
                        </a:lnTo>
                        <a:lnTo>
                          <a:pt x="50" y="178"/>
                        </a:lnTo>
                        <a:lnTo>
                          <a:pt x="50" y="179"/>
                        </a:lnTo>
                        <a:lnTo>
                          <a:pt x="51" y="181"/>
                        </a:lnTo>
                        <a:lnTo>
                          <a:pt x="51" y="183"/>
                        </a:lnTo>
                        <a:lnTo>
                          <a:pt x="52" y="184"/>
                        </a:lnTo>
                        <a:lnTo>
                          <a:pt x="53" y="185"/>
                        </a:lnTo>
                        <a:lnTo>
                          <a:pt x="55" y="185"/>
                        </a:lnTo>
                        <a:lnTo>
                          <a:pt x="54" y="187"/>
                        </a:lnTo>
                        <a:lnTo>
                          <a:pt x="53" y="188"/>
                        </a:lnTo>
                        <a:lnTo>
                          <a:pt x="52" y="189"/>
                        </a:lnTo>
                        <a:lnTo>
                          <a:pt x="51" y="191"/>
                        </a:lnTo>
                        <a:lnTo>
                          <a:pt x="49" y="192"/>
                        </a:lnTo>
                        <a:lnTo>
                          <a:pt x="49" y="194"/>
                        </a:lnTo>
                        <a:lnTo>
                          <a:pt x="48" y="195"/>
                        </a:lnTo>
                        <a:lnTo>
                          <a:pt x="48" y="197"/>
                        </a:lnTo>
                        <a:lnTo>
                          <a:pt x="46" y="198"/>
                        </a:lnTo>
                        <a:lnTo>
                          <a:pt x="45" y="199"/>
                        </a:lnTo>
                        <a:lnTo>
                          <a:pt x="43" y="200"/>
                        </a:lnTo>
                        <a:lnTo>
                          <a:pt x="41" y="201"/>
                        </a:lnTo>
                        <a:lnTo>
                          <a:pt x="39" y="203"/>
                        </a:lnTo>
                        <a:lnTo>
                          <a:pt x="37" y="204"/>
                        </a:lnTo>
                        <a:lnTo>
                          <a:pt x="35" y="205"/>
                        </a:lnTo>
                        <a:lnTo>
                          <a:pt x="35" y="207"/>
                        </a:lnTo>
                        <a:lnTo>
                          <a:pt x="35" y="209"/>
                        </a:lnTo>
                        <a:lnTo>
                          <a:pt x="35" y="211"/>
                        </a:lnTo>
                        <a:lnTo>
                          <a:pt x="35" y="212"/>
                        </a:lnTo>
                        <a:lnTo>
                          <a:pt x="35" y="214"/>
                        </a:lnTo>
                        <a:lnTo>
                          <a:pt x="45" y="214"/>
                        </a:lnTo>
                        <a:lnTo>
                          <a:pt x="54" y="213"/>
                        </a:lnTo>
                        <a:lnTo>
                          <a:pt x="60" y="211"/>
                        </a:lnTo>
                        <a:lnTo>
                          <a:pt x="64" y="207"/>
                        </a:lnTo>
                        <a:lnTo>
                          <a:pt x="66" y="207"/>
                        </a:lnTo>
                        <a:lnTo>
                          <a:pt x="67" y="206"/>
                        </a:lnTo>
                        <a:lnTo>
                          <a:pt x="67" y="204"/>
                        </a:lnTo>
                        <a:lnTo>
                          <a:pt x="70" y="199"/>
                        </a:lnTo>
                        <a:lnTo>
                          <a:pt x="74" y="196"/>
                        </a:lnTo>
                        <a:lnTo>
                          <a:pt x="83" y="191"/>
                        </a:lnTo>
                        <a:lnTo>
                          <a:pt x="83" y="189"/>
                        </a:lnTo>
                        <a:lnTo>
                          <a:pt x="83" y="188"/>
                        </a:lnTo>
                        <a:lnTo>
                          <a:pt x="83" y="187"/>
                        </a:lnTo>
                        <a:lnTo>
                          <a:pt x="83" y="185"/>
                        </a:lnTo>
                        <a:lnTo>
                          <a:pt x="89" y="183"/>
                        </a:lnTo>
                        <a:lnTo>
                          <a:pt x="94" y="183"/>
                        </a:lnTo>
                        <a:lnTo>
                          <a:pt x="100" y="181"/>
                        </a:lnTo>
                        <a:lnTo>
                          <a:pt x="103" y="178"/>
                        </a:lnTo>
                        <a:lnTo>
                          <a:pt x="104" y="176"/>
                        </a:lnTo>
                        <a:lnTo>
                          <a:pt x="104" y="175"/>
                        </a:lnTo>
                        <a:lnTo>
                          <a:pt x="104" y="173"/>
                        </a:lnTo>
                        <a:lnTo>
                          <a:pt x="103" y="171"/>
                        </a:lnTo>
                        <a:lnTo>
                          <a:pt x="104" y="169"/>
                        </a:lnTo>
                        <a:lnTo>
                          <a:pt x="104" y="168"/>
                        </a:lnTo>
                        <a:lnTo>
                          <a:pt x="105" y="168"/>
                        </a:lnTo>
                        <a:lnTo>
                          <a:pt x="109" y="166"/>
                        </a:lnTo>
                        <a:lnTo>
                          <a:pt x="111" y="166"/>
                        </a:lnTo>
                        <a:lnTo>
                          <a:pt x="112" y="166"/>
                        </a:lnTo>
                        <a:lnTo>
                          <a:pt x="113" y="170"/>
                        </a:lnTo>
                        <a:lnTo>
                          <a:pt x="114" y="174"/>
                        </a:lnTo>
                        <a:lnTo>
                          <a:pt x="116" y="178"/>
                        </a:lnTo>
                        <a:lnTo>
                          <a:pt x="120" y="181"/>
                        </a:lnTo>
                        <a:lnTo>
                          <a:pt x="124" y="183"/>
                        </a:lnTo>
                        <a:lnTo>
                          <a:pt x="128" y="186"/>
                        </a:lnTo>
                        <a:lnTo>
                          <a:pt x="131" y="188"/>
                        </a:lnTo>
                        <a:lnTo>
                          <a:pt x="136" y="190"/>
                        </a:lnTo>
                        <a:lnTo>
                          <a:pt x="139" y="190"/>
                        </a:lnTo>
                        <a:lnTo>
                          <a:pt x="142" y="190"/>
                        </a:lnTo>
                        <a:lnTo>
                          <a:pt x="145" y="191"/>
                        </a:lnTo>
                        <a:lnTo>
                          <a:pt x="145" y="192"/>
                        </a:lnTo>
                        <a:lnTo>
                          <a:pt x="145" y="193"/>
                        </a:lnTo>
                        <a:lnTo>
                          <a:pt x="145" y="194"/>
                        </a:lnTo>
                        <a:lnTo>
                          <a:pt x="146" y="194"/>
                        </a:lnTo>
                        <a:lnTo>
                          <a:pt x="148" y="196"/>
                        </a:lnTo>
                        <a:lnTo>
                          <a:pt x="151" y="197"/>
                        </a:lnTo>
                        <a:lnTo>
                          <a:pt x="152" y="197"/>
                        </a:lnTo>
                        <a:lnTo>
                          <a:pt x="152" y="199"/>
                        </a:lnTo>
                        <a:lnTo>
                          <a:pt x="152" y="201"/>
                        </a:lnTo>
                        <a:lnTo>
                          <a:pt x="152" y="202"/>
                        </a:lnTo>
                        <a:lnTo>
                          <a:pt x="152" y="204"/>
                        </a:lnTo>
                        <a:lnTo>
                          <a:pt x="153" y="204"/>
                        </a:lnTo>
                        <a:lnTo>
                          <a:pt x="154" y="204"/>
                        </a:lnTo>
                        <a:lnTo>
                          <a:pt x="156" y="206"/>
                        </a:lnTo>
                        <a:lnTo>
                          <a:pt x="157" y="209"/>
                        </a:lnTo>
                        <a:lnTo>
                          <a:pt x="159" y="210"/>
                        </a:lnTo>
                        <a:lnTo>
                          <a:pt x="161" y="211"/>
                        </a:lnTo>
                        <a:lnTo>
                          <a:pt x="161" y="212"/>
                        </a:lnTo>
                        <a:lnTo>
                          <a:pt x="162" y="214"/>
                        </a:lnTo>
                        <a:lnTo>
                          <a:pt x="164" y="214"/>
                        </a:lnTo>
                        <a:lnTo>
                          <a:pt x="164" y="212"/>
                        </a:lnTo>
                        <a:lnTo>
                          <a:pt x="165" y="211"/>
                        </a:lnTo>
                        <a:lnTo>
                          <a:pt x="167" y="211"/>
                        </a:lnTo>
                        <a:lnTo>
                          <a:pt x="168" y="211"/>
                        </a:lnTo>
                        <a:lnTo>
                          <a:pt x="169" y="212"/>
                        </a:lnTo>
                        <a:lnTo>
                          <a:pt x="174" y="216"/>
                        </a:lnTo>
                        <a:lnTo>
                          <a:pt x="178" y="220"/>
                        </a:lnTo>
                        <a:lnTo>
                          <a:pt x="179" y="222"/>
                        </a:lnTo>
                        <a:lnTo>
                          <a:pt x="180" y="223"/>
                        </a:lnTo>
                        <a:lnTo>
                          <a:pt x="182" y="228"/>
                        </a:lnTo>
                        <a:lnTo>
                          <a:pt x="183" y="234"/>
                        </a:lnTo>
                        <a:lnTo>
                          <a:pt x="183" y="240"/>
                        </a:lnTo>
                        <a:lnTo>
                          <a:pt x="183" y="246"/>
                        </a:lnTo>
                        <a:lnTo>
                          <a:pt x="186" y="249"/>
                        </a:lnTo>
                        <a:lnTo>
                          <a:pt x="187" y="256"/>
                        </a:lnTo>
                        <a:lnTo>
                          <a:pt x="189" y="262"/>
                        </a:lnTo>
                        <a:lnTo>
                          <a:pt x="191" y="268"/>
                        </a:lnTo>
                        <a:lnTo>
                          <a:pt x="193" y="275"/>
                        </a:lnTo>
                        <a:lnTo>
                          <a:pt x="194" y="277"/>
                        </a:lnTo>
                        <a:lnTo>
                          <a:pt x="194" y="279"/>
                        </a:lnTo>
                        <a:lnTo>
                          <a:pt x="195" y="280"/>
                        </a:lnTo>
                        <a:lnTo>
                          <a:pt x="193" y="285"/>
                        </a:lnTo>
                        <a:lnTo>
                          <a:pt x="192" y="286"/>
                        </a:lnTo>
                        <a:lnTo>
                          <a:pt x="190" y="286"/>
                        </a:lnTo>
                        <a:lnTo>
                          <a:pt x="190" y="288"/>
                        </a:lnTo>
                        <a:lnTo>
                          <a:pt x="190" y="289"/>
                        </a:lnTo>
                        <a:lnTo>
                          <a:pt x="189" y="291"/>
                        </a:lnTo>
                        <a:lnTo>
                          <a:pt x="188" y="292"/>
                        </a:lnTo>
                        <a:lnTo>
                          <a:pt x="186" y="294"/>
                        </a:lnTo>
                        <a:lnTo>
                          <a:pt x="191" y="295"/>
                        </a:lnTo>
                        <a:lnTo>
                          <a:pt x="194" y="296"/>
                        </a:lnTo>
                        <a:lnTo>
                          <a:pt x="198" y="297"/>
                        </a:lnTo>
                        <a:lnTo>
                          <a:pt x="199" y="298"/>
                        </a:lnTo>
                        <a:lnTo>
                          <a:pt x="200" y="300"/>
                        </a:lnTo>
                        <a:lnTo>
                          <a:pt x="200" y="302"/>
                        </a:lnTo>
                        <a:lnTo>
                          <a:pt x="200" y="307"/>
                        </a:lnTo>
                        <a:lnTo>
                          <a:pt x="201" y="307"/>
                        </a:lnTo>
                        <a:lnTo>
                          <a:pt x="204" y="308"/>
                        </a:lnTo>
                        <a:lnTo>
                          <a:pt x="207" y="310"/>
                        </a:lnTo>
                        <a:lnTo>
                          <a:pt x="209" y="310"/>
                        </a:lnTo>
                        <a:lnTo>
                          <a:pt x="209" y="313"/>
                        </a:lnTo>
                        <a:lnTo>
                          <a:pt x="212" y="313"/>
                        </a:lnTo>
                        <a:lnTo>
                          <a:pt x="213" y="314"/>
                        </a:lnTo>
                        <a:lnTo>
                          <a:pt x="214" y="317"/>
                        </a:lnTo>
                        <a:lnTo>
                          <a:pt x="215" y="319"/>
                        </a:lnTo>
                        <a:lnTo>
                          <a:pt x="216" y="320"/>
                        </a:lnTo>
                        <a:lnTo>
                          <a:pt x="216" y="321"/>
                        </a:lnTo>
                        <a:lnTo>
                          <a:pt x="216" y="322"/>
                        </a:lnTo>
                        <a:lnTo>
                          <a:pt x="216" y="323"/>
                        </a:lnTo>
                        <a:lnTo>
                          <a:pt x="216" y="325"/>
                        </a:lnTo>
                        <a:lnTo>
                          <a:pt x="217" y="325"/>
                        </a:lnTo>
                        <a:lnTo>
                          <a:pt x="219" y="326"/>
                        </a:lnTo>
                        <a:lnTo>
                          <a:pt x="219" y="328"/>
                        </a:lnTo>
                        <a:lnTo>
                          <a:pt x="217" y="329"/>
                        </a:lnTo>
                        <a:lnTo>
                          <a:pt x="216" y="331"/>
                        </a:lnTo>
                        <a:lnTo>
                          <a:pt x="216" y="332"/>
                        </a:lnTo>
                        <a:lnTo>
                          <a:pt x="216" y="334"/>
                        </a:lnTo>
                        <a:lnTo>
                          <a:pt x="216" y="337"/>
                        </a:lnTo>
                        <a:lnTo>
                          <a:pt x="216" y="339"/>
                        </a:lnTo>
                        <a:lnTo>
                          <a:pt x="219" y="338"/>
                        </a:lnTo>
                        <a:lnTo>
                          <a:pt x="223" y="337"/>
                        </a:lnTo>
                        <a:lnTo>
                          <a:pt x="227" y="335"/>
                        </a:lnTo>
                        <a:lnTo>
                          <a:pt x="231" y="337"/>
                        </a:lnTo>
                        <a:lnTo>
                          <a:pt x="235" y="339"/>
                        </a:lnTo>
                        <a:lnTo>
                          <a:pt x="238" y="342"/>
                        </a:lnTo>
                        <a:lnTo>
                          <a:pt x="242" y="346"/>
                        </a:lnTo>
                        <a:lnTo>
                          <a:pt x="245" y="349"/>
                        </a:lnTo>
                        <a:lnTo>
                          <a:pt x="248" y="352"/>
                        </a:lnTo>
                        <a:lnTo>
                          <a:pt x="248" y="355"/>
                        </a:lnTo>
                        <a:lnTo>
                          <a:pt x="248" y="356"/>
                        </a:lnTo>
                        <a:lnTo>
                          <a:pt x="248" y="358"/>
                        </a:lnTo>
                        <a:lnTo>
                          <a:pt x="251" y="358"/>
                        </a:lnTo>
                        <a:lnTo>
                          <a:pt x="251" y="360"/>
                        </a:lnTo>
                        <a:lnTo>
                          <a:pt x="251" y="362"/>
                        </a:lnTo>
                        <a:lnTo>
                          <a:pt x="251" y="363"/>
                        </a:lnTo>
                        <a:lnTo>
                          <a:pt x="251" y="365"/>
                        </a:lnTo>
                        <a:lnTo>
                          <a:pt x="254" y="367"/>
                        </a:lnTo>
                        <a:lnTo>
                          <a:pt x="257" y="368"/>
                        </a:lnTo>
                        <a:lnTo>
                          <a:pt x="261" y="370"/>
                        </a:lnTo>
                        <a:lnTo>
                          <a:pt x="264" y="372"/>
                        </a:lnTo>
                        <a:lnTo>
                          <a:pt x="264" y="373"/>
                        </a:lnTo>
                        <a:lnTo>
                          <a:pt x="264" y="374"/>
                        </a:lnTo>
                        <a:lnTo>
                          <a:pt x="265" y="376"/>
                        </a:lnTo>
                        <a:lnTo>
                          <a:pt x="268" y="378"/>
                        </a:lnTo>
                        <a:lnTo>
                          <a:pt x="271" y="379"/>
                        </a:lnTo>
                        <a:lnTo>
                          <a:pt x="273" y="381"/>
                        </a:lnTo>
                        <a:lnTo>
                          <a:pt x="280" y="391"/>
                        </a:lnTo>
                        <a:lnTo>
                          <a:pt x="287" y="400"/>
                        </a:lnTo>
                        <a:lnTo>
                          <a:pt x="293" y="410"/>
                        </a:lnTo>
                        <a:lnTo>
                          <a:pt x="299" y="420"/>
                        </a:lnTo>
                        <a:lnTo>
                          <a:pt x="303" y="422"/>
                        </a:lnTo>
                        <a:lnTo>
                          <a:pt x="307" y="425"/>
                        </a:lnTo>
                        <a:lnTo>
                          <a:pt x="312" y="428"/>
                        </a:lnTo>
                        <a:lnTo>
                          <a:pt x="316" y="433"/>
                        </a:lnTo>
                        <a:lnTo>
                          <a:pt x="316" y="435"/>
                        </a:lnTo>
                        <a:lnTo>
                          <a:pt x="316" y="436"/>
                        </a:lnTo>
                        <a:lnTo>
                          <a:pt x="322" y="436"/>
                        </a:lnTo>
                        <a:lnTo>
                          <a:pt x="328" y="435"/>
                        </a:lnTo>
                        <a:lnTo>
                          <a:pt x="333" y="436"/>
                        </a:lnTo>
                        <a:lnTo>
                          <a:pt x="338" y="439"/>
                        </a:lnTo>
                        <a:lnTo>
                          <a:pt x="339" y="440"/>
                        </a:lnTo>
                        <a:lnTo>
                          <a:pt x="340" y="441"/>
                        </a:lnTo>
                        <a:lnTo>
                          <a:pt x="341" y="442"/>
                        </a:lnTo>
                        <a:lnTo>
                          <a:pt x="342" y="443"/>
                        </a:lnTo>
                        <a:lnTo>
                          <a:pt x="344" y="442"/>
                        </a:lnTo>
                        <a:lnTo>
                          <a:pt x="344" y="441"/>
                        </a:lnTo>
                        <a:lnTo>
                          <a:pt x="344" y="440"/>
                        </a:lnTo>
                        <a:lnTo>
                          <a:pt x="344" y="439"/>
                        </a:lnTo>
                        <a:lnTo>
                          <a:pt x="354" y="439"/>
                        </a:lnTo>
                        <a:lnTo>
                          <a:pt x="355" y="444"/>
                        </a:lnTo>
                        <a:lnTo>
                          <a:pt x="356" y="446"/>
                        </a:lnTo>
                        <a:lnTo>
                          <a:pt x="361" y="452"/>
                        </a:lnTo>
                        <a:lnTo>
                          <a:pt x="361" y="454"/>
                        </a:lnTo>
                        <a:lnTo>
                          <a:pt x="361" y="457"/>
                        </a:lnTo>
                        <a:lnTo>
                          <a:pt x="363" y="463"/>
                        </a:lnTo>
                        <a:lnTo>
                          <a:pt x="365" y="469"/>
                        </a:lnTo>
                        <a:lnTo>
                          <a:pt x="366" y="470"/>
                        </a:lnTo>
                        <a:lnTo>
                          <a:pt x="368" y="471"/>
                        </a:lnTo>
                        <a:lnTo>
                          <a:pt x="368" y="473"/>
                        </a:lnTo>
                        <a:lnTo>
                          <a:pt x="369" y="472"/>
                        </a:lnTo>
                        <a:lnTo>
                          <a:pt x="371" y="472"/>
                        </a:lnTo>
                        <a:lnTo>
                          <a:pt x="373" y="471"/>
                        </a:lnTo>
                        <a:lnTo>
                          <a:pt x="373" y="475"/>
                        </a:lnTo>
                        <a:lnTo>
                          <a:pt x="375" y="475"/>
                        </a:lnTo>
                        <a:lnTo>
                          <a:pt x="376" y="475"/>
                        </a:lnTo>
                        <a:lnTo>
                          <a:pt x="377" y="475"/>
                        </a:lnTo>
                        <a:lnTo>
                          <a:pt x="378" y="475"/>
                        </a:lnTo>
                        <a:lnTo>
                          <a:pt x="380" y="475"/>
                        </a:lnTo>
                        <a:lnTo>
                          <a:pt x="380" y="476"/>
                        </a:lnTo>
                        <a:lnTo>
                          <a:pt x="380" y="477"/>
                        </a:lnTo>
                        <a:lnTo>
                          <a:pt x="380" y="478"/>
                        </a:lnTo>
                        <a:lnTo>
                          <a:pt x="382" y="478"/>
                        </a:lnTo>
                        <a:lnTo>
                          <a:pt x="383" y="478"/>
                        </a:lnTo>
                        <a:lnTo>
                          <a:pt x="385" y="478"/>
                        </a:lnTo>
                        <a:lnTo>
                          <a:pt x="387" y="478"/>
                        </a:lnTo>
                        <a:lnTo>
                          <a:pt x="387" y="480"/>
                        </a:lnTo>
                        <a:lnTo>
                          <a:pt x="387" y="481"/>
                        </a:lnTo>
                        <a:lnTo>
                          <a:pt x="386" y="483"/>
                        </a:lnTo>
                        <a:lnTo>
                          <a:pt x="383" y="485"/>
                        </a:lnTo>
                        <a:lnTo>
                          <a:pt x="381" y="486"/>
                        </a:lnTo>
                        <a:lnTo>
                          <a:pt x="380" y="488"/>
                        </a:lnTo>
                        <a:lnTo>
                          <a:pt x="380" y="489"/>
                        </a:lnTo>
                        <a:lnTo>
                          <a:pt x="380" y="491"/>
                        </a:lnTo>
                        <a:lnTo>
                          <a:pt x="385" y="490"/>
                        </a:lnTo>
                        <a:lnTo>
                          <a:pt x="389" y="490"/>
                        </a:lnTo>
                        <a:lnTo>
                          <a:pt x="393" y="489"/>
                        </a:lnTo>
                        <a:lnTo>
                          <a:pt x="399" y="488"/>
                        </a:lnTo>
                        <a:lnTo>
                          <a:pt x="401" y="487"/>
                        </a:lnTo>
                        <a:lnTo>
                          <a:pt x="403" y="487"/>
                        </a:lnTo>
                        <a:lnTo>
                          <a:pt x="404" y="487"/>
                        </a:lnTo>
                        <a:lnTo>
                          <a:pt x="406" y="488"/>
                        </a:lnTo>
                        <a:lnTo>
                          <a:pt x="409" y="493"/>
                        </a:lnTo>
                        <a:lnTo>
                          <a:pt x="412" y="499"/>
                        </a:lnTo>
                        <a:lnTo>
                          <a:pt x="415" y="506"/>
                        </a:lnTo>
                        <a:lnTo>
                          <a:pt x="416" y="514"/>
                        </a:lnTo>
                        <a:lnTo>
                          <a:pt x="414" y="514"/>
                        </a:lnTo>
                        <a:lnTo>
                          <a:pt x="413" y="516"/>
                        </a:lnTo>
                        <a:lnTo>
                          <a:pt x="413" y="517"/>
                        </a:lnTo>
                        <a:lnTo>
                          <a:pt x="417" y="518"/>
                        </a:lnTo>
                        <a:lnTo>
                          <a:pt x="421" y="520"/>
                        </a:lnTo>
                        <a:lnTo>
                          <a:pt x="425" y="524"/>
                        </a:lnTo>
                        <a:lnTo>
                          <a:pt x="428" y="530"/>
                        </a:lnTo>
                        <a:lnTo>
                          <a:pt x="429" y="532"/>
                        </a:lnTo>
                        <a:lnTo>
                          <a:pt x="429" y="533"/>
                        </a:lnTo>
                        <a:lnTo>
                          <a:pt x="430" y="534"/>
                        </a:lnTo>
                        <a:lnTo>
                          <a:pt x="432" y="536"/>
                        </a:lnTo>
                        <a:lnTo>
                          <a:pt x="432" y="537"/>
                        </a:lnTo>
                        <a:lnTo>
                          <a:pt x="434" y="538"/>
                        </a:lnTo>
                        <a:lnTo>
                          <a:pt x="436" y="539"/>
                        </a:lnTo>
                        <a:lnTo>
                          <a:pt x="438" y="540"/>
                        </a:lnTo>
                        <a:lnTo>
                          <a:pt x="439" y="539"/>
                        </a:lnTo>
                        <a:lnTo>
                          <a:pt x="439" y="538"/>
                        </a:lnTo>
                        <a:lnTo>
                          <a:pt x="440" y="537"/>
                        </a:lnTo>
                        <a:lnTo>
                          <a:pt x="441" y="536"/>
                        </a:lnTo>
                        <a:lnTo>
                          <a:pt x="444" y="535"/>
                        </a:lnTo>
                        <a:lnTo>
                          <a:pt x="447" y="535"/>
                        </a:lnTo>
                        <a:lnTo>
                          <a:pt x="450" y="536"/>
                        </a:lnTo>
                        <a:lnTo>
                          <a:pt x="451" y="536"/>
                        </a:lnTo>
                        <a:lnTo>
                          <a:pt x="453" y="540"/>
                        </a:lnTo>
                        <a:lnTo>
                          <a:pt x="454" y="542"/>
                        </a:lnTo>
                        <a:lnTo>
                          <a:pt x="454" y="546"/>
                        </a:lnTo>
                        <a:lnTo>
                          <a:pt x="454" y="549"/>
                        </a:lnTo>
                        <a:lnTo>
                          <a:pt x="455" y="554"/>
                        </a:lnTo>
                        <a:lnTo>
                          <a:pt x="456" y="559"/>
                        </a:lnTo>
                        <a:lnTo>
                          <a:pt x="459" y="563"/>
                        </a:lnTo>
                        <a:lnTo>
                          <a:pt x="461" y="565"/>
                        </a:lnTo>
                        <a:lnTo>
                          <a:pt x="462" y="568"/>
                        </a:lnTo>
                        <a:lnTo>
                          <a:pt x="463" y="571"/>
                        </a:lnTo>
                        <a:lnTo>
                          <a:pt x="464" y="575"/>
                        </a:lnTo>
                        <a:lnTo>
                          <a:pt x="464" y="578"/>
                        </a:lnTo>
                        <a:lnTo>
                          <a:pt x="464" y="579"/>
                        </a:lnTo>
                        <a:lnTo>
                          <a:pt x="467" y="580"/>
                        </a:lnTo>
                        <a:lnTo>
                          <a:pt x="469" y="582"/>
                        </a:lnTo>
                        <a:lnTo>
                          <a:pt x="470" y="585"/>
                        </a:lnTo>
                        <a:lnTo>
                          <a:pt x="472" y="589"/>
                        </a:lnTo>
                        <a:lnTo>
                          <a:pt x="472" y="592"/>
                        </a:lnTo>
                        <a:lnTo>
                          <a:pt x="472" y="596"/>
                        </a:lnTo>
                        <a:lnTo>
                          <a:pt x="473" y="601"/>
                        </a:lnTo>
                        <a:lnTo>
                          <a:pt x="474" y="608"/>
                        </a:lnTo>
                        <a:lnTo>
                          <a:pt x="476" y="614"/>
                        </a:lnTo>
                        <a:lnTo>
                          <a:pt x="478" y="621"/>
                        </a:lnTo>
                        <a:lnTo>
                          <a:pt x="477" y="630"/>
                        </a:lnTo>
                        <a:lnTo>
                          <a:pt x="474" y="630"/>
                        </a:lnTo>
                        <a:lnTo>
                          <a:pt x="470" y="630"/>
                        </a:lnTo>
                        <a:lnTo>
                          <a:pt x="465" y="631"/>
                        </a:lnTo>
                        <a:lnTo>
                          <a:pt x="461" y="633"/>
                        </a:lnTo>
                        <a:lnTo>
                          <a:pt x="461" y="635"/>
                        </a:lnTo>
                        <a:lnTo>
                          <a:pt x="459" y="637"/>
                        </a:lnTo>
                        <a:lnTo>
                          <a:pt x="458" y="637"/>
                        </a:lnTo>
                        <a:lnTo>
                          <a:pt x="458" y="639"/>
                        </a:lnTo>
                        <a:lnTo>
                          <a:pt x="459" y="643"/>
                        </a:lnTo>
                        <a:lnTo>
                          <a:pt x="461" y="645"/>
                        </a:lnTo>
                        <a:lnTo>
                          <a:pt x="463" y="647"/>
                        </a:lnTo>
                        <a:lnTo>
                          <a:pt x="464" y="649"/>
                        </a:lnTo>
                        <a:lnTo>
                          <a:pt x="464" y="650"/>
                        </a:lnTo>
                        <a:lnTo>
                          <a:pt x="463" y="651"/>
                        </a:lnTo>
                        <a:lnTo>
                          <a:pt x="462" y="652"/>
                        </a:lnTo>
                        <a:lnTo>
                          <a:pt x="461" y="653"/>
                        </a:lnTo>
                        <a:lnTo>
                          <a:pt x="459" y="656"/>
                        </a:lnTo>
                        <a:lnTo>
                          <a:pt x="456" y="661"/>
                        </a:lnTo>
                        <a:lnTo>
                          <a:pt x="454" y="663"/>
                        </a:lnTo>
                        <a:lnTo>
                          <a:pt x="451" y="665"/>
                        </a:lnTo>
                        <a:lnTo>
                          <a:pt x="448" y="666"/>
                        </a:lnTo>
                        <a:lnTo>
                          <a:pt x="446" y="667"/>
                        </a:lnTo>
                        <a:lnTo>
                          <a:pt x="443" y="668"/>
                        </a:lnTo>
                        <a:lnTo>
                          <a:pt x="441" y="672"/>
                        </a:lnTo>
                        <a:lnTo>
                          <a:pt x="443" y="674"/>
                        </a:lnTo>
                        <a:lnTo>
                          <a:pt x="444" y="676"/>
                        </a:lnTo>
                        <a:lnTo>
                          <a:pt x="444" y="678"/>
                        </a:lnTo>
                        <a:lnTo>
                          <a:pt x="441" y="682"/>
                        </a:lnTo>
                        <a:lnTo>
                          <a:pt x="441" y="685"/>
                        </a:lnTo>
                        <a:lnTo>
                          <a:pt x="443" y="689"/>
                        </a:lnTo>
                        <a:lnTo>
                          <a:pt x="448" y="694"/>
                        </a:lnTo>
                        <a:lnTo>
                          <a:pt x="450" y="694"/>
                        </a:lnTo>
                        <a:lnTo>
                          <a:pt x="453" y="693"/>
                        </a:lnTo>
                        <a:lnTo>
                          <a:pt x="455" y="693"/>
                        </a:lnTo>
                        <a:lnTo>
                          <a:pt x="458" y="694"/>
                        </a:lnTo>
                        <a:lnTo>
                          <a:pt x="461" y="694"/>
                        </a:lnTo>
                        <a:lnTo>
                          <a:pt x="463" y="695"/>
                        </a:lnTo>
                        <a:lnTo>
                          <a:pt x="464" y="696"/>
                        </a:lnTo>
                        <a:lnTo>
                          <a:pt x="465" y="696"/>
                        </a:lnTo>
                        <a:lnTo>
                          <a:pt x="467" y="694"/>
                        </a:lnTo>
                        <a:lnTo>
                          <a:pt x="468" y="693"/>
                        </a:lnTo>
                        <a:lnTo>
                          <a:pt x="470" y="691"/>
                        </a:lnTo>
                        <a:lnTo>
                          <a:pt x="472" y="688"/>
                        </a:lnTo>
                        <a:lnTo>
                          <a:pt x="473" y="685"/>
                        </a:lnTo>
                        <a:lnTo>
                          <a:pt x="477" y="677"/>
                        </a:lnTo>
                        <a:lnTo>
                          <a:pt x="479" y="674"/>
                        </a:lnTo>
                        <a:lnTo>
                          <a:pt x="480" y="672"/>
                        </a:lnTo>
                        <a:lnTo>
                          <a:pt x="489" y="662"/>
                        </a:lnTo>
                        <a:lnTo>
                          <a:pt x="490" y="662"/>
                        </a:lnTo>
                        <a:lnTo>
                          <a:pt x="491" y="662"/>
                        </a:lnTo>
                        <a:lnTo>
                          <a:pt x="496" y="662"/>
                        </a:lnTo>
                        <a:lnTo>
                          <a:pt x="496" y="661"/>
                        </a:lnTo>
                        <a:lnTo>
                          <a:pt x="496" y="660"/>
                        </a:lnTo>
                        <a:lnTo>
                          <a:pt x="496" y="659"/>
                        </a:lnTo>
                        <a:lnTo>
                          <a:pt x="498" y="659"/>
                        </a:lnTo>
                        <a:lnTo>
                          <a:pt x="501" y="658"/>
                        </a:lnTo>
                        <a:lnTo>
                          <a:pt x="502" y="656"/>
                        </a:lnTo>
                        <a:lnTo>
                          <a:pt x="503" y="656"/>
                        </a:lnTo>
                        <a:lnTo>
                          <a:pt x="502" y="649"/>
                        </a:lnTo>
                        <a:lnTo>
                          <a:pt x="501" y="644"/>
                        </a:lnTo>
                        <a:lnTo>
                          <a:pt x="501" y="639"/>
                        </a:lnTo>
                        <a:lnTo>
                          <a:pt x="503" y="633"/>
                        </a:lnTo>
                        <a:lnTo>
                          <a:pt x="503" y="631"/>
                        </a:lnTo>
                        <a:lnTo>
                          <a:pt x="505" y="629"/>
                        </a:lnTo>
                        <a:lnTo>
                          <a:pt x="507" y="627"/>
                        </a:lnTo>
                        <a:lnTo>
                          <a:pt x="509" y="627"/>
                        </a:lnTo>
                        <a:lnTo>
                          <a:pt x="511" y="624"/>
                        </a:lnTo>
                        <a:lnTo>
                          <a:pt x="512" y="622"/>
                        </a:lnTo>
                        <a:lnTo>
                          <a:pt x="513" y="621"/>
                        </a:lnTo>
                        <a:lnTo>
                          <a:pt x="515" y="620"/>
                        </a:lnTo>
                        <a:lnTo>
                          <a:pt x="519" y="620"/>
                        </a:lnTo>
                        <a:lnTo>
                          <a:pt x="524" y="620"/>
                        </a:lnTo>
                        <a:lnTo>
                          <a:pt x="530" y="621"/>
                        </a:lnTo>
                        <a:lnTo>
                          <a:pt x="535" y="623"/>
                        </a:lnTo>
                        <a:lnTo>
                          <a:pt x="535" y="615"/>
                        </a:lnTo>
                        <a:lnTo>
                          <a:pt x="534" y="610"/>
                        </a:lnTo>
                        <a:lnTo>
                          <a:pt x="532" y="604"/>
                        </a:lnTo>
                        <a:lnTo>
                          <a:pt x="532" y="597"/>
                        </a:lnTo>
                        <a:lnTo>
                          <a:pt x="533" y="596"/>
                        </a:lnTo>
                        <a:lnTo>
                          <a:pt x="535" y="592"/>
                        </a:lnTo>
                        <a:lnTo>
                          <a:pt x="537" y="589"/>
                        </a:lnTo>
                        <a:lnTo>
                          <a:pt x="538" y="588"/>
                        </a:lnTo>
                        <a:lnTo>
                          <a:pt x="537" y="588"/>
                        </a:lnTo>
                        <a:lnTo>
                          <a:pt x="536" y="587"/>
                        </a:lnTo>
                        <a:lnTo>
                          <a:pt x="536" y="585"/>
                        </a:lnTo>
                        <a:lnTo>
                          <a:pt x="535" y="585"/>
                        </a:lnTo>
                        <a:lnTo>
                          <a:pt x="535" y="584"/>
                        </a:lnTo>
                        <a:lnTo>
                          <a:pt x="534" y="583"/>
                        </a:lnTo>
                        <a:lnTo>
                          <a:pt x="532" y="582"/>
                        </a:lnTo>
                        <a:lnTo>
                          <a:pt x="531" y="582"/>
                        </a:lnTo>
                        <a:lnTo>
                          <a:pt x="530" y="582"/>
                        </a:lnTo>
                        <a:lnTo>
                          <a:pt x="529" y="582"/>
                        </a:lnTo>
                        <a:lnTo>
                          <a:pt x="527" y="579"/>
                        </a:lnTo>
                        <a:lnTo>
                          <a:pt x="525" y="577"/>
                        </a:lnTo>
                        <a:lnTo>
                          <a:pt x="524" y="574"/>
                        </a:lnTo>
                        <a:lnTo>
                          <a:pt x="522" y="571"/>
                        </a:lnTo>
                        <a:lnTo>
                          <a:pt x="521" y="571"/>
                        </a:lnTo>
                        <a:lnTo>
                          <a:pt x="520" y="571"/>
                        </a:lnTo>
                        <a:lnTo>
                          <a:pt x="515" y="571"/>
                        </a:lnTo>
                        <a:lnTo>
                          <a:pt x="515" y="570"/>
                        </a:lnTo>
                        <a:lnTo>
                          <a:pt x="513" y="569"/>
                        </a:lnTo>
                        <a:lnTo>
                          <a:pt x="512" y="568"/>
                        </a:lnTo>
                        <a:lnTo>
                          <a:pt x="510" y="567"/>
                        </a:lnTo>
                        <a:lnTo>
                          <a:pt x="508" y="566"/>
                        </a:lnTo>
                        <a:lnTo>
                          <a:pt x="505" y="565"/>
                        </a:lnTo>
                        <a:lnTo>
                          <a:pt x="503" y="562"/>
                        </a:lnTo>
                        <a:lnTo>
                          <a:pt x="503" y="561"/>
                        </a:lnTo>
                        <a:lnTo>
                          <a:pt x="503" y="559"/>
                        </a:lnTo>
                        <a:lnTo>
                          <a:pt x="502" y="558"/>
                        </a:lnTo>
                        <a:lnTo>
                          <a:pt x="500" y="557"/>
                        </a:lnTo>
                        <a:lnTo>
                          <a:pt x="498" y="556"/>
                        </a:lnTo>
                        <a:lnTo>
                          <a:pt x="499" y="556"/>
                        </a:lnTo>
                        <a:lnTo>
                          <a:pt x="501" y="553"/>
                        </a:lnTo>
                        <a:lnTo>
                          <a:pt x="503" y="549"/>
                        </a:lnTo>
                        <a:lnTo>
                          <a:pt x="504" y="547"/>
                        </a:lnTo>
                        <a:lnTo>
                          <a:pt x="506" y="546"/>
                        </a:lnTo>
                        <a:lnTo>
                          <a:pt x="511" y="537"/>
                        </a:lnTo>
                        <a:lnTo>
                          <a:pt x="513" y="527"/>
                        </a:lnTo>
                        <a:lnTo>
                          <a:pt x="517" y="519"/>
                        </a:lnTo>
                        <a:lnTo>
                          <a:pt x="522" y="514"/>
                        </a:lnTo>
                        <a:lnTo>
                          <a:pt x="526" y="510"/>
                        </a:lnTo>
                        <a:lnTo>
                          <a:pt x="531" y="508"/>
                        </a:lnTo>
                        <a:lnTo>
                          <a:pt x="536" y="507"/>
                        </a:lnTo>
                        <a:lnTo>
                          <a:pt x="541" y="507"/>
                        </a:lnTo>
                        <a:lnTo>
                          <a:pt x="541" y="508"/>
                        </a:lnTo>
                        <a:lnTo>
                          <a:pt x="541" y="509"/>
                        </a:lnTo>
                        <a:lnTo>
                          <a:pt x="541" y="514"/>
                        </a:lnTo>
                        <a:lnTo>
                          <a:pt x="551" y="514"/>
                        </a:lnTo>
                        <a:lnTo>
                          <a:pt x="553" y="516"/>
                        </a:lnTo>
                        <a:lnTo>
                          <a:pt x="554" y="517"/>
                        </a:lnTo>
                        <a:lnTo>
                          <a:pt x="556" y="519"/>
                        </a:lnTo>
                        <a:lnTo>
                          <a:pt x="558" y="520"/>
                        </a:lnTo>
                        <a:lnTo>
                          <a:pt x="560" y="519"/>
                        </a:lnTo>
                        <a:lnTo>
                          <a:pt x="564" y="518"/>
                        </a:lnTo>
                        <a:lnTo>
                          <a:pt x="567" y="518"/>
                        </a:lnTo>
                        <a:lnTo>
                          <a:pt x="570" y="520"/>
                        </a:lnTo>
                        <a:lnTo>
                          <a:pt x="571" y="520"/>
                        </a:lnTo>
                        <a:lnTo>
                          <a:pt x="572" y="521"/>
                        </a:lnTo>
                        <a:lnTo>
                          <a:pt x="573" y="522"/>
                        </a:lnTo>
                        <a:lnTo>
                          <a:pt x="574" y="523"/>
                        </a:lnTo>
                        <a:lnTo>
                          <a:pt x="575" y="522"/>
                        </a:lnTo>
                        <a:lnTo>
                          <a:pt x="577" y="522"/>
                        </a:lnTo>
                        <a:lnTo>
                          <a:pt x="579" y="522"/>
                        </a:lnTo>
                        <a:lnTo>
                          <a:pt x="580" y="523"/>
                        </a:lnTo>
                        <a:lnTo>
                          <a:pt x="580" y="525"/>
                        </a:lnTo>
                        <a:lnTo>
                          <a:pt x="580" y="526"/>
                        </a:lnTo>
                        <a:lnTo>
                          <a:pt x="581" y="526"/>
                        </a:lnTo>
                        <a:lnTo>
                          <a:pt x="582" y="526"/>
                        </a:lnTo>
                        <a:lnTo>
                          <a:pt x="583" y="526"/>
                        </a:lnTo>
                        <a:lnTo>
                          <a:pt x="584" y="526"/>
                        </a:lnTo>
                        <a:lnTo>
                          <a:pt x="585" y="529"/>
                        </a:lnTo>
                        <a:lnTo>
                          <a:pt x="586" y="531"/>
                        </a:lnTo>
                        <a:lnTo>
                          <a:pt x="586" y="536"/>
                        </a:lnTo>
                        <a:lnTo>
                          <a:pt x="584" y="537"/>
                        </a:lnTo>
                        <a:lnTo>
                          <a:pt x="584" y="538"/>
                        </a:lnTo>
                        <a:lnTo>
                          <a:pt x="584" y="540"/>
                        </a:lnTo>
                        <a:lnTo>
                          <a:pt x="584" y="541"/>
                        </a:lnTo>
                        <a:lnTo>
                          <a:pt x="584" y="542"/>
                        </a:lnTo>
                        <a:lnTo>
                          <a:pt x="585" y="544"/>
                        </a:lnTo>
                        <a:lnTo>
                          <a:pt x="588" y="546"/>
                        </a:lnTo>
                        <a:lnTo>
                          <a:pt x="590" y="547"/>
                        </a:lnTo>
                        <a:lnTo>
                          <a:pt x="593" y="549"/>
                        </a:lnTo>
                        <a:lnTo>
                          <a:pt x="593" y="554"/>
                        </a:lnTo>
                        <a:lnTo>
                          <a:pt x="594" y="556"/>
                        </a:lnTo>
                        <a:lnTo>
                          <a:pt x="596" y="559"/>
                        </a:lnTo>
                        <a:lnTo>
                          <a:pt x="599" y="559"/>
                        </a:lnTo>
                        <a:lnTo>
                          <a:pt x="603" y="559"/>
                        </a:lnTo>
                        <a:lnTo>
                          <a:pt x="607" y="559"/>
                        </a:lnTo>
                        <a:lnTo>
                          <a:pt x="609" y="559"/>
                        </a:lnTo>
                        <a:lnTo>
                          <a:pt x="610" y="550"/>
                        </a:lnTo>
                        <a:lnTo>
                          <a:pt x="613" y="541"/>
                        </a:lnTo>
                        <a:lnTo>
                          <a:pt x="614" y="532"/>
                        </a:lnTo>
                        <a:lnTo>
                          <a:pt x="614" y="527"/>
                        </a:lnTo>
                        <a:lnTo>
                          <a:pt x="612" y="52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29" name="Freeform 1854">
                    <a:extLst>
                      <a:ext uri="{FF2B5EF4-FFF2-40B4-BE49-F238E27FC236}">
                        <a16:creationId xmlns:a16="http://schemas.microsoft.com/office/drawing/2014/main" xmlns="" id="{2134C3DC-213D-4598-94FD-EC98EA71B4C1}"/>
                      </a:ext>
                    </a:extLst>
                  </p:cNvPr>
                  <p:cNvSpPr>
                    <a:spLocks/>
                  </p:cNvSpPr>
                  <p:nvPr/>
                </p:nvSpPr>
                <p:spPr bwMode="gray">
                  <a:xfrm>
                    <a:off x="4274176" y="3717005"/>
                    <a:ext cx="28925" cy="46724"/>
                  </a:xfrm>
                  <a:custGeom>
                    <a:avLst/>
                    <a:gdLst>
                      <a:gd name="T0" fmla="*/ 2147483647 w 26"/>
                      <a:gd name="T1" fmla="*/ 2147483647 h 42"/>
                      <a:gd name="T2" fmla="*/ 2147483647 w 26"/>
                      <a:gd name="T3" fmla="*/ 2147483647 h 42"/>
                      <a:gd name="T4" fmla="*/ 2147483647 w 26"/>
                      <a:gd name="T5" fmla="*/ 2147483647 h 42"/>
                      <a:gd name="T6" fmla="*/ 2147483647 w 26"/>
                      <a:gd name="T7" fmla="*/ 2147483647 h 42"/>
                      <a:gd name="T8" fmla="*/ 2147483647 w 26"/>
                      <a:gd name="T9" fmla="*/ 2147483647 h 42"/>
                      <a:gd name="T10" fmla="*/ 2147483647 w 26"/>
                      <a:gd name="T11" fmla="*/ 2147483647 h 42"/>
                      <a:gd name="T12" fmla="*/ 2147483647 w 26"/>
                      <a:gd name="T13" fmla="*/ 2147483647 h 42"/>
                      <a:gd name="T14" fmla="*/ 2147483647 w 26"/>
                      <a:gd name="T15" fmla="*/ 2147483647 h 42"/>
                      <a:gd name="T16" fmla="*/ 2147483647 w 26"/>
                      <a:gd name="T17" fmla="*/ 2147483647 h 42"/>
                      <a:gd name="T18" fmla="*/ 2147483647 w 26"/>
                      <a:gd name="T19" fmla="*/ 2147483647 h 42"/>
                      <a:gd name="T20" fmla="*/ 2147483647 w 26"/>
                      <a:gd name="T21" fmla="*/ 2147483647 h 42"/>
                      <a:gd name="T22" fmla="*/ 2147483647 w 26"/>
                      <a:gd name="T23" fmla="*/ 2147483647 h 42"/>
                      <a:gd name="T24" fmla="*/ 2147483647 w 26"/>
                      <a:gd name="T25" fmla="*/ 2147483647 h 42"/>
                      <a:gd name="T26" fmla="*/ 2147483647 w 26"/>
                      <a:gd name="T27" fmla="*/ 2147483647 h 42"/>
                      <a:gd name="T28" fmla="*/ 2147483647 w 26"/>
                      <a:gd name="T29" fmla="*/ 2147483647 h 42"/>
                      <a:gd name="T30" fmla="*/ 2147483647 w 26"/>
                      <a:gd name="T31" fmla="*/ 2147483647 h 42"/>
                      <a:gd name="T32" fmla="*/ 0 w 26"/>
                      <a:gd name="T33" fmla="*/ 2147483647 h 42"/>
                      <a:gd name="T34" fmla="*/ 0 w 26"/>
                      <a:gd name="T35" fmla="*/ 2147483647 h 42"/>
                      <a:gd name="T36" fmla="*/ 2147483647 w 26"/>
                      <a:gd name="T37" fmla="*/ 2147483647 h 42"/>
                      <a:gd name="T38" fmla="*/ 2147483647 w 26"/>
                      <a:gd name="T39" fmla="*/ 2147483647 h 42"/>
                      <a:gd name="T40" fmla="*/ 2147483647 w 26"/>
                      <a:gd name="T41" fmla="*/ 2147483647 h 42"/>
                      <a:gd name="T42" fmla="*/ 2147483647 w 26"/>
                      <a:gd name="T43" fmla="*/ 2147483647 h 42"/>
                      <a:gd name="T44" fmla="*/ 2147483647 w 26"/>
                      <a:gd name="T45" fmla="*/ 2147483647 h 42"/>
                      <a:gd name="T46" fmla="*/ 2147483647 w 26"/>
                      <a:gd name="T47" fmla="*/ 2147483647 h 42"/>
                      <a:gd name="T48" fmla="*/ 2147483647 w 26"/>
                      <a:gd name="T49" fmla="*/ 2147483647 h 42"/>
                      <a:gd name="T50" fmla="*/ 2147483647 w 26"/>
                      <a:gd name="T51" fmla="*/ 2147483647 h 42"/>
                      <a:gd name="T52" fmla="*/ 2147483647 w 26"/>
                      <a:gd name="T53" fmla="*/ 2147483647 h 42"/>
                      <a:gd name="T54" fmla="*/ 2147483647 w 26"/>
                      <a:gd name="T55" fmla="*/ 0 h 42"/>
                      <a:gd name="T56" fmla="*/ 2147483647 w 26"/>
                      <a:gd name="T57" fmla="*/ 2147483647 h 42"/>
                      <a:gd name="T58" fmla="*/ 2147483647 w 26"/>
                      <a:gd name="T59" fmla="*/ 2147483647 h 4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 h="42">
                        <a:moveTo>
                          <a:pt x="23" y="4"/>
                        </a:moveTo>
                        <a:lnTo>
                          <a:pt x="19" y="4"/>
                        </a:lnTo>
                        <a:lnTo>
                          <a:pt x="19" y="9"/>
                        </a:lnTo>
                        <a:lnTo>
                          <a:pt x="16" y="13"/>
                        </a:lnTo>
                        <a:lnTo>
                          <a:pt x="13" y="13"/>
                        </a:lnTo>
                        <a:lnTo>
                          <a:pt x="9" y="20"/>
                        </a:lnTo>
                        <a:lnTo>
                          <a:pt x="9" y="23"/>
                        </a:lnTo>
                        <a:lnTo>
                          <a:pt x="13" y="26"/>
                        </a:lnTo>
                        <a:lnTo>
                          <a:pt x="13" y="32"/>
                        </a:lnTo>
                        <a:lnTo>
                          <a:pt x="9" y="39"/>
                        </a:lnTo>
                        <a:lnTo>
                          <a:pt x="9" y="42"/>
                        </a:lnTo>
                        <a:lnTo>
                          <a:pt x="6" y="35"/>
                        </a:lnTo>
                        <a:lnTo>
                          <a:pt x="9" y="29"/>
                        </a:lnTo>
                        <a:lnTo>
                          <a:pt x="6" y="26"/>
                        </a:lnTo>
                        <a:lnTo>
                          <a:pt x="2" y="29"/>
                        </a:lnTo>
                        <a:lnTo>
                          <a:pt x="2" y="32"/>
                        </a:lnTo>
                        <a:lnTo>
                          <a:pt x="0" y="35"/>
                        </a:lnTo>
                        <a:lnTo>
                          <a:pt x="0" y="32"/>
                        </a:lnTo>
                        <a:lnTo>
                          <a:pt x="2" y="29"/>
                        </a:lnTo>
                        <a:lnTo>
                          <a:pt x="6" y="26"/>
                        </a:lnTo>
                        <a:lnTo>
                          <a:pt x="6" y="23"/>
                        </a:lnTo>
                        <a:lnTo>
                          <a:pt x="6" y="20"/>
                        </a:lnTo>
                        <a:lnTo>
                          <a:pt x="9" y="13"/>
                        </a:lnTo>
                        <a:lnTo>
                          <a:pt x="13" y="9"/>
                        </a:lnTo>
                        <a:lnTo>
                          <a:pt x="16" y="7"/>
                        </a:lnTo>
                        <a:lnTo>
                          <a:pt x="16" y="4"/>
                        </a:lnTo>
                        <a:lnTo>
                          <a:pt x="19" y="4"/>
                        </a:lnTo>
                        <a:lnTo>
                          <a:pt x="23" y="0"/>
                        </a:lnTo>
                        <a:lnTo>
                          <a:pt x="26" y="4"/>
                        </a:lnTo>
                        <a:lnTo>
                          <a:pt x="23" y="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0" name="Freeform 1856">
                    <a:extLst>
                      <a:ext uri="{FF2B5EF4-FFF2-40B4-BE49-F238E27FC236}">
                        <a16:creationId xmlns:a16="http://schemas.microsoft.com/office/drawing/2014/main" xmlns="" id="{FF1F8E23-B740-42E7-8B3A-B03156976167}"/>
                      </a:ext>
                    </a:extLst>
                  </p:cNvPr>
                  <p:cNvSpPr>
                    <a:spLocks/>
                  </p:cNvSpPr>
                  <p:nvPr/>
                </p:nvSpPr>
                <p:spPr bwMode="gray">
                  <a:xfrm>
                    <a:off x="4327577" y="3753716"/>
                    <a:ext cx="11125" cy="13350"/>
                  </a:xfrm>
                  <a:custGeom>
                    <a:avLst/>
                    <a:gdLst>
                      <a:gd name="T0" fmla="*/ 2147483647 w 10"/>
                      <a:gd name="T1" fmla="*/ 2147483647 h 12"/>
                      <a:gd name="T2" fmla="*/ 2147483647 w 10"/>
                      <a:gd name="T3" fmla="*/ 2147483647 h 12"/>
                      <a:gd name="T4" fmla="*/ 2147483647 w 10"/>
                      <a:gd name="T5" fmla="*/ 2147483647 h 12"/>
                      <a:gd name="T6" fmla="*/ 2147483647 w 10"/>
                      <a:gd name="T7" fmla="*/ 2147483647 h 12"/>
                      <a:gd name="T8" fmla="*/ 0 w 10"/>
                      <a:gd name="T9" fmla="*/ 2147483647 h 12"/>
                      <a:gd name="T10" fmla="*/ 2147483647 w 10"/>
                      <a:gd name="T11" fmla="*/ 2147483647 h 12"/>
                      <a:gd name="T12" fmla="*/ 2147483647 w 10"/>
                      <a:gd name="T13" fmla="*/ 2147483647 h 12"/>
                      <a:gd name="T14" fmla="*/ 2147483647 w 10"/>
                      <a:gd name="T15" fmla="*/ 2147483647 h 12"/>
                      <a:gd name="T16" fmla="*/ 2147483647 w 10"/>
                      <a:gd name="T17" fmla="*/ 0 h 12"/>
                      <a:gd name="T18" fmla="*/ 2147483647 w 10"/>
                      <a:gd name="T19" fmla="*/ 2147483647 h 12"/>
                      <a:gd name="T20" fmla="*/ 2147483647 w 10"/>
                      <a:gd name="T21" fmla="*/ 2147483647 h 12"/>
                      <a:gd name="T22" fmla="*/ 2147483647 w 10"/>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12">
                        <a:moveTo>
                          <a:pt x="10" y="9"/>
                        </a:moveTo>
                        <a:lnTo>
                          <a:pt x="6" y="9"/>
                        </a:lnTo>
                        <a:lnTo>
                          <a:pt x="3" y="9"/>
                        </a:lnTo>
                        <a:lnTo>
                          <a:pt x="3" y="12"/>
                        </a:lnTo>
                        <a:lnTo>
                          <a:pt x="0" y="9"/>
                        </a:lnTo>
                        <a:lnTo>
                          <a:pt x="3" y="9"/>
                        </a:lnTo>
                        <a:lnTo>
                          <a:pt x="6" y="6"/>
                        </a:lnTo>
                        <a:lnTo>
                          <a:pt x="6" y="3"/>
                        </a:lnTo>
                        <a:lnTo>
                          <a:pt x="10" y="0"/>
                        </a:lnTo>
                        <a:lnTo>
                          <a:pt x="10" y="3"/>
                        </a:lnTo>
                        <a:lnTo>
                          <a:pt x="6" y="6"/>
                        </a:lnTo>
                        <a:lnTo>
                          <a:pt x="10" y="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1" name="Freeform 1858">
                    <a:extLst>
                      <a:ext uri="{FF2B5EF4-FFF2-40B4-BE49-F238E27FC236}">
                        <a16:creationId xmlns:a16="http://schemas.microsoft.com/office/drawing/2014/main" xmlns="" id="{91789686-406F-4DD7-915D-6F6327B89494}"/>
                      </a:ext>
                    </a:extLst>
                  </p:cNvPr>
                  <p:cNvSpPr>
                    <a:spLocks/>
                  </p:cNvSpPr>
                  <p:nvPr/>
                </p:nvSpPr>
                <p:spPr bwMode="gray">
                  <a:xfrm>
                    <a:off x="4356502" y="3757054"/>
                    <a:ext cx="25588" cy="46724"/>
                  </a:xfrm>
                  <a:custGeom>
                    <a:avLst/>
                    <a:gdLst>
                      <a:gd name="T0" fmla="*/ 2147483647 w 23"/>
                      <a:gd name="T1" fmla="*/ 2147483647 h 42"/>
                      <a:gd name="T2" fmla="*/ 2147483647 w 23"/>
                      <a:gd name="T3" fmla="*/ 2147483647 h 42"/>
                      <a:gd name="T4" fmla="*/ 2147483647 w 23"/>
                      <a:gd name="T5" fmla="*/ 2147483647 h 42"/>
                      <a:gd name="T6" fmla="*/ 2147483647 w 23"/>
                      <a:gd name="T7" fmla="*/ 2147483647 h 42"/>
                      <a:gd name="T8" fmla="*/ 2147483647 w 23"/>
                      <a:gd name="T9" fmla="*/ 2147483647 h 42"/>
                      <a:gd name="T10" fmla="*/ 2147483647 w 23"/>
                      <a:gd name="T11" fmla="*/ 2147483647 h 42"/>
                      <a:gd name="T12" fmla="*/ 2147483647 w 23"/>
                      <a:gd name="T13" fmla="*/ 2147483647 h 42"/>
                      <a:gd name="T14" fmla="*/ 2147483647 w 23"/>
                      <a:gd name="T15" fmla="*/ 2147483647 h 42"/>
                      <a:gd name="T16" fmla="*/ 2147483647 w 23"/>
                      <a:gd name="T17" fmla="*/ 2147483647 h 42"/>
                      <a:gd name="T18" fmla="*/ 2147483647 w 23"/>
                      <a:gd name="T19" fmla="*/ 2147483647 h 42"/>
                      <a:gd name="T20" fmla="*/ 0 w 23"/>
                      <a:gd name="T21" fmla="*/ 2147483647 h 42"/>
                      <a:gd name="T22" fmla="*/ 2147483647 w 23"/>
                      <a:gd name="T23" fmla="*/ 2147483647 h 42"/>
                      <a:gd name="T24" fmla="*/ 2147483647 w 23"/>
                      <a:gd name="T25" fmla="*/ 2147483647 h 42"/>
                      <a:gd name="T26" fmla="*/ 2147483647 w 23"/>
                      <a:gd name="T27" fmla="*/ 2147483647 h 42"/>
                      <a:gd name="T28" fmla="*/ 2147483647 w 23"/>
                      <a:gd name="T29" fmla="*/ 2147483647 h 42"/>
                      <a:gd name="T30" fmla="*/ 2147483647 w 23"/>
                      <a:gd name="T31" fmla="*/ 2147483647 h 42"/>
                      <a:gd name="T32" fmla="*/ 2147483647 w 23"/>
                      <a:gd name="T33" fmla="*/ 2147483647 h 42"/>
                      <a:gd name="T34" fmla="*/ 2147483647 w 23"/>
                      <a:gd name="T35" fmla="*/ 2147483647 h 42"/>
                      <a:gd name="T36" fmla="*/ 2147483647 w 23"/>
                      <a:gd name="T37" fmla="*/ 0 h 42"/>
                      <a:gd name="T38" fmla="*/ 2147483647 w 23"/>
                      <a:gd name="T39" fmla="*/ 2147483647 h 42"/>
                      <a:gd name="T40" fmla="*/ 2147483647 w 23"/>
                      <a:gd name="T41" fmla="*/ 2147483647 h 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3" h="42">
                        <a:moveTo>
                          <a:pt x="19" y="10"/>
                        </a:moveTo>
                        <a:lnTo>
                          <a:pt x="16" y="17"/>
                        </a:lnTo>
                        <a:lnTo>
                          <a:pt x="13" y="20"/>
                        </a:lnTo>
                        <a:lnTo>
                          <a:pt x="9" y="23"/>
                        </a:lnTo>
                        <a:lnTo>
                          <a:pt x="9" y="26"/>
                        </a:lnTo>
                        <a:lnTo>
                          <a:pt x="9" y="30"/>
                        </a:lnTo>
                        <a:lnTo>
                          <a:pt x="13" y="35"/>
                        </a:lnTo>
                        <a:lnTo>
                          <a:pt x="9" y="39"/>
                        </a:lnTo>
                        <a:lnTo>
                          <a:pt x="9" y="42"/>
                        </a:lnTo>
                        <a:lnTo>
                          <a:pt x="3" y="39"/>
                        </a:lnTo>
                        <a:lnTo>
                          <a:pt x="0" y="35"/>
                        </a:lnTo>
                        <a:lnTo>
                          <a:pt x="3" y="30"/>
                        </a:lnTo>
                        <a:lnTo>
                          <a:pt x="3" y="26"/>
                        </a:lnTo>
                        <a:lnTo>
                          <a:pt x="3" y="23"/>
                        </a:lnTo>
                        <a:lnTo>
                          <a:pt x="9" y="20"/>
                        </a:lnTo>
                        <a:lnTo>
                          <a:pt x="13" y="14"/>
                        </a:lnTo>
                        <a:lnTo>
                          <a:pt x="16" y="10"/>
                        </a:lnTo>
                        <a:lnTo>
                          <a:pt x="19" y="4"/>
                        </a:lnTo>
                        <a:lnTo>
                          <a:pt x="19" y="0"/>
                        </a:lnTo>
                        <a:lnTo>
                          <a:pt x="23" y="4"/>
                        </a:lnTo>
                        <a:lnTo>
                          <a:pt x="19" y="1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2" name="Freeform 1860">
                    <a:extLst>
                      <a:ext uri="{FF2B5EF4-FFF2-40B4-BE49-F238E27FC236}">
                        <a16:creationId xmlns:a16="http://schemas.microsoft.com/office/drawing/2014/main" xmlns="" id="{E4E87B7A-193D-478C-9E75-9FA81C137FFC}"/>
                      </a:ext>
                    </a:extLst>
                  </p:cNvPr>
                  <p:cNvSpPr>
                    <a:spLocks/>
                  </p:cNvSpPr>
                  <p:nvPr/>
                </p:nvSpPr>
                <p:spPr bwMode="gray">
                  <a:xfrm>
                    <a:off x="4432154" y="3864961"/>
                    <a:ext cx="13350" cy="14462"/>
                  </a:xfrm>
                  <a:custGeom>
                    <a:avLst/>
                    <a:gdLst>
                      <a:gd name="T0" fmla="*/ 0 w 12"/>
                      <a:gd name="T1" fmla="*/ 2147483647 h 13"/>
                      <a:gd name="T2" fmla="*/ 0 w 12"/>
                      <a:gd name="T3" fmla="*/ 2147483647 h 13"/>
                      <a:gd name="T4" fmla="*/ 0 w 12"/>
                      <a:gd name="T5" fmla="*/ 2147483647 h 13"/>
                      <a:gd name="T6" fmla="*/ 0 w 12"/>
                      <a:gd name="T7" fmla="*/ 2147483647 h 13"/>
                      <a:gd name="T8" fmla="*/ 0 w 12"/>
                      <a:gd name="T9" fmla="*/ 0 h 13"/>
                      <a:gd name="T10" fmla="*/ 0 w 12"/>
                      <a:gd name="T11" fmla="*/ 0 h 13"/>
                      <a:gd name="T12" fmla="*/ 2147483647 w 12"/>
                      <a:gd name="T13" fmla="*/ 0 h 13"/>
                      <a:gd name="T14" fmla="*/ 2147483647 w 12"/>
                      <a:gd name="T15" fmla="*/ 0 h 13"/>
                      <a:gd name="T16" fmla="*/ 2147483647 w 12"/>
                      <a:gd name="T17" fmla="*/ 0 h 13"/>
                      <a:gd name="T18" fmla="*/ 2147483647 w 12"/>
                      <a:gd name="T19" fmla="*/ 0 h 13"/>
                      <a:gd name="T20" fmla="*/ 2147483647 w 12"/>
                      <a:gd name="T21" fmla="*/ 2147483647 h 13"/>
                      <a:gd name="T22" fmla="*/ 2147483647 w 12"/>
                      <a:gd name="T23" fmla="*/ 2147483647 h 13"/>
                      <a:gd name="T24" fmla="*/ 2147483647 w 12"/>
                      <a:gd name="T25" fmla="*/ 2147483647 h 13"/>
                      <a:gd name="T26" fmla="*/ 2147483647 w 12"/>
                      <a:gd name="T27" fmla="*/ 2147483647 h 13"/>
                      <a:gd name="T28" fmla="*/ 2147483647 w 12"/>
                      <a:gd name="T29" fmla="*/ 2147483647 h 13"/>
                      <a:gd name="T30" fmla="*/ 2147483647 w 12"/>
                      <a:gd name="T31" fmla="*/ 2147483647 h 13"/>
                      <a:gd name="T32" fmla="*/ 2147483647 w 12"/>
                      <a:gd name="T33" fmla="*/ 2147483647 h 13"/>
                      <a:gd name="T34" fmla="*/ 2147483647 w 12"/>
                      <a:gd name="T35" fmla="*/ 2147483647 h 13"/>
                      <a:gd name="T36" fmla="*/ 2147483647 w 12"/>
                      <a:gd name="T37" fmla="*/ 2147483647 h 13"/>
                      <a:gd name="T38" fmla="*/ 2147483647 w 12"/>
                      <a:gd name="T39" fmla="*/ 2147483647 h 13"/>
                      <a:gd name="T40" fmla="*/ 2147483647 w 12"/>
                      <a:gd name="T41" fmla="*/ 2147483647 h 13"/>
                      <a:gd name="T42" fmla="*/ 2147483647 w 12"/>
                      <a:gd name="T43" fmla="*/ 2147483647 h 13"/>
                      <a:gd name="T44" fmla="*/ 2147483647 w 12"/>
                      <a:gd name="T45" fmla="*/ 2147483647 h 13"/>
                      <a:gd name="T46" fmla="*/ 2147483647 w 12"/>
                      <a:gd name="T47" fmla="*/ 2147483647 h 13"/>
                      <a:gd name="T48" fmla="*/ 2147483647 w 12"/>
                      <a:gd name="T49" fmla="*/ 2147483647 h 13"/>
                      <a:gd name="T50" fmla="*/ 0 w 12"/>
                      <a:gd name="T51" fmla="*/ 2147483647 h 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 h="13">
                        <a:moveTo>
                          <a:pt x="0" y="4"/>
                        </a:moveTo>
                        <a:lnTo>
                          <a:pt x="0" y="3"/>
                        </a:lnTo>
                        <a:lnTo>
                          <a:pt x="0" y="2"/>
                        </a:lnTo>
                        <a:lnTo>
                          <a:pt x="0" y="1"/>
                        </a:lnTo>
                        <a:lnTo>
                          <a:pt x="0" y="0"/>
                        </a:lnTo>
                        <a:lnTo>
                          <a:pt x="2" y="0"/>
                        </a:lnTo>
                        <a:lnTo>
                          <a:pt x="3" y="0"/>
                        </a:lnTo>
                        <a:lnTo>
                          <a:pt x="5" y="0"/>
                        </a:lnTo>
                        <a:lnTo>
                          <a:pt x="10" y="1"/>
                        </a:lnTo>
                        <a:lnTo>
                          <a:pt x="11" y="2"/>
                        </a:lnTo>
                        <a:lnTo>
                          <a:pt x="12" y="4"/>
                        </a:lnTo>
                        <a:lnTo>
                          <a:pt x="12" y="6"/>
                        </a:lnTo>
                        <a:lnTo>
                          <a:pt x="11" y="7"/>
                        </a:lnTo>
                        <a:lnTo>
                          <a:pt x="12" y="9"/>
                        </a:lnTo>
                        <a:lnTo>
                          <a:pt x="12" y="10"/>
                        </a:lnTo>
                        <a:lnTo>
                          <a:pt x="12" y="11"/>
                        </a:lnTo>
                        <a:lnTo>
                          <a:pt x="11" y="12"/>
                        </a:lnTo>
                        <a:lnTo>
                          <a:pt x="10" y="13"/>
                        </a:lnTo>
                        <a:lnTo>
                          <a:pt x="10" y="9"/>
                        </a:lnTo>
                        <a:lnTo>
                          <a:pt x="7" y="7"/>
                        </a:lnTo>
                        <a:lnTo>
                          <a:pt x="4" y="7"/>
                        </a:lnTo>
                        <a:lnTo>
                          <a:pt x="1" y="6"/>
                        </a:lnTo>
                        <a:lnTo>
                          <a:pt x="0" y="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3" name="Freeform 1862">
                    <a:extLst>
                      <a:ext uri="{FF2B5EF4-FFF2-40B4-BE49-F238E27FC236}">
                        <a16:creationId xmlns:a16="http://schemas.microsoft.com/office/drawing/2014/main" xmlns="" id="{713FB064-6649-4AD6-BF6A-B8256C7C2202}"/>
                      </a:ext>
                    </a:extLst>
                  </p:cNvPr>
                  <p:cNvSpPr>
                    <a:spLocks/>
                  </p:cNvSpPr>
                  <p:nvPr/>
                </p:nvSpPr>
                <p:spPr bwMode="gray">
                  <a:xfrm>
                    <a:off x="4443279" y="3927259"/>
                    <a:ext cx="12237" cy="14462"/>
                  </a:xfrm>
                  <a:custGeom>
                    <a:avLst/>
                    <a:gdLst>
                      <a:gd name="T0" fmla="*/ 2147483647 w 11"/>
                      <a:gd name="T1" fmla="*/ 2147483647 h 13"/>
                      <a:gd name="T2" fmla="*/ 2147483647 w 11"/>
                      <a:gd name="T3" fmla="*/ 2147483647 h 13"/>
                      <a:gd name="T4" fmla="*/ 2147483647 w 11"/>
                      <a:gd name="T5" fmla="*/ 2147483647 h 13"/>
                      <a:gd name="T6" fmla="*/ 2147483647 w 11"/>
                      <a:gd name="T7" fmla="*/ 2147483647 h 13"/>
                      <a:gd name="T8" fmla="*/ 0 w 11"/>
                      <a:gd name="T9" fmla="*/ 2147483647 h 13"/>
                      <a:gd name="T10" fmla="*/ 2147483647 w 11"/>
                      <a:gd name="T11" fmla="*/ 2147483647 h 13"/>
                      <a:gd name="T12" fmla="*/ 2147483647 w 11"/>
                      <a:gd name="T13" fmla="*/ 2147483647 h 13"/>
                      <a:gd name="T14" fmla="*/ 2147483647 w 11"/>
                      <a:gd name="T15" fmla="*/ 0 h 13"/>
                      <a:gd name="T16" fmla="*/ 2147483647 w 11"/>
                      <a:gd name="T17" fmla="*/ 0 h 13"/>
                      <a:gd name="T18" fmla="*/ 2147483647 w 11"/>
                      <a:gd name="T19" fmla="*/ 0 h 13"/>
                      <a:gd name="T20" fmla="*/ 2147483647 w 11"/>
                      <a:gd name="T21" fmla="*/ 2147483647 h 13"/>
                      <a:gd name="T22" fmla="*/ 2147483647 w 11"/>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3">
                        <a:moveTo>
                          <a:pt x="10" y="5"/>
                        </a:moveTo>
                        <a:lnTo>
                          <a:pt x="7" y="11"/>
                        </a:lnTo>
                        <a:lnTo>
                          <a:pt x="4" y="13"/>
                        </a:lnTo>
                        <a:lnTo>
                          <a:pt x="1" y="12"/>
                        </a:lnTo>
                        <a:lnTo>
                          <a:pt x="0" y="9"/>
                        </a:lnTo>
                        <a:lnTo>
                          <a:pt x="1" y="6"/>
                        </a:lnTo>
                        <a:lnTo>
                          <a:pt x="2" y="4"/>
                        </a:lnTo>
                        <a:lnTo>
                          <a:pt x="6" y="0"/>
                        </a:lnTo>
                        <a:lnTo>
                          <a:pt x="8" y="0"/>
                        </a:lnTo>
                        <a:lnTo>
                          <a:pt x="10" y="0"/>
                        </a:lnTo>
                        <a:lnTo>
                          <a:pt x="11" y="1"/>
                        </a:lnTo>
                        <a:lnTo>
                          <a:pt x="10" y="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4" name="Freeform 1864">
                    <a:extLst>
                      <a:ext uri="{FF2B5EF4-FFF2-40B4-BE49-F238E27FC236}">
                        <a16:creationId xmlns:a16="http://schemas.microsoft.com/office/drawing/2014/main" xmlns="" id="{2FF3879D-1BC6-4FB9-94F1-05CBD6474E4D}"/>
                      </a:ext>
                    </a:extLst>
                  </p:cNvPr>
                  <p:cNvSpPr>
                    <a:spLocks/>
                  </p:cNvSpPr>
                  <p:nvPr/>
                </p:nvSpPr>
                <p:spPr bwMode="gray">
                  <a:xfrm>
                    <a:off x="4557868" y="4387813"/>
                    <a:ext cx="3338" cy="4450"/>
                  </a:xfrm>
                  <a:custGeom>
                    <a:avLst/>
                    <a:gdLst>
                      <a:gd name="T0" fmla="*/ 2147483647 w 3"/>
                      <a:gd name="T1" fmla="*/ 0 h 4"/>
                      <a:gd name="T2" fmla="*/ 0 w 3"/>
                      <a:gd name="T3" fmla="*/ 0 h 4"/>
                      <a:gd name="T4" fmla="*/ 0 w 3"/>
                      <a:gd name="T5" fmla="*/ 2147483647 h 4"/>
                      <a:gd name="T6" fmla="*/ 2147483647 w 3"/>
                      <a:gd name="T7" fmla="*/ 2147483647 h 4"/>
                      <a:gd name="T8" fmla="*/ 2147483647 w 3"/>
                      <a:gd name="T9" fmla="*/ 2147483647 h 4"/>
                      <a:gd name="T10" fmla="*/ 2147483647 w 3"/>
                      <a:gd name="T11" fmla="*/ 2147483647 h 4"/>
                      <a:gd name="T12" fmla="*/ 2147483647 w 3"/>
                      <a:gd name="T13" fmla="*/ 2147483647 h 4"/>
                      <a:gd name="T14" fmla="*/ 2147483647 w 3"/>
                      <a:gd name="T15" fmla="*/ 0 h 4"/>
                      <a:gd name="T16" fmla="*/ 2147483647 w 3"/>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4">
                        <a:moveTo>
                          <a:pt x="1" y="0"/>
                        </a:moveTo>
                        <a:lnTo>
                          <a:pt x="0" y="0"/>
                        </a:lnTo>
                        <a:lnTo>
                          <a:pt x="0" y="2"/>
                        </a:lnTo>
                        <a:lnTo>
                          <a:pt x="1" y="3"/>
                        </a:lnTo>
                        <a:lnTo>
                          <a:pt x="1" y="4"/>
                        </a:lnTo>
                        <a:lnTo>
                          <a:pt x="2" y="3"/>
                        </a:lnTo>
                        <a:lnTo>
                          <a:pt x="2" y="2"/>
                        </a:lnTo>
                        <a:lnTo>
                          <a:pt x="3"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5" name="Freeform 1866">
                    <a:extLst>
                      <a:ext uri="{FF2B5EF4-FFF2-40B4-BE49-F238E27FC236}">
                        <a16:creationId xmlns:a16="http://schemas.microsoft.com/office/drawing/2014/main" xmlns="" id="{ADBEA995-BC66-44F7-8F82-B0EAF9B39CE4}"/>
                      </a:ext>
                    </a:extLst>
                  </p:cNvPr>
                  <p:cNvSpPr>
                    <a:spLocks/>
                  </p:cNvSpPr>
                  <p:nvPr/>
                </p:nvSpPr>
                <p:spPr bwMode="gray">
                  <a:xfrm>
                    <a:off x="4563431" y="4392263"/>
                    <a:ext cx="5563" cy="7787"/>
                  </a:xfrm>
                  <a:custGeom>
                    <a:avLst/>
                    <a:gdLst>
                      <a:gd name="T0" fmla="*/ 0 w 5"/>
                      <a:gd name="T1" fmla="*/ 2147483647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2147483647 w 5"/>
                      <a:gd name="T13" fmla="*/ 2147483647 h 7"/>
                      <a:gd name="T14" fmla="*/ 2147483647 w 5"/>
                      <a:gd name="T15" fmla="*/ 2147483647 h 7"/>
                      <a:gd name="T16" fmla="*/ 2147483647 w 5"/>
                      <a:gd name="T17" fmla="*/ 2147483647 h 7"/>
                      <a:gd name="T18" fmla="*/ 2147483647 w 5"/>
                      <a:gd name="T19" fmla="*/ 2147483647 h 7"/>
                      <a:gd name="T20" fmla="*/ 2147483647 w 5"/>
                      <a:gd name="T21" fmla="*/ 2147483647 h 7"/>
                      <a:gd name="T22" fmla="*/ 2147483647 w 5"/>
                      <a:gd name="T23" fmla="*/ 2147483647 h 7"/>
                      <a:gd name="T24" fmla="*/ 2147483647 w 5"/>
                      <a:gd name="T25" fmla="*/ 2147483647 h 7"/>
                      <a:gd name="T26" fmla="*/ 2147483647 w 5"/>
                      <a:gd name="T27" fmla="*/ 2147483647 h 7"/>
                      <a:gd name="T28" fmla="*/ 2147483647 w 5"/>
                      <a:gd name="T29" fmla="*/ 2147483647 h 7"/>
                      <a:gd name="T30" fmla="*/ 2147483647 w 5"/>
                      <a:gd name="T31" fmla="*/ 2147483647 h 7"/>
                      <a:gd name="T32" fmla="*/ 2147483647 w 5"/>
                      <a:gd name="T33" fmla="*/ 2147483647 h 7"/>
                      <a:gd name="T34" fmla="*/ 2147483647 w 5"/>
                      <a:gd name="T35" fmla="*/ 2147483647 h 7"/>
                      <a:gd name="T36" fmla="*/ 2147483647 w 5"/>
                      <a:gd name="T37" fmla="*/ 2147483647 h 7"/>
                      <a:gd name="T38" fmla="*/ 2147483647 w 5"/>
                      <a:gd name="T39" fmla="*/ 0 h 7"/>
                      <a:gd name="T40" fmla="*/ 2147483647 w 5"/>
                      <a:gd name="T41" fmla="*/ 0 h 7"/>
                      <a:gd name="T42" fmla="*/ 2147483647 w 5"/>
                      <a:gd name="T43" fmla="*/ 0 h 7"/>
                      <a:gd name="T44" fmla="*/ 2147483647 w 5"/>
                      <a:gd name="T45" fmla="*/ 0 h 7"/>
                      <a:gd name="T46" fmla="*/ 0 w 5"/>
                      <a:gd name="T47" fmla="*/ 0 h 7"/>
                      <a:gd name="T48" fmla="*/ 0 w 5"/>
                      <a:gd name="T49" fmla="*/ 0 h 7"/>
                      <a:gd name="T50" fmla="*/ 0 w 5"/>
                      <a:gd name="T51" fmla="*/ 0 h 7"/>
                      <a:gd name="T52" fmla="*/ 0 w 5"/>
                      <a:gd name="T53" fmla="*/ 2147483647 h 7"/>
                      <a:gd name="T54" fmla="*/ 0 w 5"/>
                      <a:gd name="T55" fmla="*/ 2147483647 h 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 h="7">
                        <a:moveTo>
                          <a:pt x="0" y="3"/>
                        </a:moveTo>
                        <a:lnTo>
                          <a:pt x="1" y="3"/>
                        </a:lnTo>
                        <a:lnTo>
                          <a:pt x="2" y="4"/>
                        </a:lnTo>
                        <a:lnTo>
                          <a:pt x="2" y="5"/>
                        </a:lnTo>
                        <a:lnTo>
                          <a:pt x="2" y="7"/>
                        </a:lnTo>
                        <a:lnTo>
                          <a:pt x="3" y="7"/>
                        </a:lnTo>
                        <a:lnTo>
                          <a:pt x="4" y="7"/>
                        </a:lnTo>
                        <a:lnTo>
                          <a:pt x="5" y="7"/>
                        </a:lnTo>
                        <a:lnTo>
                          <a:pt x="5" y="6"/>
                        </a:lnTo>
                        <a:lnTo>
                          <a:pt x="5" y="5"/>
                        </a:lnTo>
                        <a:lnTo>
                          <a:pt x="5" y="4"/>
                        </a:lnTo>
                        <a:lnTo>
                          <a:pt x="5" y="3"/>
                        </a:lnTo>
                        <a:lnTo>
                          <a:pt x="4" y="3"/>
                        </a:lnTo>
                        <a:lnTo>
                          <a:pt x="3" y="3"/>
                        </a:lnTo>
                        <a:lnTo>
                          <a:pt x="2" y="3"/>
                        </a:lnTo>
                        <a:lnTo>
                          <a:pt x="2" y="1"/>
                        </a:lnTo>
                        <a:lnTo>
                          <a:pt x="2" y="0"/>
                        </a:lnTo>
                        <a:lnTo>
                          <a:pt x="1" y="0"/>
                        </a:lnTo>
                        <a:lnTo>
                          <a:pt x="0" y="0"/>
                        </a:lnTo>
                        <a:lnTo>
                          <a:pt x="0" y="1"/>
                        </a:lnTo>
                        <a:lnTo>
                          <a:pt x="0"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6" name="Freeform 1868">
                    <a:extLst>
                      <a:ext uri="{FF2B5EF4-FFF2-40B4-BE49-F238E27FC236}">
                        <a16:creationId xmlns:a16="http://schemas.microsoft.com/office/drawing/2014/main" xmlns="" id="{B4EAC570-C43B-43E0-BDD6-C1BB64CB6D35}"/>
                      </a:ext>
                    </a:extLst>
                  </p:cNvPr>
                  <p:cNvSpPr>
                    <a:spLocks/>
                  </p:cNvSpPr>
                  <p:nvPr/>
                </p:nvSpPr>
                <p:spPr bwMode="gray">
                  <a:xfrm>
                    <a:off x="4580119" y="4372239"/>
                    <a:ext cx="5563" cy="3337"/>
                  </a:xfrm>
                  <a:custGeom>
                    <a:avLst/>
                    <a:gdLst>
                      <a:gd name="T0" fmla="*/ 2147483647 w 5"/>
                      <a:gd name="T1" fmla="*/ 0 h 3"/>
                      <a:gd name="T2" fmla="*/ 2147483647 w 5"/>
                      <a:gd name="T3" fmla="*/ 0 h 3"/>
                      <a:gd name="T4" fmla="*/ 2147483647 w 5"/>
                      <a:gd name="T5" fmla="*/ 0 h 3"/>
                      <a:gd name="T6" fmla="*/ 0 w 5"/>
                      <a:gd name="T7" fmla="*/ 0 h 3"/>
                      <a:gd name="T8" fmla="*/ 0 w 5"/>
                      <a:gd name="T9" fmla="*/ 0 h 3"/>
                      <a:gd name="T10" fmla="*/ 0 w 5"/>
                      <a:gd name="T11" fmla="*/ 0 h 3"/>
                      <a:gd name="T12" fmla="*/ 2147483647 w 5"/>
                      <a:gd name="T13" fmla="*/ 2147483647 h 3"/>
                      <a:gd name="T14" fmla="*/ 2147483647 w 5"/>
                      <a:gd name="T15" fmla="*/ 2147483647 h 3"/>
                      <a:gd name="T16" fmla="*/ 2147483647 w 5"/>
                      <a:gd name="T17" fmla="*/ 2147483647 h 3"/>
                      <a:gd name="T18" fmla="*/ 2147483647 w 5"/>
                      <a:gd name="T19" fmla="*/ 2147483647 h 3"/>
                      <a:gd name="T20" fmla="*/ 2147483647 w 5"/>
                      <a:gd name="T21" fmla="*/ 2147483647 h 3"/>
                      <a:gd name="T22" fmla="*/ 2147483647 w 5"/>
                      <a:gd name="T23" fmla="*/ 2147483647 h 3"/>
                      <a:gd name="T24" fmla="*/ 2147483647 w 5"/>
                      <a:gd name="T25" fmla="*/ 2147483647 h 3"/>
                      <a:gd name="T26" fmla="*/ 2147483647 w 5"/>
                      <a:gd name="T27" fmla="*/ 2147483647 h 3"/>
                      <a:gd name="T28" fmla="*/ 2147483647 w 5"/>
                      <a:gd name="T29" fmla="*/ 2147483647 h 3"/>
                      <a:gd name="T30" fmla="*/ 2147483647 w 5"/>
                      <a:gd name="T31" fmla="*/ 0 h 3"/>
                      <a:gd name="T32" fmla="*/ 2147483647 w 5"/>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 h="3">
                        <a:moveTo>
                          <a:pt x="4" y="0"/>
                        </a:moveTo>
                        <a:lnTo>
                          <a:pt x="3" y="0"/>
                        </a:lnTo>
                        <a:lnTo>
                          <a:pt x="2" y="0"/>
                        </a:lnTo>
                        <a:lnTo>
                          <a:pt x="0" y="0"/>
                        </a:lnTo>
                        <a:lnTo>
                          <a:pt x="2" y="1"/>
                        </a:lnTo>
                        <a:lnTo>
                          <a:pt x="3" y="2"/>
                        </a:lnTo>
                        <a:lnTo>
                          <a:pt x="4" y="3"/>
                        </a:lnTo>
                        <a:lnTo>
                          <a:pt x="5" y="3"/>
                        </a:lnTo>
                        <a:lnTo>
                          <a:pt x="4" y="3"/>
                        </a:lnTo>
                        <a:lnTo>
                          <a:pt x="5" y="2"/>
                        </a:lnTo>
                        <a:lnTo>
                          <a:pt x="5" y="1"/>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7" name="Freeform 1870">
                    <a:extLst>
                      <a:ext uri="{FF2B5EF4-FFF2-40B4-BE49-F238E27FC236}">
                        <a16:creationId xmlns:a16="http://schemas.microsoft.com/office/drawing/2014/main" xmlns="" id="{088ECCF2-4DB7-4634-8DFE-AC25BBE87006}"/>
                      </a:ext>
                    </a:extLst>
                  </p:cNvPr>
                  <p:cNvSpPr>
                    <a:spLocks/>
                  </p:cNvSpPr>
                  <p:nvPr/>
                </p:nvSpPr>
                <p:spPr bwMode="gray">
                  <a:xfrm>
                    <a:off x="3401959" y="2790335"/>
                    <a:ext cx="268117" cy="273663"/>
                  </a:xfrm>
                  <a:custGeom>
                    <a:avLst/>
                    <a:gdLst>
                      <a:gd name="T0" fmla="*/ 2147483647 w 241"/>
                      <a:gd name="T1" fmla="*/ 2147483647 h 246"/>
                      <a:gd name="T2" fmla="*/ 2147483647 w 241"/>
                      <a:gd name="T3" fmla="*/ 2147483647 h 246"/>
                      <a:gd name="T4" fmla="*/ 2147483647 w 241"/>
                      <a:gd name="T5" fmla="*/ 2147483647 h 246"/>
                      <a:gd name="T6" fmla="*/ 2147483647 w 241"/>
                      <a:gd name="T7" fmla="*/ 2147483647 h 246"/>
                      <a:gd name="T8" fmla="*/ 2147483647 w 241"/>
                      <a:gd name="T9" fmla="*/ 2147483647 h 246"/>
                      <a:gd name="T10" fmla="*/ 2147483647 w 241"/>
                      <a:gd name="T11" fmla="*/ 2147483647 h 246"/>
                      <a:gd name="T12" fmla="*/ 2147483647 w 241"/>
                      <a:gd name="T13" fmla="*/ 2147483647 h 246"/>
                      <a:gd name="T14" fmla="*/ 2147483647 w 241"/>
                      <a:gd name="T15" fmla="*/ 2147483647 h 246"/>
                      <a:gd name="T16" fmla="*/ 2147483647 w 241"/>
                      <a:gd name="T17" fmla="*/ 2147483647 h 246"/>
                      <a:gd name="T18" fmla="*/ 2147483647 w 241"/>
                      <a:gd name="T19" fmla="*/ 2147483647 h 246"/>
                      <a:gd name="T20" fmla="*/ 2147483647 w 241"/>
                      <a:gd name="T21" fmla="*/ 2147483647 h 246"/>
                      <a:gd name="T22" fmla="*/ 2147483647 w 241"/>
                      <a:gd name="T23" fmla="*/ 2147483647 h 246"/>
                      <a:gd name="T24" fmla="*/ 2147483647 w 241"/>
                      <a:gd name="T25" fmla="*/ 2147483647 h 246"/>
                      <a:gd name="T26" fmla="*/ 2147483647 w 241"/>
                      <a:gd name="T27" fmla="*/ 2147483647 h 246"/>
                      <a:gd name="T28" fmla="*/ 2147483647 w 241"/>
                      <a:gd name="T29" fmla="*/ 0 h 246"/>
                      <a:gd name="T30" fmla="*/ 2147483647 w 241"/>
                      <a:gd name="T31" fmla="*/ 2147483647 h 246"/>
                      <a:gd name="T32" fmla="*/ 2147483647 w 241"/>
                      <a:gd name="T33" fmla="*/ 2147483647 h 246"/>
                      <a:gd name="T34" fmla="*/ 2147483647 w 241"/>
                      <a:gd name="T35" fmla="*/ 0 h 246"/>
                      <a:gd name="T36" fmla="*/ 2147483647 w 241"/>
                      <a:gd name="T37" fmla="*/ 2147483647 h 246"/>
                      <a:gd name="T38" fmla="*/ 2147483647 w 241"/>
                      <a:gd name="T39" fmla="*/ 2147483647 h 246"/>
                      <a:gd name="T40" fmla="*/ 2147483647 w 241"/>
                      <a:gd name="T41" fmla="*/ 2147483647 h 246"/>
                      <a:gd name="T42" fmla="*/ 2147483647 w 241"/>
                      <a:gd name="T43" fmla="*/ 2147483647 h 246"/>
                      <a:gd name="T44" fmla="*/ 2147483647 w 241"/>
                      <a:gd name="T45" fmla="*/ 2147483647 h 246"/>
                      <a:gd name="T46" fmla="*/ 2147483647 w 241"/>
                      <a:gd name="T47" fmla="*/ 2147483647 h 246"/>
                      <a:gd name="T48" fmla="*/ 2147483647 w 241"/>
                      <a:gd name="T49" fmla="*/ 2147483647 h 246"/>
                      <a:gd name="T50" fmla="*/ 2147483647 w 241"/>
                      <a:gd name="T51" fmla="*/ 2147483647 h 246"/>
                      <a:gd name="T52" fmla="*/ 2147483647 w 241"/>
                      <a:gd name="T53" fmla="*/ 2147483647 h 246"/>
                      <a:gd name="T54" fmla="*/ 2147483647 w 241"/>
                      <a:gd name="T55" fmla="*/ 2147483647 h 246"/>
                      <a:gd name="T56" fmla="*/ 2147483647 w 241"/>
                      <a:gd name="T57" fmla="*/ 2147483647 h 246"/>
                      <a:gd name="T58" fmla="*/ 2147483647 w 241"/>
                      <a:gd name="T59" fmla="*/ 2147483647 h 246"/>
                      <a:gd name="T60" fmla="*/ 2147483647 w 241"/>
                      <a:gd name="T61" fmla="*/ 2147483647 h 246"/>
                      <a:gd name="T62" fmla="*/ 2147483647 w 241"/>
                      <a:gd name="T63" fmla="*/ 2147483647 h 246"/>
                      <a:gd name="T64" fmla="*/ 2147483647 w 241"/>
                      <a:gd name="T65" fmla="*/ 2147483647 h 246"/>
                      <a:gd name="T66" fmla="*/ 2147483647 w 241"/>
                      <a:gd name="T67" fmla="*/ 2147483647 h 246"/>
                      <a:gd name="T68" fmla="*/ 2147483647 w 241"/>
                      <a:gd name="T69" fmla="*/ 2147483647 h 246"/>
                      <a:gd name="T70" fmla="*/ 2147483647 w 241"/>
                      <a:gd name="T71" fmla="*/ 2147483647 h 246"/>
                      <a:gd name="T72" fmla="*/ 2147483647 w 241"/>
                      <a:gd name="T73" fmla="*/ 2147483647 h 246"/>
                      <a:gd name="T74" fmla="*/ 2147483647 w 241"/>
                      <a:gd name="T75" fmla="*/ 2147483647 h 246"/>
                      <a:gd name="T76" fmla="*/ 2147483647 w 241"/>
                      <a:gd name="T77" fmla="*/ 2147483647 h 246"/>
                      <a:gd name="T78" fmla="*/ 2147483647 w 241"/>
                      <a:gd name="T79" fmla="*/ 2147483647 h 246"/>
                      <a:gd name="T80" fmla="*/ 0 w 241"/>
                      <a:gd name="T81" fmla="*/ 2147483647 h 246"/>
                      <a:gd name="T82" fmla="*/ 2147483647 w 241"/>
                      <a:gd name="T83" fmla="*/ 2147483647 h 246"/>
                      <a:gd name="T84" fmla="*/ 2147483647 w 241"/>
                      <a:gd name="T85" fmla="*/ 2147483647 h 246"/>
                      <a:gd name="T86" fmla="*/ 2147483647 w 241"/>
                      <a:gd name="T87" fmla="*/ 2147483647 h 246"/>
                      <a:gd name="T88" fmla="*/ 2147483647 w 241"/>
                      <a:gd name="T89" fmla="*/ 2147483647 h 246"/>
                      <a:gd name="T90" fmla="*/ 2147483647 w 241"/>
                      <a:gd name="T91" fmla="*/ 2147483647 h 246"/>
                      <a:gd name="T92" fmla="*/ 2147483647 w 241"/>
                      <a:gd name="T93" fmla="*/ 2147483647 h 246"/>
                      <a:gd name="T94" fmla="*/ 2147483647 w 241"/>
                      <a:gd name="T95" fmla="*/ 2147483647 h 246"/>
                      <a:gd name="T96" fmla="*/ 2147483647 w 241"/>
                      <a:gd name="T97" fmla="*/ 2147483647 h 246"/>
                      <a:gd name="T98" fmla="*/ 2147483647 w 241"/>
                      <a:gd name="T99" fmla="*/ 2147483647 h 246"/>
                      <a:gd name="T100" fmla="*/ 2147483647 w 241"/>
                      <a:gd name="T101" fmla="*/ 2147483647 h 246"/>
                      <a:gd name="T102" fmla="*/ 2147483647 w 241"/>
                      <a:gd name="T103" fmla="*/ 2147483647 h 246"/>
                      <a:gd name="T104" fmla="*/ 2147483647 w 241"/>
                      <a:gd name="T105" fmla="*/ 2147483647 h 246"/>
                      <a:gd name="T106" fmla="*/ 2147483647 w 241"/>
                      <a:gd name="T107" fmla="*/ 2147483647 h 246"/>
                      <a:gd name="T108" fmla="*/ 2147483647 w 241"/>
                      <a:gd name="T109" fmla="*/ 2147483647 h 246"/>
                      <a:gd name="T110" fmla="*/ 2147483647 w 241"/>
                      <a:gd name="T111" fmla="*/ 2147483647 h 246"/>
                      <a:gd name="T112" fmla="*/ 2147483647 w 241"/>
                      <a:gd name="T113" fmla="*/ 2147483647 h 246"/>
                      <a:gd name="T114" fmla="*/ 2147483647 w 241"/>
                      <a:gd name="T115" fmla="*/ 2147483647 h 246"/>
                      <a:gd name="T116" fmla="*/ 2147483647 w 241"/>
                      <a:gd name="T117" fmla="*/ 2147483647 h 246"/>
                      <a:gd name="T118" fmla="*/ 2147483647 w 241"/>
                      <a:gd name="T119" fmla="*/ 2147483647 h 246"/>
                      <a:gd name="T120" fmla="*/ 2147483647 w 241"/>
                      <a:gd name="T121" fmla="*/ 2147483647 h 246"/>
                      <a:gd name="T122" fmla="*/ 2147483647 w 241"/>
                      <a:gd name="T123" fmla="*/ 2147483647 h 24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1" h="246">
                        <a:moveTo>
                          <a:pt x="237" y="109"/>
                        </a:moveTo>
                        <a:lnTo>
                          <a:pt x="235" y="108"/>
                        </a:lnTo>
                        <a:lnTo>
                          <a:pt x="234" y="107"/>
                        </a:lnTo>
                        <a:lnTo>
                          <a:pt x="232" y="107"/>
                        </a:lnTo>
                        <a:lnTo>
                          <a:pt x="230" y="107"/>
                        </a:lnTo>
                        <a:lnTo>
                          <a:pt x="230" y="102"/>
                        </a:lnTo>
                        <a:lnTo>
                          <a:pt x="229" y="101"/>
                        </a:lnTo>
                        <a:lnTo>
                          <a:pt x="227" y="100"/>
                        </a:lnTo>
                        <a:lnTo>
                          <a:pt x="226" y="100"/>
                        </a:lnTo>
                        <a:lnTo>
                          <a:pt x="225" y="102"/>
                        </a:lnTo>
                        <a:lnTo>
                          <a:pt x="225" y="103"/>
                        </a:lnTo>
                        <a:lnTo>
                          <a:pt x="224" y="103"/>
                        </a:lnTo>
                        <a:lnTo>
                          <a:pt x="223" y="105"/>
                        </a:lnTo>
                        <a:lnTo>
                          <a:pt x="221" y="105"/>
                        </a:lnTo>
                        <a:lnTo>
                          <a:pt x="220" y="104"/>
                        </a:lnTo>
                        <a:lnTo>
                          <a:pt x="218" y="103"/>
                        </a:lnTo>
                        <a:lnTo>
                          <a:pt x="217" y="103"/>
                        </a:lnTo>
                        <a:lnTo>
                          <a:pt x="216" y="103"/>
                        </a:lnTo>
                        <a:lnTo>
                          <a:pt x="215" y="102"/>
                        </a:lnTo>
                        <a:lnTo>
                          <a:pt x="215" y="100"/>
                        </a:lnTo>
                        <a:lnTo>
                          <a:pt x="215" y="99"/>
                        </a:lnTo>
                        <a:lnTo>
                          <a:pt x="216" y="98"/>
                        </a:lnTo>
                        <a:lnTo>
                          <a:pt x="217" y="96"/>
                        </a:lnTo>
                        <a:lnTo>
                          <a:pt x="218" y="93"/>
                        </a:lnTo>
                        <a:lnTo>
                          <a:pt x="218" y="92"/>
                        </a:lnTo>
                        <a:lnTo>
                          <a:pt x="218" y="90"/>
                        </a:lnTo>
                        <a:lnTo>
                          <a:pt x="217" y="90"/>
                        </a:lnTo>
                        <a:lnTo>
                          <a:pt x="216" y="90"/>
                        </a:lnTo>
                        <a:lnTo>
                          <a:pt x="215" y="90"/>
                        </a:lnTo>
                        <a:lnTo>
                          <a:pt x="213" y="89"/>
                        </a:lnTo>
                        <a:lnTo>
                          <a:pt x="212" y="88"/>
                        </a:lnTo>
                        <a:lnTo>
                          <a:pt x="211" y="84"/>
                        </a:lnTo>
                        <a:lnTo>
                          <a:pt x="211" y="82"/>
                        </a:lnTo>
                        <a:lnTo>
                          <a:pt x="211" y="81"/>
                        </a:lnTo>
                        <a:lnTo>
                          <a:pt x="211" y="79"/>
                        </a:lnTo>
                        <a:lnTo>
                          <a:pt x="211" y="77"/>
                        </a:lnTo>
                        <a:lnTo>
                          <a:pt x="211" y="76"/>
                        </a:lnTo>
                        <a:lnTo>
                          <a:pt x="211" y="74"/>
                        </a:lnTo>
                        <a:lnTo>
                          <a:pt x="211" y="69"/>
                        </a:lnTo>
                        <a:lnTo>
                          <a:pt x="210" y="68"/>
                        </a:lnTo>
                        <a:lnTo>
                          <a:pt x="208" y="67"/>
                        </a:lnTo>
                        <a:lnTo>
                          <a:pt x="208" y="68"/>
                        </a:lnTo>
                        <a:lnTo>
                          <a:pt x="207" y="69"/>
                        </a:lnTo>
                        <a:lnTo>
                          <a:pt x="206" y="70"/>
                        </a:lnTo>
                        <a:lnTo>
                          <a:pt x="204" y="71"/>
                        </a:lnTo>
                        <a:lnTo>
                          <a:pt x="203" y="71"/>
                        </a:lnTo>
                        <a:lnTo>
                          <a:pt x="202" y="71"/>
                        </a:lnTo>
                        <a:lnTo>
                          <a:pt x="201" y="72"/>
                        </a:lnTo>
                        <a:lnTo>
                          <a:pt x="201" y="74"/>
                        </a:lnTo>
                        <a:lnTo>
                          <a:pt x="200" y="76"/>
                        </a:lnTo>
                        <a:lnTo>
                          <a:pt x="200" y="77"/>
                        </a:lnTo>
                        <a:lnTo>
                          <a:pt x="201" y="79"/>
                        </a:lnTo>
                        <a:lnTo>
                          <a:pt x="201" y="81"/>
                        </a:lnTo>
                        <a:lnTo>
                          <a:pt x="199" y="81"/>
                        </a:lnTo>
                        <a:lnTo>
                          <a:pt x="197" y="81"/>
                        </a:lnTo>
                        <a:lnTo>
                          <a:pt x="195" y="81"/>
                        </a:lnTo>
                        <a:lnTo>
                          <a:pt x="195" y="83"/>
                        </a:lnTo>
                        <a:lnTo>
                          <a:pt x="194" y="85"/>
                        </a:lnTo>
                        <a:lnTo>
                          <a:pt x="192" y="85"/>
                        </a:lnTo>
                        <a:lnTo>
                          <a:pt x="192" y="84"/>
                        </a:lnTo>
                        <a:lnTo>
                          <a:pt x="192" y="83"/>
                        </a:lnTo>
                        <a:lnTo>
                          <a:pt x="192" y="81"/>
                        </a:lnTo>
                        <a:lnTo>
                          <a:pt x="190" y="81"/>
                        </a:lnTo>
                        <a:lnTo>
                          <a:pt x="189" y="82"/>
                        </a:lnTo>
                        <a:lnTo>
                          <a:pt x="187" y="84"/>
                        </a:lnTo>
                        <a:lnTo>
                          <a:pt x="185" y="84"/>
                        </a:lnTo>
                        <a:lnTo>
                          <a:pt x="185" y="82"/>
                        </a:lnTo>
                        <a:lnTo>
                          <a:pt x="184" y="81"/>
                        </a:lnTo>
                        <a:lnTo>
                          <a:pt x="182" y="81"/>
                        </a:lnTo>
                        <a:lnTo>
                          <a:pt x="180" y="78"/>
                        </a:lnTo>
                        <a:lnTo>
                          <a:pt x="180" y="76"/>
                        </a:lnTo>
                        <a:lnTo>
                          <a:pt x="180" y="75"/>
                        </a:lnTo>
                        <a:lnTo>
                          <a:pt x="178" y="74"/>
                        </a:lnTo>
                        <a:lnTo>
                          <a:pt x="178" y="72"/>
                        </a:lnTo>
                        <a:lnTo>
                          <a:pt x="178" y="71"/>
                        </a:lnTo>
                        <a:lnTo>
                          <a:pt x="177" y="71"/>
                        </a:lnTo>
                        <a:lnTo>
                          <a:pt x="175" y="71"/>
                        </a:lnTo>
                        <a:lnTo>
                          <a:pt x="175" y="70"/>
                        </a:lnTo>
                        <a:lnTo>
                          <a:pt x="175" y="69"/>
                        </a:lnTo>
                        <a:lnTo>
                          <a:pt x="175" y="64"/>
                        </a:lnTo>
                        <a:lnTo>
                          <a:pt x="175" y="63"/>
                        </a:lnTo>
                        <a:lnTo>
                          <a:pt x="175" y="62"/>
                        </a:lnTo>
                        <a:lnTo>
                          <a:pt x="175" y="61"/>
                        </a:lnTo>
                        <a:lnTo>
                          <a:pt x="173" y="61"/>
                        </a:lnTo>
                        <a:lnTo>
                          <a:pt x="172" y="60"/>
                        </a:lnTo>
                        <a:lnTo>
                          <a:pt x="171" y="58"/>
                        </a:lnTo>
                        <a:lnTo>
                          <a:pt x="170" y="57"/>
                        </a:lnTo>
                        <a:lnTo>
                          <a:pt x="169" y="55"/>
                        </a:lnTo>
                        <a:lnTo>
                          <a:pt x="169" y="54"/>
                        </a:lnTo>
                        <a:lnTo>
                          <a:pt x="169" y="53"/>
                        </a:lnTo>
                        <a:lnTo>
                          <a:pt x="169" y="51"/>
                        </a:lnTo>
                        <a:lnTo>
                          <a:pt x="169" y="50"/>
                        </a:lnTo>
                        <a:lnTo>
                          <a:pt x="168" y="49"/>
                        </a:lnTo>
                        <a:lnTo>
                          <a:pt x="166" y="48"/>
                        </a:lnTo>
                        <a:lnTo>
                          <a:pt x="169" y="45"/>
                        </a:lnTo>
                        <a:lnTo>
                          <a:pt x="171" y="44"/>
                        </a:lnTo>
                        <a:lnTo>
                          <a:pt x="174" y="44"/>
                        </a:lnTo>
                        <a:lnTo>
                          <a:pt x="175" y="45"/>
                        </a:lnTo>
                        <a:lnTo>
                          <a:pt x="176" y="45"/>
                        </a:lnTo>
                        <a:lnTo>
                          <a:pt x="177" y="45"/>
                        </a:lnTo>
                        <a:lnTo>
                          <a:pt x="178" y="45"/>
                        </a:lnTo>
                        <a:lnTo>
                          <a:pt x="180" y="45"/>
                        </a:lnTo>
                        <a:lnTo>
                          <a:pt x="182" y="45"/>
                        </a:lnTo>
                        <a:lnTo>
                          <a:pt x="183" y="45"/>
                        </a:lnTo>
                        <a:lnTo>
                          <a:pt x="185" y="45"/>
                        </a:lnTo>
                        <a:lnTo>
                          <a:pt x="186" y="45"/>
                        </a:lnTo>
                        <a:lnTo>
                          <a:pt x="187" y="45"/>
                        </a:lnTo>
                        <a:lnTo>
                          <a:pt x="188" y="45"/>
                        </a:lnTo>
                        <a:lnTo>
                          <a:pt x="189" y="45"/>
                        </a:lnTo>
                        <a:lnTo>
                          <a:pt x="188" y="43"/>
                        </a:lnTo>
                        <a:lnTo>
                          <a:pt x="186" y="41"/>
                        </a:lnTo>
                        <a:lnTo>
                          <a:pt x="184" y="40"/>
                        </a:lnTo>
                        <a:lnTo>
                          <a:pt x="182" y="38"/>
                        </a:lnTo>
                        <a:lnTo>
                          <a:pt x="182" y="37"/>
                        </a:lnTo>
                        <a:lnTo>
                          <a:pt x="182" y="36"/>
                        </a:lnTo>
                        <a:lnTo>
                          <a:pt x="182" y="34"/>
                        </a:lnTo>
                        <a:lnTo>
                          <a:pt x="184" y="33"/>
                        </a:lnTo>
                        <a:lnTo>
                          <a:pt x="189" y="32"/>
                        </a:lnTo>
                        <a:lnTo>
                          <a:pt x="189" y="34"/>
                        </a:lnTo>
                        <a:lnTo>
                          <a:pt x="189" y="36"/>
                        </a:lnTo>
                        <a:lnTo>
                          <a:pt x="189" y="37"/>
                        </a:lnTo>
                        <a:lnTo>
                          <a:pt x="189" y="38"/>
                        </a:lnTo>
                        <a:lnTo>
                          <a:pt x="191" y="37"/>
                        </a:lnTo>
                        <a:lnTo>
                          <a:pt x="194" y="37"/>
                        </a:lnTo>
                        <a:lnTo>
                          <a:pt x="196" y="36"/>
                        </a:lnTo>
                        <a:lnTo>
                          <a:pt x="199" y="36"/>
                        </a:lnTo>
                        <a:lnTo>
                          <a:pt x="199" y="35"/>
                        </a:lnTo>
                        <a:lnTo>
                          <a:pt x="201" y="34"/>
                        </a:lnTo>
                        <a:lnTo>
                          <a:pt x="201" y="32"/>
                        </a:lnTo>
                        <a:lnTo>
                          <a:pt x="203" y="32"/>
                        </a:lnTo>
                        <a:lnTo>
                          <a:pt x="204" y="32"/>
                        </a:lnTo>
                        <a:lnTo>
                          <a:pt x="204" y="31"/>
                        </a:lnTo>
                        <a:lnTo>
                          <a:pt x="204" y="29"/>
                        </a:lnTo>
                        <a:lnTo>
                          <a:pt x="206" y="29"/>
                        </a:lnTo>
                        <a:lnTo>
                          <a:pt x="207" y="29"/>
                        </a:lnTo>
                        <a:lnTo>
                          <a:pt x="208" y="29"/>
                        </a:lnTo>
                        <a:lnTo>
                          <a:pt x="213" y="24"/>
                        </a:lnTo>
                        <a:lnTo>
                          <a:pt x="215" y="23"/>
                        </a:lnTo>
                        <a:lnTo>
                          <a:pt x="218" y="22"/>
                        </a:lnTo>
                        <a:lnTo>
                          <a:pt x="220" y="22"/>
                        </a:lnTo>
                        <a:lnTo>
                          <a:pt x="221" y="21"/>
                        </a:lnTo>
                        <a:lnTo>
                          <a:pt x="221" y="19"/>
                        </a:lnTo>
                        <a:lnTo>
                          <a:pt x="225" y="19"/>
                        </a:lnTo>
                        <a:lnTo>
                          <a:pt x="227" y="19"/>
                        </a:lnTo>
                        <a:lnTo>
                          <a:pt x="227" y="18"/>
                        </a:lnTo>
                        <a:lnTo>
                          <a:pt x="227" y="17"/>
                        </a:lnTo>
                        <a:lnTo>
                          <a:pt x="227" y="16"/>
                        </a:lnTo>
                        <a:lnTo>
                          <a:pt x="227" y="15"/>
                        </a:lnTo>
                        <a:lnTo>
                          <a:pt x="225" y="12"/>
                        </a:lnTo>
                        <a:lnTo>
                          <a:pt x="223" y="8"/>
                        </a:lnTo>
                        <a:lnTo>
                          <a:pt x="221" y="4"/>
                        </a:lnTo>
                        <a:lnTo>
                          <a:pt x="218" y="0"/>
                        </a:lnTo>
                        <a:lnTo>
                          <a:pt x="217" y="1"/>
                        </a:lnTo>
                        <a:lnTo>
                          <a:pt x="216" y="2"/>
                        </a:lnTo>
                        <a:lnTo>
                          <a:pt x="215" y="3"/>
                        </a:lnTo>
                        <a:lnTo>
                          <a:pt x="212" y="5"/>
                        </a:lnTo>
                        <a:lnTo>
                          <a:pt x="210" y="6"/>
                        </a:lnTo>
                        <a:lnTo>
                          <a:pt x="208" y="6"/>
                        </a:lnTo>
                        <a:lnTo>
                          <a:pt x="204" y="13"/>
                        </a:lnTo>
                        <a:lnTo>
                          <a:pt x="203" y="13"/>
                        </a:lnTo>
                        <a:lnTo>
                          <a:pt x="202" y="11"/>
                        </a:lnTo>
                        <a:lnTo>
                          <a:pt x="201" y="10"/>
                        </a:lnTo>
                        <a:lnTo>
                          <a:pt x="201" y="9"/>
                        </a:lnTo>
                        <a:lnTo>
                          <a:pt x="201" y="8"/>
                        </a:lnTo>
                        <a:lnTo>
                          <a:pt x="201" y="7"/>
                        </a:lnTo>
                        <a:lnTo>
                          <a:pt x="201" y="6"/>
                        </a:lnTo>
                        <a:lnTo>
                          <a:pt x="201" y="5"/>
                        </a:lnTo>
                        <a:lnTo>
                          <a:pt x="201" y="4"/>
                        </a:lnTo>
                        <a:lnTo>
                          <a:pt x="201" y="3"/>
                        </a:lnTo>
                        <a:lnTo>
                          <a:pt x="199" y="3"/>
                        </a:lnTo>
                        <a:lnTo>
                          <a:pt x="197" y="3"/>
                        </a:lnTo>
                        <a:lnTo>
                          <a:pt x="195" y="3"/>
                        </a:lnTo>
                        <a:lnTo>
                          <a:pt x="195" y="4"/>
                        </a:lnTo>
                        <a:lnTo>
                          <a:pt x="194" y="4"/>
                        </a:lnTo>
                        <a:lnTo>
                          <a:pt x="192" y="3"/>
                        </a:lnTo>
                        <a:lnTo>
                          <a:pt x="192" y="2"/>
                        </a:lnTo>
                        <a:lnTo>
                          <a:pt x="192" y="1"/>
                        </a:lnTo>
                        <a:lnTo>
                          <a:pt x="192" y="0"/>
                        </a:lnTo>
                        <a:lnTo>
                          <a:pt x="182" y="0"/>
                        </a:lnTo>
                        <a:lnTo>
                          <a:pt x="178" y="0"/>
                        </a:lnTo>
                        <a:lnTo>
                          <a:pt x="175" y="0"/>
                        </a:lnTo>
                        <a:lnTo>
                          <a:pt x="174" y="0"/>
                        </a:lnTo>
                        <a:lnTo>
                          <a:pt x="173" y="1"/>
                        </a:lnTo>
                        <a:lnTo>
                          <a:pt x="173" y="2"/>
                        </a:lnTo>
                        <a:lnTo>
                          <a:pt x="173" y="3"/>
                        </a:lnTo>
                        <a:lnTo>
                          <a:pt x="172" y="5"/>
                        </a:lnTo>
                        <a:lnTo>
                          <a:pt x="171" y="6"/>
                        </a:lnTo>
                        <a:lnTo>
                          <a:pt x="166" y="6"/>
                        </a:lnTo>
                        <a:lnTo>
                          <a:pt x="164" y="9"/>
                        </a:lnTo>
                        <a:lnTo>
                          <a:pt x="163" y="13"/>
                        </a:lnTo>
                        <a:lnTo>
                          <a:pt x="164" y="16"/>
                        </a:lnTo>
                        <a:lnTo>
                          <a:pt x="166" y="19"/>
                        </a:lnTo>
                        <a:lnTo>
                          <a:pt x="162" y="18"/>
                        </a:lnTo>
                        <a:lnTo>
                          <a:pt x="159" y="17"/>
                        </a:lnTo>
                        <a:lnTo>
                          <a:pt x="158" y="17"/>
                        </a:lnTo>
                        <a:lnTo>
                          <a:pt x="157" y="18"/>
                        </a:lnTo>
                        <a:lnTo>
                          <a:pt x="157" y="20"/>
                        </a:lnTo>
                        <a:lnTo>
                          <a:pt x="156" y="22"/>
                        </a:lnTo>
                        <a:lnTo>
                          <a:pt x="154" y="22"/>
                        </a:lnTo>
                        <a:lnTo>
                          <a:pt x="152" y="20"/>
                        </a:lnTo>
                        <a:lnTo>
                          <a:pt x="151" y="19"/>
                        </a:lnTo>
                        <a:lnTo>
                          <a:pt x="150" y="19"/>
                        </a:lnTo>
                        <a:lnTo>
                          <a:pt x="148" y="20"/>
                        </a:lnTo>
                        <a:lnTo>
                          <a:pt x="146" y="22"/>
                        </a:lnTo>
                        <a:lnTo>
                          <a:pt x="143" y="22"/>
                        </a:lnTo>
                        <a:lnTo>
                          <a:pt x="145" y="27"/>
                        </a:lnTo>
                        <a:lnTo>
                          <a:pt x="147" y="30"/>
                        </a:lnTo>
                        <a:lnTo>
                          <a:pt x="148" y="33"/>
                        </a:lnTo>
                        <a:lnTo>
                          <a:pt x="150" y="36"/>
                        </a:lnTo>
                        <a:lnTo>
                          <a:pt x="159" y="36"/>
                        </a:lnTo>
                        <a:lnTo>
                          <a:pt x="159" y="37"/>
                        </a:lnTo>
                        <a:lnTo>
                          <a:pt x="159" y="38"/>
                        </a:lnTo>
                        <a:lnTo>
                          <a:pt x="160" y="39"/>
                        </a:lnTo>
                        <a:lnTo>
                          <a:pt x="161" y="39"/>
                        </a:lnTo>
                        <a:lnTo>
                          <a:pt x="162" y="38"/>
                        </a:lnTo>
                        <a:lnTo>
                          <a:pt x="163" y="38"/>
                        </a:lnTo>
                        <a:lnTo>
                          <a:pt x="163" y="41"/>
                        </a:lnTo>
                        <a:lnTo>
                          <a:pt x="162" y="42"/>
                        </a:lnTo>
                        <a:lnTo>
                          <a:pt x="161" y="43"/>
                        </a:lnTo>
                        <a:lnTo>
                          <a:pt x="160" y="44"/>
                        </a:lnTo>
                        <a:lnTo>
                          <a:pt x="159" y="45"/>
                        </a:lnTo>
                        <a:lnTo>
                          <a:pt x="155" y="46"/>
                        </a:lnTo>
                        <a:lnTo>
                          <a:pt x="151" y="46"/>
                        </a:lnTo>
                        <a:lnTo>
                          <a:pt x="149" y="47"/>
                        </a:lnTo>
                        <a:lnTo>
                          <a:pt x="147" y="48"/>
                        </a:lnTo>
                        <a:lnTo>
                          <a:pt x="143" y="51"/>
                        </a:lnTo>
                        <a:lnTo>
                          <a:pt x="142" y="54"/>
                        </a:lnTo>
                        <a:lnTo>
                          <a:pt x="141" y="57"/>
                        </a:lnTo>
                        <a:lnTo>
                          <a:pt x="140" y="58"/>
                        </a:lnTo>
                        <a:lnTo>
                          <a:pt x="140" y="57"/>
                        </a:lnTo>
                        <a:lnTo>
                          <a:pt x="139" y="55"/>
                        </a:lnTo>
                        <a:lnTo>
                          <a:pt x="137" y="55"/>
                        </a:lnTo>
                        <a:lnTo>
                          <a:pt x="136" y="55"/>
                        </a:lnTo>
                        <a:lnTo>
                          <a:pt x="135" y="55"/>
                        </a:lnTo>
                        <a:lnTo>
                          <a:pt x="134" y="55"/>
                        </a:lnTo>
                        <a:lnTo>
                          <a:pt x="133" y="55"/>
                        </a:lnTo>
                        <a:lnTo>
                          <a:pt x="131" y="55"/>
                        </a:lnTo>
                        <a:lnTo>
                          <a:pt x="130" y="55"/>
                        </a:lnTo>
                        <a:lnTo>
                          <a:pt x="129" y="54"/>
                        </a:lnTo>
                        <a:lnTo>
                          <a:pt x="128" y="53"/>
                        </a:lnTo>
                        <a:lnTo>
                          <a:pt x="127" y="52"/>
                        </a:lnTo>
                        <a:lnTo>
                          <a:pt x="127" y="51"/>
                        </a:lnTo>
                        <a:lnTo>
                          <a:pt x="117" y="51"/>
                        </a:lnTo>
                        <a:lnTo>
                          <a:pt x="117" y="48"/>
                        </a:lnTo>
                        <a:lnTo>
                          <a:pt x="113" y="45"/>
                        </a:lnTo>
                        <a:lnTo>
                          <a:pt x="108" y="40"/>
                        </a:lnTo>
                        <a:lnTo>
                          <a:pt x="103" y="37"/>
                        </a:lnTo>
                        <a:lnTo>
                          <a:pt x="102" y="36"/>
                        </a:lnTo>
                        <a:lnTo>
                          <a:pt x="81" y="36"/>
                        </a:lnTo>
                        <a:lnTo>
                          <a:pt x="80" y="36"/>
                        </a:lnTo>
                        <a:lnTo>
                          <a:pt x="79" y="37"/>
                        </a:lnTo>
                        <a:lnTo>
                          <a:pt x="77" y="39"/>
                        </a:lnTo>
                        <a:lnTo>
                          <a:pt x="76" y="41"/>
                        </a:lnTo>
                        <a:lnTo>
                          <a:pt x="76" y="43"/>
                        </a:lnTo>
                        <a:lnTo>
                          <a:pt x="77" y="44"/>
                        </a:lnTo>
                        <a:lnTo>
                          <a:pt x="78" y="45"/>
                        </a:lnTo>
                        <a:lnTo>
                          <a:pt x="79" y="45"/>
                        </a:lnTo>
                        <a:lnTo>
                          <a:pt x="81" y="45"/>
                        </a:lnTo>
                        <a:lnTo>
                          <a:pt x="81" y="46"/>
                        </a:lnTo>
                        <a:lnTo>
                          <a:pt x="81" y="48"/>
                        </a:lnTo>
                        <a:lnTo>
                          <a:pt x="81" y="53"/>
                        </a:lnTo>
                        <a:lnTo>
                          <a:pt x="79" y="57"/>
                        </a:lnTo>
                        <a:lnTo>
                          <a:pt x="78" y="61"/>
                        </a:lnTo>
                        <a:lnTo>
                          <a:pt x="76" y="67"/>
                        </a:lnTo>
                        <a:lnTo>
                          <a:pt x="77" y="67"/>
                        </a:lnTo>
                        <a:lnTo>
                          <a:pt x="78" y="67"/>
                        </a:lnTo>
                        <a:lnTo>
                          <a:pt x="79" y="67"/>
                        </a:lnTo>
                        <a:lnTo>
                          <a:pt x="80" y="67"/>
                        </a:lnTo>
                        <a:lnTo>
                          <a:pt x="85" y="67"/>
                        </a:lnTo>
                        <a:lnTo>
                          <a:pt x="85" y="68"/>
                        </a:lnTo>
                        <a:lnTo>
                          <a:pt x="85" y="69"/>
                        </a:lnTo>
                        <a:lnTo>
                          <a:pt x="86" y="70"/>
                        </a:lnTo>
                        <a:lnTo>
                          <a:pt x="88" y="71"/>
                        </a:lnTo>
                        <a:lnTo>
                          <a:pt x="86" y="72"/>
                        </a:lnTo>
                        <a:lnTo>
                          <a:pt x="85" y="74"/>
                        </a:lnTo>
                        <a:lnTo>
                          <a:pt x="76" y="74"/>
                        </a:lnTo>
                        <a:lnTo>
                          <a:pt x="73" y="78"/>
                        </a:lnTo>
                        <a:lnTo>
                          <a:pt x="72" y="81"/>
                        </a:lnTo>
                        <a:lnTo>
                          <a:pt x="71" y="82"/>
                        </a:lnTo>
                        <a:lnTo>
                          <a:pt x="70" y="82"/>
                        </a:lnTo>
                        <a:lnTo>
                          <a:pt x="69" y="82"/>
                        </a:lnTo>
                        <a:lnTo>
                          <a:pt x="65" y="81"/>
                        </a:lnTo>
                        <a:lnTo>
                          <a:pt x="62" y="84"/>
                        </a:lnTo>
                        <a:lnTo>
                          <a:pt x="60" y="84"/>
                        </a:lnTo>
                        <a:lnTo>
                          <a:pt x="59" y="84"/>
                        </a:lnTo>
                        <a:lnTo>
                          <a:pt x="57" y="84"/>
                        </a:lnTo>
                        <a:lnTo>
                          <a:pt x="55" y="84"/>
                        </a:lnTo>
                        <a:lnTo>
                          <a:pt x="57" y="85"/>
                        </a:lnTo>
                        <a:lnTo>
                          <a:pt x="58" y="85"/>
                        </a:lnTo>
                        <a:lnTo>
                          <a:pt x="59" y="86"/>
                        </a:lnTo>
                        <a:lnTo>
                          <a:pt x="59" y="87"/>
                        </a:lnTo>
                        <a:lnTo>
                          <a:pt x="58" y="87"/>
                        </a:lnTo>
                        <a:lnTo>
                          <a:pt x="57" y="87"/>
                        </a:lnTo>
                        <a:lnTo>
                          <a:pt x="56" y="87"/>
                        </a:lnTo>
                        <a:lnTo>
                          <a:pt x="55" y="87"/>
                        </a:lnTo>
                        <a:lnTo>
                          <a:pt x="55" y="88"/>
                        </a:lnTo>
                        <a:lnTo>
                          <a:pt x="55" y="89"/>
                        </a:lnTo>
                        <a:lnTo>
                          <a:pt x="55" y="90"/>
                        </a:lnTo>
                        <a:lnTo>
                          <a:pt x="53" y="90"/>
                        </a:lnTo>
                        <a:lnTo>
                          <a:pt x="55" y="93"/>
                        </a:lnTo>
                        <a:lnTo>
                          <a:pt x="57" y="96"/>
                        </a:lnTo>
                        <a:lnTo>
                          <a:pt x="58" y="99"/>
                        </a:lnTo>
                        <a:lnTo>
                          <a:pt x="59" y="100"/>
                        </a:lnTo>
                        <a:lnTo>
                          <a:pt x="61" y="100"/>
                        </a:lnTo>
                        <a:lnTo>
                          <a:pt x="62" y="100"/>
                        </a:lnTo>
                        <a:lnTo>
                          <a:pt x="63" y="100"/>
                        </a:lnTo>
                        <a:lnTo>
                          <a:pt x="65" y="100"/>
                        </a:lnTo>
                        <a:lnTo>
                          <a:pt x="64" y="103"/>
                        </a:lnTo>
                        <a:lnTo>
                          <a:pt x="64" y="105"/>
                        </a:lnTo>
                        <a:lnTo>
                          <a:pt x="64" y="107"/>
                        </a:lnTo>
                        <a:lnTo>
                          <a:pt x="66" y="107"/>
                        </a:lnTo>
                        <a:lnTo>
                          <a:pt x="72" y="107"/>
                        </a:lnTo>
                        <a:lnTo>
                          <a:pt x="73" y="111"/>
                        </a:lnTo>
                        <a:lnTo>
                          <a:pt x="74" y="113"/>
                        </a:lnTo>
                        <a:lnTo>
                          <a:pt x="76" y="116"/>
                        </a:lnTo>
                        <a:lnTo>
                          <a:pt x="77" y="116"/>
                        </a:lnTo>
                        <a:lnTo>
                          <a:pt x="78" y="116"/>
                        </a:lnTo>
                        <a:lnTo>
                          <a:pt x="79" y="116"/>
                        </a:lnTo>
                        <a:lnTo>
                          <a:pt x="79" y="119"/>
                        </a:lnTo>
                        <a:lnTo>
                          <a:pt x="83" y="119"/>
                        </a:lnTo>
                        <a:lnTo>
                          <a:pt x="87" y="119"/>
                        </a:lnTo>
                        <a:lnTo>
                          <a:pt x="91" y="119"/>
                        </a:lnTo>
                        <a:lnTo>
                          <a:pt x="92" y="122"/>
                        </a:lnTo>
                        <a:lnTo>
                          <a:pt x="93" y="124"/>
                        </a:lnTo>
                        <a:lnTo>
                          <a:pt x="94" y="125"/>
                        </a:lnTo>
                        <a:lnTo>
                          <a:pt x="95" y="126"/>
                        </a:lnTo>
                        <a:lnTo>
                          <a:pt x="95" y="129"/>
                        </a:lnTo>
                        <a:lnTo>
                          <a:pt x="92" y="129"/>
                        </a:lnTo>
                        <a:lnTo>
                          <a:pt x="88" y="129"/>
                        </a:lnTo>
                        <a:lnTo>
                          <a:pt x="84" y="129"/>
                        </a:lnTo>
                        <a:lnTo>
                          <a:pt x="81" y="129"/>
                        </a:lnTo>
                        <a:lnTo>
                          <a:pt x="81" y="130"/>
                        </a:lnTo>
                        <a:lnTo>
                          <a:pt x="80" y="131"/>
                        </a:lnTo>
                        <a:lnTo>
                          <a:pt x="79" y="132"/>
                        </a:lnTo>
                        <a:lnTo>
                          <a:pt x="79" y="133"/>
                        </a:lnTo>
                        <a:lnTo>
                          <a:pt x="78" y="133"/>
                        </a:lnTo>
                        <a:lnTo>
                          <a:pt x="77" y="133"/>
                        </a:lnTo>
                        <a:lnTo>
                          <a:pt x="76" y="133"/>
                        </a:lnTo>
                        <a:lnTo>
                          <a:pt x="73" y="135"/>
                        </a:lnTo>
                        <a:lnTo>
                          <a:pt x="70" y="138"/>
                        </a:lnTo>
                        <a:lnTo>
                          <a:pt x="68" y="142"/>
                        </a:lnTo>
                        <a:lnTo>
                          <a:pt x="65" y="145"/>
                        </a:lnTo>
                        <a:lnTo>
                          <a:pt x="55" y="145"/>
                        </a:lnTo>
                        <a:lnTo>
                          <a:pt x="55" y="146"/>
                        </a:lnTo>
                        <a:lnTo>
                          <a:pt x="55" y="147"/>
                        </a:lnTo>
                        <a:lnTo>
                          <a:pt x="55" y="148"/>
                        </a:lnTo>
                        <a:lnTo>
                          <a:pt x="55" y="149"/>
                        </a:lnTo>
                        <a:lnTo>
                          <a:pt x="54" y="150"/>
                        </a:lnTo>
                        <a:lnTo>
                          <a:pt x="51" y="150"/>
                        </a:lnTo>
                        <a:lnTo>
                          <a:pt x="49" y="150"/>
                        </a:lnTo>
                        <a:lnTo>
                          <a:pt x="46" y="152"/>
                        </a:lnTo>
                        <a:lnTo>
                          <a:pt x="44" y="152"/>
                        </a:lnTo>
                        <a:lnTo>
                          <a:pt x="43" y="152"/>
                        </a:lnTo>
                        <a:lnTo>
                          <a:pt x="43" y="158"/>
                        </a:lnTo>
                        <a:lnTo>
                          <a:pt x="45" y="158"/>
                        </a:lnTo>
                        <a:lnTo>
                          <a:pt x="46" y="158"/>
                        </a:lnTo>
                        <a:lnTo>
                          <a:pt x="48" y="158"/>
                        </a:lnTo>
                        <a:lnTo>
                          <a:pt x="50" y="158"/>
                        </a:lnTo>
                        <a:lnTo>
                          <a:pt x="50" y="159"/>
                        </a:lnTo>
                        <a:lnTo>
                          <a:pt x="50" y="161"/>
                        </a:lnTo>
                        <a:lnTo>
                          <a:pt x="45" y="161"/>
                        </a:lnTo>
                        <a:lnTo>
                          <a:pt x="43" y="162"/>
                        </a:lnTo>
                        <a:lnTo>
                          <a:pt x="43" y="164"/>
                        </a:lnTo>
                        <a:lnTo>
                          <a:pt x="41" y="164"/>
                        </a:lnTo>
                        <a:lnTo>
                          <a:pt x="40" y="163"/>
                        </a:lnTo>
                        <a:lnTo>
                          <a:pt x="39" y="161"/>
                        </a:lnTo>
                        <a:lnTo>
                          <a:pt x="37" y="161"/>
                        </a:lnTo>
                        <a:lnTo>
                          <a:pt x="36" y="163"/>
                        </a:lnTo>
                        <a:lnTo>
                          <a:pt x="36" y="164"/>
                        </a:lnTo>
                        <a:lnTo>
                          <a:pt x="36" y="169"/>
                        </a:lnTo>
                        <a:lnTo>
                          <a:pt x="35" y="172"/>
                        </a:lnTo>
                        <a:lnTo>
                          <a:pt x="33" y="174"/>
                        </a:lnTo>
                        <a:lnTo>
                          <a:pt x="32" y="174"/>
                        </a:lnTo>
                        <a:lnTo>
                          <a:pt x="31" y="174"/>
                        </a:lnTo>
                        <a:lnTo>
                          <a:pt x="30" y="174"/>
                        </a:lnTo>
                        <a:lnTo>
                          <a:pt x="30" y="172"/>
                        </a:lnTo>
                        <a:lnTo>
                          <a:pt x="30" y="170"/>
                        </a:lnTo>
                        <a:lnTo>
                          <a:pt x="29" y="170"/>
                        </a:lnTo>
                        <a:lnTo>
                          <a:pt x="27" y="171"/>
                        </a:lnTo>
                        <a:lnTo>
                          <a:pt x="26" y="171"/>
                        </a:lnTo>
                        <a:lnTo>
                          <a:pt x="25" y="171"/>
                        </a:lnTo>
                        <a:lnTo>
                          <a:pt x="24" y="171"/>
                        </a:lnTo>
                        <a:lnTo>
                          <a:pt x="24" y="168"/>
                        </a:lnTo>
                        <a:lnTo>
                          <a:pt x="17" y="168"/>
                        </a:lnTo>
                        <a:lnTo>
                          <a:pt x="11" y="169"/>
                        </a:lnTo>
                        <a:lnTo>
                          <a:pt x="7" y="171"/>
                        </a:lnTo>
                        <a:lnTo>
                          <a:pt x="4" y="174"/>
                        </a:lnTo>
                        <a:lnTo>
                          <a:pt x="4" y="175"/>
                        </a:lnTo>
                        <a:lnTo>
                          <a:pt x="4" y="176"/>
                        </a:lnTo>
                        <a:lnTo>
                          <a:pt x="4" y="177"/>
                        </a:lnTo>
                        <a:lnTo>
                          <a:pt x="4" y="178"/>
                        </a:lnTo>
                        <a:lnTo>
                          <a:pt x="7" y="179"/>
                        </a:lnTo>
                        <a:lnTo>
                          <a:pt x="10" y="181"/>
                        </a:lnTo>
                        <a:lnTo>
                          <a:pt x="14" y="182"/>
                        </a:lnTo>
                        <a:lnTo>
                          <a:pt x="17" y="184"/>
                        </a:lnTo>
                        <a:lnTo>
                          <a:pt x="26" y="184"/>
                        </a:lnTo>
                        <a:lnTo>
                          <a:pt x="31" y="185"/>
                        </a:lnTo>
                        <a:lnTo>
                          <a:pt x="33" y="187"/>
                        </a:lnTo>
                        <a:lnTo>
                          <a:pt x="32" y="187"/>
                        </a:lnTo>
                        <a:lnTo>
                          <a:pt x="31" y="187"/>
                        </a:lnTo>
                        <a:lnTo>
                          <a:pt x="30" y="187"/>
                        </a:lnTo>
                        <a:lnTo>
                          <a:pt x="23" y="188"/>
                        </a:lnTo>
                        <a:lnTo>
                          <a:pt x="16" y="189"/>
                        </a:lnTo>
                        <a:lnTo>
                          <a:pt x="9" y="190"/>
                        </a:lnTo>
                        <a:lnTo>
                          <a:pt x="4" y="194"/>
                        </a:lnTo>
                        <a:lnTo>
                          <a:pt x="1" y="197"/>
                        </a:lnTo>
                        <a:lnTo>
                          <a:pt x="0" y="200"/>
                        </a:lnTo>
                        <a:lnTo>
                          <a:pt x="0" y="201"/>
                        </a:lnTo>
                        <a:lnTo>
                          <a:pt x="1" y="200"/>
                        </a:lnTo>
                        <a:lnTo>
                          <a:pt x="3" y="201"/>
                        </a:lnTo>
                        <a:lnTo>
                          <a:pt x="6" y="202"/>
                        </a:lnTo>
                        <a:lnTo>
                          <a:pt x="7" y="203"/>
                        </a:lnTo>
                        <a:lnTo>
                          <a:pt x="7" y="204"/>
                        </a:lnTo>
                        <a:lnTo>
                          <a:pt x="8" y="206"/>
                        </a:lnTo>
                        <a:lnTo>
                          <a:pt x="9" y="209"/>
                        </a:lnTo>
                        <a:lnTo>
                          <a:pt x="10" y="210"/>
                        </a:lnTo>
                        <a:lnTo>
                          <a:pt x="13" y="209"/>
                        </a:lnTo>
                        <a:lnTo>
                          <a:pt x="17" y="209"/>
                        </a:lnTo>
                        <a:lnTo>
                          <a:pt x="20" y="209"/>
                        </a:lnTo>
                        <a:lnTo>
                          <a:pt x="24" y="206"/>
                        </a:lnTo>
                        <a:lnTo>
                          <a:pt x="24" y="209"/>
                        </a:lnTo>
                        <a:lnTo>
                          <a:pt x="25" y="209"/>
                        </a:lnTo>
                        <a:lnTo>
                          <a:pt x="24" y="210"/>
                        </a:lnTo>
                        <a:lnTo>
                          <a:pt x="21" y="212"/>
                        </a:lnTo>
                        <a:lnTo>
                          <a:pt x="19" y="212"/>
                        </a:lnTo>
                        <a:lnTo>
                          <a:pt x="17" y="210"/>
                        </a:lnTo>
                        <a:lnTo>
                          <a:pt x="14" y="213"/>
                        </a:lnTo>
                        <a:lnTo>
                          <a:pt x="12" y="213"/>
                        </a:lnTo>
                        <a:lnTo>
                          <a:pt x="11" y="215"/>
                        </a:lnTo>
                        <a:lnTo>
                          <a:pt x="10" y="216"/>
                        </a:lnTo>
                        <a:lnTo>
                          <a:pt x="8" y="216"/>
                        </a:lnTo>
                        <a:lnTo>
                          <a:pt x="7" y="216"/>
                        </a:lnTo>
                        <a:lnTo>
                          <a:pt x="6" y="216"/>
                        </a:lnTo>
                        <a:lnTo>
                          <a:pt x="4" y="216"/>
                        </a:lnTo>
                        <a:lnTo>
                          <a:pt x="4" y="218"/>
                        </a:lnTo>
                        <a:lnTo>
                          <a:pt x="3" y="218"/>
                        </a:lnTo>
                        <a:lnTo>
                          <a:pt x="4" y="220"/>
                        </a:lnTo>
                        <a:lnTo>
                          <a:pt x="7" y="223"/>
                        </a:lnTo>
                        <a:lnTo>
                          <a:pt x="9" y="223"/>
                        </a:lnTo>
                        <a:lnTo>
                          <a:pt x="12" y="222"/>
                        </a:lnTo>
                        <a:lnTo>
                          <a:pt x="20" y="221"/>
                        </a:lnTo>
                        <a:lnTo>
                          <a:pt x="24" y="221"/>
                        </a:lnTo>
                        <a:lnTo>
                          <a:pt x="26" y="222"/>
                        </a:lnTo>
                        <a:lnTo>
                          <a:pt x="26" y="223"/>
                        </a:lnTo>
                        <a:lnTo>
                          <a:pt x="24" y="226"/>
                        </a:lnTo>
                        <a:lnTo>
                          <a:pt x="22" y="226"/>
                        </a:lnTo>
                        <a:lnTo>
                          <a:pt x="21" y="226"/>
                        </a:lnTo>
                        <a:lnTo>
                          <a:pt x="20" y="226"/>
                        </a:lnTo>
                        <a:lnTo>
                          <a:pt x="19" y="227"/>
                        </a:lnTo>
                        <a:lnTo>
                          <a:pt x="19" y="228"/>
                        </a:lnTo>
                        <a:lnTo>
                          <a:pt x="20" y="229"/>
                        </a:lnTo>
                        <a:lnTo>
                          <a:pt x="20" y="230"/>
                        </a:lnTo>
                        <a:lnTo>
                          <a:pt x="16" y="230"/>
                        </a:lnTo>
                        <a:lnTo>
                          <a:pt x="14" y="231"/>
                        </a:lnTo>
                        <a:lnTo>
                          <a:pt x="13" y="233"/>
                        </a:lnTo>
                        <a:lnTo>
                          <a:pt x="13" y="234"/>
                        </a:lnTo>
                        <a:lnTo>
                          <a:pt x="12" y="235"/>
                        </a:lnTo>
                        <a:lnTo>
                          <a:pt x="11" y="236"/>
                        </a:lnTo>
                        <a:lnTo>
                          <a:pt x="10" y="236"/>
                        </a:lnTo>
                        <a:lnTo>
                          <a:pt x="11" y="236"/>
                        </a:lnTo>
                        <a:lnTo>
                          <a:pt x="12" y="236"/>
                        </a:lnTo>
                        <a:lnTo>
                          <a:pt x="13" y="236"/>
                        </a:lnTo>
                        <a:lnTo>
                          <a:pt x="18" y="238"/>
                        </a:lnTo>
                        <a:lnTo>
                          <a:pt x="22" y="238"/>
                        </a:lnTo>
                        <a:lnTo>
                          <a:pt x="26" y="237"/>
                        </a:lnTo>
                        <a:lnTo>
                          <a:pt x="30" y="236"/>
                        </a:lnTo>
                        <a:lnTo>
                          <a:pt x="31" y="238"/>
                        </a:lnTo>
                        <a:lnTo>
                          <a:pt x="33" y="240"/>
                        </a:lnTo>
                        <a:lnTo>
                          <a:pt x="35" y="242"/>
                        </a:lnTo>
                        <a:lnTo>
                          <a:pt x="36" y="242"/>
                        </a:lnTo>
                        <a:lnTo>
                          <a:pt x="40" y="242"/>
                        </a:lnTo>
                        <a:lnTo>
                          <a:pt x="42" y="242"/>
                        </a:lnTo>
                        <a:lnTo>
                          <a:pt x="43" y="242"/>
                        </a:lnTo>
                        <a:lnTo>
                          <a:pt x="46" y="242"/>
                        </a:lnTo>
                        <a:lnTo>
                          <a:pt x="51" y="242"/>
                        </a:lnTo>
                        <a:lnTo>
                          <a:pt x="55" y="242"/>
                        </a:lnTo>
                        <a:lnTo>
                          <a:pt x="59" y="242"/>
                        </a:lnTo>
                        <a:lnTo>
                          <a:pt x="59" y="243"/>
                        </a:lnTo>
                        <a:lnTo>
                          <a:pt x="59" y="244"/>
                        </a:lnTo>
                        <a:lnTo>
                          <a:pt x="59" y="245"/>
                        </a:lnTo>
                        <a:lnTo>
                          <a:pt x="59" y="246"/>
                        </a:lnTo>
                        <a:lnTo>
                          <a:pt x="60" y="246"/>
                        </a:lnTo>
                        <a:lnTo>
                          <a:pt x="62" y="246"/>
                        </a:lnTo>
                        <a:lnTo>
                          <a:pt x="63" y="245"/>
                        </a:lnTo>
                        <a:lnTo>
                          <a:pt x="64" y="244"/>
                        </a:lnTo>
                        <a:lnTo>
                          <a:pt x="65" y="243"/>
                        </a:lnTo>
                        <a:lnTo>
                          <a:pt x="65" y="242"/>
                        </a:lnTo>
                        <a:lnTo>
                          <a:pt x="67" y="244"/>
                        </a:lnTo>
                        <a:lnTo>
                          <a:pt x="69" y="245"/>
                        </a:lnTo>
                        <a:lnTo>
                          <a:pt x="70" y="245"/>
                        </a:lnTo>
                        <a:lnTo>
                          <a:pt x="72" y="246"/>
                        </a:lnTo>
                        <a:lnTo>
                          <a:pt x="74" y="246"/>
                        </a:lnTo>
                        <a:lnTo>
                          <a:pt x="76" y="246"/>
                        </a:lnTo>
                        <a:lnTo>
                          <a:pt x="76" y="244"/>
                        </a:lnTo>
                        <a:lnTo>
                          <a:pt x="76" y="243"/>
                        </a:lnTo>
                        <a:lnTo>
                          <a:pt x="77" y="242"/>
                        </a:lnTo>
                        <a:lnTo>
                          <a:pt x="79" y="242"/>
                        </a:lnTo>
                        <a:lnTo>
                          <a:pt x="81" y="242"/>
                        </a:lnTo>
                        <a:lnTo>
                          <a:pt x="84" y="242"/>
                        </a:lnTo>
                        <a:lnTo>
                          <a:pt x="87" y="239"/>
                        </a:lnTo>
                        <a:lnTo>
                          <a:pt x="87" y="236"/>
                        </a:lnTo>
                        <a:lnTo>
                          <a:pt x="87" y="234"/>
                        </a:lnTo>
                        <a:lnTo>
                          <a:pt x="85" y="233"/>
                        </a:lnTo>
                        <a:lnTo>
                          <a:pt x="89" y="233"/>
                        </a:lnTo>
                        <a:lnTo>
                          <a:pt x="91" y="233"/>
                        </a:lnTo>
                        <a:lnTo>
                          <a:pt x="90" y="233"/>
                        </a:lnTo>
                        <a:lnTo>
                          <a:pt x="88" y="233"/>
                        </a:lnTo>
                        <a:lnTo>
                          <a:pt x="88" y="234"/>
                        </a:lnTo>
                        <a:lnTo>
                          <a:pt x="88" y="235"/>
                        </a:lnTo>
                        <a:lnTo>
                          <a:pt x="88" y="236"/>
                        </a:lnTo>
                        <a:lnTo>
                          <a:pt x="92" y="236"/>
                        </a:lnTo>
                        <a:lnTo>
                          <a:pt x="96" y="236"/>
                        </a:lnTo>
                        <a:lnTo>
                          <a:pt x="100" y="236"/>
                        </a:lnTo>
                        <a:lnTo>
                          <a:pt x="102" y="236"/>
                        </a:lnTo>
                        <a:lnTo>
                          <a:pt x="103" y="237"/>
                        </a:lnTo>
                        <a:lnTo>
                          <a:pt x="103" y="238"/>
                        </a:lnTo>
                        <a:lnTo>
                          <a:pt x="104" y="239"/>
                        </a:lnTo>
                        <a:lnTo>
                          <a:pt x="107" y="240"/>
                        </a:lnTo>
                        <a:lnTo>
                          <a:pt x="108" y="240"/>
                        </a:lnTo>
                        <a:lnTo>
                          <a:pt x="109" y="239"/>
                        </a:lnTo>
                        <a:lnTo>
                          <a:pt x="114" y="238"/>
                        </a:lnTo>
                        <a:lnTo>
                          <a:pt x="119" y="237"/>
                        </a:lnTo>
                        <a:lnTo>
                          <a:pt x="120" y="237"/>
                        </a:lnTo>
                        <a:lnTo>
                          <a:pt x="121" y="236"/>
                        </a:lnTo>
                        <a:lnTo>
                          <a:pt x="121" y="235"/>
                        </a:lnTo>
                        <a:lnTo>
                          <a:pt x="121" y="234"/>
                        </a:lnTo>
                        <a:lnTo>
                          <a:pt x="121" y="233"/>
                        </a:lnTo>
                        <a:lnTo>
                          <a:pt x="120" y="233"/>
                        </a:lnTo>
                        <a:lnTo>
                          <a:pt x="119" y="233"/>
                        </a:lnTo>
                        <a:lnTo>
                          <a:pt x="118" y="233"/>
                        </a:lnTo>
                        <a:lnTo>
                          <a:pt x="117" y="233"/>
                        </a:lnTo>
                        <a:lnTo>
                          <a:pt x="117" y="231"/>
                        </a:lnTo>
                        <a:lnTo>
                          <a:pt x="117" y="230"/>
                        </a:lnTo>
                        <a:lnTo>
                          <a:pt x="123" y="231"/>
                        </a:lnTo>
                        <a:lnTo>
                          <a:pt x="127" y="231"/>
                        </a:lnTo>
                        <a:lnTo>
                          <a:pt x="131" y="230"/>
                        </a:lnTo>
                        <a:lnTo>
                          <a:pt x="137" y="230"/>
                        </a:lnTo>
                        <a:lnTo>
                          <a:pt x="140" y="231"/>
                        </a:lnTo>
                        <a:lnTo>
                          <a:pt x="143" y="233"/>
                        </a:lnTo>
                        <a:lnTo>
                          <a:pt x="147" y="234"/>
                        </a:lnTo>
                        <a:lnTo>
                          <a:pt x="150" y="233"/>
                        </a:lnTo>
                        <a:lnTo>
                          <a:pt x="151" y="233"/>
                        </a:lnTo>
                        <a:lnTo>
                          <a:pt x="152" y="233"/>
                        </a:lnTo>
                        <a:lnTo>
                          <a:pt x="153" y="234"/>
                        </a:lnTo>
                        <a:lnTo>
                          <a:pt x="153" y="235"/>
                        </a:lnTo>
                        <a:lnTo>
                          <a:pt x="154" y="236"/>
                        </a:lnTo>
                        <a:lnTo>
                          <a:pt x="156" y="236"/>
                        </a:lnTo>
                        <a:lnTo>
                          <a:pt x="156" y="235"/>
                        </a:lnTo>
                        <a:lnTo>
                          <a:pt x="157" y="234"/>
                        </a:lnTo>
                        <a:lnTo>
                          <a:pt x="159" y="233"/>
                        </a:lnTo>
                        <a:lnTo>
                          <a:pt x="161" y="234"/>
                        </a:lnTo>
                        <a:lnTo>
                          <a:pt x="164" y="236"/>
                        </a:lnTo>
                        <a:lnTo>
                          <a:pt x="168" y="239"/>
                        </a:lnTo>
                        <a:lnTo>
                          <a:pt x="169" y="240"/>
                        </a:lnTo>
                        <a:lnTo>
                          <a:pt x="171" y="240"/>
                        </a:lnTo>
                        <a:lnTo>
                          <a:pt x="172" y="242"/>
                        </a:lnTo>
                        <a:lnTo>
                          <a:pt x="173" y="242"/>
                        </a:lnTo>
                        <a:lnTo>
                          <a:pt x="174" y="242"/>
                        </a:lnTo>
                        <a:lnTo>
                          <a:pt x="175" y="242"/>
                        </a:lnTo>
                        <a:lnTo>
                          <a:pt x="176" y="242"/>
                        </a:lnTo>
                        <a:lnTo>
                          <a:pt x="177" y="241"/>
                        </a:lnTo>
                        <a:lnTo>
                          <a:pt x="182" y="236"/>
                        </a:lnTo>
                        <a:lnTo>
                          <a:pt x="182" y="232"/>
                        </a:lnTo>
                        <a:lnTo>
                          <a:pt x="182" y="230"/>
                        </a:lnTo>
                        <a:lnTo>
                          <a:pt x="192" y="220"/>
                        </a:lnTo>
                        <a:lnTo>
                          <a:pt x="192" y="216"/>
                        </a:lnTo>
                        <a:lnTo>
                          <a:pt x="192" y="213"/>
                        </a:lnTo>
                        <a:lnTo>
                          <a:pt x="195" y="209"/>
                        </a:lnTo>
                        <a:lnTo>
                          <a:pt x="199" y="207"/>
                        </a:lnTo>
                        <a:lnTo>
                          <a:pt x="201" y="206"/>
                        </a:lnTo>
                        <a:lnTo>
                          <a:pt x="204" y="204"/>
                        </a:lnTo>
                        <a:lnTo>
                          <a:pt x="206" y="201"/>
                        </a:lnTo>
                        <a:lnTo>
                          <a:pt x="208" y="197"/>
                        </a:lnTo>
                        <a:lnTo>
                          <a:pt x="209" y="194"/>
                        </a:lnTo>
                        <a:lnTo>
                          <a:pt x="211" y="190"/>
                        </a:lnTo>
                        <a:lnTo>
                          <a:pt x="212" y="190"/>
                        </a:lnTo>
                        <a:lnTo>
                          <a:pt x="213" y="190"/>
                        </a:lnTo>
                        <a:lnTo>
                          <a:pt x="214" y="189"/>
                        </a:lnTo>
                        <a:lnTo>
                          <a:pt x="215" y="187"/>
                        </a:lnTo>
                        <a:lnTo>
                          <a:pt x="215" y="186"/>
                        </a:lnTo>
                        <a:lnTo>
                          <a:pt x="215" y="185"/>
                        </a:lnTo>
                        <a:lnTo>
                          <a:pt x="215" y="184"/>
                        </a:lnTo>
                        <a:lnTo>
                          <a:pt x="213" y="182"/>
                        </a:lnTo>
                        <a:lnTo>
                          <a:pt x="213" y="178"/>
                        </a:lnTo>
                        <a:lnTo>
                          <a:pt x="214" y="174"/>
                        </a:lnTo>
                        <a:lnTo>
                          <a:pt x="215" y="171"/>
                        </a:lnTo>
                        <a:lnTo>
                          <a:pt x="215" y="161"/>
                        </a:lnTo>
                        <a:lnTo>
                          <a:pt x="218" y="161"/>
                        </a:lnTo>
                        <a:lnTo>
                          <a:pt x="219" y="155"/>
                        </a:lnTo>
                        <a:lnTo>
                          <a:pt x="220" y="148"/>
                        </a:lnTo>
                        <a:lnTo>
                          <a:pt x="220" y="141"/>
                        </a:lnTo>
                        <a:lnTo>
                          <a:pt x="221" y="133"/>
                        </a:lnTo>
                        <a:lnTo>
                          <a:pt x="222" y="132"/>
                        </a:lnTo>
                        <a:lnTo>
                          <a:pt x="223" y="129"/>
                        </a:lnTo>
                        <a:lnTo>
                          <a:pt x="223" y="126"/>
                        </a:lnTo>
                        <a:lnTo>
                          <a:pt x="224" y="123"/>
                        </a:lnTo>
                        <a:lnTo>
                          <a:pt x="223" y="122"/>
                        </a:lnTo>
                        <a:lnTo>
                          <a:pt x="223" y="121"/>
                        </a:lnTo>
                        <a:lnTo>
                          <a:pt x="222" y="120"/>
                        </a:lnTo>
                        <a:lnTo>
                          <a:pt x="221" y="119"/>
                        </a:lnTo>
                        <a:lnTo>
                          <a:pt x="223" y="119"/>
                        </a:lnTo>
                        <a:lnTo>
                          <a:pt x="222" y="118"/>
                        </a:lnTo>
                        <a:lnTo>
                          <a:pt x="221" y="116"/>
                        </a:lnTo>
                        <a:lnTo>
                          <a:pt x="223" y="116"/>
                        </a:lnTo>
                        <a:lnTo>
                          <a:pt x="227" y="117"/>
                        </a:lnTo>
                        <a:lnTo>
                          <a:pt x="229" y="117"/>
                        </a:lnTo>
                        <a:lnTo>
                          <a:pt x="230" y="116"/>
                        </a:lnTo>
                        <a:lnTo>
                          <a:pt x="232" y="115"/>
                        </a:lnTo>
                        <a:lnTo>
                          <a:pt x="233" y="114"/>
                        </a:lnTo>
                        <a:lnTo>
                          <a:pt x="234" y="113"/>
                        </a:lnTo>
                        <a:lnTo>
                          <a:pt x="234" y="112"/>
                        </a:lnTo>
                        <a:lnTo>
                          <a:pt x="236" y="113"/>
                        </a:lnTo>
                        <a:lnTo>
                          <a:pt x="237" y="114"/>
                        </a:lnTo>
                        <a:lnTo>
                          <a:pt x="239" y="115"/>
                        </a:lnTo>
                        <a:lnTo>
                          <a:pt x="241" y="116"/>
                        </a:lnTo>
                        <a:lnTo>
                          <a:pt x="239" y="113"/>
                        </a:lnTo>
                        <a:lnTo>
                          <a:pt x="238" y="111"/>
                        </a:lnTo>
                        <a:lnTo>
                          <a:pt x="237" y="110"/>
                        </a:lnTo>
                        <a:lnTo>
                          <a:pt x="237" y="10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8" name="Freeform 1872">
                    <a:extLst>
                      <a:ext uri="{FF2B5EF4-FFF2-40B4-BE49-F238E27FC236}">
                        <a16:creationId xmlns:a16="http://schemas.microsoft.com/office/drawing/2014/main" xmlns="" id="{1300EADD-A346-4DF0-8067-7E0152C438B2}"/>
                      </a:ext>
                    </a:extLst>
                  </p:cNvPr>
                  <p:cNvSpPr>
                    <a:spLocks/>
                  </p:cNvSpPr>
                  <p:nvPr/>
                </p:nvSpPr>
                <p:spPr bwMode="gray">
                  <a:xfrm>
                    <a:off x="3489848" y="2966102"/>
                    <a:ext cx="3338" cy="5563"/>
                  </a:xfrm>
                  <a:custGeom>
                    <a:avLst/>
                    <a:gdLst>
                      <a:gd name="T0" fmla="*/ 2147483647 w 3"/>
                      <a:gd name="T1" fmla="*/ 0 h 5"/>
                      <a:gd name="T2" fmla="*/ 2147483647 w 3"/>
                      <a:gd name="T3" fmla="*/ 0 h 5"/>
                      <a:gd name="T4" fmla="*/ 2147483647 w 3"/>
                      <a:gd name="T5" fmla="*/ 2147483647 h 5"/>
                      <a:gd name="T6" fmla="*/ 2147483647 w 3"/>
                      <a:gd name="T7" fmla="*/ 2147483647 h 5"/>
                      <a:gd name="T8" fmla="*/ 2147483647 w 3"/>
                      <a:gd name="T9" fmla="*/ 2147483647 h 5"/>
                      <a:gd name="T10" fmla="*/ 0 w 3"/>
                      <a:gd name="T11" fmla="*/ 2147483647 h 5"/>
                      <a:gd name="T12" fmla="*/ 0 w 3"/>
                      <a:gd name="T13" fmla="*/ 2147483647 h 5"/>
                      <a:gd name="T14" fmla="*/ 0 w 3"/>
                      <a:gd name="T15" fmla="*/ 2147483647 h 5"/>
                      <a:gd name="T16" fmla="*/ 2147483647 w 3"/>
                      <a:gd name="T17" fmla="*/ 0 h 5"/>
                      <a:gd name="T18" fmla="*/ 2147483647 w 3"/>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5">
                        <a:moveTo>
                          <a:pt x="3" y="0"/>
                        </a:moveTo>
                        <a:lnTo>
                          <a:pt x="3" y="0"/>
                        </a:lnTo>
                        <a:lnTo>
                          <a:pt x="3" y="2"/>
                        </a:lnTo>
                        <a:lnTo>
                          <a:pt x="3" y="5"/>
                        </a:lnTo>
                        <a:lnTo>
                          <a:pt x="1" y="5"/>
                        </a:lnTo>
                        <a:lnTo>
                          <a:pt x="0" y="5"/>
                        </a:lnTo>
                        <a:lnTo>
                          <a:pt x="0" y="2"/>
                        </a:lnTo>
                        <a:lnTo>
                          <a:pt x="1"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39" name="Freeform 1874">
                    <a:extLst>
                      <a:ext uri="{FF2B5EF4-FFF2-40B4-BE49-F238E27FC236}">
                        <a16:creationId xmlns:a16="http://schemas.microsoft.com/office/drawing/2014/main" xmlns="" id="{AEBD4C80-67FF-4E25-AC51-B404BE431918}"/>
                      </a:ext>
                    </a:extLst>
                  </p:cNvPr>
                  <p:cNvSpPr>
                    <a:spLocks/>
                  </p:cNvSpPr>
                  <p:nvPr/>
                </p:nvSpPr>
                <p:spPr bwMode="gray">
                  <a:xfrm>
                    <a:off x="3463148" y="2963877"/>
                    <a:ext cx="3338" cy="3337"/>
                  </a:xfrm>
                  <a:custGeom>
                    <a:avLst/>
                    <a:gdLst>
                      <a:gd name="T0" fmla="*/ 2147483647 w 3"/>
                      <a:gd name="T1" fmla="*/ 2147483647 h 3"/>
                      <a:gd name="T2" fmla="*/ 2147483647 w 3"/>
                      <a:gd name="T3" fmla="*/ 2147483647 h 3"/>
                      <a:gd name="T4" fmla="*/ 2147483647 w 3"/>
                      <a:gd name="T5" fmla="*/ 2147483647 h 3"/>
                      <a:gd name="T6" fmla="*/ 2147483647 w 3"/>
                      <a:gd name="T7" fmla="*/ 2147483647 h 3"/>
                      <a:gd name="T8" fmla="*/ 2147483647 w 3"/>
                      <a:gd name="T9" fmla="*/ 2147483647 h 3"/>
                      <a:gd name="T10" fmla="*/ 2147483647 w 3"/>
                      <a:gd name="T11" fmla="*/ 2147483647 h 3"/>
                      <a:gd name="T12" fmla="*/ 0 w 3"/>
                      <a:gd name="T13" fmla="*/ 0 h 3"/>
                      <a:gd name="T14" fmla="*/ 0 w 3"/>
                      <a:gd name="T15" fmla="*/ 0 h 3"/>
                      <a:gd name="T16" fmla="*/ 2147483647 w 3"/>
                      <a:gd name="T17" fmla="*/ 2147483647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3">
                        <a:moveTo>
                          <a:pt x="1" y="2"/>
                        </a:moveTo>
                        <a:lnTo>
                          <a:pt x="2" y="2"/>
                        </a:lnTo>
                        <a:lnTo>
                          <a:pt x="3" y="3"/>
                        </a:lnTo>
                        <a:lnTo>
                          <a:pt x="1" y="2"/>
                        </a:lnTo>
                        <a:lnTo>
                          <a:pt x="1" y="1"/>
                        </a:lnTo>
                        <a:lnTo>
                          <a:pt x="0" y="0"/>
                        </a:lnTo>
                        <a:lnTo>
                          <a:pt x="1" y="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0" name="Freeform 1876">
                    <a:extLst>
                      <a:ext uri="{FF2B5EF4-FFF2-40B4-BE49-F238E27FC236}">
                        <a16:creationId xmlns:a16="http://schemas.microsoft.com/office/drawing/2014/main" xmlns="" id="{B476D047-1245-4C69-B720-867CDAE88ACC}"/>
                      </a:ext>
                    </a:extLst>
                  </p:cNvPr>
                  <p:cNvSpPr>
                    <a:spLocks/>
                  </p:cNvSpPr>
                  <p:nvPr/>
                </p:nvSpPr>
                <p:spPr bwMode="gray">
                  <a:xfrm>
                    <a:off x="3564387" y="2918266"/>
                    <a:ext cx="1113" cy="4450"/>
                  </a:xfrm>
                  <a:custGeom>
                    <a:avLst/>
                    <a:gdLst>
                      <a:gd name="T0" fmla="*/ 0 w 1"/>
                      <a:gd name="T1" fmla="*/ 0 h 4"/>
                      <a:gd name="T2" fmla="*/ 2147483647 w 1"/>
                      <a:gd name="T3" fmla="*/ 0 h 4"/>
                      <a:gd name="T4" fmla="*/ 2147483647 w 1"/>
                      <a:gd name="T5" fmla="*/ 2147483647 h 4"/>
                      <a:gd name="T6" fmla="*/ 0 w 1"/>
                      <a:gd name="T7" fmla="*/ 2147483647 h 4"/>
                      <a:gd name="T8" fmla="*/ 0 w 1"/>
                      <a:gd name="T9" fmla="*/ 2147483647 h 4"/>
                      <a:gd name="T10" fmla="*/ 0 w 1"/>
                      <a:gd name="T11" fmla="*/ 2147483647 h 4"/>
                      <a:gd name="T12" fmla="*/ 0 w 1"/>
                      <a:gd name="T13" fmla="*/ 2147483647 h 4"/>
                      <a:gd name="T14" fmla="*/ 0 w 1"/>
                      <a:gd name="T15" fmla="*/ 0 h 4"/>
                      <a:gd name="T16" fmla="*/ 0 w 1"/>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0" y="0"/>
                        </a:moveTo>
                        <a:lnTo>
                          <a:pt x="1" y="0"/>
                        </a:lnTo>
                        <a:lnTo>
                          <a:pt x="1" y="3"/>
                        </a:lnTo>
                        <a:lnTo>
                          <a:pt x="0" y="4"/>
                        </a:lnTo>
                        <a:lnTo>
                          <a:pt x="0" y="3"/>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1" name="Freeform 1878">
                    <a:extLst>
                      <a:ext uri="{FF2B5EF4-FFF2-40B4-BE49-F238E27FC236}">
                        <a16:creationId xmlns:a16="http://schemas.microsoft.com/office/drawing/2014/main" xmlns="" id="{EC0D8D42-C1D6-49F6-8BC2-64CCC27CFD02}"/>
                      </a:ext>
                    </a:extLst>
                  </p:cNvPr>
                  <p:cNvSpPr>
                    <a:spLocks/>
                  </p:cNvSpPr>
                  <p:nvPr/>
                </p:nvSpPr>
                <p:spPr bwMode="gray">
                  <a:xfrm>
                    <a:off x="4899413" y="4115263"/>
                    <a:ext cx="416083" cy="459442"/>
                  </a:xfrm>
                  <a:custGeom>
                    <a:avLst/>
                    <a:gdLst>
                      <a:gd name="T0" fmla="*/ 2147483647 w 374"/>
                      <a:gd name="T1" fmla="*/ 2147483647 h 413"/>
                      <a:gd name="T2" fmla="*/ 2147483647 w 374"/>
                      <a:gd name="T3" fmla="*/ 2147483647 h 413"/>
                      <a:gd name="T4" fmla="*/ 2147483647 w 374"/>
                      <a:gd name="T5" fmla="*/ 2147483647 h 413"/>
                      <a:gd name="T6" fmla="*/ 2147483647 w 374"/>
                      <a:gd name="T7" fmla="*/ 0 h 413"/>
                      <a:gd name="T8" fmla="*/ 2147483647 w 374"/>
                      <a:gd name="T9" fmla="*/ 2147483647 h 413"/>
                      <a:gd name="T10" fmla="*/ 2147483647 w 374"/>
                      <a:gd name="T11" fmla="*/ 2147483647 h 413"/>
                      <a:gd name="T12" fmla="*/ 2147483647 w 374"/>
                      <a:gd name="T13" fmla="*/ 2147483647 h 413"/>
                      <a:gd name="T14" fmla="*/ 2147483647 w 374"/>
                      <a:gd name="T15" fmla="*/ 2147483647 h 413"/>
                      <a:gd name="T16" fmla="*/ 2147483647 w 374"/>
                      <a:gd name="T17" fmla="*/ 2147483647 h 413"/>
                      <a:gd name="T18" fmla="*/ 2147483647 w 374"/>
                      <a:gd name="T19" fmla="*/ 2147483647 h 413"/>
                      <a:gd name="T20" fmla="*/ 2147483647 w 374"/>
                      <a:gd name="T21" fmla="*/ 2147483647 h 413"/>
                      <a:gd name="T22" fmla="*/ 2147483647 w 374"/>
                      <a:gd name="T23" fmla="*/ 2147483647 h 413"/>
                      <a:gd name="T24" fmla="*/ 2147483647 w 374"/>
                      <a:gd name="T25" fmla="*/ 2147483647 h 413"/>
                      <a:gd name="T26" fmla="*/ 2147483647 w 374"/>
                      <a:gd name="T27" fmla="*/ 2147483647 h 413"/>
                      <a:gd name="T28" fmla="*/ 2147483647 w 374"/>
                      <a:gd name="T29" fmla="*/ 2147483647 h 413"/>
                      <a:gd name="T30" fmla="*/ 2147483647 w 374"/>
                      <a:gd name="T31" fmla="*/ 2147483647 h 413"/>
                      <a:gd name="T32" fmla="*/ 2147483647 w 374"/>
                      <a:gd name="T33" fmla="*/ 2147483647 h 413"/>
                      <a:gd name="T34" fmla="*/ 2147483647 w 374"/>
                      <a:gd name="T35" fmla="*/ 2147483647 h 413"/>
                      <a:gd name="T36" fmla="*/ 2147483647 w 374"/>
                      <a:gd name="T37" fmla="*/ 2147483647 h 413"/>
                      <a:gd name="T38" fmla="*/ 2147483647 w 374"/>
                      <a:gd name="T39" fmla="*/ 2147483647 h 413"/>
                      <a:gd name="T40" fmla="*/ 2147483647 w 374"/>
                      <a:gd name="T41" fmla="*/ 2147483647 h 413"/>
                      <a:gd name="T42" fmla="*/ 2147483647 w 374"/>
                      <a:gd name="T43" fmla="*/ 2147483647 h 413"/>
                      <a:gd name="T44" fmla="*/ 2147483647 w 374"/>
                      <a:gd name="T45" fmla="*/ 2147483647 h 413"/>
                      <a:gd name="T46" fmla="*/ 2147483647 w 374"/>
                      <a:gd name="T47" fmla="*/ 2147483647 h 413"/>
                      <a:gd name="T48" fmla="*/ 2147483647 w 374"/>
                      <a:gd name="T49" fmla="*/ 2147483647 h 413"/>
                      <a:gd name="T50" fmla="*/ 2147483647 w 374"/>
                      <a:gd name="T51" fmla="*/ 2147483647 h 413"/>
                      <a:gd name="T52" fmla="*/ 2147483647 w 374"/>
                      <a:gd name="T53" fmla="*/ 2147483647 h 413"/>
                      <a:gd name="T54" fmla="*/ 2147483647 w 374"/>
                      <a:gd name="T55" fmla="*/ 2147483647 h 413"/>
                      <a:gd name="T56" fmla="*/ 2147483647 w 374"/>
                      <a:gd name="T57" fmla="*/ 2147483647 h 413"/>
                      <a:gd name="T58" fmla="*/ 2147483647 w 374"/>
                      <a:gd name="T59" fmla="*/ 2147483647 h 413"/>
                      <a:gd name="T60" fmla="*/ 2147483647 w 374"/>
                      <a:gd name="T61" fmla="*/ 2147483647 h 413"/>
                      <a:gd name="T62" fmla="*/ 2147483647 w 374"/>
                      <a:gd name="T63" fmla="*/ 2147483647 h 413"/>
                      <a:gd name="T64" fmla="*/ 2147483647 w 374"/>
                      <a:gd name="T65" fmla="*/ 2147483647 h 413"/>
                      <a:gd name="T66" fmla="*/ 2147483647 w 374"/>
                      <a:gd name="T67" fmla="*/ 2147483647 h 413"/>
                      <a:gd name="T68" fmla="*/ 2147483647 w 374"/>
                      <a:gd name="T69" fmla="*/ 2147483647 h 413"/>
                      <a:gd name="T70" fmla="*/ 2147483647 w 374"/>
                      <a:gd name="T71" fmla="*/ 2147483647 h 413"/>
                      <a:gd name="T72" fmla="*/ 2147483647 w 374"/>
                      <a:gd name="T73" fmla="*/ 2147483647 h 413"/>
                      <a:gd name="T74" fmla="*/ 2147483647 w 374"/>
                      <a:gd name="T75" fmla="*/ 2147483647 h 413"/>
                      <a:gd name="T76" fmla="*/ 2147483647 w 374"/>
                      <a:gd name="T77" fmla="*/ 2147483647 h 413"/>
                      <a:gd name="T78" fmla="*/ 2147483647 w 374"/>
                      <a:gd name="T79" fmla="*/ 2147483647 h 413"/>
                      <a:gd name="T80" fmla="*/ 2147483647 w 374"/>
                      <a:gd name="T81" fmla="*/ 2147483647 h 413"/>
                      <a:gd name="T82" fmla="*/ 2147483647 w 374"/>
                      <a:gd name="T83" fmla="*/ 2147483647 h 413"/>
                      <a:gd name="T84" fmla="*/ 2147483647 w 374"/>
                      <a:gd name="T85" fmla="*/ 2147483647 h 413"/>
                      <a:gd name="T86" fmla="*/ 2147483647 w 374"/>
                      <a:gd name="T87" fmla="*/ 2147483647 h 413"/>
                      <a:gd name="T88" fmla="*/ 2147483647 w 374"/>
                      <a:gd name="T89" fmla="*/ 2147483647 h 413"/>
                      <a:gd name="T90" fmla="*/ 2147483647 w 374"/>
                      <a:gd name="T91" fmla="*/ 2147483647 h 413"/>
                      <a:gd name="T92" fmla="*/ 2147483647 w 374"/>
                      <a:gd name="T93" fmla="*/ 2147483647 h 413"/>
                      <a:gd name="T94" fmla="*/ 2147483647 w 374"/>
                      <a:gd name="T95" fmla="*/ 2147483647 h 413"/>
                      <a:gd name="T96" fmla="*/ 2147483647 w 374"/>
                      <a:gd name="T97" fmla="*/ 2147483647 h 413"/>
                      <a:gd name="T98" fmla="*/ 2147483647 w 374"/>
                      <a:gd name="T99" fmla="*/ 2147483647 h 413"/>
                      <a:gd name="T100" fmla="*/ 2147483647 w 374"/>
                      <a:gd name="T101" fmla="*/ 2147483647 h 413"/>
                      <a:gd name="T102" fmla="*/ 2147483647 w 374"/>
                      <a:gd name="T103" fmla="*/ 2147483647 h 413"/>
                      <a:gd name="T104" fmla="*/ 2147483647 w 374"/>
                      <a:gd name="T105" fmla="*/ 2147483647 h 413"/>
                      <a:gd name="T106" fmla="*/ 2147483647 w 374"/>
                      <a:gd name="T107" fmla="*/ 2147483647 h 413"/>
                      <a:gd name="T108" fmla="*/ 2147483647 w 374"/>
                      <a:gd name="T109" fmla="*/ 2147483647 h 413"/>
                      <a:gd name="T110" fmla="*/ 2147483647 w 374"/>
                      <a:gd name="T111" fmla="*/ 2147483647 h 413"/>
                      <a:gd name="T112" fmla="*/ 2147483647 w 374"/>
                      <a:gd name="T113" fmla="*/ 2147483647 h 413"/>
                      <a:gd name="T114" fmla="*/ 2147483647 w 374"/>
                      <a:gd name="T115" fmla="*/ 2147483647 h 413"/>
                      <a:gd name="T116" fmla="*/ 2147483647 w 374"/>
                      <a:gd name="T117" fmla="*/ 2147483647 h 413"/>
                      <a:gd name="T118" fmla="*/ 2147483647 w 374"/>
                      <a:gd name="T119" fmla="*/ 2147483647 h 413"/>
                      <a:gd name="T120" fmla="*/ 2147483647 w 374"/>
                      <a:gd name="T121" fmla="*/ 2147483647 h 413"/>
                      <a:gd name="T122" fmla="*/ 2147483647 w 374"/>
                      <a:gd name="T123" fmla="*/ 2147483647 h 4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74" h="413">
                        <a:moveTo>
                          <a:pt x="186" y="36"/>
                        </a:moveTo>
                        <a:lnTo>
                          <a:pt x="191" y="36"/>
                        </a:lnTo>
                        <a:lnTo>
                          <a:pt x="194" y="37"/>
                        </a:lnTo>
                        <a:lnTo>
                          <a:pt x="197" y="36"/>
                        </a:lnTo>
                        <a:lnTo>
                          <a:pt x="200" y="33"/>
                        </a:lnTo>
                        <a:lnTo>
                          <a:pt x="201" y="32"/>
                        </a:lnTo>
                        <a:lnTo>
                          <a:pt x="202" y="32"/>
                        </a:lnTo>
                        <a:lnTo>
                          <a:pt x="203" y="33"/>
                        </a:lnTo>
                        <a:lnTo>
                          <a:pt x="206" y="33"/>
                        </a:lnTo>
                        <a:lnTo>
                          <a:pt x="208" y="33"/>
                        </a:lnTo>
                        <a:lnTo>
                          <a:pt x="209" y="32"/>
                        </a:lnTo>
                        <a:lnTo>
                          <a:pt x="212" y="31"/>
                        </a:lnTo>
                        <a:lnTo>
                          <a:pt x="215" y="30"/>
                        </a:lnTo>
                        <a:lnTo>
                          <a:pt x="220" y="29"/>
                        </a:lnTo>
                        <a:lnTo>
                          <a:pt x="223" y="26"/>
                        </a:lnTo>
                        <a:lnTo>
                          <a:pt x="226" y="25"/>
                        </a:lnTo>
                        <a:lnTo>
                          <a:pt x="228" y="25"/>
                        </a:lnTo>
                        <a:lnTo>
                          <a:pt x="229" y="27"/>
                        </a:lnTo>
                        <a:lnTo>
                          <a:pt x="231" y="29"/>
                        </a:lnTo>
                        <a:lnTo>
                          <a:pt x="232" y="29"/>
                        </a:lnTo>
                        <a:lnTo>
                          <a:pt x="234" y="28"/>
                        </a:lnTo>
                        <a:lnTo>
                          <a:pt x="236" y="25"/>
                        </a:lnTo>
                        <a:lnTo>
                          <a:pt x="238" y="23"/>
                        </a:lnTo>
                        <a:lnTo>
                          <a:pt x="243" y="22"/>
                        </a:lnTo>
                        <a:lnTo>
                          <a:pt x="248" y="21"/>
                        </a:lnTo>
                        <a:lnTo>
                          <a:pt x="252" y="20"/>
                        </a:lnTo>
                        <a:lnTo>
                          <a:pt x="255" y="20"/>
                        </a:lnTo>
                        <a:lnTo>
                          <a:pt x="256" y="20"/>
                        </a:lnTo>
                        <a:lnTo>
                          <a:pt x="257" y="19"/>
                        </a:lnTo>
                        <a:lnTo>
                          <a:pt x="259" y="19"/>
                        </a:lnTo>
                        <a:lnTo>
                          <a:pt x="260" y="20"/>
                        </a:lnTo>
                        <a:lnTo>
                          <a:pt x="262" y="23"/>
                        </a:lnTo>
                        <a:lnTo>
                          <a:pt x="264" y="25"/>
                        </a:lnTo>
                        <a:lnTo>
                          <a:pt x="265" y="26"/>
                        </a:lnTo>
                        <a:lnTo>
                          <a:pt x="267" y="27"/>
                        </a:lnTo>
                        <a:lnTo>
                          <a:pt x="268" y="28"/>
                        </a:lnTo>
                        <a:lnTo>
                          <a:pt x="270" y="29"/>
                        </a:lnTo>
                        <a:lnTo>
                          <a:pt x="273" y="29"/>
                        </a:lnTo>
                        <a:lnTo>
                          <a:pt x="277" y="30"/>
                        </a:lnTo>
                        <a:lnTo>
                          <a:pt x="280" y="32"/>
                        </a:lnTo>
                        <a:lnTo>
                          <a:pt x="281" y="33"/>
                        </a:lnTo>
                        <a:lnTo>
                          <a:pt x="281" y="32"/>
                        </a:lnTo>
                        <a:lnTo>
                          <a:pt x="283" y="30"/>
                        </a:lnTo>
                        <a:lnTo>
                          <a:pt x="285" y="30"/>
                        </a:lnTo>
                        <a:lnTo>
                          <a:pt x="287" y="31"/>
                        </a:lnTo>
                        <a:lnTo>
                          <a:pt x="291" y="32"/>
                        </a:lnTo>
                        <a:lnTo>
                          <a:pt x="296" y="33"/>
                        </a:lnTo>
                        <a:lnTo>
                          <a:pt x="300" y="36"/>
                        </a:lnTo>
                        <a:lnTo>
                          <a:pt x="302" y="36"/>
                        </a:lnTo>
                        <a:lnTo>
                          <a:pt x="304" y="36"/>
                        </a:lnTo>
                        <a:lnTo>
                          <a:pt x="305" y="33"/>
                        </a:lnTo>
                        <a:lnTo>
                          <a:pt x="311" y="31"/>
                        </a:lnTo>
                        <a:lnTo>
                          <a:pt x="315" y="29"/>
                        </a:lnTo>
                        <a:lnTo>
                          <a:pt x="318" y="27"/>
                        </a:lnTo>
                        <a:lnTo>
                          <a:pt x="322" y="27"/>
                        </a:lnTo>
                        <a:lnTo>
                          <a:pt x="325" y="27"/>
                        </a:lnTo>
                        <a:lnTo>
                          <a:pt x="328" y="28"/>
                        </a:lnTo>
                        <a:lnTo>
                          <a:pt x="332" y="28"/>
                        </a:lnTo>
                        <a:lnTo>
                          <a:pt x="335" y="27"/>
                        </a:lnTo>
                        <a:lnTo>
                          <a:pt x="339" y="26"/>
                        </a:lnTo>
                        <a:lnTo>
                          <a:pt x="342" y="25"/>
                        </a:lnTo>
                        <a:lnTo>
                          <a:pt x="344" y="23"/>
                        </a:lnTo>
                        <a:lnTo>
                          <a:pt x="345" y="20"/>
                        </a:lnTo>
                        <a:lnTo>
                          <a:pt x="347" y="14"/>
                        </a:lnTo>
                        <a:lnTo>
                          <a:pt x="347" y="12"/>
                        </a:lnTo>
                        <a:lnTo>
                          <a:pt x="347" y="11"/>
                        </a:lnTo>
                        <a:lnTo>
                          <a:pt x="345" y="11"/>
                        </a:lnTo>
                        <a:lnTo>
                          <a:pt x="343" y="11"/>
                        </a:lnTo>
                        <a:lnTo>
                          <a:pt x="342" y="9"/>
                        </a:lnTo>
                        <a:lnTo>
                          <a:pt x="341" y="5"/>
                        </a:lnTo>
                        <a:lnTo>
                          <a:pt x="343" y="1"/>
                        </a:lnTo>
                        <a:lnTo>
                          <a:pt x="345" y="0"/>
                        </a:lnTo>
                        <a:lnTo>
                          <a:pt x="348" y="1"/>
                        </a:lnTo>
                        <a:lnTo>
                          <a:pt x="352" y="0"/>
                        </a:lnTo>
                        <a:lnTo>
                          <a:pt x="355" y="0"/>
                        </a:lnTo>
                        <a:lnTo>
                          <a:pt x="358" y="0"/>
                        </a:lnTo>
                        <a:lnTo>
                          <a:pt x="360" y="1"/>
                        </a:lnTo>
                        <a:lnTo>
                          <a:pt x="362" y="2"/>
                        </a:lnTo>
                        <a:lnTo>
                          <a:pt x="366" y="4"/>
                        </a:lnTo>
                        <a:lnTo>
                          <a:pt x="369" y="7"/>
                        </a:lnTo>
                        <a:lnTo>
                          <a:pt x="371" y="11"/>
                        </a:lnTo>
                        <a:lnTo>
                          <a:pt x="371" y="12"/>
                        </a:lnTo>
                        <a:lnTo>
                          <a:pt x="372" y="12"/>
                        </a:lnTo>
                        <a:lnTo>
                          <a:pt x="373" y="14"/>
                        </a:lnTo>
                        <a:lnTo>
                          <a:pt x="374" y="17"/>
                        </a:lnTo>
                        <a:lnTo>
                          <a:pt x="374" y="21"/>
                        </a:lnTo>
                        <a:lnTo>
                          <a:pt x="373" y="24"/>
                        </a:lnTo>
                        <a:lnTo>
                          <a:pt x="371" y="26"/>
                        </a:lnTo>
                        <a:lnTo>
                          <a:pt x="367" y="27"/>
                        </a:lnTo>
                        <a:lnTo>
                          <a:pt x="364" y="28"/>
                        </a:lnTo>
                        <a:lnTo>
                          <a:pt x="363" y="30"/>
                        </a:lnTo>
                        <a:lnTo>
                          <a:pt x="362" y="32"/>
                        </a:lnTo>
                        <a:lnTo>
                          <a:pt x="360" y="33"/>
                        </a:lnTo>
                        <a:lnTo>
                          <a:pt x="358" y="34"/>
                        </a:lnTo>
                        <a:lnTo>
                          <a:pt x="356" y="36"/>
                        </a:lnTo>
                        <a:lnTo>
                          <a:pt x="354" y="38"/>
                        </a:lnTo>
                        <a:lnTo>
                          <a:pt x="354" y="43"/>
                        </a:lnTo>
                        <a:lnTo>
                          <a:pt x="354" y="45"/>
                        </a:lnTo>
                        <a:lnTo>
                          <a:pt x="355" y="46"/>
                        </a:lnTo>
                        <a:lnTo>
                          <a:pt x="357" y="47"/>
                        </a:lnTo>
                        <a:lnTo>
                          <a:pt x="357" y="49"/>
                        </a:lnTo>
                        <a:lnTo>
                          <a:pt x="357" y="52"/>
                        </a:lnTo>
                        <a:lnTo>
                          <a:pt x="358" y="54"/>
                        </a:lnTo>
                        <a:lnTo>
                          <a:pt x="358" y="56"/>
                        </a:lnTo>
                        <a:lnTo>
                          <a:pt x="359" y="56"/>
                        </a:lnTo>
                        <a:lnTo>
                          <a:pt x="358" y="57"/>
                        </a:lnTo>
                        <a:lnTo>
                          <a:pt x="357" y="59"/>
                        </a:lnTo>
                        <a:lnTo>
                          <a:pt x="348" y="68"/>
                        </a:lnTo>
                        <a:lnTo>
                          <a:pt x="344" y="70"/>
                        </a:lnTo>
                        <a:lnTo>
                          <a:pt x="342" y="71"/>
                        </a:lnTo>
                        <a:lnTo>
                          <a:pt x="341" y="72"/>
                        </a:lnTo>
                        <a:lnTo>
                          <a:pt x="335" y="68"/>
                        </a:lnTo>
                        <a:lnTo>
                          <a:pt x="326" y="67"/>
                        </a:lnTo>
                        <a:lnTo>
                          <a:pt x="316" y="67"/>
                        </a:lnTo>
                        <a:lnTo>
                          <a:pt x="305" y="65"/>
                        </a:lnTo>
                        <a:lnTo>
                          <a:pt x="303" y="65"/>
                        </a:lnTo>
                        <a:lnTo>
                          <a:pt x="299" y="63"/>
                        </a:lnTo>
                        <a:lnTo>
                          <a:pt x="295" y="62"/>
                        </a:lnTo>
                        <a:lnTo>
                          <a:pt x="290" y="62"/>
                        </a:lnTo>
                        <a:lnTo>
                          <a:pt x="289" y="62"/>
                        </a:lnTo>
                        <a:lnTo>
                          <a:pt x="288" y="63"/>
                        </a:lnTo>
                        <a:lnTo>
                          <a:pt x="287" y="65"/>
                        </a:lnTo>
                        <a:lnTo>
                          <a:pt x="286" y="65"/>
                        </a:lnTo>
                        <a:lnTo>
                          <a:pt x="282" y="65"/>
                        </a:lnTo>
                        <a:lnTo>
                          <a:pt x="280" y="65"/>
                        </a:lnTo>
                        <a:lnTo>
                          <a:pt x="279" y="66"/>
                        </a:lnTo>
                        <a:lnTo>
                          <a:pt x="277" y="68"/>
                        </a:lnTo>
                        <a:lnTo>
                          <a:pt x="276" y="71"/>
                        </a:lnTo>
                        <a:lnTo>
                          <a:pt x="274" y="72"/>
                        </a:lnTo>
                        <a:lnTo>
                          <a:pt x="271" y="72"/>
                        </a:lnTo>
                        <a:lnTo>
                          <a:pt x="268" y="72"/>
                        </a:lnTo>
                        <a:lnTo>
                          <a:pt x="266" y="70"/>
                        </a:lnTo>
                        <a:lnTo>
                          <a:pt x="264" y="67"/>
                        </a:lnTo>
                        <a:lnTo>
                          <a:pt x="260" y="65"/>
                        </a:lnTo>
                        <a:lnTo>
                          <a:pt x="258" y="66"/>
                        </a:lnTo>
                        <a:lnTo>
                          <a:pt x="256" y="67"/>
                        </a:lnTo>
                        <a:lnTo>
                          <a:pt x="255" y="68"/>
                        </a:lnTo>
                        <a:lnTo>
                          <a:pt x="253" y="68"/>
                        </a:lnTo>
                        <a:lnTo>
                          <a:pt x="251" y="69"/>
                        </a:lnTo>
                        <a:lnTo>
                          <a:pt x="249" y="70"/>
                        </a:lnTo>
                        <a:lnTo>
                          <a:pt x="245" y="72"/>
                        </a:lnTo>
                        <a:lnTo>
                          <a:pt x="245" y="76"/>
                        </a:lnTo>
                        <a:lnTo>
                          <a:pt x="244" y="80"/>
                        </a:lnTo>
                        <a:lnTo>
                          <a:pt x="243" y="83"/>
                        </a:lnTo>
                        <a:lnTo>
                          <a:pt x="241" y="84"/>
                        </a:lnTo>
                        <a:lnTo>
                          <a:pt x="236" y="84"/>
                        </a:lnTo>
                        <a:lnTo>
                          <a:pt x="231" y="84"/>
                        </a:lnTo>
                        <a:lnTo>
                          <a:pt x="224" y="84"/>
                        </a:lnTo>
                        <a:lnTo>
                          <a:pt x="219" y="84"/>
                        </a:lnTo>
                        <a:lnTo>
                          <a:pt x="218" y="84"/>
                        </a:lnTo>
                        <a:lnTo>
                          <a:pt x="217" y="84"/>
                        </a:lnTo>
                        <a:lnTo>
                          <a:pt x="212" y="84"/>
                        </a:lnTo>
                        <a:lnTo>
                          <a:pt x="212" y="85"/>
                        </a:lnTo>
                        <a:lnTo>
                          <a:pt x="211" y="86"/>
                        </a:lnTo>
                        <a:lnTo>
                          <a:pt x="209" y="87"/>
                        </a:lnTo>
                        <a:lnTo>
                          <a:pt x="209" y="88"/>
                        </a:lnTo>
                        <a:lnTo>
                          <a:pt x="209" y="89"/>
                        </a:lnTo>
                        <a:lnTo>
                          <a:pt x="209" y="91"/>
                        </a:lnTo>
                        <a:lnTo>
                          <a:pt x="211" y="93"/>
                        </a:lnTo>
                        <a:lnTo>
                          <a:pt x="214" y="97"/>
                        </a:lnTo>
                        <a:lnTo>
                          <a:pt x="216" y="101"/>
                        </a:lnTo>
                        <a:lnTo>
                          <a:pt x="219" y="108"/>
                        </a:lnTo>
                        <a:lnTo>
                          <a:pt x="220" y="106"/>
                        </a:lnTo>
                        <a:lnTo>
                          <a:pt x="222" y="105"/>
                        </a:lnTo>
                        <a:lnTo>
                          <a:pt x="225" y="104"/>
                        </a:lnTo>
                        <a:lnTo>
                          <a:pt x="226" y="104"/>
                        </a:lnTo>
                        <a:lnTo>
                          <a:pt x="226" y="105"/>
                        </a:lnTo>
                        <a:lnTo>
                          <a:pt x="226" y="106"/>
                        </a:lnTo>
                        <a:lnTo>
                          <a:pt x="227" y="107"/>
                        </a:lnTo>
                        <a:lnTo>
                          <a:pt x="229" y="108"/>
                        </a:lnTo>
                        <a:lnTo>
                          <a:pt x="230" y="108"/>
                        </a:lnTo>
                        <a:lnTo>
                          <a:pt x="232" y="108"/>
                        </a:lnTo>
                        <a:lnTo>
                          <a:pt x="236" y="108"/>
                        </a:lnTo>
                        <a:lnTo>
                          <a:pt x="241" y="111"/>
                        </a:lnTo>
                        <a:lnTo>
                          <a:pt x="245" y="115"/>
                        </a:lnTo>
                        <a:lnTo>
                          <a:pt x="248" y="120"/>
                        </a:lnTo>
                        <a:lnTo>
                          <a:pt x="248" y="125"/>
                        </a:lnTo>
                        <a:lnTo>
                          <a:pt x="248" y="126"/>
                        </a:lnTo>
                        <a:lnTo>
                          <a:pt x="248" y="127"/>
                        </a:lnTo>
                        <a:lnTo>
                          <a:pt x="246" y="127"/>
                        </a:lnTo>
                        <a:lnTo>
                          <a:pt x="245" y="128"/>
                        </a:lnTo>
                        <a:lnTo>
                          <a:pt x="245" y="130"/>
                        </a:lnTo>
                        <a:lnTo>
                          <a:pt x="243" y="127"/>
                        </a:lnTo>
                        <a:lnTo>
                          <a:pt x="242" y="124"/>
                        </a:lnTo>
                        <a:lnTo>
                          <a:pt x="241" y="121"/>
                        </a:lnTo>
                        <a:lnTo>
                          <a:pt x="241" y="120"/>
                        </a:lnTo>
                        <a:lnTo>
                          <a:pt x="239" y="119"/>
                        </a:lnTo>
                        <a:lnTo>
                          <a:pt x="236" y="118"/>
                        </a:lnTo>
                        <a:lnTo>
                          <a:pt x="232" y="118"/>
                        </a:lnTo>
                        <a:lnTo>
                          <a:pt x="229" y="117"/>
                        </a:lnTo>
                        <a:lnTo>
                          <a:pt x="228" y="117"/>
                        </a:lnTo>
                        <a:lnTo>
                          <a:pt x="227" y="117"/>
                        </a:lnTo>
                        <a:lnTo>
                          <a:pt x="226" y="117"/>
                        </a:lnTo>
                        <a:lnTo>
                          <a:pt x="221" y="116"/>
                        </a:lnTo>
                        <a:lnTo>
                          <a:pt x="218" y="116"/>
                        </a:lnTo>
                        <a:lnTo>
                          <a:pt x="216" y="117"/>
                        </a:lnTo>
                        <a:lnTo>
                          <a:pt x="215" y="118"/>
                        </a:lnTo>
                        <a:lnTo>
                          <a:pt x="215" y="122"/>
                        </a:lnTo>
                        <a:lnTo>
                          <a:pt x="219" y="127"/>
                        </a:lnTo>
                        <a:lnTo>
                          <a:pt x="222" y="131"/>
                        </a:lnTo>
                        <a:lnTo>
                          <a:pt x="225" y="132"/>
                        </a:lnTo>
                        <a:lnTo>
                          <a:pt x="226" y="135"/>
                        </a:lnTo>
                        <a:lnTo>
                          <a:pt x="226" y="139"/>
                        </a:lnTo>
                        <a:lnTo>
                          <a:pt x="225" y="140"/>
                        </a:lnTo>
                        <a:lnTo>
                          <a:pt x="224" y="141"/>
                        </a:lnTo>
                        <a:lnTo>
                          <a:pt x="223" y="142"/>
                        </a:lnTo>
                        <a:lnTo>
                          <a:pt x="222" y="142"/>
                        </a:lnTo>
                        <a:lnTo>
                          <a:pt x="221" y="142"/>
                        </a:lnTo>
                        <a:lnTo>
                          <a:pt x="219" y="142"/>
                        </a:lnTo>
                        <a:lnTo>
                          <a:pt x="217" y="139"/>
                        </a:lnTo>
                        <a:lnTo>
                          <a:pt x="216" y="136"/>
                        </a:lnTo>
                        <a:lnTo>
                          <a:pt x="216" y="132"/>
                        </a:lnTo>
                        <a:lnTo>
                          <a:pt x="215" y="130"/>
                        </a:lnTo>
                        <a:lnTo>
                          <a:pt x="206" y="130"/>
                        </a:lnTo>
                        <a:lnTo>
                          <a:pt x="206" y="128"/>
                        </a:lnTo>
                        <a:lnTo>
                          <a:pt x="206" y="127"/>
                        </a:lnTo>
                        <a:lnTo>
                          <a:pt x="204" y="125"/>
                        </a:lnTo>
                        <a:lnTo>
                          <a:pt x="201" y="124"/>
                        </a:lnTo>
                        <a:lnTo>
                          <a:pt x="198" y="123"/>
                        </a:lnTo>
                        <a:lnTo>
                          <a:pt x="193" y="123"/>
                        </a:lnTo>
                        <a:lnTo>
                          <a:pt x="193" y="124"/>
                        </a:lnTo>
                        <a:lnTo>
                          <a:pt x="193" y="125"/>
                        </a:lnTo>
                        <a:lnTo>
                          <a:pt x="193" y="126"/>
                        </a:lnTo>
                        <a:lnTo>
                          <a:pt x="193" y="127"/>
                        </a:lnTo>
                        <a:lnTo>
                          <a:pt x="196" y="131"/>
                        </a:lnTo>
                        <a:lnTo>
                          <a:pt x="198" y="134"/>
                        </a:lnTo>
                        <a:lnTo>
                          <a:pt x="201" y="138"/>
                        </a:lnTo>
                        <a:lnTo>
                          <a:pt x="203" y="142"/>
                        </a:lnTo>
                        <a:lnTo>
                          <a:pt x="204" y="143"/>
                        </a:lnTo>
                        <a:lnTo>
                          <a:pt x="205" y="144"/>
                        </a:lnTo>
                        <a:lnTo>
                          <a:pt x="206" y="146"/>
                        </a:lnTo>
                        <a:lnTo>
                          <a:pt x="206" y="148"/>
                        </a:lnTo>
                        <a:lnTo>
                          <a:pt x="206" y="149"/>
                        </a:lnTo>
                        <a:lnTo>
                          <a:pt x="202" y="149"/>
                        </a:lnTo>
                        <a:lnTo>
                          <a:pt x="200" y="149"/>
                        </a:lnTo>
                        <a:lnTo>
                          <a:pt x="197" y="149"/>
                        </a:lnTo>
                        <a:lnTo>
                          <a:pt x="193" y="149"/>
                        </a:lnTo>
                        <a:lnTo>
                          <a:pt x="193" y="147"/>
                        </a:lnTo>
                        <a:lnTo>
                          <a:pt x="192" y="145"/>
                        </a:lnTo>
                        <a:lnTo>
                          <a:pt x="188" y="137"/>
                        </a:lnTo>
                        <a:lnTo>
                          <a:pt x="186" y="131"/>
                        </a:lnTo>
                        <a:lnTo>
                          <a:pt x="186" y="129"/>
                        </a:lnTo>
                        <a:lnTo>
                          <a:pt x="186" y="127"/>
                        </a:lnTo>
                        <a:lnTo>
                          <a:pt x="185" y="126"/>
                        </a:lnTo>
                        <a:lnTo>
                          <a:pt x="184" y="123"/>
                        </a:lnTo>
                        <a:lnTo>
                          <a:pt x="182" y="121"/>
                        </a:lnTo>
                        <a:lnTo>
                          <a:pt x="181" y="120"/>
                        </a:lnTo>
                        <a:lnTo>
                          <a:pt x="176" y="120"/>
                        </a:lnTo>
                        <a:lnTo>
                          <a:pt x="175" y="119"/>
                        </a:lnTo>
                        <a:lnTo>
                          <a:pt x="174" y="117"/>
                        </a:lnTo>
                        <a:lnTo>
                          <a:pt x="171" y="115"/>
                        </a:lnTo>
                        <a:lnTo>
                          <a:pt x="168" y="111"/>
                        </a:lnTo>
                        <a:lnTo>
                          <a:pt x="165" y="108"/>
                        </a:lnTo>
                        <a:lnTo>
                          <a:pt x="164" y="104"/>
                        </a:lnTo>
                        <a:lnTo>
                          <a:pt x="166" y="103"/>
                        </a:lnTo>
                        <a:lnTo>
                          <a:pt x="167" y="101"/>
                        </a:lnTo>
                        <a:lnTo>
                          <a:pt x="167" y="91"/>
                        </a:lnTo>
                        <a:lnTo>
                          <a:pt x="164" y="91"/>
                        </a:lnTo>
                        <a:lnTo>
                          <a:pt x="165" y="93"/>
                        </a:lnTo>
                        <a:lnTo>
                          <a:pt x="165" y="94"/>
                        </a:lnTo>
                        <a:lnTo>
                          <a:pt x="164" y="94"/>
                        </a:lnTo>
                        <a:lnTo>
                          <a:pt x="163" y="99"/>
                        </a:lnTo>
                        <a:lnTo>
                          <a:pt x="160" y="102"/>
                        </a:lnTo>
                        <a:lnTo>
                          <a:pt x="156" y="105"/>
                        </a:lnTo>
                        <a:lnTo>
                          <a:pt x="151" y="108"/>
                        </a:lnTo>
                        <a:lnTo>
                          <a:pt x="153" y="114"/>
                        </a:lnTo>
                        <a:lnTo>
                          <a:pt x="154" y="122"/>
                        </a:lnTo>
                        <a:lnTo>
                          <a:pt x="153" y="131"/>
                        </a:lnTo>
                        <a:lnTo>
                          <a:pt x="151" y="139"/>
                        </a:lnTo>
                        <a:lnTo>
                          <a:pt x="152" y="139"/>
                        </a:lnTo>
                        <a:lnTo>
                          <a:pt x="153" y="139"/>
                        </a:lnTo>
                        <a:lnTo>
                          <a:pt x="154" y="139"/>
                        </a:lnTo>
                        <a:lnTo>
                          <a:pt x="155" y="139"/>
                        </a:lnTo>
                        <a:lnTo>
                          <a:pt x="155" y="140"/>
                        </a:lnTo>
                        <a:lnTo>
                          <a:pt x="155" y="141"/>
                        </a:lnTo>
                        <a:lnTo>
                          <a:pt x="156" y="146"/>
                        </a:lnTo>
                        <a:lnTo>
                          <a:pt x="158" y="150"/>
                        </a:lnTo>
                        <a:lnTo>
                          <a:pt x="158" y="152"/>
                        </a:lnTo>
                        <a:lnTo>
                          <a:pt x="158" y="153"/>
                        </a:lnTo>
                        <a:lnTo>
                          <a:pt x="158" y="155"/>
                        </a:lnTo>
                        <a:lnTo>
                          <a:pt x="157" y="156"/>
                        </a:lnTo>
                        <a:lnTo>
                          <a:pt x="158" y="158"/>
                        </a:lnTo>
                        <a:lnTo>
                          <a:pt x="159" y="159"/>
                        </a:lnTo>
                        <a:lnTo>
                          <a:pt x="160" y="160"/>
                        </a:lnTo>
                        <a:lnTo>
                          <a:pt x="160" y="162"/>
                        </a:lnTo>
                        <a:lnTo>
                          <a:pt x="161" y="164"/>
                        </a:lnTo>
                        <a:lnTo>
                          <a:pt x="162" y="167"/>
                        </a:lnTo>
                        <a:lnTo>
                          <a:pt x="163" y="171"/>
                        </a:lnTo>
                        <a:lnTo>
                          <a:pt x="164" y="175"/>
                        </a:lnTo>
                        <a:lnTo>
                          <a:pt x="173" y="180"/>
                        </a:lnTo>
                        <a:lnTo>
                          <a:pt x="178" y="182"/>
                        </a:lnTo>
                        <a:lnTo>
                          <a:pt x="181" y="184"/>
                        </a:lnTo>
                        <a:lnTo>
                          <a:pt x="183" y="187"/>
                        </a:lnTo>
                        <a:lnTo>
                          <a:pt x="184" y="189"/>
                        </a:lnTo>
                        <a:lnTo>
                          <a:pt x="184" y="194"/>
                        </a:lnTo>
                        <a:lnTo>
                          <a:pt x="184" y="197"/>
                        </a:lnTo>
                        <a:lnTo>
                          <a:pt x="185" y="199"/>
                        </a:lnTo>
                        <a:lnTo>
                          <a:pt x="190" y="204"/>
                        </a:lnTo>
                        <a:lnTo>
                          <a:pt x="190" y="205"/>
                        </a:lnTo>
                        <a:lnTo>
                          <a:pt x="190" y="207"/>
                        </a:lnTo>
                        <a:lnTo>
                          <a:pt x="190" y="208"/>
                        </a:lnTo>
                        <a:lnTo>
                          <a:pt x="190" y="210"/>
                        </a:lnTo>
                        <a:lnTo>
                          <a:pt x="185" y="210"/>
                        </a:lnTo>
                        <a:lnTo>
                          <a:pt x="182" y="212"/>
                        </a:lnTo>
                        <a:lnTo>
                          <a:pt x="178" y="213"/>
                        </a:lnTo>
                        <a:lnTo>
                          <a:pt x="174" y="213"/>
                        </a:lnTo>
                        <a:lnTo>
                          <a:pt x="174" y="212"/>
                        </a:lnTo>
                        <a:lnTo>
                          <a:pt x="174" y="210"/>
                        </a:lnTo>
                        <a:lnTo>
                          <a:pt x="176" y="210"/>
                        </a:lnTo>
                        <a:lnTo>
                          <a:pt x="177" y="210"/>
                        </a:lnTo>
                        <a:lnTo>
                          <a:pt x="178" y="210"/>
                        </a:lnTo>
                        <a:lnTo>
                          <a:pt x="179" y="210"/>
                        </a:lnTo>
                        <a:lnTo>
                          <a:pt x="180" y="210"/>
                        </a:lnTo>
                        <a:lnTo>
                          <a:pt x="181" y="210"/>
                        </a:lnTo>
                        <a:lnTo>
                          <a:pt x="181" y="208"/>
                        </a:lnTo>
                        <a:lnTo>
                          <a:pt x="181" y="207"/>
                        </a:lnTo>
                        <a:lnTo>
                          <a:pt x="181" y="205"/>
                        </a:lnTo>
                        <a:lnTo>
                          <a:pt x="181" y="204"/>
                        </a:lnTo>
                        <a:lnTo>
                          <a:pt x="177" y="204"/>
                        </a:lnTo>
                        <a:lnTo>
                          <a:pt x="177" y="202"/>
                        </a:lnTo>
                        <a:lnTo>
                          <a:pt x="177" y="201"/>
                        </a:lnTo>
                        <a:lnTo>
                          <a:pt x="177" y="199"/>
                        </a:lnTo>
                        <a:lnTo>
                          <a:pt x="177" y="197"/>
                        </a:lnTo>
                        <a:lnTo>
                          <a:pt x="174" y="197"/>
                        </a:lnTo>
                        <a:lnTo>
                          <a:pt x="171" y="196"/>
                        </a:lnTo>
                        <a:lnTo>
                          <a:pt x="168" y="195"/>
                        </a:lnTo>
                        <a:lnTo>
                          <a:pt x="167" y="194"/>
                        </a:lnTo>
                        <a:lnTo>
                          <a:pt x="165" y="195"/>
                        </a:lnTo>
                        <a:lnTo>
                          <a:pt x="164" y="196"/>
                        </a:lnTo>
                        <a:lnTo>
                          <a:pt x="164" y="197"/>
                        </a:lnTo>
                        <a:lnTo>
                          <a:pt x="160" y="197"/>
                        </a:lnTo>
                        <a:lnTo>
                          <a:pt x="160" y="199"/>
                        </a:lnTo>
                        <a:lnTo>
                          <a:pt x="160" y="201"/>
                        </a:lnTo>
                        <a:lnTo>
                          <a:pt x="160" y="202"/>
                        </a:lnTo>
                        <a:lnTo>
                          <a:pt x="160" y="204"/>
                        </a:lnTo>
                        <a:lnTo>
                          <a:pt x="162" y="204"/>
                        </a:lnTo>
                        <a:lnTo>
                          <a:pt x="163" y="204"/>
                        </a:lnTo>
                        <a:lnTo>
                          <a:pt x="164" y="204"/>
                        </a:lnTo>
                        <a:lnTo>
                          <a:pt x="166" y="206"/>
                        </a:lnTo>
                        <a:lnTo>
                          <a:pt x="167" y="210"/>
                        </a:lnTo>
                        <a:lnTo>
                          <a:pt x="169" y="214"/>
                        </a:lnTo>
                        <a:lnTo>
                          <a:pt x="171" y="217"/>
                        </a:lnTo>
                        <a:lnTo>
                          <a:pt x="171" y="218"/>
                        </a:lnTo>
                        <a:lnTo>
                          <a:pt x="171" y="219"/>
                        </a:lnTo>
                        <a:lnTo>
                          <a:pt x="171" y="220"/>
                        </a:lnTo>
                        <a:lnTo>
                          <a:pt x="167" y="224"/>
                        </a:lnTo>
                        <a:lnTo>
                          <a:pt x="162" y="226"/>
                        </a:lnTo>
                        <a:lnTo>
                          <a:pt x="157" y="227"/>
                        </a:lnTo>
                        <a:lnTo>
                          <a:pt x="151" y="227"/>
                        </a:lnTo>
                        <a:lnTo>
                          <a:pt x="148" y="229"/>
                        </a:lnTo>
                        <a:lnTo>
                          <a:pt x="150" y="229"/>
                        </a:lnTo>
                        <a:lnTo>
                          <a:pt x="151" y="231"/>
                        </a:lnTo>
                        <a:lnTo>
                          <a:pt x="151" y="232"/>
                        </a:lnTo>
                        <a:lnTo>
                          <a:pt x="155" y="232"/>
                        </a:lnTo>
                        <a:lnTo>
                          <a:pt x="158" y="233"/>
                        </a:lnTo>
                        <a:lnTo>
                          <a:pt x="161" y="234"/>
                        </a:lnTo>
                        <a:lnTo>
                          <a:pt x="164" y="236"/>
                        </a:lnTo>
                        <a:lnTo>
                          <a:pt x="166" y="237"/>
                        </a:lnTo>
                        <a:lnTo>
                          <a:pt x="169" y="239"/>
                        </a:lnTo>
                        <a:lnTo>
                          <a:pt x="171" y="241"/>
                        </a:lnTo>
                        <a:lnTo>
                          <a:pt x="174" y="242"/>
                        </a:lnTo>
                        <a:lnTo>
                          <a:pt x="179" y="242"/>
                        </a:lnTo>
                        <a:lnTo>
                          <a:pt x="183" y="242"/>
                        </a:lnTo>
                        <a:lnTo>
                          <a:pt x="186" y="242"/>
                        </a:lnTo>
                        <a:lnTo>
                          <a:pt x="188" y="245"/>
                        </a:lnTo>
                        <a:lnTo>
                          <a:pt x="188" y="247"/>
                        </a:lnTo>
                        <a:lnTo>
                          <a:pt x="188" y="250"/>
                        </a:lnTo>
                        <a:lnTo>
                          <a:pt x="190" y="252"/>
                        </a:lnTo>
                        <a:lnTo>
                          <a:pt x="193" y="252"/>
                        </a:lnTo>
                        <a:lnTo>
                          <a:pt x="196" y="252"/>
                        </a:lnTo>
                        <a:lnTo>
                          <a:pt x="200" y="253"/>
                        </a:lnTo>
                        <a:lnTo>
                          <a:pt x="203" y="255"/>
                        </a:lnTo>
                        <a:lnTo>
                          <a:pt x="203" y="257"/>
                        </a:lnTo>
                        <a:lnTo>
                          <a:pt x="203" y="258"/>
                        </a:lnTo>
                        <a:lnTo>
                          <a:pt x="204" y="258"/>
                        </a:lnTo>
                        <a:lnTo>
                          <a:pt x="205" y="258"/>
                        </a:lnTo>
                        <a:lnTo>
                          <a:pt x="206" y="258"/>
                        </a:lnTo>
                        <a:lnTo>
                          <a:pt x="206" y="259"/>
                        </a:lnTo>
                        <a:lnTo>
                          <a:pt x="206" y="260"/>
                        </a:lnTo>
                        <a:lnTo>
                          <a:pt x="206" y="261"/>
                        </a:lnTo>
                        <a:lnTo>
                          <a:pt x="206" y="262"/>
                        </a:lnTo>
                        <a:lnTo>
                          <a:pt x="208" y="263"/>
                        </a:lnTo>
                        <a:lnTo>
                          <a:pt x="209" y="263"/>
                        </a:lnTo>
                        <a:lnTo>
                          <a:pt x="210" y="263"/>
                        </a:lnTo>
                        <a:lnTo>
                          <a:pt x="212" y="265"/>
                        </a:lnTo>
                        <a:lnTo>
                          <a:pt x="219" y="266"/>
                        </a:lnTo>
                        <a:lnTo>
                          <a:pt x="225" y="269"/>
                        </a:lnTo>
                        <a:lnTo>
                          <a:pt x="229" y="273"/>
                        </a:lnTo>
                        <a:lnTo>
                          <a:pt x="232" y="277"/>
                        </a:lnTo>
                        <a:lnTo>
                          <a:pt x="232" y="282"/>
                        </a:lnTo>
                        <a:lnTo>
                          <a:pt x="231" y="287"/>
                        </a:lnTo>
                        <a:lnTo>
                          <a:pt x="231" y="292"/>
                        </a:lnTo>
                        <a:lnTo>
                          <a:pt x="232" y="297"/>
                        </a:lnTo>
                        <a:lnTo>
                          <a:pt x="232" y="300"/>
                        </a:lnTo>
                        <a:lnTo>
                          <a:pt x="233" y="301"/>
                        </a:lnTo>
                        <a:lnTo>
                          <a:pt x="234" y="304"/>
                        </a:lnTo>
                        <a:lnTo>
                          <a:pt x="235" y="306"/>
                        </a:lnTo>
                        <a:lnTo>
                          <a:pt x="237" y="306"/>
                        </a:lnTo>
                        <a:lnTo>
                          <a:pt x="238" y="306"/>
                        </a:lnTo>
                        <a:lnTo>
                          <a:pt x="238" y="307"/>
                        </a:lnTo>
                        <a:lnTo>
                          <a:pt x="238" y="308"/>
                        </a:lnTo>
                        <a:lnTo>
                          <a:pt x="238" y="309"/>
                        </a:lnTo>
                        <a:lnTo>
                          <a:pt x="238" y="310"/>
                        </a:lnTo>
                        <a:lnTo>
                          <a:pt x="238" y="312"/>
                        </a:lnTo>
                        <a:lnTo>
                          <a:pt x="238" y="313"/>
                        </a:lnTo>
                        <a:lnTo>
                          <a:pt x="237" y="314"/>
                        </a:lnTo>
                        <a:lnTo>
                          <a:pt x="235" y="315"/>
                        </a:lnTo>
                        <a:lnTo>
                          <a:pt x="232" y="316"/>
                        </a:lnTo>
                        <a:lnTo>
                          <a:pt x="230" y="316"/>
                        </a:lnTo>
                        <a:lnTo>
                          <a:pt x="229" y="316"/>
                        </a:lnTo>
                        <a:lnTo>
                          <a:pt x="228" y="316"/>
                        </a:lnTo>
                        <a:lnTo>
                          <a:pt x="226" y="316"/>
                        </a:lnTo>
                        <a:lnTo>
                          <a:pt x="225" y="314"/>
                        </a:lnTo>
                        <a:lnTo>
                          <a:pt x="224" y="312"/>
                        </a:lnTo>
                        <a:lnTo>
                          <a:pt x="223" y="310"/>
                        </a:lnTo>
                        <a:lnTo>
                          <a:pt x="222" y="310"/>
                        </a:lnTo>
                        <a:lnTo>
                          <a:pt x="220" y="308"/>
                        </a:lnTo>
                        <a:lnTo>
                          <a:pt x="219" y="308"/>
                        </a:lnTo>
                        <a:lnTo>
                          <a:pt x="219" y="306"/>
                        </a:lnTo>
                        <a:lnTo>
                          <a:pt x="217" y="306"/>
                        </a:lnTo>
                        <a:lnTo>
                          <a:pt x="216" y="305"/>
                        </a:lnTo>
                        <a:lnTo>
                          <a:pt x="216" y="304"/>
                        </a:lnTo>
                        <a:lnTo>
                          <a:pt x="215" y="303"/>
                        </a:lnTo>
                        <a:lnTo>
                          <a:pt x="213" y="303"/>
                        </a:lnTo>
                        <a:lnTo>
                          <a:pt x="209" y="303"/>
                        </a:lnTo>
                        <a:lnTo>
                          <a:pt x="209" y="300"/>
                        </a:lnTo>
                        <a:lnTo>
                          <a:pt x="211" y="297"/>
                        </a:lnTo>
                        <a:lnTo>
                          <a:pt x="212" y="294"/>
                        </a:lnTo>
                        <a:lnTo>
                          <a:pt x="212" y="291"/>
                        </a:lnTo>
                        <a:lnTo>
                          <a:pt x="210" y="289"/>
                        </a:lnTo>
                        <a:lnTo>
                          <a:pt x="209" y="289"/>
                        </a:lnTo>
                        <a:lnTo>
                          <a:pt x="209" y="287"/>
                        </a:lnTo>
                        <a:lnTo>
                          <a:pt x="207" y="289"/>
                        </a:lnTo>
                        <a:lnTo>
                          <a:pt x="205" y="289"/>
                        </a:lnTo>
                        <a:lnTo>
                          <a:pt x="202" y="289"/>
                        </a:lnTo>
                        <a:lnTo>
                          <a:pt x="200" y="291"/>
                        </a:lnTo>
                        <a:lnTo>
                          <a:pt x="198" y="291"/>
                        </a:lnTo>
                        <a:lnTo>
                          <a:pt x="197" y="292"/>
                        </a:lnTo>
                        <a:lnTo>
                          <a:pt x="196" y="294"/>
                        </a:lnTo>
                        <a:lnTo>
                          <a:pt x="199" y="294"/>
                        </a:lnTo>
                        <a:lnTo>
                          <a:pt x="201" y="292"/>
                        </a:lnTo>
                        <a:lnTo>
                          <a:pt x="204" y="291"/>
                        </a:lnTo>
                        <a:lnTo>
                          <a:pt x="206" y="291"/>
                        </a:lnTo>
                        <a:lnTo>
                          <a:pt x="206" y="292"/>
                        </a:lnTo>
                        <a:lnTo>
                          <a:pt x="206" y="294"/>
                        </a:lnTo>
                        <a:lnTo>
                          <a:pt x="206" y="295"/>
                        </a:lnTo>
                        <a:lnTo>
                          <a:pt x="206" y="296"/>
                        </a:lnTo>
                        <a:lnTo>
                          <a:pt x="206" y="297"/>
                        </a:lnTo>
                        <a:lnTo>
                          <a:pt x="196" y="297"/>
                        </a:lnTo>
                        <a:lnTo>
                          <a:pt x="196" y="296"/>
                        </a:lnTo>
                        <a:lnTo>
                          <a:pt x="196" y="295"/>
                        </a:lnTo>
                        <a:lnTo>
                          <a:pt x="196" y="294"/>
                        </a:lnTo>
                        <a:lnTo>
                          <a:pt x="193" y="295"/>
                        </a:lnTo>
                        <a:lnTo>
                          <a:pt x="190" y="296"/>
                        </a:lnTo>
                        <a:lnTo>
                          <a:pt x="186" y="298"/>
                        </a:lnTo>
                        <a:lnTo>
                          <a:pt x="184" y="300"/>
                        </a:lnTo>
                        <a:lnTo>
                          <a:pt x="181" y="300"/>
                        </a:lnTo>
                        <a:lnTo>
                          <a:pt x="179" y="300"/>
                        </a:lnTo>
                        <a:lnTo>
                          <a:pt x="176" y="299"/>
                        </a:lnTo>
                        <a:lnTo>
                          <a:pt x="174" y="300"/>
                        </a:lnTo>
                        <a:lnTo>
                          <a:pt x="174" y="303"/>
                        </a:lnTo>
                        <a:lnTo>
                          <a:pt x="176" y="303"/>
                        </a:lnTo>
                        <a:lnTo>
                          <a:pt x="177" y="303"/>
                        </a:lnTo>
                        <a:lnTo>
                          <a:pt x="177" y="305"/>
                        </a:lnTo>
                        <a:lnTo>
                          <a:pt x="178" y="305"/>
                        </a:lnTo>
                        <a:lnTo>
                          <a:pt x="179" y="305"/>
                        </a:lnTo>
                        <a:lnTo>
                          <a:pt x="181" y="306"/>
                        </a:lnTo>
                        <a:lnTo>
                          <a:pt x="181" y="311"/>
                        </a:lnTo>
                        <a:lnTo>
                          <a:pt x="181" y="315"/>
                        </a:lnTo>
                        <a:lnTo>
                          <a:pt x="182" y="319"/>
                        </a:lnTo>
                        <a:lnTo>
                          <a:pt x="184" y="323"/>
                        </a:lnTo>
                        <a:lnTo>
                          <a:pt x="185" y="323"/>
                        </a:lnTo>
                        <a:lnTo>
                          <a:pt x="190" y="323"/>
                        </a:lnTo>
                        <a:lnTo>
                          <a:pt x="190" y="320"/>
                        </a:lnTo>
                        <a:lnTo>
                          <a:pt x="192" y="320"/>
                        </a:lnTo>
                        <a:lnTo>
                          <a:pt x="193" y="320"/>
                        </a:lnTo>
                        <a:lnTo>
                          <a:pt x="193" y="322"/>
                        </a:lnTo>
                        <a:lnTo>
                          <a:pt x="192" y="325"/>
                        </a:lnTo>
                        <a:lnTo>
                          <a:pt x="193" y="329"/>
                        </a:lnTo>
                        <a:lnTo>
                          <a:pt x="194" y="329"/>
                        </a:lnTo>
                        <a:lnTo>
                          <a:pt x="196" y="329"/>
                        </a:lnTo>
                        <a:lnTo>
                          <a:pt x="199" y="330"/>
                        </a:lnTo>
                        <a:lnTo>
                          <a:pt x="200" y="332"/>
                        </a:lnTo>
                        <a:lnTo>
                          <a:pt x="200" y="333"/>
                        </a:lnTo>
                        <a:lnTo>
                          <a:pt x="200" y="334"/>
                        </a:lnTo>
                        <a:lnTo>
                          <a:pt x="200" y="335"/>
                        </a:lnTo>
                        <a:lnTo>
                          <a:pt x="200" y="336"/>
                        </a:lnTo>
                        <a:lnTo>
                          <a:pt x="197" y="336"/>
                        </a:lnTo>
                        <a:lnTo>
                          <a:pt x="195" y="337"/>
                        </a:lnTo>
                        <a:lnTo>
                          <a:pt x="192" y="338"/>
                        </a:lnTo>
                        <a:lnTo>
                          <a:pt x="190" y="339"/>
                        </a:lnTo>
                        <a:lnTo>
                          <a:pt x="189" y="339"/>
                        </a:lnTo>
                        <a:lnTo>
                          <a:pt x="188" y="341"/>
                        </a:lnTo>
                        <a:lnTo>
                          <a:pt x="188" y="342"/>
                        </a:lnTo>
                        <a:lnTo>
                          <a:pt x="190" y="342"/>
                        </a:lnTo>
                        <a:lnTo>
                          <a:pt x="185" y="343"/>
                        </a:lnTo>
                        <a:lnTo>
                          <a:pt x="183" y="344"/>
                        </a:lnTo>
                        <a:lnTo>
                          <a:pt x="181" y="346"/>
                        </a:lnTo>
                        <a:lnTo>
                          <a:pt x="179" y="344"/>
                        </a:lnTo>
                        <a:lnTo>
                          <a:pt x="178" y="343"/>
                        </a:lnTo>
                        <a:lnTo>
                          <a:pt x="177" y="342"/>
                        </a:lnTo>
                        <a:lnTo>
                          <a:pt x="177" y="340"/>
                        </a:lnTo>
                        <a:lnTo>
                          <a:pt x="177" y="339"/>
                        </a:lnTo>
                        <a:lnTo>
                          <a:pt x="177" y="336"/>
                        </a:lnTo>
                        <a:lnTo>
                          <a:pt x="176" y="336"/>
                        </a:lnTo>
                        <a:lnTo>
                          <a:pt x="174" y="336"/>
                        </a:lnTo>
                        <a:lnTo>
                          <a:pt x="174" y="334"/>
                        </a:lnTo>
                        <a:lnTo>
                          <a:pt x="174" y="333"/>
                        </a:lnTo>
                        <a:lnTo>
                          <a:pt x="174" y="332"/>
                        </a:lnTo>
                        <a:lnTo>
                          <a:pt x="174" y="329"/>
                        </a:lnTo>
                        <a:lnTo>
                          <a:pt x="171" y="329"/>
                        </a:lnTo>
                        <a:lnTo>
                          <a:pt x="169" y="331"/>
                        </a:lnTo>
                        <a:lnTo>
                          <a:pt x="166" y="332"/>
                        </a:lnTo>
                        <a:lnTo>
                          <a:pt x="164" y="332"/>
                        </a:lnTo>
                        <a:lnTo>
                          <a:pt x="163" y="330"/>
                        </a:lnTo>
                        <a:lnTo>
                          <a:pt x="162" y="329"/>
                        </a:lnTo>
                        <a:lnTo>
                          <a:pt x="161" y="329"/>
                        </a:lnTo>
                        <a:lnTo>
                          <a:pt x="160" y="329"/>
                        </a:lnTo>
                        <a:lnTo>
                          <a:pt x="160" y="330"/>
                        </a:lnTo>
                        <a:lnTo>
                          <a:pt x="160" y="331"/>
                        </a:lnTo>
                        <a:lnTo>
                          <a:pt x="160" y="333"/>
                        </a:lnTo>
                        <a:lnTo>
                          <a:pt x="160" y="336"/>
                        </a:lnTo>
                        <a:lnTo>
                          <a:pt x="161" y="340"/>
                        </a:lnTo>
                        <a:lnTo>
                          <a:pt x="163" y="346"/>
                        </a:lnTo>
                        <a:lnTo>
                          <a:pt x="165" y="351"/>
                        </a:lnTo>
                        <a:lnTo>
                          <a:pt x="164" y="355"/>
                        </a:lnTo>
                        <a:lnTo>
                          <a:pt x="169" y="360"/>
                        </a:lnTo>
                        <a:lnTo>
                          <a:pt x="171" y="364"/>
                        </a:lnTo>
                        <a:lnTo>
                          <a:pt x="174" y="368"/>
                        </a:lnTo>
                        <a:lnTo>
                          <a:pt x="173" y="369"/>
                        </a:lnTo>
                        <a:lnTo>
                          <a:pt x="172" y="370"/>
                        </a:lnTo>
                        <a:lnTo>
                          <a:pt x="171" y="371"/>
                        </a:lnTo>
                        <a:lnTo>
                          <a:pt x="172" y="374"/>
                        </a:lnTo>
                        <a:lnTo>
                          <a:pt x="174" y="377"/>
                        </a:lnTo>
                        <a:lnTo>
                          <a:pt x="176" y="381"/>
                        </a:lnTo>
                        <a:lnTo>
                          <a:pt x="177" y="384"/>
                        </a:lnTo>
                        <a:lnTo>
                          <a:pt x="177" y="386"/>
                        </a:lnTo>
                        <a:lnTo>
                          <a:pt x="176" y="389"/>
                        </a:lnTo>
                        <a:lnTo>
                          <a:pt x="174" y="391"/>
                        </a:lnTo>
                        <a:lnTo>
                          <a:pt x="174" y="394"/>
                        </a:lnTo>
                        <a:lnTo>
                          <a:pt x="176" y="397"/>
                        </a:lnTo>
                        <a:lnTo>
                          <a:pt x="179" y="401"/>
                        </a:lnTo>
                        <a:lnTo>
                          <a:pt x="182" y="405"/>
                        </a:lnTo>
                        <a:lnTo>
                          <a:pt x="184" y="406"/>
                        </a:lnTo>
                        <a:lnTo>
                          <a:pt x="183" y="407"/>
                        </a:lnTo>
                        <a:lnTo>
                          <a:pt x="182" y="408"/>
                        </a:lnTo>
                        <a:lnTo>
                          <a:pt x="180" y="409"/>
                        </a:lnTo>
                        <a:lnTo>
                          <a:pt x="177" y="410"/>
                        </a:lnTo>
                        <a:lnTo>
                          <a:pt x="177" y="409"/>
                        </a:lnTo>
                        <a:lnTo>
                          <a:pt x="176" y="408"/>
                        </a:lnTo>
                        <a:lnTo>
                          <a:pt x="174" y="407"/>
                        </a:lnTo>
                        <a:lnTo>
                          <a:pt x="174" y="406"/>
                        </a:lnTo>
                        <a:lnTo>
                          <a:pt x="172" y="406"/>
                        </a:lnTo>
                        <a:lnTo>
                          <a:pt x="171" y="406"/>
                        </a:lnTo>
                        <a:lnTo>
                          <a:pt x="169" y="406"/>
                        </a:lnTo>
                        <a:lnTo>
                          <a:pt x="167" y="406"/>
                        </a:lnTo>
                        <a:lnTo>
                          <a:pt x="168" y="405"/>
                        </a:lnTo>
                        <a:lnTo>
                          <a:pt x="169" y="403"/>
                        </a:lnTo>
                        <a:lnTo>
                          <a:pt x="171" y="403"/>
                        </a:lnTo>
                        <a:lnTo>
                          <a:pt x="169" y="402"/>
                        </a:lnTo>
                        <a:lnTo>
                          <a:pt x="169" y="401"/>
                        </a:lnTo>
                        <a:lnTo>
                          <a:pt x="170" y="400"/>
                        </a:lnTo>
                        <a:lnTo>
                          <a:pt x="171" y="400"/>
                        </a:lnTo>
                        <a:lnTo>
                          <a:pt x="167" y="400"/>
                        </a:lnTo>
                        <a:lnTo>
                          <a:pt x="167" y="399"/>
                        </a:lnTo>
                        <a:lnTo>
                          <a:pt x="167" y="397"/>
                        </a:lnTo>
                        <a:lnTo>
                          <a:pt x="167" y="394"/>
                        </a:lnTo>
                        <a:lnTo>
                          <a:pt x="167" y="391"/>
                        </a:lnTo>
                        <a:lnTo>
                          <a:pt x="165" y="391"/>
                        </a:lnTo>
                        <a:lnTo>
                          <a:pt x="164" y="392"/>
                        </a:lnTo>
                        <a:lnTo>
                          <a:pt x="162" y="392"/>
                        </a:lnTo>
                        <a:lnTo>
                          <a:pt x="160" y="391"/>
                        </a:lnTo>
                        <a:lnTo>
                          <a:pt x="162" y="392"/>
                        </a:lnTo>
                        <a:lnTo>
                          <a:pt x="161" y="391"/>
                        </a:lnTo>
                        <a:lnTo>
                          <a:pt x="160" y="391"/>
                        </a:lnTo>
                        <a:lnTo>
                          <a:pt x="160" y="390"/>
                        </a:lnTo>
                        <a:lnTo>
                          <a:pt x="160" y="389"/>
                        </a:lnTo>
                        <a:lnTo>
                          <a:pt x="160" y="384"/>
                        </a:lnTo>
                        <a:lnTo>
                          <a:pt x="158" y="384"/>
                        </a:lnTo>
                        <a:lnTo>
                          <a:pt x="155" y="384"/>
                        </a:lnTo>
                        <a:lnTo>
                          <a:pt x="151" y="384"/>
                        </a:lnTo>
                        <a:lnTo>
                          <a:pt x="148" y="384"/>
                        </a:lnTo>
                        <a:lnTo>
                          <a:pt x="148" y="385"/>
                        </a:lnTo>
                        <a:lnTo>
                          <a:pt x="147" y="388"/>
                        </a:lnTo>
                        <a:lnTo>
                          <a:pt x="147" y="391"/>
                        </a:lnTo>
                        <a:lnTo>
                          <a:pt x="148" y="394"/>
                        </a:lnTo>
                        <a:lnTo>
                          <a:pt x="144" y="397"/>
                        </a:lnTo>
                        <a:lnTo>
                          <a:pt x="142" y="400"/>
                        </a:lnTo>
                        <a:lnTo>
                          <a:pt x="141" y="404"/>
                        </a:lnTo>
                        <a:lnTo>
                          <a:pt x="141" y="410"/>
                        </a:lnTo>
                        <a:lnTo>
                          <a:pt x="141" y="411"/>
                        </a:lnTo>
                        <a:lnTo>
                          <a:pt x="141" y="413"/>
                        </a:lnTo>
                        <a:lnTo>
                          <a:pt x="139" y="413"/>
                        </a:lnTo>
                        <a:lnTo>
                          <a:pt x="138" y="411"/>
                        </a:lnTo>
                        <a:lnTo>
                          <a:pt x="137" y="410"/>
                        </a:lnTo>
                        <a:lnTo>
                          <a:pt x="136" y="410"/>
                        </a:lnTo>
                        <a:lnTo>
                          <a:pt x="136" y="407"/>
                        </a:lnTo>
                        <a:lnTo>
                          <a:pt x="136" y="403"/>
                        </a:lnTo>
                        <a:lnTo>
                          <a:pt x="136" y="401"/>
                        </a:lnTo>
                        <a:lnTo>
                          <a:pt x="136" y="400"/>
                        </a:lnTo>
                        <a:lnTo>
                          <a:pt x="135" y="398"/>
                        </a:lnTo>
                        <a:lnTo>
                          <a:pt x="134" y="397"/>
                        </a:lnTo>
                        <a:lnTo>
                          <a:pt x="133" y="397"/>
                        </a:lnTo>
                        <a:lnTo>
                          <a:pt x="132" y="397"/>
                        </a:lnTo>
                        <a:lnTo>
                          <a:pt x="132" y="392"/>
                        </a:lnTo>
                        <a:lnTo>
                          <a:pt x="132" y="388"/>
                        </a:lnTo>
                        <a:lnTo>
                          <a:pt x="132" y="384"/>
                        </a:lnTo>
                        <a:lnTo>
                          <a:pt x="132" y="383"/>
                        </a:lnTo>
                        <a:lnTo>
                          <a:pt x="131" y="382"/>
                        </a:lnTo>
                        <a:lnTo>
                          <a:pt x="129" y="381"/>
                        </a:lnTo>
                        <a:lnTo>
                          <a:pt x="129" y="377"/>
                        </a:lnTo>
                        <a:lnTo>
                          <a:pt x="127" y="377"/>
                        </a:lnTo>
                        <a:lnTo>
                          <a:pt x="126" y="377"/>
                        </a:lnTo>
                        <a:lnTo>
                          <a:pt x="124" y="377"/>
                        </a:lnTo>
                        <a:lnTo>
                          <a:pt x="122" y="377"/>
                        </a:lnTo>
                        <a:lnTo>
                          <a:pt x="122" y="375"/>
                        </a:lnTo>
                        <a:lnTo>
                          <a:pt x="122" y="374"/>
                        </a:lnTo>
                        <a:lnTo>
                          <a:pt x="121" y="373"/>
                        </a:lnTo>
                        <a:lnTo>
                          <a:pt x="119" y="371"/>
                        </a:lnTo>
                        <a:lnTo>
                          <a:pt x="118" y="371"/>
                        </a:lnTo>
                        <a:lnTo>
                          <a:pt x="117" y="371"/>
                        </a:lnTo>
                        <a:lnTo>
                          <a:pt x="116" y="370"/>
                        </a:lnTo>
                        <a:lnTo>
                          <a:pt x="116" y="368"/>
                        </a:lnTo>
                        <a:lnTo>
                          <a:pt x="117" y="366"/>
                        </a:lnTo>
                        <a:lnTo>
                          <a:pt x="117" y="364"/>
                        </a:lnTo>
                        <a:lnTo>
                          <a:pt x="117" y="362"/>
                        </a:lnTo>
                        <a:lnTo>
                          <a:pt x="119" y="358"/>
                        </a:lnTo>
                        <a:lnTo>
                          <a:pt x="117" y="358"/>
                        </a:lnTo>
                        <a:lnTo>
                          <a:pt x="116" y="358"/>
                        </a:lnTo>
                        <a:lnTo>
                          <a:pt x="116" y="357"/>
                        </a:lnTo>
                        <a:lnTo>
                          <a:pt x="116" y="355"/>
                        </a:lnTo>
                        <a:lnTo>
                          <a:pt x="114" y="355"/>
                        </a:lnTo>
                        <a:lnTo>
                          <a:pt x="112" y="355"/>
                        </a:lnTo>
                        <a:lnTo>
                          <a:pt x="110" y="355"/>
                        </a:lnTo>
                        <a:lnTo>
                          <a:pt x="110" y="358"/>
                        </a:lnTo>
                        <a:lnTo>
                          <a:pt x="107" y="359"/>
                        </a:lnTo>
                        <a:lnTo>
                          <a:pt x="105" y="360"/>
                        </a:lnTo>
                        <a:lnTo>
                          <a:pt x="104" y="362"/>
                        </a:lnTo>
                        <a:lnTo>
                          <a:pt x="104" y="366"/>
                        </a:lnTo>
                        <a:lnTo>
                          <a:pt x="103" y="371"/>
                        </a:lnTo>
                        <a:lnTo>
                          <a:pt x="103" y="373"/>
                        </a:lnTo>
                        <a:lnTo>
                          <a:pt x="103" y="374"/>
                        </a:lnTo>
                        <a:lnTo>
                          <a:pt x="102" y="375"/>
                        </a:lnTo>
                        <a:lnTo>
                          <a:pt x="100" y="377"/>
                        </a:lnTo>
                        <a:lnTo>
                          <a:pt x="98" y="375"/>
                        </a:lnTo>
                        <a:lnTo>
                          <a:pt x="98" y="374"/>
                        </a:lnTo>
                        <a:lnTo>
                          <a:pt x="96" y="374"/>
                        </a:lnTo>
                        <a:lnTo>
                          <a:pt x="95" y="374"/>
                        </a:lnTo>
                        <a:lnTo>
                          <a:pt x="94" y="374"/>
                        </a:lnTo>
                        <a:lnTo>
                          <a:pt x="93" y="374"/>
                        </a:lnTo>
                        <a:lnTo>
                          <a:pt x="92" y="372"/>
                        </a:lnTo>
                        <a:lnTo>
                          <a:pt x="91" y="370"/>
                        </a:lnTo>
                        <a:lnTo>
                          <a:pt x="91" y="367"/>
                        </a:lnTo>
                        <a:lnTo>
                          <a:pt x="90" y="365"/>
                        </a:lnTo>
                        <a:lnTo>
                          <a:pt x="89" y="362"/>
                        </a:lnTo>
                        <a:lnTo>
                          <a:pt x="88" y="360"/>
                        </a:lnTo>
                        <a:lnTo>
                          <a:pt x="84" y="355"/>
                        </a:lnTo>
                        <a:lnTo>
                          <a:pt x="84" y="351"/>
                        </a:lnTo>
                        <a:lnTo>
                          <a:pt x="86" y="349"/>
                        </a:lnTo>
                        <a:lnTo>
                          <a:pt x="87" y="348"/>
                        </a:lnTo>
                        <a:lnTo>
                          <a:pt x="87" y="346"/>
                        </a:lnTo>
                        <a:lnTo>
                          <a:pt x="88" y="342"/>
                        </a:lnTo>
                        <a:lnTo>
                          <a:pt x="89" y="336"/>
                        </a:lnTo>
                        <a:lnTo>
                          <a:pt x="88" y="330"/>
                        </a:lnTo>
                        <a:lnTo>
                          <a:pt x="87" y="326"/>
                        </a:lnTo>
                        <a:lnTo>
                          <a:pt x="82" y="317"/>
                        </a:lnTo>
                        <a:lnTo>
                          <a:pt x="80" y="313"/>
                        </a:lnTo>
                        <a:lnTo>
                          <a:pt x="77" y="310"/>
                        </a:lnTo>
                        <a:lnTo>
                          <a:pt x="75" y="310"/>
                        </a:lnTo>
                        <a:lnTo>
                          <a:pt x="74" y="310"/>
                        </a:lnTo>
                        <a:lnTo>
                          <a:pt x="73" y="310"/>
                        </a:lnTo>
                        <a:lnTo>
                          <a:pt x="71" y="310"/>
                        </a:lnTo>
                        <a:lnTo>
                          <a:pt x="69" y="307"/>
                        </a:lnTo>
                        <a:lnTo>
                          <a:pt x="67" y="303"/>
                        </a:lnTo>
                        <a:lnTo>
                          <a:pt x="66" y="300"/>
                        </a:lnTo>
                        <a:lnTo>
                          <a:pt x="64" y="297"/>
                        </a:lnTo>
                        <a:lnTo>
                          <a:pt x="62" y="297"/>
                        </a:lnTo>
                        <a:lnTo>
                          <a:pt x="60" y="296"/>
                        </a:lnTo>
                        <a:lnTo>
                          <a:pt x="59" y="295"/>
                        </a:lnTo>
                        <a:lnTo>
                          <a:pt x="58" y="294"/>
                        </a:lnTo>
                        <a:lnTo>
                          <a:pt x="58" y="292"/>
                        </a:lnTo>
                        <a:lnTo>
                          <a:pt x="58" y="291"/>
                        </a:lnTo>
                        <a:lnTo>
                          <a:pt x="64" y="287"/>
                        </a:lnTo>
                        <a:lnTo>
                          <a:pt x="67" y="283"/>
                        </a:lnTo>
                        <a:lnTo>
                          <a:pt x="70" y="278"/>
                        </a:lnTo>
                        <a:lnTo>
                          <a:pt x="72" y="276"/>
                        </a:lnTo>
                        <a:lnTo>
                          <a:pt x="74" y="272"/>
                        </a:lnTo>
                        <a:lnTo>
                          <a:pt x="79" y="272"/>
                        </a:lnTo>
                        <a:lnTo>
                          <a:pt x="83" y="272"/>
                        </a:lnTo>
                        <a:lnTo>
                          <a:pt x="87" y="272"/>
                        </a:lnTo>
                        <a:lnTo>
                          <a:pt x="90" y="268"/>
                        </a:lnTo>
                        <a:lnTo>
                          <a:pt x="92" y="269"/>
                        </a:lnTo>
                        <a:lnTo>
                          <a:pt x="94" y="270"/>
                        </a:lnTo>
                        <a:lnTo>
                          <a:pt x="96" y="271"/>
                        </a:lnTo>
                        <a:lnTo>
                          <a:pt x="96" y="272"/>
                        </a:lnTo>
                        <a:lnTo>
                          <a:pt x="103" y="273"/>
                        </a:lnTo>
                        <a:lnTo>
                          <a:pt x="110" y="273"/>
                        </a:lnTo>
                        <a:lnTo>
                          <a:pt x="115" y="273"/>
                        </a:lnTo>
                        <a:lnTo>
                          <a:pt x="122" y="275"/>
                        </a:lnTo>
                        <a:lnTo>
                          <a:pt x="125" y="275"/>
                        </a:lnTo>
                        <a:lnTo>
                          <a:pt x="127" y="276"/>
                        </a:lnTo>
                        <a:lnTo>
                          <a:pt x="130" y="277"/>
                        </a:lnTo>
                        <a:lnTo>
                          <a:pt x="132" y="277"/>
                        </a:lnTo>
                        <a:lnTo>
                          <a:pt x="136" y="280"/>
                        </a:lnTo>
                        <a:lnTo>
                          <a:pt x="140" y="282"/>
                        </a:lnTo>
                        <a:lnTo>
                          <a:pt x="144" y="285"/>
                        </a:lnTo>
                        <a:lnTo>
                          <a:pt x="148" y="287"/>
                        </a:lnTo>
                        <a:lnTo>
                          <a:pt x="149" y="287"/>
                        </a:lnTo>
                        <a:lnTo>
                          <a:pt x="150" y="287"/>
                        </a:lnTo>
                        <a:lnTo>
                          <a:pt x="151" y="287"/>
                        </a:lnTo>
                        <a:lnTo>
                          <a:pt x="154" y="289"/>
                        </a:lnTo>
                        <a:lnTo>
                          <a:pt x="156" y="291"/>
                        </a:lnTo>
                        <a:lnTo>
                          <a:pt x="159" y="292"/>
                        </a:lnTo>
                        <a:lnTo>
                          <a:pt x="160" y="294"/>
                        </a:lnTo>
                        <a:lnTo>
                          <a:pt x="164" y="300"/>
                        </a:lnTo>
                        <a:lnTo>
                          <a:pt x="166" y="300"/>
                        </a:lnTo>
                        <a:lnTo>
                          <a:pt x="167" y="300"/>
                        </a:lnTo>
                        <a:lnTo>
                          <a:pt x="169" y="299"/>
                        </a:lnTo>
                        <a:lnTo>
                          <a:pt x="171" y="300"/>
                        </a:lnTo>
                        <a:lnTo>
                          <a:pt x="171" y="299"/>
                        </a:lnTo>
                        <a:lnTo>
                          <a:pt x="171" y="298"/>
                        </a:lnTo>
                        <a:lnTo>
                          <a:pt x="171" y="297"/>
                        </a:lnTo>
                        <a:lnTo>
                          <a:pt x="168" y="296"/>
                        </a:lnTo>
                        <a:lnTo>
                          <a:pt x="166" y="295"/>
                        </a:lnTo>
                        <a:lnTo>
                          <a:pt x="160" y="294"/>
                        </a:lnTo>
                        <a:lnTo>
                          <a:pt x="162" y="294"/>
                        </a:lnTo>
                        <a:lnTo>
                          <a:pt x="163" y="292"/>
                        </a:lnTo>
                        <a:lnTo>
                          <a:pt x="164" y="291"/>
                        </a:lnTo>
                        <a:lnTo>
                          <a:pt x="161" y="291"/>
                        </a:lnTo>
                        <a:lnTo>
                          <a:pt x="160" y="290"/>
                        </a:lnTo>
                        <a:lnTo>
                          <a:pt x="160" y="289"/>
                        </a:lnTo>
                        <a:lnTo>
                          <a:pt x="160" y="287"/>
                        </a:lnTo>
                        <a:lnTo>
                          <a:pt x="165" y="287"/>
                        </a:lnTo>
                        <a:lnTo>
                          <a:pt x="169" y="287"/>
                        </a:lnTo>
                        <a:lnTo>
                          <a:pt x="173" y="287"/>
                        </a:lnTo>
                        <a:lnTo>
                          <a:pt x="177" y="287"/>
                        </a:lnTo>
                        <a:lnTo>
                          <a:pt x="178" y="287"/>
                        </a:lnTo>
                        <a:lnTo>
                          <a:pt x="179" y="286"/>
                        </a:lnTo>
                        <a:lnTo>
                          <a:pt x="181" y="284"/>
                        </a:lnTo>
                        <a:lnTo>
                          <a:pt x="184" y="284"/>
                        </a:lnTo>
                        <a:lnTo>
                          <a:pt x="182" y="283"/>
                        </a:lnTo>
                        <a:lnTo>
                          <a:pt x="181" y="282"/>
                        </a:lnTo>
                        <a:lnTo>
                          <a:pt x="179" y="281"/>
                        </a:lnTo>
                        <a:lnTo>
                          <a:pt x="177" y="281"/>
                        </a:lnTo>
                        <a:lnTo>
                          <a:pt x="172" y="279"/>
                        </a:lnTo>
                        <a:lnTo>
                          <a:pt x="167" y="279"/>
                        </a:lnTo>
                        <a:lnTo>
                          <a:pt x="162" y="277"/>
                        </a:lnTo>
                        <a:lnTo>
                          <a:pt x="158" y="275"/>
                        </a:lnTo>
                        <a:lnTo>
                          <a:pt x="160" y="274"/>
                        </a:lnTo>
                        <a:lnTo>
                          <a:pt x="160" y="273"/>
                        </a:lnTo>
                        <a:lnTo>
                          <a:pt x="160" y="272"/>
                        </a:lnTo>
                        <a:lnTo>
                          <a:pt x="157" y="271"/>
                        </a:lnTo>
                        <a:lnTo>
                          <a:pt x="155" y="270"/>
                        </a:lnTo>
                        <a:lnTo>
                          <a:pt x="155" y="268"/>
                        </a:lnTo>
                        <a:lnTo>
                          <a:pt x="155" y="267"/>
                        </a:lnTo>
                        <a:lnTo>
                          <a:pt x="155" y="265"/>
                        </a:lnTo>
                        <a:lnTo>
                          <a:pt x="154" y="265"/>
                        </a:lnTo>
                        <a:lnTo>
                          <a:pt x="153" y="265"/>
                        </a:lnTo>
                        <a:lnTo>
                          <a:pt x="152" y="265"/>
                        </a:lnTo>
                        <a:lnTo>
                          <a:pt x="151" y="265"/>
                        </a:lnTo>
                        <a:lnTo>
                          <a:pt x="151" y="267"/>
                        </a:lnTo>
                        <a:lnTo>
                          <a:pt x="151" y="268"/>
                        </a:lnTo>
                        <a:lnTo>
                          <a:pt x="150" y="269"/>
                        </a:lnTo>
                        <a:lnTo>
                          <a:pt x="149" y="270"/>
                        </a:lnTo>
                        <a:lnTo>
                          <a:pt x="148" y="272"/>
                        </a:lnTo>
                        <a:lnTo>
                          <a:pt x="148" y="271"/>
                        </a:lnTo>
                        <a:lnTo>
                          <a:pt x="146" y="271"/>
                        </a:lnTo>
                        <a:lnTo>
                          <a:pt x="143" y="270"/>
                        </a:lnTo>
                        <a:lnTo>
                          <a:pt x="141" y="269"/>
                        </a:lnTo>
                        <a:lnTo>
                          <a:pt x="142" y="268"/>
                        </a:lnTo>
                        <a:lnTo>
                          <a:pt x="145" y="268"/>
                        </a:lnTo>
                        <a:lnTo>
                          <a:pt x="143" y="268"/>
                        </a:lnTo>
                        <a:lnTo>
                          <a:pt x="142" y="267"/>
                        </a:lnTo>
                        <a:lnTo>
                          <a:pt x="141" y="265"/>
                        </a:lnTo>
                        <a:lnTo>
                          <a:pt x="140" y="265"/>
                        </a:lnTo>
                        <a:lnTo>
                          <a:pt x="138" y="265"/>
                        </a:lnTo>
                        <a:lnTo>
                          <a:pt x="136" y="268"/>
                        </a:lnTo>
                        <a:lnTo>
                          <a:pt x="131" y="268"/>
                        </a:lnTo>
                        <a:lnTo>
                          <a:pt x="127" y="267"/>
                        </a:lnTo>
                        <a:lnTo>
                          <a:pt x="122" y="267"/>
                        </a:lnTo>
                        <a:lnTo>
                          <a:pt x="116" y="268"/>
                        </a:lnTo>
                        <a:lnTo>
                          <a:pt x="112" y="269"/>
                        </a:lnTo>
                        <a:lnTo>
                          <a:pt x="108" y="269"/>
                        </a:lnTo>
                        <a:lnTo>
                          <a:pt x="102" y="270"/>
                        </a:lnTo>
                        <a:lnTo>
                          <a:pt x="96" y="268"/>
                        </a:lnTo>
                        <a:lnTo>
                          <a:pt x="96" y="266"/>
                        </a:lnTo>
                        <a:lnTo>
                          <a:pt x="94" y="265"/>
                        </a:lnTo>
                        <a:lnTo>
                          <a:pt x="90" y="265"/>
                        </a:lnTo>
                        <a:lnTo>
                          <a:pt x="90" y="263"/>
                        </a:lnTo>
                        <a:lnTo>
                          <a:pt x="91" y="262"/>
                        </a:lnTo>
                        <a:lnTo>
                          <a:pt x="93" y="262"/>
                        </a:lnTo>
                        <a:lnTo>
                          <a:pt x="89" y="262"/>
                        </a:lnTo>
                        <a:lnTo>
                          <a:pt x="87" y="262"/>
                        </a:lnTo>
                        <a:lnTo>
                          <a:pt x="85" y="262"/>
                        </a:lnTo>
                        <a:lnTo>
                          <a:pt x="81" y="262"/>
                        </a:lnTo>
                        <a:lnTo>
                          <a:pt x="81" y="260"/>
                        </a:lnTo>
                        <a:lnTo>
                          <a:pt x="81" y="258"/>
                        </a:lnTo>
                        <a:lnTo>
                          <a:pt x="81" y="257"/>
                        </a:lnTo>
                        <a:lnTo>
                          <a:pt x="81" y="255"/>
                        </a:lnTo>
                        <a:lnTo>
                          <a:pt x="77" y="254"/>
                        </a:lnTo>
                        <a:lnTo>
                          <a:pt x="74" y="255"/>
                        </a:lnTo>
                        <a:lnTo>
                          <a:pt x="69" y="258"/>
                        </a:lnTo>
                        <a:lnTo>
                          <a:pt x="64" y="261"/>
                        </a:lnTo>
                        <a:lnTo>
                          <a:pt x="62" y="262"/>
                        </a:lnTo>
                        <a:lnTo>
                          <a:pt x="58" y="262"/>
                        </a:lnTo>
                        <a:lnTo>
                          <a:pt x="58" y="261"/>
                        </a:lnTo>
                        <a:lnTo>
                          <a:pt x="58" y="260"/>
                        </a:lnTo>
                        <a:lnTo>
                          <a:pt x="58" y="259"/>
                        </a:lnTo>
                        <a:lnTo>
                          <a:pt x="58" y="258"/>
                        </a:lnTo>
                        <a:lnTo>
                          <a:pt x="58" y="256"/>
                        </a:lnTo>
                        <a:lnTo>
                          <a:pt x="58" y="252"/>
                        </a:lnTo>
                        <a:lnTo>
                          <a:pt x="57" y="250"/>
                        </a:lnTo>
                        <a:lnTo>
                          <a:pt x="55" y="248"/>
                        </a:lnTo>
                        <a:lnTo>
                          <a:pt x="55" y="246"/>
                        </a:lnTo>
                        <a:lnTo>
                          <a:pt x="51" y="246"/>
                        </a:lnTo>
                        <a:lnTo>
                          <a:pt x="52" y="243"/>
                        </a:lnTo>
                        <a:lnTo>
                          <a:pt x="53" y="241"/>
                        </a:lnTo>
                        <a:lnTo>
                          <a:pt x="53" y="240"/>
                        </a:lnTo>
                        <a:lnTo>
                          <a:pt x="51" y="239"/>
                        </a:lnTo>
                        <a:lnTo>
                          <a:pt x="51" y="237"/>
                        </a:lnTo>
                        <a:lnTo>
                          <a:pt x="50" y="236"/>
                        </a:lnTo>
                        <a:lnTo>
                          <a:pt x="49" y="234"/>
                        </a:lnTo>
                        <a:lnTo>
                          <a:pt x="48" y="232"/>
                        </a:lnTo>
                        <a:lnTo>
                          <a:pt x="46" y="232"/>
                        </a:lnTo>
                        <a:lnTo>
                          <a:pt x="45" y="230"/>
                        </a:lnTo>
                        <a:lnTo>
                          <a:pt x="45" y="227"/>
                        </a:lnTo>
                        <a:lnTo>
                          <a:pt x="44" y="227"/>
                        </a:lnTo>
                        <a:lnTo>
                          <a:pt x="43" y="227"/>
                        </a:lnTo>
                        <a:lnTo>
                          <a:pt x="42" y="227"/>
                        </a:lnTo>
                        <a:lnTo>
                          <a:pt x="41" y="227"/>
                        </a:lnTo>
                        <a:lnTo>
                          <a:pt x="40" y="222"/>
                        </a:lnTo>
                        <a:lnTo>
                          <a:pt x="39" y="219"/>
                        </a:lnTo>
                        <a:lnTo>
                          <a:pt x="40" y="217"/>
                        </a:lnTo>
                        <a:lnTo>
                          <a:pt x="42" y="217"/>
                        </a:lnTo>
                        <a:lnTo>
                          <a:pt x="45" y="217"/>
                        </a:lnTo>
                        <a:lnTo>
                          <a:pt x="45" y="216"/>
                        </a:lnTo>
                        <a:lnTo>
                          <a:pt x="47" y="215"/>
                        </a:lnTo>
                        <a:lnTo>
                          <a:pt x="49" y="214"/>
                        </a:lnTo>
                        <a:lnTo>
                          <a:pt x="51" y="213"/>
                        </a:lnTo>
                        <a:lnTo>
                          <a:pt x="53" y="214"/>
                        </a:lnTo>
                        <a:lnTo>
                          <a:pt x="54" y="217"/>
                        </a:lnTo>
                        <a:lnTo>
                          <a:pt x="55" y="219"/>
                        </a:lnTo>
                        <a:lnTo>
                          <a:pt x="55" y="220"/>
                        </a:lnTo>
                        <a:lnTo>
                          <a:pt x="56" y="219"/>
                        </a:lnTo>
                        <a:lnTo>
                          <a:pt x="58" y="218"/>
                        </a:lnTo>
                        <a:lnTo>
                          <a:pt x="59" y="217"/>
                        </a:lnTo>
                        <a:lnTo>
                          <a:pt x="58" y="217"/>
                        </a:lnTo>
                        <a:lnTo>
                          <a:pt x="58" y="216"/>
                        </a:lnTo>
                        <a:lnTo>
                          <a:pt x="58" y="215"/>
                        </a:lnTo>
                        <a:lnTo>
                          <a:pt x="58" y="214"/>
                        </a:lnTo>
                        <a:lnTo>
                          <a:pt x="58" y="213"/>
                        </a:lnTo>
                        <a:lnTo>
                          <a:pt x="58" y="212"/>
                        </a:lnTo>
                        <a:lnTo>
                          <a:pt x="58" y="210"/>
                        </a:lnTo>
                        <a:lnTo>
                          <a:pt x="54" y="210"/>
                        </a:lnTo>
                        <a:lnTo>
                          <a:pt x="50" y="209"/>
                        </a:lnTo>
                        <a:lnTo>
                          <a:pt x="47" y="208"/>
                        </a:lnTo>
                        <a:lnTo>
                          <a:pt x="45" y="207"/>
                        </a:lnTo>
                        <a:lnTo>
                          <a:pt x="44" y="207"/>
                        </a:lnTo>
                        <a:lnTo>
                          <a:pt x="43" y="207"/>
                        </a:lnTo>
                        <a:lnTo>
                          <a:pt x="42" y="207"/>
                        </a:lnTo>
                        <a:lnTo>
                          <a:pt x="41" y="207"/>
                        </a:lnTo>
                        <a:lnTo>
                          <a:pt x="40" y="207"/>
                        </a:lnTo>
                        <a:lnTo>
                          <a:pt x="39" y="207"/>
                        </a:lnTo>
                        <a:lnTo>
                          <a:pt x="39" y="210"/>
                        </a:lnTo>
                        <a:lnTo>
                          <a:pt x="40" y="210"/>
                        </a:lnTo>
                        <a:lnTo>
                          <a:pt x="41" y="212"/>
                        </a:lnTo>
                        <a:lnTo>
                          <a:pt x="41" y="213"/>
                        </a:lnTo>
                        <a:lnTo>
                          <a:pt x="40" y="215"/>
                        </a:lnTo>
                        <a:lnTo>
                          <a:pt x="39" y="214"/>
                        </a:lnTo>
                        <a:lnTo>
                          <a:pt x="38" y="214"/>
                        </a:lnTo>
                        <a:lnTo>
                          <a:pt x="36" y="213"/>
                        </a:lnTo>
                        <a:lnTo>
                          <a:pt x="36" y="211"/>
                        </a:lnTo>
                        <a:lnTo>
                          <a:pt x="36" y="207"/>
                        </a:lnTo>
                        <a:lnTo>
                          <a:pt x="35" y="207"/>
                        </a:lnTo>
                        <a:lnTo>
                          <a:pt x="34" y="207"/>
                        </a:lnTo>
                        <a:lnTo>
                          <a:pt x="33" y="207"/>
                        </a:lnTo>
                        <a:lnTo>
                          <a:pt x="32" y="207"/>
                        </a:lnTo>
                        <a:lnTo>
                          <a:pt x="30" y="204"/>
                        </a:lnTo>
                        <a:lnTo>
                          <a:pt x="29" y="203"/>
                        </a:lnTo>
                        <a:lnTo>
                          <a:pt x="28" y="200"/>
                        </a:lnTo>
                        <a:lnTo>
                          <a:pt x="26" y="197"/>
                        </a:lnTo>
                        <a:lnTo>
                          <a:pt x="24" y="197"/>
                        </a:lnTo>
                        <a:lnTo>
                          <a:pt x="22" y="197"/>
                        </a:lnTo>
                        <a:lnTo>
                          <a:pt x="21" y="197"/>
                        </a:lnTo>
                        <a:lnTo>
                          <a:pt x="19" y="197"/>
                        </a:lnTo>
                        <a:lnTo>
                          <a:pt x="18" y="197"/>
                        </a:lnTo>
                        <a:lnTo>
                          <a:pt x="17" y="196"/>
                        </a:lnTo>
                        <a:lnTo>
                          <a:pt x="16" y="195"/>
                        </a:lnTo>
                        <a:lnTo>
                          <a:pt x="16" y="194"/>
                        </a:lnTo>
                        <a:lnTo>
                          <a:pt x="17" y="188"/>
                        </a:lnTo>
                        <a:lnTo>
                          <a:pt x="16" y="185"/>
                        </a:lnTo>
                        <a:lnTo>
                          <a:pt x="14" y="184"/>
                        </a:lnTo>
                        <a:lnTo>
                          <a:pt x="10" y="184"/>
                        </a:lnTo>
                        <a:lnTo>
                          <a:pt x="10" y="181"/>
                        </a:lnTo>
                        <a:lnTo>
                          <a:pt x="10" y="180"/>
                        </a:lnTo>
                        <a:lnTo>
                          <a:pt x="10" y="179"/>
                        </a:lnTo>
                        <a:lnTo>
                          <a:pt x="10" y="178"/>
                        </a:lnTo>
                        <a:lnTo>
                          <a:pt x="9" y="176"/>
                        </a:lnTo>
                        <a:lnTo>
                          <a:pt x="6" y="175"/>
                        </a:lnTo>
                        <a:lnTo>
                          <a:pt x="3" y="174"/>
                        </a:lnTo>
                        <a:lnTo>
                          <a:pt x="0" y="172"/>
                        </a:lnTo>
                        <a:lnTo>
                          <a:pt x="0" y="171"/>
                        </a:lnTo>
                        <a:lnTo>
                          <a:pt x="0" y="170"/>
                        </a:lnTo>
                        <a:lnTo>
                          <a:pt x="0" y="168"/>
                        </a:lnTo>
                        <a:lnTo>
                          <a:pt x="2" y="168"/>
                        </a:lnTo>
                        <a:lnTo>
                          <a:pt x="3" y="168"/>
                        </a:lnTo>
                        <a:lnTo>
                          <a:pt x="4" y="168"/>
                        </a:lnTo>
                        <a:lnTo>
                          <a:pt x="6" y="168"/>
                        </a:lnTo>
                        <a:lnTo>
                          <a:pt x="7" y="169"/>
                        </a:lnTo>
                        <a:lnTo>
                          <a:pt x="9" y="170"/>
                        </a:lnTo>
                        <a:lnTo>
                          <a:pt x="11" y="171"/>
                        </a:lnTo>
                        <a:lnTo>
                          <a:pt x="13" y="172"/>
                        </a:lnTo>
                        <a:lnTo>
                          <a:pt x="14" y="172"/>
                        </a:lnTo>
                        <a:lnTo>
                          <a:pt x="15" y="171"/>
                        </a:lnTo>
                        <a:lnTo>
                          <a:pt x="16" y="170"/>
                        </a:lnTo>
                        <a:lnTo>
                          <a:pt x="16" y="168"/>
                        </a:lnTo>
                        <a:lnTo>
                          <a:pt x="16" y="165"/>
                        </a:lnTo>
                        <a:lnTo>
                          <a:pt x="16" y="162"/>
                        </a:lnTo>
                        <a:lnTo>
                          <a:pt x="16" y="159"/>
                        </a:lnTo>
                        <a:lnTo>
                          <a:pt x="16" y="158"/>
                        </a:lnTo>
                        <a:lnTo>
                          <a:pt x="18" y="159"/>
                        </a:lnTo>
                        <a:lnTo>
                          <a:pt x="19" y="160"/>
                        </a:lnTo>
                        <a:lnTo>
                          <a:pt x="20" y="161"/>
                        </a:lnTo>
                        <a:lnTo>
                          <a:pt x="22" y="162"/>
                        </a:lnTo>
                        <a:lnTo>
                          <a:pt x="23" y="162"/>
                        </a:lnTo>
                        <a:lnTo>
                          <a:pt x="24" y="162"/>
                        </a:lnTo>
                        <a:lnTo>
                          <a:pt x="26" y="162"/>
                        </a:lnTo>
                        <a:lnTo>
                          <a:pt x="26" y="161"/>
                        </a:lnTo>
                        <a:lnTo>
                          <a:pt x="26" y="160"/>
                        </a:lnTo>
                        <a:lnTo>
                          <a:pt x="26" y="159"/>
                        </a:lnTo>
                        <a:lnTo>
                          <a:pt x="26" y="158"/>
                        </a:lnTo>
                        <a:lnTo>
                          <a:pt x="25" y="158"/>
                        </a:lnTo>
                        <a:lnTo>
                          <a:pt x="24" y="158"/>
                        </a:lnTo>
                        <a:lnTo>
                          <a:pt x="23" y="157"/>
                        </a:lnTo>
                        <a:lnTo>
                          <a:pt x="22" y="156"/>
                        </a:lnTo>
                        <a:lnTo>
                          <a:pt x="22" y="155"/>
                        </a:lnTo>
                        <a:lnTo>
                          <a:pt x="21" y="154"/>
                        </a:lnTo>
                        <a:lnTo>
                          <a:pt x="19" y="152"/>
                        </a:lnTo>
                        <a:lnTo>
                          <a:pt x="19" y="149"/>
                        </a:lnTo>
                        <a:lnTo>
                          <a:pt x="21" y="149"/>
                        </a:lnTo>
                        <a:lnTo>
                          <a:pt x="22" y="149"/>
                        </a:lnTo>
                        <a:lnTo>
                          <a:pt x="22" y="147"/>
                        </a:lnTo>
                        <a:lnTo>
                          <a:pt x="22" y="146"/>
                        </a:lnTo>
                        <a:lnTo>
                          <a:pt x="22" y="144"/>
                        </a:lnTo>
                        <a:lnTo>
                          <a:pt x="22" y="142"/>
                        </a:lnTo>
                        <a:lnTo>
                          <a:pt x="24" y="142"/>
                        </a:lnTo>
                        <a:lnTo>
                          <a:pt x="25" y="141"/>
                        </a:lnTo>
                        <a:lnTo>
                          <a:pt x="26" y="140"/>
                        </a:lnTo>
                        <a:lnTo>
                          <a:pt x="26" y="139"/>
                        </a:lnTo>
                        <a:lnTo>
                          <a:pt x="28" y="139"/>
                        </a:lnTo>
                        <a:lnTo>
                          <a:pt x="29" y="139"/>
                        </a:lnTo>
                        <a:lnTo>
                          <a:pt x="30" y="139"/>
                        </a:lnTo>
                        <a:lnTo>
                          <a:pt x="32" y="139"/>
                        </a:lnTo>
                        <a:lnTo>
                          <a:pt x="33" y="139"/>
                        </a:lnTo>
                        <a:lnTo>
                          <a:pt x="36" y="137"/>
                        </a:lnTo>
                        <a:lnTo>
                          <a:pt x="38" y="136"/>
                        </a:lnTo>
                        <a:lnTo>
                          <a:pt x="39" y="136"/>
                        </a:lnTo>
                        <a:lnTo>
                          <a:pt x="40" y="136"/>
                        </a:lnTo>
                        <a:lnTo>
                          <a:pt x="41" y="136"/>
                        </a:lnTo>
                        <a:lnTo>
                          <a:pt x="43" y="134"/>
                        </a:lnTo>
                        <a:lnTo>
                          <a:pt x="44" y="132"/>
                        </a:lnTo>
                        <a:lnTo>
                          <a:pt x="45" y="132"/>
                        </a:lnTo>
                        <a:lnTo>
                          <a:pt x="45" y="130"/>
                        </a:lnTo>
                        <a:lnTo>
                          <a:pt x="45" y="128"/>
                        </a:lnTo>
                        <a:lnTo>
                          <a:pt x="45" y="127"/>
                        </a:lnTo>
                        <a:lnTo>
                          <a:pt x="46" y="125"/>
                        </a:lnTo>
                        <a:lnTo>
                          <a:pt x="48" y="123"/>
                        </a:lnTo>
                        <a:lnTo>
                          <a:pt x="48" y="121"/>
                        </a:lnTo>
                        <a:lnTo>
                          <a:pt x="48" y="120"/>
                        </a:lnTo>
                        <a:lnTo>
                          <a:pt x="48" y="119"/>
                        </a:lnTo>
                        <a:lnTo>
                          <a:pt x="48" y="117"/>
                        </a:lnTo>
                        <a:lnTo>
                          <a:pt x="50" y="114"/>
                        </a:lnTo>
                        <a:lnTo>
                          <a:pt x="51" y="112"/>
                        </a:lnTo>
                        <a:lnTo>
                          <a:pt x="51" y="111"/>
                        </a:lnTo>
                        <a:lnTo>
                          <a:pt x="51" y="110"/>
                        </a:lnTo>
                        <a:lnTo>
                          <a:pt x="53" y="109"/>
                        </a:lnTo>
                        <a:lnTo>
                          <a:pt x="55" y="109"/>
                        </a:lnTo>
                        <a:lnTo>
                          <a:pt x="56" y="109"/>
                        </a:lnTo>
                        <a:lnTo>
                          <a:pt x="58" y="110"/>
                        </a:lnTo>
                        <a:lnTo>
                          <a:pt x="58" y="112"/>
                        </a:lnTo>
                        <a:lnTo>
                          <a:pt x="59" y="113"/>
                        </a:lnTo>
                        <a:lnTo>
                          <a:pt x="60" y="113"/>
                        </a:lnTo>
                        <a:lnTo>
                          <a:pt x="61" y="113"/>
                        </a:lnTo>
                        <a:lnTo>
                          <a:pt x="63" y="113"/>
                        </a:lnTo>
                        <a:lnTo>
                          <a:pt x="64" y="111"/>
                        </a:lnTo>
                        <a:lnTo>
                          <a:pt x="64" y="108"/>
                        </a:lnTo>
                        <a:lnTo>
                          <a:pt x="64" y="106"/>
                        </a:lnTo>
                        <a:lnTo>
                          <a:pt x="63" y="104"/>
                        </a:lnTo>
                        <a:lnTo>
                          <a:pt x="62" y="103"/>
                        </a:lnTo>
                        <a:lnTo>
                          <a:pt x="61" y="101"/>
                        </a:lnTo>
                        <a:lnTo>
                          <a:pt x="62" y="98"/>
                        </a:lnTo>
                        <a:lnTo>
                          <a:pt x="63" y="96"/>
                        </a:lnTo>
                        <a:lnTo>
                          <a:pt x="64" y="93"/>
                        </a:lnTo>
                        <a:lnTo>
                          <a:pt x="64" y="91"/>
                        </a:lnTo>
                        <a:lnTo>
                          <a:pt x="63" y="88"/>
                        </a:lnTo>
                        <a:lnTo>
                          <a:pt x="62" y="86"/>
                        </a:lnTo>
                        <a:lnTo>
                          <a:pt x="61" y="82"/>
                        </a:lnTo>
                        <a:lnTo>
                          <a:pt x="71" y="82"/>
                        </a:lnTo>
                        <a:lnTo>
                          <a:pt x="73" y="83"/>
                        </a:lnTo>
                        <a:lnTo>
                          <a:pt x="75" y="83"/>
                        </a:lnTo>
                        <a:lnTo>
                          <a:pt x="77" y="82"/>
                        </a:lnTo>
                        <a:lnTo>
                          <a:pt x="79" y="81"/>
                        </a:lnTo>
                        <a:lnTo>
                          <a:pt x="79" y="80"/>
                        </a:lnTo>
                        <a:lnTo>
                          <a:pt x="79" y="78"/>
                        </a:lnTo>
                        <a:lnTo>
                          <a:pt x="81" y="75"/>
                        </a:lnTo>
                        <a:lnTo>
                          <a:pt x="81" y="76"/>
                        </a:lnTo>
                        <a:lnTo>
                          <a:pt x="83" y="77"/>
                        </a:lnTo>
                        <a:lnTo>
                          <a:pt x="85" y="78"/>
                        </a:lnTo>
                        <a:lnTo>
                          <a:pt x="87" y="78"/>
                        </a:lnTo>
                        <a:lnTo>
                          <a:pt x="88" y="78"/>
                        </a:lnTo>
                        <a:lnTo>
                          <a:pt x="88" y="77"/>
                        </a:lnTo>
                        <a:lnTo>
                          <a:pt x="91" y="76"/>
                        </a:lnTo>
                        <a:lnTo>
                          <a:pt x="93" y="75"/>
                        </a:lnTo>
                        <a:lnTo>
                          <a:pt x="95" y="76"/>
                        </a:lnTo>
                        <a:lnTo>
                          <a:pt x="96" y="77"/>
                        </a:lnTo>
                        <a:lnTo>
                          <a:pt x="98" y="78"/>
                        </a:lnTo>
                        <a:lnTo>
                          <a:pt x="100" y="78"/>
                        </a:lnTo>
                        <a:lnTo>
                          <a:pt x="102" y="77"/>
                        </a:lnTo>
                        <a:lnTo>
                          <a:pt x="103" y="76"/>
                        </a:lnTo>
                        <a:lnTo>
                          <a:pt x="104" y="75"/>
                        </a:lnTo>
                        <a:lnTo>
                          <a:pt x="106" y="75"/>
                        </a:lnTo>
                        <a:lnTo>
                          <a:pt x="108" y="75"/>
                        </a:lnTo>
                        <a:lnTo>
                          <a:pt x="110" y="75"/>
                        </a:lnTo>
                        <a:lnTo>
                          <a:pt x="111" y="74"/>
                        </a:lnTo>
                        <a:lnTo>
                          <a:pt x="112" y="73"/>
                        </a:lnTo>
                        <a:lnTo>
                          <a:pt x="115" y="73"/>
                        </a:lnTo>
                        <a:lnTo>
                          <a:pt x="116" y="72"/>
                        </a:lnTo>
                        <a:lnTo>
                          <a:pt x="116" y="71"/>
                        </a:lnTo>
                        <a:lnTo>
                          <a:pt x="116" y="70"/>
                        </a:lnTo>
                        <a:lnTo>
                          <a:pt x="116" y="65"/>
                        </a:lnTo>
                        <a:lnTo>
                          <a:pt x="117" y="65"/>
                        </a:lnTo>
                        <a:lnTo>
                          <a:pt x="118" y="65"/>
                        </a:lnTo>
                        <a:lnTo>
                          <a:pt x="119" y="65"/>
                        </a:lnTo>
                        <a:lnTo>
                          <a:pt x="120" y="63"/>
                        </a:lnTo>
                        <a:lnTo>
                          <a:pt x="121" y="60"/>
                        </a:lnTo>
                        <a:lnTo>
                          <a:pt x="122" y="59"/>
                        </a:lnTo>
                        <a:lnTo>
                          <a:pt x="124" y="59"/>
                        </a:lnTo>
                        <a:lnTo>
                          <a:pt x="126" y="58"/>
                        </a:lnTo>
                        <a:lnTo>
                          <a:pt x="127" y="56"/>
                        </a:lnTo>
                        <a:lnTo>
                          <a:pt x="129" y="56"/>
                        </a:lnTo>
                        <a:lnTo>
                          <a:pt x="131" y="56"/>
                        </a:lnTo>
                        <a:lnTo>
                          <a:pt x="132" y="58"/>
                        </a:lnTo>
                        <a:lnTo>
                          <a:pt x="132" y="59"/>
                        </a:lnTo>
                        <a:lnTo>
                          <a:pt x="136" y="55"/>
                        </a:lnTo>
                        <a:lnTo>
                          <a:pt x="137" y="53"/>
                        </a:lnTo>
                        <a:lnTo>
                          <a:pt x="138" y="53"/>
                        </a:lnTo>
                        <a:lnTo>
                          <a:pt x="139" y="53"/>
                        </a:lnTo>
                        <a:lnTo>
                          <a:pt x="140" y="53"/>
                        </a:lnTo>
                        <a:lnTo>
                          <a:pt x="142" y="54"/>
                        </a:lnTo>
                        <a:lnTo>
                          <a:pt x="145" y="56"/>
                        </a:lnTo>
                        <a:lnTo>
                          <a:pt x="145" y="55"/>
                        </a:lnTo>
                        <a:lnTo>
                          <a:pt x="147" y="55"/>
                        </a:lnTo>
                        <a:lnTo>
                          <a:pt x="149" y="55"/>
                        </a:lnTo>
                        <a:lnTo>
                          <a:pt x="151" y="56"/>
                        </a:lnTo>
                        <a:lnTo>
                          <a:pt x="152" y="56"/>
                        </a:lnTo>
                        <a:lnTo>
                          <a:pt x="153" y="56"/>
                        </a:lnTo>
                        <a:lnTo>
                          <a:pt x="155" y="56"/>
                        </a:lnTo>
                        <a:lnTo>
                          <a:pt x="157" y="56"/>
                        </a:lnTo>
                        <a:lnTo>
                          <a:pt x="158" y="56"/>
                        </a:lnTo>
                        <a:lnTo>
                          <a:pt x="159" y="56"/>
                        </a:lnTo>
                        <a:lnTo>
                          <a:pt x="160" y="56"/>
                        </a:lnTo>
                        <a:lnTo>
                          <a:pt x="161" y="56"/>
                        </a:lnTo>
                        <a:lnTo>
                          <a:pt x="162" y="56"/>
                        </a:lnTo>
                        <a:lnTo>
                          <a:pt x="163" y="56"/>
                        </a:lnTo>
                        <a:lnTo>
                          <a:pt x="164" y="56"/>
                        </a:lnTo>
                        <a:lnTo>
                          <a:pt x="164" y="55"/>
                        </a:lnTo>
                        <a:lnTo>
                          <a:pt x="164" y="54"/>
                        </a:lnTo>
                        <a:lnTo>
                          <a:pt x="165" y="53"/>
                        </a:lnTo>
                        <a:lnTo>
                          <a:pt x="167" y="53"/>
                        </a:lnTo>
                        <a:lnTo>
                          <a:pt x="168" y="53"/>
                        </a:lnTo>
                        <a:lnTo>
                          <a:pt x="169" y="53"/>
                        </a:lnTo>
                        <a:lnTo>
                          <a:pt x="170" y="53"/>
                        </a:lnTo>
                        <a:lnTo>
                          <a:pt x="171" y="53"/>
                        </a:lnTo>
                        <a:lnTo>
                          <a:pt x="173" y="53"/>
                        </a:lnTo>
                        <a:lnTo>
                          <a:pt x="174" y="53"/>
                        </a:lnTo>
                        <a:lnTo>
                          <a:pt x="174" y="51"/>
                        </a:lnTo>
                        <a:lnTo>
                          <a:pt x="174" y="49"/>
                        </a:lnTo>
                        <a:lnTo>
                          <a:pt x="174" y="48"/>
                        </a:lnTo>
                        <a:lnTo>
                          <a:pt x="174" y="46"/>
                        </a:lnTo>
                        <a:lnTo>
                          <a:pt x="174" y="41"/>
                        </a:lnTo>
                        <a:lnTo>
                          <a:pt x="174" y="40"/>
                        </a:lnTo>
                        <a:lnTo>
                          <a:pt x="174" y="39"/>
                        </a:lnTo>
                        <a:lnTo>
                          <a:pt x="176" y="39"/>
                        </a:lnTo>
                        <a:lnTo>
                          <a:pt x="177" y="39"/>
                        </a:lnTo>
                        <a:lnTo>
                          <a:pt x="179" y="39"/>
                        </a:lnTo>
                        <a:lnTo>
                          <a:pt x="181" y="39"/>
                        </a:lnTo>
                        <a:lnTo>
                          <a:pt x="184" y="39"/>
                        </a:lnTo>
                        <a:lnTo>
                          <a:pt x="186" y="39"/>
                        </a:lnTo>
                        <a:lnTo>
                          <a:pt x="186" y="3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2" name="Freeform 1880">
                    <a:extLst>
                      <a:ext uri="{FF2B5EF4-FFF2-40B4-BE49-F238E27FC236}">
                        <a16:creationId xmlns:a16="http://schemas.microsoft.com/office/drawing/2014/main" xmlns="" id="{A5725AAF-6A27-4257-9FDB-FA459F399F2B}"/>
                      </a:ext>
                    </a:extLst>
                  </p:cNvPr>
                  <p:cNvSpPr>
                    <a:spLocks/>
                  </p:cNvSpPr>
                  <p:nvPr/>
                </p:nvSpPr>
                <p:spPr bwMode="gray">
                  <a:xfrm>
                    <a:off x="5002877" y="4535769"/>
                    <a:ext cx="3338" cy="6675"/>
                  </a:xfrm>
                  <a:custGeom>
                    <a:avLst/>
                    <a:gdLst>
                      <a:gd name="T0" fmla="*/ 2147483647 w 3"/>
                      <a:gd name="T1" fmla="*/ 0 h 6"/>
                      <a:gd name="T2" fmla="*/ 2147483647 w 3"/>
                      <a:gd name="T3" fmla="*/ 2147483647 h 6"/>
                      <a:gd name="T4" fmla="*/ 2147483647 w 3"/>
                      <a:gd name="T5" fmla="*/ 2147483647 h 6"/>
                      <a:gd name="T6" fmla="*/ 2147483647 w 3"/>
                      <a:gd name="T7" fmla="*/ 2147483647 h 6"/>
                      <a:gd name="T8" fmla="*/ 0 w 3"/>
                      <a:gd name="T9" fmla="*/ 2147483647 h 6"/>
                      <a:gd name="T10" fmla="*/ 2147483647 w 3"/>
                      <a:gd name="T11" fmla="*/ 2147483647 h 6"/>
                      <a:gd name="T12" fmla="*/ 2147483647 w 3"/>
                      <a:gd name="T13" fmla="*/ 2147483647 h 6"/>
                      <a:gd name="T14" fmla="*/ 2147483647 w 3"/>
                      <a:gd name="T15" fmla="*/ 2147483647 h 6"/>
                      <a:gd name="T16" fmla="*/ 2147483647 w 3"/>
                      <a:gd name="T17" fmla="*/ 2147483647 h 6"/>
                      <a:gd name="T18" fmla="*/ 2147483647 w 3"/>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6">
                        <a:moveTo>
                          <a:pt x="3" y="0"/>
                        </a:moveTo>
                        <a:lnTo>
                          <a:pt x="3" y="1"/>
                        </a:lnTo>
                        <a:lnTo>
                          <a:pt x="2" y="3"/>
                        </a:lnTo>
                        <a:lnTo>
                          <a:pt x="1" y="5"/>
                        </a:lnTo>
                        <a:lnTo>
                          <a:pt x="0" y="6"/>
                        </a:lnTo>
                        <a:lnTo>
                          <a:pt x="3" y="6"/>
                        </a:lnTo>
                        <a:lnTo>
                          <a:pt x="3" y="4"/>
                        </a:lnTo>
                        <a:lnTo>
                          <a:pt x="3" y="3"/>
                        </a:lnTo>
                        <a:lnTo>
                          <a:pt x="3" y="2"/>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3" name="Freeform 1882">
                    <a:extLst>
                      <a:ext uri="{FF2B5EF4-FFF2-40B4-BE49-F238E27FC236}">
                        <a16:creationId xmlns:a16="http://schemas.microsoft.com/office/drawing/2014/main" xmlns="" id="{3C4F3933-9D21-4748-BF77-08FADCD228B3}"/>
                      </a:ext>
                    </a:extLst>
                  </p:cNvPr>
                  <p:cNvSpPr>
                    <a:spLocks/>
                  </p:cNvSpPr>
                  <p:nvPr/>
                </p:nvSpPr>
                <p:spPr bwMode="gray">
                  <a:xfrm>
                    <a:off x="5002877" y="4532432"/>
                    <a:ext cx="2225" cy="6675"/>
                  </a:xfrm>
                  <a:custGeom>
                    <a:avLst/>
                    <a:gdLst>
                      <a:gd name="T0" fmla="*/ 0 w 2"/>
                      <a:gd name="T1" fmla="*/ 0 h 6"/>
                      <a:gd name="T2" fmla="*/ 0 w 2"/>
                      <a:gd name="T3" fmla="*/ 2147483647 h 6"/>
                      <a:gd name="T4" fmla="*/ 2147483647 w 2"/>
                      <a:gd name="T5" fmla="*/ 2147483647 h 6"/>
                      <a:gd name="T6" fmla="*/ 2147483647 w 2"/>
                      <a:gd name="T7" fmla="*/ 2147483647 h 6"/>
                      <a:gd name="T8" fmla="*/ 2147483647 w 2"/>
                      <a:gd name="T9" fmla="*/ 2147483647 h 6"/>
                      <a:gd name="T10" fmla="*/ 0 w 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0" y="0"/>
                        </a:moveTo>
                        <a:lnTo>
                          <a:pt x="0" y="6"/>
                        </a:lnTo>
                        <a:lnTo>
                          <a:pt x="1" y="5"/>
                        </a:lnTo>
                        <a:lnTo>
                          <a:pt x="1" y="3"/>
                        </a:lnTo>
                        <a:lnTo>
                          <a:pt x="2"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4" name="Freeform 1884">
                    <a:extLst>
                      <a:ext uri="{FF2B5EF4-FFF2-40B4-BE49-F238E27FC236}">
                        <a16:creationId xmlns:a16="http://schemas.microsoft.com/office/drawing/2014/main" xmlns="" id="{9AB82744-5466-42C6-B7D6-39C87FCB802B}"/>
                      </a:ext>
                    </a:extLst>
                  </p:cNvPr>
                  <p:cNvSpPr>
                    <a:spLocks/>
                  </p:cNvSpPr>
                  <p:nvPr/>
                </p:nvSpPr>
                <p:spPr bwMode="gray">
                  <a:xfrm>
                    <a:off x="4936126" y="4434536"/>
                    <a:ext cx="20025" cy="22249"/>
                  </a:xfrm>
                  <a:custGeom>
                    <a:avLst/>
                    <a:gdLst>
                      <a:gd name="T0" fmla="*/ 2147483647 w 18"/>
                      <a:gd name="T1" fmla="*/ 0 h 20"/>
                      <a:gd name="T2" fmla="*/ 2147483647 w 18"/>
                      <a:gd name="T3" fmla="*/ 2147483647 h 20"/>
                      <a:gd name="T4" fmla="*/ 0 w 18"/>
                      <a:gd name="T5" fmla="*/ 2147483647 h 20"/>
                      <a:gd name="T6" fmla="*/ 0 w 18"/>
                      <a:gd name="T7" fmla="*/ 2147483647 h 20"/>
                      <a:gd name="T8" fmla="*/ 2147483647 w 18"/>
                      <a:gd name="T9" fmla="*/ 2147483647 h 20"/>
                      <a:gd name="T10" fmla="*/ 2147483647 w 18"/>
                      <a:gd name="T11" fmla="*/ 2147483647 h 20"/>
                      <a:gd name="T12" fmla="*/ 2147483647 w 18"/>
                      <a:gd name="T13" fmla="*/ 2147483647 h 20"/>
                      <a:gd name="T14" fmla="*/ 2147483647 w 18"/>
                      <a:gd name="T15" fmla="*/ 2147483647 h 20"/>
                      <a:gd name="T16" fmla="*/ 2147483647 w 18"/>
                      <a:gd name="T17" fmla="*/ 2147483647 h 20"/>
                      <a:gd name="T18" fmla="*/ 2147483647 w 18"/>
                      <a:gd name="T19" fmla="*/ 2147483647 h 20"/>
                      <a:gd name="T20" fmla="*/ 2147483647 w 18"/>
                      <a:gd name="T21" fmla="*/ 2147483647 h 20"/>
                      <a:gd name="T22" fmla="*/ 2147483647 w 18"/>
                      <a:gd name="T23" fmla="*/ 2147483647 h 20"/>
                      <a:gd name="T24" fmla="*/ 2147483647 w 18"/>
                      <a:gd name="T25" fmla="*/ 2147483647 h 20"/>
                      <a:gd name="T26" fmla="*/ 2147483647 w 18"/>
                      <a:gd name="T27" fmla="*/ 2147483647 h 20"/>
                      <a:gd name="T28" fmla="*/ 2147483647 w 18"/>
                      <a:gd name="T29" fmla="*/ 2147483647 h 20"/>
                      <a:gd name="T30" fmla="*/ 2147483647 w 18"/>
                      <a:gd name="T31" fmla="*/ 2147483647 h 20"/>
                      <a:gd name="T32" fmla="*/ 2147483647 w 18"/>
                      <a:gd name="T33" fmla="*/ 2147483647 h 20"/>
                      <a:gd name="T34" fmla="*/ 2147483647 w 18"/>
                      <a:gd name="T35" fmla="*/ 2147483647 h 20"/>
                      <a:gd name="T36" fmla="*/ 2147483647 w 18"/>
                      <a:gd name="T37" fmla="*/ 2147483647 h 20"/>
                      <a:gd name="T38" fmla="*/ 2147483647 w 18"/>
                      <a:gd name="T39" fmla="*/ 2147483647 h 20"/>
                      <a:gd name="T40" fmla="*/ 2147483647 w 18"/>
                      <a:gd name="T41" fmla="*/ 2147483647 h 20"/>
                      <a:gd name="T42" fmla="*/ 2147483647 w 18"/>
                      <a:gd name="T43" fmla="*/ 2147483647 h 20"/>
                      <a:gd name="T44" fmla="*/ 2147483647 w 18"/>
                      <a:gd name="T45" fmla="*/ 2147483647 h 20"/>
                      <a:gd name="T46" fmla="*/ 2147483647 w 18"/>
                      <a:gd name="T47" fmla="*/ 2147483647 h 20"/>
                      <a:gd name="T48" fmla="*/ 2147483647 w 18"/>
                      <a:gd name="T49" fmla="*/ 2147483647 h 20"/>
                      <a:gd name="T50" fmla="*/ 2147483647 w 18"/>
                      <a:gd name="T51" fmla="*/ 2147483647 h 20"/>
                      <a:gd name="T52" fmla="*/ 2147483647 w 18"/>
                      <a:gd name="T53" fmla="*/ 2147483647 h 20"/>
                      <a:gd name="T54" fmla="*/ 2147483647 w 18"/>
                      <a:gd name="T55" fmla="*/ 2147483647 h 20"/>
                      <a:gd name="T56" fmla="*/ 2147483647 w 18"/>
                      <a:gd name="T57" fmla="*/ 2147483647 h 20"/>
                      <a:gd name="T58" fmla="*/ 2147483647 w 18"/>
                      <a:gd name="T59" fmla="*/ 2147483647 h 20"/>
                      <a:gd name="T60" fmla="*/ 2147483647 w 18"/>
                      <a:gd name="T61" fmla="*/ 2147483647 h 20"/>
                      <a:gd name="T62" fmla="*/ 2147483647 w 18"/>
                      <a:gd name="T63" fmla="*/ 2147483647 h 20"/>
                      <a:gd name="T64" fmla="*/ 2147483647 w 18"/>
                      <a:gd name="T65" fmla="*/ 2147483647 h 20"/>
                      <a:gd name="T66" fmla="*/ 2147483647 w 18"/>
                      <a:gd name="T67" fmla="*/ 2147483647 h 20"/>
                      <a:gd name="T68" fmla="*/ 2147483647 w 18"/>
                      <a:gd name="T69" fmla="*/ 2147483647 h 20"/>
                      <a:gd name="T70" fmla="*/ 2147483647 w 18"/>
                      <a:gd name="T71" fmla="*/ 2147483647 h 20"/>
                      <a:gd name="T72" fmla="*/ 2147483647 w 18"/>
                      <a:gd name="T73" fmla="*/ 2147483647 h 20"/>
                      <a:gd name="T74" fmla="*/ 2147483647 w 18"/>
                      <a:gd name="T75" fmla="*/ 2147483647 h 20"/>
                      <a:gd name="T76" fmla="*/ 2147483647 w 18"/>
                      <a:gd name="T77" fmla="*/ 2147483647 h 20"/>
                      <a:gd name="T78" fmla="*/ 2147483647 w 18"/>
                      <a:gd name="T79" fmla="*/ 2147483647 h 20"/>
                      <a:gd name="T80" fmla="*/ 2147483647 w 18"/>
                      <a:gd name="T81" fmla="*/ 2147483647 h 20"/>
                      <a:gd name="T82" fmla="*/ 2147483647 w 18"/>
                      <a:gd name="T83" fmla="*/ 2147483647 h 20"/>
                      <a:gd name="T84" fmla="*/ 2147483647 w 18"/>
                      <a:gd name="T85" fmla="*/ 2147483647 h 20"/>
                      <a:gd name="T86" fmla="*/ 2147483647 w 18"/>
                      <a:gd name="T87" fmla="*/ 2147483647 h 20"/>
                      <a:gd name="T88" fmla="*/ 2147483647 w 18"/>
                      <a:gd name="T89" fmla="*/ 2147483647 h 20"/>
                      <a:gd name="T90" fmla="*/ 2147483647 w 18"/>
                      <a:gd name="T91" fmla="*/ 2147483647 h 20"/>
                      <a:gd name="T92" fmla="*/ 2147483647 w 18"/>
                      <a:gd name="T93" fmla="*/ 2147483647 h 20"/>
                      <a:gd name="T94" fmla="*/ 2147483647 w 18"/>
                      <a:gd name="T95" fmla="*/ 0 h 20"/>
                      <a:gd name="T96" fmla="*/ 2147483647 w 18"/>
                      <a:gd name="T97" fmla="*/ 2147483647 h 20"/>
                      <a:gd name="T98" fmla="*/ 2147483647 w 18"/>
                      <a:gd name="T99" fmla="*/ 2147483647 h 20"/>
                      <a:gd name="T100" fmla="*/ 2147483647 w 18"/>
                      <a:gd name="T101" fmla="*/ 2147483647 h 20"/>
                      <a:gd name="T102" fmla="*/ 2147483647 w 18"/>
                      <a:gd name="T103" fmla="*/ 0 h 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8" h="20">
                        <a:moveTo>
                          <a:pt x="4" y="0"/>
                        </a:moveTo>
                        <a:lnTo>
                          <a:pt x="1" y="5"/>
                        </a:lnTo>
                        <a:lnTo>
                          <a:pt x="0" y="8"/>
                        </a:lnTo>
                        <a:lnTo>
                          <a:pt x="0" y="11"/>
                        </a:lnTo>
                        <a:lnTo>
                          <a:pt x="4" y="14"/>
                        </a:lnTo>
                        <a:lnTo>
                          <a:pt x="4" y="15"/>
                        </a:lnTo>
                        <a:lnTo>
                          <a:pt x="4" y="17"/>
                        </a:lnTo>
                        <a:lnTo>
                          <a:pt x="7" y="17"/>
                        </a:lnTo>
                        <a:lnTo>
                          <a:pt x="7" y="18"/>
                        </a:lnTo>
                        <a:lnTo>
                          <a:pt x="7" y="19"/>
                        </a:lnTo>
                        <a:lnTo>
                          <a:pt x="7" y="20"/>
                        </a:lnTo>
                        <a:lnTo>
                          <a:pt x="8" y="20"/>
                        </a:lnTo>
                        <a:lnTo>
                          <a:pt x="9" y="20"/>
                        </a:lnTo>
                        <a:lnTo>
                          <a:pt x="11" y="20"/>
                        </a:lnTo>
                        <a:lnTo>
                          <a:pt x="13" y="20"/>
                        </a:lnTo>
                        <a:lnTo>
                          <a:pt x="13" y="19"/>
                        </a:lnTo>
                        <a:lnTo>
                          <a:pt x="13" y="18"/>
                        </a:lnTo>
                        <a:lnTo>
                          <a:pt x="13" y="17"/>
                        </a:lnTo>
                        <a:lnTo>
                          <a:pt x="14" y="17"/>
                        </a:lnTo>
                        <a:lnTo>
                          <a:pt x="15" y="17"/>
                        </a:lnTo>
                        <a:lnTo>
                          <a:pt x="16" y="18"/>
                        </a:lnTo>
                        <a:lnTo>
                          <a:pt x="17" y="19"/>
                        </a:lnTo>
                        <a:lnTo>
                          <a:pt x="18" y="20"/>
                        </a:lnTo>
                        <a:lnTo>
                          <a:pt x="18" y="16"/>
                        </a:lnTo>
                        <a:lnTo>
                          <a:pt x="18" y="14"/>
                        </a:lnTo>
                        <a:lnTo>
                          <a:pt x="17" y="14"/>
                        </a:lnTo>
                        <a:lnTo>
                          <a:pt x="16" y="14"/>
                        </a:lnTo>
                        <a:lnTo>
                          <a:pt x="15" y="14"/>
                        </a:lnTo>
                        <a:lnTo>
                          <a:pt x="14" y="11"/>
                        </a:lnTo>
                        <a:lnTo>
                          <a:pt x="13" y="9"/>
                        </a:lnTo>
                        <a:lnTo>
                          <a:pt x="13" y="8"/>
                        </a:lnTo>
                        <a:lnTo>
                          <a:pt x="13" y="7"/>
                        </a:lnTo>
                        <a:lnTo>
                          <a:pt x="11" y="6"/>
                        </a:lnTo>
                        <a:lnTo>
                          <a:pt x="9" y="6"/>
                        </a:lnTo>
                        <a:lnTo>
                          <a:pt x="8" y="7"/>
                        </a:lnTo>
                        <a:lnTo>
                          <a:pt x="7" y="7"/>
                        </a:lnTo>
                        <a:lnTo>
                          <a:pt x="7" y="5"/>
                        </a:lnTo>
                        <a:lnTo>
                          <a:pt x="6" y="2"/>
                        </a:lnTo>
                        <a:lnTo>
                          <a:pt x="4" y="0"/>
                        </a:lnTo>
                        <a:lnTo>
                          <a:pt x="4" y="1"/>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5" name="Freeform 1886">
                    <a:extLst>
                      <a:ext uri="{FF2B5EF4-FFF2-40B4-BE49-F238E27FC236}">
                        <a16:creationId xmlns:a16="http://schemas.microsoft.com/office/drawing/2014/main" xmlns="" id="{F9224E19-CB45-4A4C-B4CA-F90CE03B9A11}"/>
                      </a:ext>
                    </a:extLst>
                  </p:cNvPr>
                  <p:cNvSpPr>
                    <a:spLocks/>
                  </p:cNvSpPr>
                  <p:nvPr/>
                </p:nvSpPr>
                <p:spPr bwMode="gray">
                  <a:xfrm>
                    <a:off x="4918326" y="4392263"/>
                    <a:ext cx="30038" cy="31149"/>
                  </a:xfrm>
                  <a:custGeom>
                    <a:avLst/>
                    <a:gdLst>
                      <a:gd name="T0" fmla="*/ 2147483647 w 27"/>
                      <a:gd name="T1" fmla="*/ 0 h 28"/>
                      <a:gd name="T2" fmla="*/ 2147483647 w 27"/>
                      <a:gd name="T3" fmla="*/ 2147483647 h 28"/>
                      <a:gd name="T4" fmla="*/ 2147483647 w 27"/>
                      <a:gd name="T5" fmla="*/ 2147483647 h 28"/>
                      <a:gd name="T6" fmla="*/ 2147483647 w 27"/>
                      <a:gd name="T7" fmla="*/ 2147483647 h 28"/>
                      <a:gd name="T8" fmla="*/ 2147483647 w 27"/>
                      <a:gd name="T9" fmla="*/ 2147483647 h 28"/>
                      <a:gd name="T10" fmla="*/ 2147483647 w 27"/>
                      <a:gd name="T11" fmla="*/ 2147483647 h 28"/>
                      <a:gd name="T12" fmla="*/ 2147483647 w 27"/>
                      <a:gd name="T13" fmla="*/ 2147483647 h 28"/>
                      <a:gd name="T14" fmla="*/ 2147483647 w 27"/>
                      <a:gd name="T15" fmla="*/ 2147483647 h 28"/>
                      <a:gd name="T16" fmla="*/ 2147483647 w 27"/>
                      <a:gd name="T17" fmla="*/ 2147483647 h 28"/>
                      <a:gd name="T18" fmla="*/ 2147483647 w 27"/>
                      <a:gd name="T19" fmla="*/ 2147483647 h 28"/>
                      <a:gd name="T20" fmla="*/ 2147483647 w 27"/>
                      <a:gd name="T21" fmla="*/ 2147483647 h 28"/>
                      <a:gd name="T22" fmla="*/ 0 w 27"/>
                      <a:gd name="T23" fmla="*/ 2147483647 h 28"/>
                      <a:gd name="T24" fmla="*/ 2147483647 w 27"/>
                      <a:gd name="T25" fmla="*/ 2147483647 h 28"/>
                      <a:gd name="T26" fmla="*/ 2147483647 w 27"/>
                      <a:gd name="T27" fmla="*/ 2147483647 h 28"/>
                      <a:gd name="T28" fmla="*/ 2147483647 w 27"/>
                      <a:gd name="T29" fmla="*/ 2147483647 h 28"/>
                      <a:gd name="T30" fmla="*/ 2147483647 w 27"/>
                      <a:gd name="T31" fmla="*/ 2147483647 h 28"/>
                      <a:gd name="T32" fmla="*/ 2147483647 w 27"/>
                      <a:gd name="T33" fmla="*/ 2147483647 h 28"/>
                      <a:gd name="T34" fmla="*/ 2147483647 w 27"/>
                      <a:gd name="T35" fmla="*/ 2147483647 h 28"/>
                      <a:gd name="T36" fmla="*/ 2147483647 w 27"/>
                      <a:gd name="T37" fmla="*/ 2147483647 h 28"/>
                      <a:gd name="T38" fmla="*/ 2147483647 w 27"/>
                      <a:gd name="T39" fmla="*/ 2147483647 h 28"/>
                      <a:gd name="T40" fmla="*/ 2147483647 w 27"/>
                      <a:gd name="T41" fmla="*/ 2147483647 h 28"/>
                      <a:gd name="T42" fmla="*/ 2147483647 w 27"/>
                      <a:gd name="T43" fmla="*/ 2147483647 h 28"/>
                      <a:gd name="T44" fmla="*/ 2147483647 w 27"/>
                      <a:gd name="T45" fmla="*/ 2147483647 h 28"/>
                      <a:gd name="T46" fmla="*/ 2147483647 w 27"/>
                      <a:gd name="T47" fmla="*/ 2147483647 h 28"/>
                      <a:gd name="T48" fmla="*/ 2147483647 w 27"/>
                      <a:gd name="T49" fmla="*/ 2147483647 h 28"/>
                      <a:gd name="T50" fmla="*/ 2147483647 w 27"/>
                      <a:gd name="T51" fmla="*/ 2147483647 h 28"/>
                      <a:gd name="T52" fmla="*/ 2147483647 w 27"/>
                      <a:gd name="T53" fmla="*/ 2147483647 h 28"/>
                      <a:gd name="T54" fmla="*/ 2147483647 w 27"/>
                      <a:gd name="T55" fmla="*/ 2147483647 h 28"/>
                      <a:gd name="T56" fmla="*/ 2147483647 w 27"/>
                      <a:gd name="T57" fmla="*/ 2147483647 h 28"/>
                      <a:gd name="T58" fmla="*/ 2147483647 w 27"/>
                      <a:gd name="T59" fmla="*/ 2147483647 h 28"/>
                      <a:gd name="T60" fmla="*/ 2147483647 w 27"/>
                      <a:gd name="T61" fmla="*/ 2147483647 h 28"/>
                      <a:gd name="T62" fmla="*/ 2147483647 w 27"/>
                      <a:gd name="T63" fmla="*/ 2147483647 h 28"/>
                      <a:gd name="T64" fmla="*/ 2147483647 w 27"/>
                      <a:gd name="T65" fmla="*/ 2147483647 h 28"/>
                      <a:gd name="T66" fmla="*/ 2147483647 w 27"/>
                      <a:gd name="T67" fmla="*/ 2147483647 h 28"/>
                      <a:gd name="T68" fmla="*/ 2147483647 w 27"/>
                      <a:gd name="T69" fmla="*/ 2147483647 h 28"/>
                      <a:gd name="T70" fmla="*/ 2147483647 w 27"/>
                      <a:gd name="T71" fmla="*/ 2147483647 h 28"/>
                      <a:gd name="T72" fmla="*/ 2147483647 w 27"/>
                      <a:gd name="T73" fmla="*/ 2147483647 h 28"/>
                      <a:gd name="T74" fmla="*/ 2147483647 w 27"/>
                      <a:gd name="T75" fmla="*/ 2147483647 h 28"/>
                      <a:gd name="T76" fmla="*/ 2147483647 w 27"/>
                      <a:gd name="T77" fmla="*/ 2147483647 h 28"/>
                      <a:gd name="T78" fmla="*/ 2147483647 w 27"/>
                      <a:gd name="T79" fmla="*/ 2147483647 h 28"/>
                      <a:gd name="T80" fmla="*/ 2147483647 w 27"/>
                      <a:gd name="T81" fmla="*/ 2147483647 h 28"/>
                      <a:gd name="T82" fmla="*/ 2147483647 w 27"/>
                      <a:gd name="T83" fmla="*/ 2147483647 h 28"/>
                      <a:gd name="T84" fmla="*/ 2147483647 w 27"/>
                      <a:gd name="T85" fmla="*/ 2147483647 h 28"/>
                      <a:gd name="T86" fmla="*/ 2147483647 w 27"/>
                      <a:gd name="T87" fmla="*/ 2147483647 h 28"/>
                      <a:gd name="T88" fmla="*/ 2147483647 w 27"/>
                      <a:gd name="T89" fmla="*/ 2147483647 h 28"/>
                      <a:gd name="T90" fmla="*/ 2147483647 w 27"/>
                      <a:gd name="T91" fmla="*/ 2147483647 h 28"/>
                      <a:gd name="T92" fmla="*/ 2147483647 w 27"/>
                      <a:gd name="T93" fmla="*/ 2147483647 h 28"/>
                      <a:gd name="T94" fmla="*/ 2147483647 w 27"/>
                      <a:gd name="T95" fmla="*/ 2147483647 h 28"/>
                      <a:gd name="T96" fmla="*/ 2147483647 w 27"/>
                      <a:gd name="T97" fmla="*/ 2147483647 h 28"/>
                      <a:gd name="T98" fmla="*/ 2147483647 w 27"/>
                      <a:gd name="T99" fmla="*/ 2147483647 h 28"/>
                      <a:gd name="T100" fmla="*/ 2147483647 w 27"/>
                      <a:gd name="T101" fmla="*/ 2147483647 h 28"/>
                      <a:gd name="T102" fmla="*/ 2147483647 w 27"/>
                      <a:gd name="T103" fmla="*/ 2147483647 h 28"/>
                      <a:gd name="T104" fmla="*/ 2147483647 w 27"/>
                      <a:gd name="T105" fmla="*/ 2147483647 h 28"/>
                      <a:gd name="T106" fmla="*/ 2147483647 w 27"/>
                      <a:gd name="T107" fmla="*/ 2147483647 h 28"/>
                      <a:gd name="T108" fmla="*/ 2147483647 w 27"/>
                      <a:gd name="T109" fmla="*/ 2147483647 h 28"/>
                      <a:gd name="T110" fmla="*/ 2147483647 w 27"/>
                      <a:gd name="T111" fmla="*/ 2147483647 h 28"/>
                      <a:gd name="T112" fmla="*/ 2147483647 w 27"/>
                      <a:gd name="T113" fmla="*/ 2147483647 h 28"/>
                      <a:gd name="T114" fmla="*/ 2147483647 w 27"/>
                      <a:gd name="T115" fmla="*/ 2147483647 h 28"/>
                      <a:gd name="T116" fmla="*/ 2147483647 w 27"/>
                      <a:gd name="T117" fmla="*/ 2147483647 h 28"/>
                      <a:gd name="T118" fmla="*/ 2147483647 w 27"/>
                      <a:gd name="T119" fmla="*/ 0 h 28"/>
                      <a:gd name="T120" fmla="*/ 2147483647 w 27"/>
                      <a:gd name="T121" fmla="*/ 0 h 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7" h="28">
                        <a:moveTo>
                          <a:pt x="12" y="0"/>
                        </a:moveTo>
                        <a:lnTo>
                          <a:pt x="12" y="1"/>
                        </a:lnTo>
                        <a:lnTo>
                          <a:pt x="12" y="4"/>
                        </a:lnTo>
                        <a:lnTo>
                          <a:pt x="12" y="7"/>
                        </a:lnTo>
                        <a:lnTo>
                          <a:pt x="12" y="10"/>
                        </a:lnTo>
                        <a:lnTo>
                          <a:pt x="9" y="10"/>
                        </a:lnTo>
                        <a:lnTo>
                          <a:pt x="6" y="10"/>
                        </a:lnTo>
                        <a:lnTo>
                          <a:pt x="4" y="11"/>
                        </a:lnTo>
                        <a:lnTo>
                          <a:pt x="2" y="12"/>
                        </a:lnTo>
                        <a:lnTo>
                          <a:pt x="1" y="16"/>
                        </a:lnTo>
                        <a:lnTo>
                          <a:pt x="1" y="19"/>
                        </a:lnTo>
                        <a:lnTo>
                          <a:pt x="0" y="24"/>
                        </a:lnTo>
                        <a:lnTo>
                          <a:pt x="1" y="22"/>
                        </a:lnTo>
                        <a:lnTo>
                          <a:pt x="2" y="22"/>
                        </a:lnTo>
                        <a:lnTo>
                          <a:pt x="3" y="23"/>
                        </a:lnTo>
                        <a:lnTo>
                          <a:pt x="3" y="24"/>
                        </a:lnTo>
                        <a:lnTo>
                          <a:pt x="6" y="20"/>
                        </a:lnTo>
                        <a:lnTo>
                          <a:pt x="7" y="20"/>
                        </a:lnTo>
                        <a:lnTo>
                          <a:pt x="8" y="18"/>
                        </a:lnTo>
                        <a:lnTo>
                          <a:pt x="9" y="16"/>
                        </a:lnTo>
                        <a:lnTo>
                          <a:pt x="10" y="14"/>
                        </a:lnTo>
                        <a:lnTo>
                          <a:pt x="10" y="18"/>
                        </a:lnTo>
                        <a:lnTo>
                          <a:pt x="10" y="22"/>
                        </a:lnTo>
                        <a:lnTo>
                          <a:pt x="10" y="27"/>
                        </a:lnTo>
                        <a:lnTo>
                          <a:pt x="15" y="28"/>
                        </a:lnTo>
                        <a:lnTo>
                          <a:pt x="22" y="28"/>
                        </a:lnTo>
                        <a:lnTo>
                          <a:pt x="25" y="28"/>
                        </a:lnTo>
                        <a:lnTo>
                          <a:pt x="27" y="27"/>
                        </a:lnTo>
                        <a:lnTo>
                          <a:pt x="27" y="24"/>
                        </a:lnTo>
                        <a:lnTo>
                          <a:pt x="25" y="20"/>
                        </a:lnTo>
                        <a:lnTo>
                          <a:pt x="24" y="20"/>
                        </a:lnTo>
                        <a:lnTo>
                          <a:pt x="23" y="20"/>
                        </a:lnTo>
                        <a:lnTo>
                          <a:pt x="22" y="20"/>
                        </a:lnTo>
                        <a:lnTo>
                          <a:pt x="23" y="19"/>
                        </a:lnTo>
                        <a:lnTo>
                          <a:pt x="22" y="18"/>
                        </a:lnTo>
                        <a:lnTo>
                          <a:pt x="20" y="16"/>
                        </a:lnTo>
                        <a:lnTo>
                          <a:pt x="18" y="16"/>
                        </a:lnTo>
                        <a:lnTo>
                          <a:pt x="19" y="16"/>
                        </a:lnTo>
                        <a:lnTo>
                          <a:pt x="19" y="20"/>
                        </a:lnTo>
                        <a:lnTo>
                          <a:pt x="18" y="20"/>
                        </a:lnTo>
                        <a:lnTo>
                          <a:pt x="17" y="20"/>
                        </a:lnTo>
                        <a:lnTo>
                          <a:pt x="16" y="20"/>
                        </a:lnTo>
                        <a:lnTo>
                          <a:pt x="15" y="20"/>
                        </a:lnTo>
                        <a:lnTo>
                          <a:pt x="15" y="16"/>
                        </a:lnTo>
                        <a:lnTo>
                          <a:pt x="15" y="15"/>
                        </a:lnTo>
                        <a:lnTo>
                          <a:pt x="15" y="14"/>
                        </a:lnTo>
                        <a:lnTo>
                          <a:pt x="16" y="14"/>
                        </a:lnTo>
                        <a:lnTo>
                          <a:pt x="17" y="14"/>
                        </a:lnTo>
                        <a:lnTo>
                          <a:pt x="19" y="14"/>
                        </a:lnTo>
                        <a:lnTo>
                          <a:pt x="19" y="11"/>
                        </a:lnTo>
                        <a:lnTo>
                          <a:pt x="18" y="7"/>
                        </a:lnTo>
                        <a:lnTo>
                          <a:pt x="17" y="5"/>
                        </a:lnTo>
                        <a:lnTo>
                          <a:pt x="15" y="3"/>
                        </a:lnTo>
                        <a:lnTo>
                          <a:pt x="15" y="2"/>
                        </a:lnTo>
                        <a:lnTo>
                          <a:pt x="14" y="1"/>
                        </a:lnTo>
                        <a:lnTo>
                          <a:pt x="1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6" name="Freeform 1888">
                    <a:extLst>
                      <a:ext uri="{FF2B5EF4-FFF2-40B4-BE49-F238E27FC236}">
                        <a16:creationId xmlns:a16="http://schemas.microsoft.com/office/drawing/2014/main" xmlns="" id="{B958817D-02F4-4385-A0D8-E4BF8055802F}"/>
                      </a:ext>
                    </a:extLst>
                  </p:cNvPr>
                  <p:cNvSpPr>
                    <a:spLocks/>
                  </p:cNvSpPr>
                  <p:nvPr/>
                </p:nvSpPr>
                <p:spPr bwMode="gray">
                  <a:xfrm>
                    <a:off x="4949477" y="4391151"/>
                    <a:ext cx="4450" cy="1113"/>
                  </a:xfrm>
                  <a:custGeom>
                    <a:avLst/>
                    <a:gdLst>
                      <a:gd name="T0" fmla="*/ 2147483647 w 4"/>
                      <a:gd name="T1" fmla="*/ 2147483647 h 1"/>
                      <a:gd name="T2" fmla="*/ 0 w 4"/>
                      <a:gd name="T3" fmla="*/ 2147483647 h 1"/>
                      <a:gd name="T4" fmla="*/ 2147483647 w 4"/>
                      <a:gd name="T5" fmla="*/ 2147483647 h 1"/>
                      <a:gd name="T6" fmla="*/ 2147483647 w 4"/>
                      <a:gd name="T7" fmla="*/ 2147483647 h 1"/>
                      <a:gd name="T8" fmla="*/ 2147483647 w 4"/>
                      <a:gd name="T9" fmla="*/ 2147483647 h 1"/>
                      <a:gd name="T10" fmla="*/ 2147483647 w 4"/>
                      <a:gd name="T11" fmla="*/ 2147483647 h 1"/>
                      <a:gd name="T12" fmla="*/ 2147483647 w 4"/>
                      <a:gd name="T13" fmla="*/ 0 h 1"/>
                      <a:gd name="T14" fmla="*/ 2147483647 w 4"/>
                      <a:gd name="T15" fmla="*/ 0 h 1"/>
                      <a:gd name="T16" fmla="*/ 2147483647 w 4"/>
                      <a:gd name="T17" fmla="*/ 2147483647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1">
                        <a:moveTo>
                          <a:pt x="1" y="1"/>
                        </a:moveTo>
                        <a:lnTo>
                          <a:pt x="0" y="1"/>
                        </a:lnTo>
                        <a:lnTo>
                          <a:pt x="1" y="1"/>
                        </a:lnTo>
                        <a:lnTo>
                          <a:pt x="2" y="1"/>
                        </a:lnTo>
                        <a:lnTo>
                          <a:pt x="3" y="1"/>
                        </a:lnTo>
                        <a:lnTo>
                          <a:pt x="4" y="1"/>
                        </a:lnTo>
                        <a:lnTo>
                          <a:pt x="4" y="0"/>
                        </a:lnTo>
                        <a:lnTo>
                          <a:pt x="3" y="0"/>
                        </a:lnTo>
                        <a:lnTo>
                          <a:pt x="1"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7" name="Freeform 1890">
                    <a:extLst>
                      <a:ext uri="{FF2B5EF4-FFF2-40B4-BE49-F238E27FC236}">
                        <a16:creationId xmlns:a16="http://schemas.microsoft.com/office/drawing/2014/main" xmlns="" id="{A6B762EE-2A23-4E9F-9F3D-187FFCCC44AA}"/>
                      </a:ext>
                    </a:extLst>
                  </p:cNvPr>
                  <p:cNvSpPr>
                    <a:spLocks/>
                  </p:cNvSpPr>
                  <p:nvPr/>
                </p:nvSpPr>
                <p:spPr bwMode="gray">
                  <a:xfrm>
                    <a:off x="4939464" y="4392263"/>
                    <a:ext cx="11125" cy="11125"/>
                  </a:xfrm>
                  <a:custGeom>
                    <a:avLst/>
                    <a:gdLst>
                      <a:gd name="T0" fmla="*/ 0 w 10"/>
                      <a:gd name="T1" fmla="*/ 0 h 10"/>
                      <a:gd name="T2" fmla="*/ 0 w 10"/>
                      <a:gd name="T3" fmla="*/ 0 h 10"/>
                      <a:gd name="T4" fmla="*/ 2147483647 w 10"/>
                      <a:gd name="T5" fmla="*/ 0 h 10"/>
                      <a:gd name="T6" fmla="*/ 2147483647 w 10"/>
                      <a:gd name="T7" fmla="*/ 0 h 10"/>
                      <a:gd name="T8" fmla="*/ 2147483647 w 10"/>
                      <a:gd name="T9" fmla="*/ 0 h 10"/>
                      <a:gd name="T10" fmla="*/ 2147483647 w 10"/>
                      <a:gd name="T11" fmla="*/ 0 h 10"/>
                      <a:gd name="T12" fmla="*/ 0 w 10"/>
                      <a:gd name="T13" fmla="*/ 0 h 10"/>
                      <a:gd name="T14" fmla="*/ 0 w 10"/>
                      <a:gd name="T15" fmla="*/ 0 h 10"/>
                      <a:gd name="T16" fmla="*/ 0 w 10"/>
                      <a:gd name="T17" fmla="*/ 2147483647 h 10"/>
                      <a:gd name="T18" fmla="*/ 2147483647 w 10"/>
                      <a:gd name="T19" fmla="*/ 2147483647 h 10"/>
                      <a:gd name="T20" fmla="*/ 2147483647 w 10"/>
                      <a:gd name="T21" fmla="*/ 2147483647 h 10"/>
                      <a:gd name="T22" fmla="*/ 2147483647 w 10"/>
                      <a:gd name="T23" fmla="*/ 2147483647 h 10"/>
                      <a:gd name="T24" fmla="*/ 2147483647 w 10"/>
                      <a:gd name="T25" fmla="*/ 2147483647 h 10"/>
                      <a:gd name="T26" fmla="*/ 2147483647 w 10"/>
                      <a:gd name="T27" fmla="*/ 2147483647 h 10"/>
                      <a:gd name="T28" fmla="*/ 2147483647 w 10"/>
                      <a:gd name="T29" fmla="*/ 2147483647 h 10"/>
                      <a:gd name="T30" fmla="*/ 2147483647 w 10"/>
                      <a:gd name="T31" fmla="*/ 2147483647 h 10"/>
                      <a:gd name="T32" fmla="*/ 2147483647 w 10"/>
                      <a:gd name="T33" fmla="*/ 2147483647 h 10"/>
                      <a:gd name="T34" fmla="*/ 2147483647 w 10"/>
                      <a:gd name="T35" fmla="*/ 2147483647 h 10"/>
                      <a:gd name="T36" fmla="*/ 2147483647 w 10"/>
                      <a:gd name="T37" fmla="*/ 2147483647 h 10"/>
                      <a:gd name="T38" fmla="*/ 2147483647 w 10"/>
                      <a:gd name="T39" fmla="*/ 2147483647 h 10"/>
                      <a:gd name="T40" fmla="*/ 2147483647 w 10"/>
                      <a:gd name="T41" fmla="*/ 2147483647 h 10"/>
                      <a:gd name="T42" fmla="*/ 2147483647 w 10"/>
                      <a:gd name="T43" fmla="*/ 2147483647 h 10"/>
                      <a:gd name="T44" fmla="*/ 2147483647 w 10"/>
                      <a:gd name="T45" fmla="*/ 2147483647 h 10"/>
                      <a:gd name="T46" fmla="*/ 2147483647 w 10"/>
                      <a:gd name="T47" fmla="*/ 2147483647 h 10"/>
                      <a:gd name="T48" fmla="*/ 2147483647 w 10"/>
                      <a:gd name="T49" fmla="*/ 2147483647 h 10"/>
                      <a:gd name="T50" fmla="*/ 2147483647 w 10"/>
                      <a:gd name="T51" fmla="*/ 2147483647 h 10"/>
                      <a:gd name="T52" fmla="*/ 2147483647 w 10"/>
                      <a:gd name="T53" fmla="*/ 0 h 10"/>
                      <a:gd name="T54" fmla="*/ 2147483647 w 10"/>
                      <a:gd name="T55" fmla="*/ 0 h 10"/>
                      <a:gd name="T56" fmla="*/ 2147483647 w 10"/>
                      <a:gd name="T57" fmla="*/ 0 h 10"/>
                      <a:gd name="T58" fmla="*/ 0 w 10"/>
                      <a:gd name="T59" fmla="*/ 0 h 10"/>
                      <a:gd name="T60" fmla="*/ 0 w 10"/>
                      <a:gd name="T61" fmla="*/ 0 h 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 h="10">
                        <a:moveTo>
                          <a:pt x="0" y="0"/>
                        </a:moveTo>
                        <a:lnTo>
                          <a:pt x="0" y="0"/>
                        </a:lnTo>
                        <a:lnTo>
                          <a:pt x="1" y="0"/>
                        </a:lnTo>
                        <a:lnTo>
                          <a:pt x="3" y="0"/>
                        </a:lnTo>
                        <a:lnTo>
                          <a:pt x="1" y="0"/>
                        </a:lnTo>
                        <a:lnTo>
                          <a:pt x="0" y="0"/>
                        </a:lnTo>
                        <a:lnTo>
                          <a:pt x="0" y="3"/>
                        </a:lnTo>
                        <a:lnTo>
                          <a:pt x="1" y="5"/>
                        </a:lnTo>
                        <a:lnTo>
                          <a:pt x="3" y="8"/>
                        </a:lnTo>
                        <a:lnTo>
                          <a:pt x="3" y="10"/>
                        </a:lnTo>
                        <a:lnTo>
                          <a:pt x="8" y="10"/>
                        </a:lnTo>
                        <a:lnTo>
                          <a:pt x="9" y="10"/>
                        </a:lnTo>
                        <a:lnTo>
                          <a:pt x="10" y="10"/>
                        </a:lnTo>
                        <a:lnTo>
                          <a:pt x="8" y="10"/>
                        </a:lnTo>
                        <a:lnTo>
                          <a:pt x="8" y="9"/>
                        </a:lnTo>
                        <a:lnTo>
                          <a:pt x="9" y="7"/>
                        </a:lnTo>
                        <a:lnTo>
                          <a:pt x="10" y="7"/>
                        </a:lnTo>
                        <a:lnTo>
                          <a:pt x="8" y="7"/>
                        </a:lnTo>
                        <a:lnTo>
                          <a:pt x="6" y="7"/>
                        </a:lnTo>
                        <a:lnTo>
                          <a:pt x="4" y="7"/>
                        </a:lnTo>
                        <a:lnTo>
                          <a:pt x="3" y="7"/>
                        </a:lnTo>
                        <a:lnTo>
                          <a:pt x="4" y="5"/>
                        </a:lnTo>
                        <a:lnTo>
                          <a:pt x="4" y="3"/>
                        </a:lnTo>
                        <a:lnTo>
                          <a:pt x="4" y="2"/>
                        </a:lnTo>
                        <a:lnTo>
                          <a:pt x="3"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8" name="Freeform 1892">
                    <a:extLst>
                      <a:ext uri="{FF2B5EF4-FFF2-40B4-BE49-F238E27FC236}">
                        <a16:creationId xmlns:a16="http://schemas.microsoft.com/office/drawing/2014/main" xmlns="" id="{1F3E83C7-86AE-4F1F-9C71-CC91B8E6D9C3}"/>
                      </a:ext>
                    </a:extLst>
                  </p:cNvPr>
                  <p:cNvSpPr>
                    <a:spLocks/>
                  </p:cNvSpPr>
                  <p:nvPr/>
                </p:nvSpPr>
                <p:spPr bwMode="gray">
                  <a:xfrm>
                    <a:off x="4947251" y="4384476"/>
                    <a:ext cx="5563" cy="4450"/>
                  </a:xfrm>
                  <a:custGeom>
                    <a:avLst/>
                    <a:gdLst>
                      <a:gd name="T0" fmla="*/ 2147483647 w 5"/>
                      <a:gd name="T1" fmla="*/ 0 h 4"/>
                      <a:gd name="T2" fmla="*/ 2147483647 w 5"/>
                      <a:gd name="T3" fmla="*/ 2147483647 h 4"/>
                      <a:gd name="T4" fmla="*/ 2147483647 w 5"/>
                      <a:gd name="T5" fmla="*/ 2147483647 h 4"/>
                      <a:gd name="T6" fmla="*/ 2147483647 w 5"/>
                      <a:gd name="T7" fmla="*/ 2147483647 h 4"/>
                      <a:gd name="T8" fmla="*/ 2147483647 w 5"/>
                      <a:gd name="T9" fmla="*/ 2147483647 h 4"/>
                      <a:gd name="T10" fmla="*/ 2147483647 w 5"/>
                      <a:gd name="T11" fmla="*/ 2147483647 h 4"/>
                      <a:gd name="T12" fmla="*/ 0 w 5"/>
                      <a:gd name="T13" fmla="*/ 2147483647 h 4"/>
                      <a:gd name="T14" fmla="*/ 2147483647 w 5"/>
                      <a:gd name="T15" fmla="*/ 2147483647 h 4"/>
                      <a:gd name="T16" fmla="*/ 2147483647 w 5"/>
                      <a:gd name="T17" fmla="*/ 2147483647 h 4"/>
                      <a:gd name="T18" fmla="*/ 2147483647 w 5"/>
                      <a:gd name="T19" fmla="*/ 2147483647 h 4"/>
                      <a:gd name="T20" fmla="*/ 2147483647 w 5"/>
                      <a:gd name="T21" fmla="*/ 2147483647 h 4"/>
                      <a:gd name="T22" fmla="*/ 2147483647 w 5"/>
                      <a:gd name="T23" fmla="*/ 2147483647 h 4"/>
                      <a:gd name="T24" fmla="*/ 2147483647 w 5"/>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4">
                        <a:moveTo>
                          <a:pt x="5" y="0"/>
                        </a:moveTo>
                        <a:lnTo>
                          <a:pt x="3" y="1"/>
                        </a:lnTo>
                        <a:lnTo>
                          <a:pt x="3" y="2"/>
                        </a:lnTo>
                        <a:lnTo>
                          <a:pt x="3" y="3"/>
                        </a:lnTo>
                        <a:lnTo>
                          <a:pt x="1" y="3"/>
                        </a:lnTo>
                        <a:lnTo>
                          <a:pt x="0" y="4"/>
                        </a:lnTo>
                        <a:lnTo>
                          <a:pt x="1" y="4"/>
                        </a:lnTo>
                        <a:lnTo>
                          <a:pt x="3" y="3"/>
                        </a:lnTo>
                        <a:lnTo>
                          <a:pt x="3" y="2"/>
                        </a:lnTo>
                        <a:lnTo>
                          <a:pt x="5" y="1"/>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49" name="Freeform 1895">
                    <a:extLst>
                      <a:ext uri="{FF2B5EF4-FFF2-40B4-BE49-F238E27FC236}">
                        <a16:creationId xmlns:a16="http://schemas.microsoft.com/office/drawing/2014/main" xmlns="" id="{68F7F060-C95D-46F1-B439-8816BA4A5D28}"/>
                      </a:ext>
                    </a:extLst>
                  </p:cNvPr>
                  <p:cNvSpPr>
                    <a:spLocks/>
                  </p:cNvSpPr>
                  <p:nvPr/>
                </p:nvSpPr>
                <p:spPr bwMode="gray">
                  <a:xfrm>
                    <a:off x="4942801" y="4374464"/>
                    <a:ext cx="7787" cy="6675"/>
                  </a:xfrm>
                  <a:custGeom>
                    <a:avLst/>
                    <a:gdLst>
                      <a:gd name="T0" fmla="*/ 2147483647 w 7"/>
                      <a:gd name="T1" fmla="*/ 0 h 6"/>
                      <a:gd name="T2" fmla="*/ 2147483647 w 7"/>
                      <a:gd name="T3" fmla="*/ 2147483647 h 6"/>
                      <a:gd name="T4" fmla="*/ 2147483647 w 7"/>
                      <a:gd name="T5" fmla="*/ 2147483647 h 6"/>
                      <a:gd name="T6" fmla="*/ 2147483647 w 7"/>
                      <a:gd name="T7" fmla="*/ 2147483647 h 6"/>
                      <a:gd name="T8" fmla="*/ 0 w 7"/>
                      <a:gd name="T9" fmla="*/ 2147483647 h 6"/>
                      <a:gd name="T10" fmla="*/ 2147483647 w 7"/>
                      <a:gd name="T11" fmla="*/ 2147483647 h 6"/>
                      <a:gd name="T12" fmla="*/ 2147483647 w 7"/>
                      <a:gd name="T13" fmla="*/ 2147483647 h 6"/>
                      <a:gd name="T14" fmla="*/ 2147483647 w 7"/>
                      <a:gd name="T15" fmla="*/ 2147483647 h 6"/>
                      <a:gd name="T16" fmla="*/ 2147483647 w 7"/>
                      <a:gd name="T17" fmla="*/ 2147483647 h 6"/>
                      <a:gd name="T18" fmla="*/ 2147483647 w 7"/>
                      <a:gd name="T19" fmla="*/ 0 h 6"/>
                      <a:gd name="T20" fmla="*/ 2147483647 w 7"/>
                      <a:gd name="T21" fmla="*/ 0 h 6"/>
                      <a:gd name="T22" fmla="*/ 2147483647 w 7"/>
                      <a:gd name="T23" fmla="*/ 0 h 6"/>
                      <a:gd name="T24" fmla="*/ 2147483647 w 7"/>
                      <a:gd name="T25" fmla="*/ 0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 h="6">
                        <a:moveTo>
                          <a:pt x="2" y="0"/>
                        </a:moveTo>
                        <a:lnTo>
                          <a:pt x="2" y="1"/>
                        </a:lnTo>
                        <a:lnTo>
                          <a:pt x="1" y="2"/>
                        </a:lnTo>
                        <a:lnTo>
                          <a:pt x="1" y="4"/>
                        </a:lnTo>
                        <a:lnTo>
                          <a:pt x="0" y="6"/>
                        </a:lnTo>
                        <a:lnTo>
                          <a:pt x="1" y="4"/>
                        </a:lnTo>
                        <a:lnTo>
                          <a:pt x="2" y="3"/>
                        </a:lnTo>
                        <a:lnTo>
                          <a:pt x="4" y="3"/>
                        </a:lnTo>
                        <a:lnTo>
                          <a:pt x="7" y="3"/>
                        </a:lnTo>
                        <a:lnTo>
                          <a:pt x="7" y="0"/>
                        </a:lnTo>
                        <a:lnTo>
                          <a:pt x="4" y="0"/>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0" name="Freeform 1897">
                    <a:extLst>
                      <a:ext uri="{FF2B5EF4-FFF2-40B4-BE49-F238E27FC236}">
                        <a16:creationId xmlns:a16="http://schemas.microsoft.com/office/drawing/2014/main" xmlns="" id="{BEE24163-3D29-41DB-B998-B4DDB94E7803}"/>
                      </a:ext>
                    </a:extLst>
                  </p:cNvPr>
                  <p:cNvSpPr>
                    <a:spLocks/>
                  </p:cNvSpPr>
                  <p:nvPr/>
                </p:nvSpPr>
                <p:spPr bwMode="gray">
                  <a:xfrm>
                    <a:off x="4928338" y="4360002"/>
                    <a:ext cx="14463" cy="21137"/>
                  </a:xfrm>
                  <a:custGeom>
                    <a:avLst/>
                    <a:gdLst>
                      <a:gd name="T0" fmla="*/ 2147483647 w 13"/>
                      <a:gd name="T1" fmla="*/ 0 h 19"/>
                      <a:gd name="T2" fmla="*/ 2147483647 w 13"/>
                      <a:gd name="T3" fmla="*/ 2147483647 h 19"/>
                      <a:gd name="T4" fmla="*/ 2147483647 w 13"/>
                      <a:gd name="T5" fmla="*/ 2147483647 h 19"/>
                      <a:gd name="T6" fmla="*/ 2147483647 w 13"/>
                      <a:gd name="T7" fmla="*/ 2147483647 h 19"/>
                      <a:gd name="T8" fmla="*/ 0 w 13"/>
                      <a:gd name="T9" fmla="*/ 2147483647 h 19"/>
                      <a:gd name="T10" fmla="*/ 0 w 13"/>
                      <a:gd name="T11" fmla="*/ 2147483647 h 19"/>
                      <a:gd name="T12" fmla="*/ 0 w 13"/>
                      <a:gd name="T13" fmla="*/ 2147483647 h 19"/>
                      <a:gd name="T14" fmla="*/ 0 w 13"/>
                      <a:gd name="T15" fmla="*/ 2147483647 h 19"/>
                      <a:gd name="T16" fmla="*/ 0 w 13"/>
                      <a:gd name="T17" fmla="*/ 2147483647 h 19"/>
                      <a:gd name="T18" fmla="*/ 2147483647 w 13"/>
                      <a:gd name="T19" fmla="*/ 2147483647 h 19"/>
                      <a:gd name="T20" fmla="*/ 2147483647 w 13"/>
                      <a:gd name="T21" fmla="*/ 2147483647 h 19"/>
                      <a:gd name="T22" fmla="*/ 2147483647 w 13"/>
                      <a:gd name="T23" fmla="*/ 2147483647 h 19"/>
                      <a:gd name="T24" fmla="*/ 2147483647 w 13"/>
                      <a:gd name="T25" fmla="*/ 2147483647 h 19"/>
                      <a:gd name="T26" fmla="*/ 2147483647 w 13"/>
                      <a:gd name="T27" fmla="*/ 2147483647 h 19"/>
                      <a:gd name="T28" fmla="*/ 2147483647 w 13"/>
                      <a:gd name="T29" fmla="*/ 2147483647 h 19"/>
                      <a:gd name="T30" fmla="*/ 2147483647 w 13"/>
                      <a:gd name="T31" fmla="*/ 2147483647 h 19"/>
                      <a:gd name="T32" fmla="*/ 2147483647 w 13"/>
                      <a:gd name="T33" fmla="*/ 2147483647 h 19"/>
                      <a:gd name="T34" fmla="*/ 2147483647 w 13"/>
                      <a:gd name="T35" fmla="*/ 2147483647 h 19"/>
                      <a:gd name="T36" fmla="*/ 2147483647 w 13"/>
                      <a:gd name="T37" fmla="*/ 2147483647 h 19"/>
                      <a:gd name="T38" fmla="*/ 2147483647 w 13"/>
                      <a:gd name="T39" fmla="*/ 2147483647 h 19"/>
                      <a:gd name="T40" fmla="*/ 2147483647 w 13"/>
                      <a:gd name="T41" fmla="*/ 2147483647 h 19"/>
                      <a:gd name="T42" fmla="*/ 2147483647 w 13"/>
                      <a:gd name="T43" fmla="*/ 2147483647 h 19"/>
                      <a:gd name="T44" fmla="*/ 2147483647 w 13"/>
                      <a:gd name="T45" fmla="*/ 2147483647 h 19"/>
                      <a:gd name="T46" fmla="*/ 2147483647 w 13"/>
                      <a:gd name="T47" fmla="*/ 2147483647 h 19"/>
                      <a:gd name="T48" fmla="*/ 2147483647 w 13"/>
                      <a:gd name="T49" fmla="*/ 2147483647 h 19"/>
                      <a:gd name="T50" fmla="*/ 2147483647 w 13"/>
                      <a:gd name="T51" fmla="*/ 2147483647 h 19"/>
                      <a:gd name="T52" fmla="*/ 2147483647 w 13"/>
                      <a:gd name="T53" fmla="*/ 2147483647 h 19"/>
                      <a:gd name="T54" fmla="*/ 2147483647 w 13"/>
                      <a:gd name="T55" fmla="*/ 2147483647 h 19"/>
                      <a:gd name="T56" fmla="*/ 2147483647 w 13"/>
                      <a:gd name="T57" fmla="*/ 2147483647 h 19"/>
                      <a:gd name="T58" fmla="*/ 2147483647 w 13"/>
                      <a:gd name="T59" fmla="*/ 2147483647 h 19"/>
                      <a:gd name="T60" fmla="*/ 2147483647 w 13"/>
                      <a:gd name="T61" fmla="*/ 2147483647 h 19"/>
                      <a:gd name="T62" fmla="*/ 2147483647 w 13"/>
                      <a:gd name="T63" fmla="*/ 2147483647 h 19"/>
                      <a:gd name="T64" fmla="*/ 2147483647 w 13"/>
                      <a:gd name="T65" fmla="*/ 2147483647 h 19"/>
                      <a:gd name="T66" fmla="*/ 2147483647 w 13"/>
                      <a:gd name="T67" fmla="*/ 2147483647 h 19"/>
                      <a:gd name="T68" fmla="*/ 2147483647 w 13"/>
                      <a:gd name="T69" fmla="*/ 2147483647 h 19"/>
                      <a:gd name="T70" fmla="*/ 2147483647 w 13"/>
                      <a:gd name="T71" fmla="*/ 2147483647 h 19"/>
                      <a:gd name="T72" fmla="*/ 2147483647 w 13"/>
                      <a:gd name="T73" fmla="*/ 2147483647 h 19"/>
                      <a:gd name="T74" fmla="*/ 2147483647 w 13"/>
                      <a:gd name="T75" fmla="*/ 2147483647 h 19"/>
                      <a:gd name="T76" fmla="*/ 2147483647 w 13"/>
                      <a:gd name="T77" fmla="*/ 2147483647 h 19"/>
                      <a:gd name="T78" fmla="*/ 2147483647 w 13"/>
                      <a:gd name="T79" fmla="*/ 2147483647 h 19"/>
                      <a:gd name="T80" fmla="*/ 2147483647 w 13"/>
                      <a:gd name="T81" fmla="*/ 2147483647 h 19"/>
                      <a:gd name="T82" fmla="*/ 2147483647 w 13"/>
                      <a:gd name="T83" fmla="*/ 2147483647 h 19"/>
                      <a:gd name="T84" fmla="*/ 2147483647 w 13"/>
                      <a:gd name="T85" fmla="*/ 2147483647 h 19"/>
                      <a:gd name="T86" fmla="*/ 2147483647 w 13"/>
                      <a:gd name="T87" fmla="*/ 0 h 1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3" h="19">
                        <a:moveTo>
                          <a:pt x="10" y="0"/>
                        </a:moveTo>
                        <a:lnTo>
                          <a:pt x="7" y="3"/>
                        </a:lnTo>
                        <a:lnTo>
                          <a:pt x="3" y="6"/>
                        </a:lnTo>
                        <a:lnTo>
                          <a:pt x="1" y="9"/>
                        </a:lnTo>
                        <a:lnTo>
                          <a:pt x="0" y="12"/>
                        </a:lnTo>
                        <a:lnTo>
                          <a:pt x="0" y="17"/>
                        </a:lnTo>
                        <a:lnTo>
                          <a:pt x="0" y="19"/>
                        </a:lnTo>
                        <a:lnTo>
                          <a:pt x="1" y="19"/>
                        </a:lnTo>
                        <a:lnTo>
                          <a:pt x="2" y="19"/>
                        </a:lnTo>
                        <a:lnTo>
                          <a:pt x="3" y="19"/>
                        </a:lnTo>
                        <a:lnTo>
                          <a:pt x="3" y="17"/>
                        </a:lnTo>
                        <a:lnTo>
                          <a:pt x="3" y="16"/>
                        </a:lnTo>
                        <a:lnTo>
                          <a:pt x="3" y="14"/>
                        </a:lnTo>
                        <a:lnTo>
                          <a:pt x="3" y="12"/>
                        </a:lnTo>
                        <a:lnTo>
                          <a:pt x="3" y="14"/>
                        </a:lnTo>
                        <a:lnTo>
                          <a:pt x="3" y="15"/>
                        </a:lnTo>
                        <a:lnTo>
                          <a:pt x="4" y="16"/>
                        </a:lnTo>
                        <a:lnTo>
                          <a:pt x="6" y="16"/>
                        </a:lnTo>
                        <a:lnTo>
                          <a:pt x="5" y="16"/>
                        </a:lnTo>
                        <a:lnTo>
                          <a:pt x="5" y="17"/>
                        </a:lnTo>
                        <a:lnTo>
                          <a:pt x="6" y="19"/>
                        </a:lnTo>
                        <a:lnTo>
                          <a:pt x="7" y="17"/>
                        </a:lnTo>
                        <a:lnTo>
                          <a:pt x="8" y="16"/>
                        </a:lnTo>
                        <a:lnTo>
                          <a:pt x="10" y="16"/>
                        </a:lnTo>
                        <a:lnTo>
                          <a:pt x="10" y="18"/>
                        </a:lnTo>
                        <a:lnTo>
                          <a:pt x="10" y="19"/>
                        </a:lnTo>
                        <a:lnTo>
                          <a:pt x="10" y="17"/>
                        </a:lnTo>
                        <a:lnTo>
                          <a:pt x="11" y="16"/>
                        </a:lnTo>
                        <a:lnTo>
                          <a:pt x="13" y="16"/>
                        </a:lnTo>
                        <a:lnTo>
                          <a:pt x="13" y="13"/>
                        </a:lnTo>
                        <a:lnTo>
                          <a:pt x="11" y="11"/>
                        </a:lnTo>
                        <a:lnTo>
                          <a:pt x="10" y="10"/>
                        </a:lnTo>
                        <a:lnTo>
                          <a:pt x="10" y="9"/>
                        </a:lnTo>
                        <a:lnTo>
                          <a:pt x="10" y="7"/>
                        </a:lnTo>
                        <a:lnTo>
                          <a:pt x="11" y="6"/>
                        </a:lnTo>
                        <a:lnTo>
                          <a:pt x="11" y="4"/>
                        </a:lnTo>
                        <a:lnTo>
                          <a:pt x="10" y="3"/>
                        </a:lnTo>
                        <a:lnTo>
                          <a:pt x="1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1" name="Freeform 1899">
                    <a:extLst>
                      <a:ext uri="{FF2B5EF4-FFF2-40B4-BE49-F238E27FC236}">
                        <a16:creationId xmlns:a16="http://schemas.microsoft.com/office/drawing/2014/main" xmlns="" id="{795E1CDE-1E43-4F00-AE71-46FD688AE639}"/>
                      </a:ext>
                    </a:extLst>
                  </p:cNvPr>
                  <p:cNvSpPr>
                    <a:spLocks/>
                  </p:cNvSpPr>
                  <p:nvPr/>
                </p:nvSpPr>
                <p:spPr bwMode="gray">
                  <a:xfrm>
                    <a:off x="5289907" y="4643676"/>
                    <a:ext cx="2225" cy="2225"/>
                  </a:xfrm>
                  <a:custGeom>
                    <a:avLst/>
                    <a:gdLst>
                      <a:gd name="T0" fmla="*/ 0 w 2"/>
                      <a:gd name="T1" fmla="*/ 0 h 2"/>
                      <a:gd name="T2" fmla="*/ 0 w 2"/>
                      <a:gd name="T3" fmla="*/ 0 h 2"/>
                      <a:gd name="T4" fmla="*/ 0 w 2"/>
                      <a:gd name="T5" fmla="*/ 2147483647 h 2"/>
                      <a:gd name="T6" fmla="*/ 0 w 2"/>
                      <a:gd name="T7" fmla="*/ 2147483647 h 2"/>
                      <a:gd name="T8" fmla="*/ 0 w 2"/>
                      <a:gd name="T9" fmla="*/ 2147483647 h 2"/>
                      <a:gd name="T10" fmla="*/ 2147483647 w 2"/>
                      <a:gd name="T11" fmla="*/ 2147483647 h 2"/>
                      <a:gd name="T12" fmla="*/ 2147483647 w 2"/>
                      <a:gd name="T13" fmla="*/ 2147483647 h 2"/>
                      <a:gd name="T14" fmla="*/ 2147483647 w 2"/>
                      <a:gd name="T15" fmla="*/ 0 h 2"/>
                      <a:gd name="T16" fmla="*/ 0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2">
                        <a:moveTo>
                          <a:pt x="0" y="0"/>
                        </a:moveTo>
                        <a:lnTo>
                          <a:pt x="0" y="0"/>
                        </a:lnTo>
                        <a:lnTo>
                          <a:pt x="0" y="1"/>
                        </a:lnTo>
                        <a:lnTo>
                          <a:pt x="0" y="2"/>
                        </a:lnTo>
                        <a:lnTo>
                          <a:pt x="1" y="2"/>
                        </a:lnTo>
                        <a:lnTo>
                          <a:pt x="2" y="1"/>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2" name="Freeform 1901">
                    <a:extLst>
                      <a:ext uri="{FF2B5EF4-FFF2-40B4-BE49-F238E27FC236}">
                        <a16:creationId xmlns:a16="http://schemas.microsoft.com/office/drawing/2014/main" xmlns="" id="{6C378CFB-E1E8-4202-AF40-CF7DE3149AC0}"/>
                      </a:ext>
                    </a:extLst>
                  </p:cNvPr>
                  <p:cNvSpPr>
                    <a:spLocks/>
                  </p:cNvSpPr>
                  <p:nvPr/>
                </p:nvSpPr>
                <p:spPr bwMode="gray">
                  <a:xfrm>
                    <a:off x="5167530" y="4535769"/>
                    <a:ext cx="5563" cy="1113"/>
                  </a:xfrm>
                  <a:custGeom>
                    <a:avLst/>
                    <a:gdLst>
                      <a:gd name="T0" fmla="*/ 0 w 5"/>
                      <a:gd name="T1" fmla="*/ 0 h 1"/>
                      <a:gd name="T2" fmla="*/ 0 w 5"/>
                      <a:gd name="T3" fmla="*/ 0 h 1"/>
                      <a:gd name="T4" fmla="*/ 2147483647 w 5"/>
                      <a:gd name="T5" fmla="*/ 2147483647 h 1"/>
                      <a:gd name="T6" fmla="*/ 2147483647 w 5"/>
                      <a:gd name="T7" fmla="*/ 0 h 1"/>
                      <a:gd name="T8" fmla="*/ 2147483647 w 5"/>
                      <a:gd name="T9" fmla="*/ 0 h 1"/>
                      <a:gd name="T10" fmla="*/ 0 w 5"/>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1">
                        <a:moveTo>
                          <a:pt x="0" y="0"/>
                        </a:moveTo>
                        <a:lnTo>
                          <a:pt x="0" y="0"/>
                        </a:lnTo>
                        <a:lnTo>
                          <a:pt x="4" y="1"/>
                        </a:lnTo>
                        <a:lnTo>
                          <a:pt x="5"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3" name="Freeform 1903">
                    <a:extLst>
                      <a:ext uri="{FF2B5EF4-FFF2-40B4-BE49-F238E27FC236}">
                        <a16:creationId xmlns:a16="http://schemas.microsoft.com/office/drawing/2014/main" xmlns="" id="{BEDE56D7-3CC5-4623-9E0B-178A0A3DEB77}"/>
                      </a:ext>
                    </a:extLst>
                  </p:cNvPr>
                  <p:cNvSpPr>
                    <a:spLocks/>
                  </p:cNvSpPr>
                  <p:nvPr/>
                </p:nvSpPr>
                <p:spPr bwMode="gray">
                  <a:xfrm>
                    <a:off x="5100778" y="4500170"/>
                    <a:ext cx="1113" cy="3337"/>
                  </a:xfrm>
                  <a:custGeom>
                    <a:avLst/>
                    <a:gdLst>
                      <a:gd name="T0" fmla="*/ 0 w 1"/>
                      <a:gd name="T1" fmla="*/ 0 h 3"/>
                      <a:gd name="T2" fmla="*/ 0 w 1"/>
                      <a:gd name="T3" fmla="*/ 2147483647 h 3"/>
                      <a:gd name="T4" fmla="*/ 0 w 1"/>
                      <a:gd name="T5" fmla="*/ 2147483647 h 3"/>
                      <a:gd name="T6" fmla="*/ 2147483647 w 1"/>
                      <a:gd name="T7" fmla="*/ 2147483647 h 3"/>
                      <a:gd name="T8" fmla="*/ 2147483647 w 1"/>
                      <a:gd name="T9" fmla="*/ 0 h 3"/>
                      <a:gd name="T10" fmla="*/ 0 w 1"/>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3">
                        <a:moveTo>
                          <a:pt x="0" y="0"/>
                        </a:moveTo>
                        <a:lnTo>
                          <a:pt x="0" y="3"/>
                        </a:lnTo>
                        <a:lnTo>
                          <a:pt x="1" y="1"/>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4" name="Freeform 1905">
                    <a:extLst>
                      <a:ext uri="{FF2B5EF4-FFF2-40B4-BE49-F238E27FC236}">
                        <a16:creationId xmlns:a16="http://schemas.microsoft.com/office/drawing/2014/main" xmlns="" id="{E54332C8-50AB-4EFA-BD83-21CA13C1A947}"/>
                      </a:ext>
                    </a:extLst>
                  </p:cNvPr>
                  <p:cNvSpPr>
                    <a:spLocks/>
                  </p:cNvSpPr>
                  <p:nvPr/>
                </p:nvSpPr>
                <p:spPr bwMode="gray">
                  <a:xfrm>
                    <a:off x="5110792" y="4494609"/>
                    <a:ext cx="10013" cy="5563"/>
                  </a:xfrm>
                  <a:custGeom>
                    <a:avLst/>
                    <a:gdLst>
                      <a:gd name="T0" fmla="*/ 2147483647 w 9"/>
                      <a:gd name="T1" fmla="*/ 0 h 5"/>
                      <a:gd name="T2" fmla="*/ 0 w 9"/>
                      <a:gd name="T3" fmla="*/ 2147483647 h 5"/>
                      <a:gd name="T4" fmla="*/ 2147483647 w 9"/>
                      <a:gd name="T5" fmla="*/ 2147483647 h 5"/>
                      <a:gd name="T6" fmla="*/ 2147483647 w 9"/>
                      <a:gd name="T7" fmla="*/ 2147483647 h 5"/>
                      <a:gd name="T8" fmla="*/ 2147483647 w 9"/>
                      <a:gd name="T9" fmla="*/ 2147483647 h 5"/>
                      <a:gd name="T10" fmla="*/ 2147483647 w 9"/>
                      <a:gd name="T11" fmla="*/ 2147483647 h 5"/>
                      <a:gd name="T12" fmla="*/ 2147483647 w 9"/>
                      <a:gd name="T13" fmla="*/ 2147483647 h 5"/>
                      <a:gd name="T14" fmla="*/ 2147483647 w 9"/>
                      <a:gd name="T15" fmla="*/ 0 h 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 h="5">
                        <a:moveTo>
                          <a:pt x="4" y="0"/>
                        </a:moveTo>
                        <a:lnTo>
                          <a:pt x="0" y="5"/>
                        </a:lnTo>
                        <a:lnTo>
                          <a:pt x="5" y="5"/>
                        </a:lnTo>
                        <a:lnTo>
                          <a:pt x="9" y="4"/>
                        </a:lnTo>
                        <a:lnTo>
                          <a:pt x="9" y="3"/>
                        </a:lnTo>
                        <a:lnTo>
                          <a:pt x="7" y="2"/>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5" name="Freeform 1907">
                    <a:extLst>
                      <a:ext uri="{FF2B5EF4-FFF2-40B4-BE49-F238E27FC236}">
                        <a16:creationId xmlns:a16="http://schemas.microsoft.com/office/drawing/2014/main" xmlns="" id="{9C6D962D-A518-4BA1-81A3-7A4D15691993}"/>
                      </a:ext>
                    </a:extLst>
                  </p:cNvPr>
                  <p:cNvSpPr>
                    <a:spLocks/>
                  </p:cNvSpPr>
                  <p:nvPr/>
                </p:nvSpPr>
                <p:spPr bwMode="gray">
                  <a:xfrm>
                    <a:off x="5113017" y="4460122"/>
                    <a:ext cx="10013" cy="6675"/>
                  </a:xfrm>
                  <a:custGeom>
                    <a:avLst/>
                    <a:gdLst>
                      <a:gd name="T0" fmla="*/ 2147483647 w 9"/>
                      <a:gd name="T1" fmla="*/ 0 h 6"/>
                      <a:gd name="T2" fmla="*/ 2147483647 w 9"/>
                      <a:gd name="T3" fmla="*/ 0 h 6"/>
                      <a:gd name="T4" fmla="*/ 2147483647 w 9"/>
                      <a:gd name="T5" fmla="*/ 2147483647 h 6"/>
                      <a:gd name="T6" fmla="*/ 0 w 9"/>
                      <a:gd name="T7" fmla="*/ 2147483647 h 6"/>
                      <a:gd name="T8" fmla="*/ 2147483647 w 9"/>
                      <a:gd name="T9" fmla="*/ 2147483647 h 6"/>
                      <a:gd name="T10" fmla="*/ 2147483647 w 9"/>
                      <a:gd name="T11" fmla="*/ 2147483647 h 6"/>
                      <a:gd name="T12" fmla="*/ 2147483647 w 9"/>
                      <a:gd name="T13" fmla="*/ 2147483647 h 6"/>
                      <a:gd name="T14" fmla="*/ 2147483647 w 9"/>
                      <a:gd name="T15" fmla="*/ 2147483647 h 6"/>
                      <a:gd name="T16" fmla="*/ 2147483647 w 9"/>
                      <a:gd name="T17" fmla="*/ 2147483647 h 6"/>
                      <a:gd name="T18" fmla="*/ 2147483647 w 9"/>
                      <a:gd name="T19" fmla="*/ 2147483647 h 6"/>
                      <a:gd name="T20" fmla="*/ 2147483647 w 9"/>
                      <a:gd name="T21" fmla="*/ 2147483647 h 6"/>
                      <a:gd name="T22" fmla="*/ 2147483647 w 9"/>
                      <a:gd name="T23" fmla="*/ 2147483647 h 6"/>
                      <a:gd name="T24" fmla="*/ 2147483647 w 9"/>
                      <a:gd name="T25" fmla="*/ 2147483647 h 6"/>
                      <a:gd name="T26" fmla="*/ 2147483647 w 9"/>
                      <a:gd name="T27" fmla="*/ 2147483647 h 6"/>
                      <a:gd name="T28" fmla="*/ 2147483647 w 9"/>
                      <a:gd name="T29" fmla="*/ 0 h 6"/>
                      <a:gd name="T30" fmla="*/ 2147483647 w 9"/>
                      <a:gd name="T31" fmla="*/ 0 h 6"/>
                      <a:gd name="T32" fmla="*/ 2147483647 w 9"/>
                      <a:gd name="T33" fmla="*/ 0 h 6"/>
                      <a:gd name="T34" fmla="*/ 2147483647 w 9"/>
                      <a:gd name="T35" fmla="*/ 0 h 6"/>
                      <a:gd name="T36" fmla="*/ 2147483647 w 9"/>
                      <a:gd name="T37" fmla="*/ 0 h 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 h="6">
                        <a:moveTo>
                          <a:pt x="4" y="0"/>
                        </a:moveTo>
                        <a:lnTo>
                          <a:pt x="4" y="0"/>
                        </a:lnTo>
                        <a:lnTo>
                          <a:pt x="2" y="2"/>
                        </a:lnTo>
                        <a:lnTo>
                          <a:pt x="0" y="2"/>
                        </a:lnTo>
                        <a:lnTo>
                          <a:pt x="2" y="2"/>
                        </a:lnTo>
                        <a:lnTo>
                          <a:pt x="3" y="3"/>
                        </a:lnTo>
                        <a:lnTo>
                          <a:pt x="4" y="5"/>
                        </a:lnTo>
                        <a:lnTo>
                          <a:pt x="4" y="6"/>
                        </a:lnTo>
                        <a:lnTo>
                          <a:pt x="6" y="6"/>
                        </a:lnTo>
                        <a:lnTo>
                          <a:pt x="7" y="6"/>
                        </a:lnTo>
                        <a:lnTo>
                          <a:pt x="9" y="6"/>
                        </a:lnTo>
                        <a:lnTo>
                          <a:pt x="9" y="3"/>
                        </a:lnTo>
                        <a:lnTo>
                          <a:pt x="9" y="0"/>
                        </a:lnTo>
                        <a:lnTo>
                          <a:pt x="8" y="0"/>
                        </a:lnTo>
                        <a:lnTo>
                          <a:pt x="7" y="0"/>
                        </a:lnTo>
                        <a:lnTo>
                          <a:pt x="6"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6" name="Freeform 1909">
                    <a:extLst>
                      <a:ext uri="{FF2B5EF4-FFF2-40B4-BE49-F238E27FC236}">
                        <a16:creationId xmlns:a16="http://schemas.microsoft.com/office/drawing/2014/main" xmlns="" id="{175E375F-C20B-41BA-83F2-4F4F712812DD}"/>
                      </a:ext>
                    </a:extLst>
                  </p:cNvPr>
                  <p:cNvSpPr>
                    <a:spLocks/>
                  </p:cNvSpPr>
                  <p:nvPr/>
                </p:nvSpPr>
                <p:spPr bwMode="gray">
                  <a:xfrm>
                    <a:off x="5131930" y="4431198"/>
                    <a:ext cx="4450" cy="5563"/>
                  </a:xfrm>
                  <a:custGeom>
                    <a:avLst/>
                    <a:gdLst>
                      <a:gd name="T0" fmla="*/ 2147483647 w 4"/>
                      <a:gd name="T1" fmla="*/ 0 h 5"/>
                      <a:gd name="T2" fmla="*/ 2147483647 w 4"/>
                      <a:gd name="T3" fmla="*/ 0 h 5"/>
                      <a:gd name="T4" fmla="*/ 2147483647 w 4"/>
                      <a:gd name="T5" fmla="*/ 2147483647 h 5"/>
                      <a:gd name="T6" fmla="*/ 2147483647 w 4"/>
                      <a:gd name="T7" fmla="*/ 2147483647 h 5"/>
                      <a:gd name="T8" fmla="*/ 2147483647 w 4"/>
                      <a:gd name="T9" fmla="*/ 2147483647 h 5"/>
                      <a:gd name="T10" fmla="*/ 2147483647 w 4"/>
                      <a:gd name="T11" fmla="*/ 2147483647 h 5"/>
                      <a:gd name="T12" fmla="*/ 0 w 4"/>
                      <a:gd name="T13" fmla="*/ 2147483647 h 5"/>
                      <a:gd name="T14" fmla="*/ 2147483647 w 4"/>
                      <a:gd name="T15" fmla="*/ 2147483647 h 5"/>
                      <a:gd name="T16" fmla="*/ 2147483647 w 4"/>
                      <a:gd name="T17" fmla="*/ 2147483647 h 5"/>
                      <a:gd name="T18" fmla="*/ 2147483647 w 4"/>
                      <a:gd name="T19" fmla="*/ 0 h 5"/>
                      <a:gd name="T20" fmla="*/ 2147483647 w 4"/>
                      <a:gd name="T21" fmla="*/ 0 h 5"/>
                      <a:gd name="T22" fmla="*/ 2147483647 w 4"/>
                      <a:gd name="T23" fmla="*/ 0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 h="5">
                        <a:moveTo>
                          <a:pt x="4" y="0"/>
                        </a:moveTo>
                        <a:lnTo>
                          <a:pt x="4" y="0"/>
                        </a:lnTo>
                        <a:lnTo>
                          <a:pt x="4" y="1"/>
                        </a:lnTo>
                        <a:lnTo>
                          <a:pt x="4" y="3"/>
                        </a:lnTo>
                        <a:lnTo>
                          <a:pt x="3" y="4"/>
                        </a:lnTo>
                        <a:lnTo>
                          <a:pt x="1" y="5"/>
                        </a:lnTo>
                        <a:lnTo>
                          <a:pt x="0" y="5"/>
                        </a:lnTo>
                        <a:lnTo>
                          <a:pt x="1" y="3"/>
                        </a:lnTo>
                        <a:lnTo>
                          <a:pt x="1" y="1"/>
                        </a:lnTo>
                        <a:lnTo>
                          <a:pt x="1" y="0"/>
                        </a:lnTo>
                        <a:lnTo>
                          <a:pt x="2"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7" name="Freeform 1911">
                    <a:extLst>
                      <a:ext uri="{FF2B5EF4-FFF2-40B4-BE49-F238E27FC236}">
                        <a16:creationId xmlns:a16="http://schemas.microsoft.com/office/drawing/2014/main" xmlns="" id="{5C50CF1B-EA2B-4EBC-BBE3-EED384F271F7}"/>
                      </a:ext>
                    </a:extLst>
                  </p:cNvPr>
                  <p:cNvSpPr>
                    <a:spLocks/>
                  </p:cNvSpPr>
                  <p:nvPr/>
                </p:nvSpPr>
                <p:spPr bwMode="gray">
                  <a:xfrm>
                    <a:off x="5092991" y="4346653"/>
                    <a:ext cx="4450" cy="2225"/>
                  </a:xfrm>
                  <a:custGeom>
                    <a:avLst/>
                    <a:gdLst>
                      <a:gd name="T0" fmla="*/ 2147483647 w 4"/>
                      <a:gd name="T1" fmla="*/ 0 h 2"/>
                      <a:gd name="T2" fmla="*/ 0 w 4"/>
                      <a:gd name="T3" fmla="*/ 0 h 2"/>
                      <a:gd name="T4" fmla="*/ 0 w 4"/>
                      <a:gd name="T5" fmla="*/ 2147483647 h 2"/>
                      <a:gd name="T6" fmla="*/ 2147483647 w 4"/>
                      <a:gd name="T7" fmla="*/ 2147483647 h 2"/>
                      <a:gd name="T8" fmla="*/ 2147483647 w 4"/>
                      <a:gd name="T9" fmla="*/ 2147483647 h 2"/>
                      <a:gd name="T10" fmla="*/ 2147483647 w 4"/>
                      <a:gd name="T11" fmla="*/ 2147483647 h 2"/>
                      <a:gd name="T12" fmla="*/ 2147483647 w 4"/>
                      <a:gd name="T13" fmla="*/ 2147483647 h 2"/>
                      <a:gd name="T14" fmla="*/ 2147483647 w 4"/>
                      <a:gd name="T15" fmla="*/ 0 h 2"/>
                      <a:gd name="T16" fmla="*/ 2147483647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2">
                        <a:moveTo>
                          <a:pt x="1" y="0"/>
                        </a:moveTo>
                        <a:lnTo>
                          <a:pt x="0" y="0"/>
                        </a:lnTo>
                        <a:lnTo>
                          <a:pt x="0" y="1"/>
                        </a:lnTo>
                        <a:lnTo>
                          <a:pt x="2" y="1"/>
                        </a:lnTo>
                        <a:lnTo>
                          <a:pt x="4" y="2"/>
                        </a:lnTo>
                        <a:lnTo>
                          <a:pt x="4" y="1"/>
                        </a:lnTo>
                        <a:lnTo>
                          <a:pt x="3"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8" name="Freeform 1913">
                    <a:extLst>
                      <a:ext uri="{FF2B5EF4-FFF2-40B4-BE49-F238E27FC236}">
                        <a16:creationId xmlns:a16="http://schemas.microsoft.com/office/drawing/2014/main" xmlns="" id="{5AD7948D-9BD4-4F3C-911A-9994AA4A8A0A}"/>
                      </a:ext>
                    </a:extLst>
                  </p:cNvPr>
                  <p:cNvSpPr>
                    <a:spLocks/>
                  </p:cNvSpPr>
                  <p:nvPr/>
                </p:nvSpPr>
                <p:spPr bwMode="gray">
                  <a:xfrm>
                    <a:off x="5354434" y="4628102"/>
                    <a:ext cx="7787" cy="7787"/>
                  </a:xfrm>
                  <a:custGeom>
                    <a:avLst/>
                    <a:gdLst>
                      <a:gd name="T0" fmla="*/ 2147483647 w 7"/>
                      <a:gd name="T1" fmla="*/ 0 h 7"/>
                      <a:gd name="T2" fmla="*/ 2147483647 w 7"/>
                      <a:gd name="T3" fmla="*/ 2147483647 h 7"/>
                      <a:gd name="T4" fmla="*/ 2147483647 w 7"/>
                      <a:gd name="T5" fmla="*/ 2147483647 h 7"/>
                      <a:gd name="T6" fmla="*/ 0 w 7"/>
                      <a:gd name="T7" fmla="*/ 2147483647 h 7"/>
                      <a:gd name="T8" fmla="*/ 0 w 7"/>
                      <a:gd name="T9" fmla="*/ 2147483647 h 7"/>
                      <a:gd name="T10" fmla="*/ 0 w 7"/>
                      <a:gd name="T11" fmla="*/ 2147483647 h 7"/>
                      <a:gd name="T12" fmla="*/ 0 w 7"/>
                      <a:gd name="T13" fmla="*/ 2147483647 h 7"/>
                      <a:gd name="T14" fmla="*/ 0 w 7"/>
                      <a:gd name="T15" fmla="*/ 2147483647 h 7"/>
                      <a:gd name="T16" fmla="*/ 0 w 7"/>
                      <a:gd name="T17" fmla="*/ 2147483647 h 7"/>
                      <a:gd name="T18" fmla="*/ 0 w 7"/>
                      <a:gd name="T19" fmla="*/ 2147483647 h 7"/>
                      <a:gd name="T20" fmla="*/ 0 w 7"/>
                      <a:gd name="T21" fmla="*/ 2147483647 h 7"/>
                      <a:gd name="T22" fmla="*/ 2147483647 w 7"/>
                      <a:gd name="T23" fmla="*/ 2147483647 h 7"/>
                      <a:gd name="T24" fmla="*/ 2147483647 w 7"/>
                      <a:gd name="T25" fmla="*/ 2147483647 h 7"/>
                      <a:gd name="T26" fmla="*/ 2147483647 w 7"/>
                      <a:gd name="T27" fmla="*/ 2147483647 h 7"/>
                      <a:gd name="T28" fmla="*/ 2147483647 w 7"/>
                      <a:gd name="T29" fmla="*/ 2147483647 h 7"/>
                      <a:gd name="T30" fmla="*/ 2147483647 w 7"/>
                      <a:gd name="T31" fmla="*/ 2147483647 h 7"/>
                      <a:gd name="T32" fmla="*/ 2147483647 w 7"/>
                      <a:gd name="T33" fmla="*/ 2147483647 h 7"/>
                      <a:gd name="T34" fmla="*/ 2147483647 w 7"/>
                      <a:gd name="T35" fmla="*/ 2147483647 h 7"/>
                      <a:gd name="T36" fmla="*/ 2147483647 w 7"/>
                      <a:gd name="T37" fmla="*/ 0 h 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 h="7">
                        <a:moveTo>
                          <a:pt x="3" y="0"/>
                        </a:moveTo>
                        <a:lnTo>
                          <a:pt x="3" y="1"/>
                        </a:lnTo>
                        <a:lnTo>
                          <a:pt x="2" y="2"/>
                        </a:lnTo>
                        <a:lnTo>
                          <a:pt x="0" y="3"/>
                        </a:lnTo>
                        <a:lnTo>
                          <a:pt x="0" y="4"/>
                        </a:lnTo>
                        <a:lnTo>
                          <a:pt x="0" y="7"/>
                        </a:lnTo>
                        <a:lnTo>
                          <a:pt x="0" y="6"/>
                        </a:lnTo>
                        <a:lnTo>
                          <a:pt x="0" y="7"/>
                        </a:lnTo>
                        <a:lnTo>
                          <a:pt x="2" y="7"/>
                        </a:lnTo>
                        <a:lnTo>
                          <a:pt x="3" y="7"/>
                        </a:lnTo>
                        <a:lnTo>
                          <a:pt x="5" y="6"/>
                        </a:lnTo>
                        <a:lnTo>
                          <a:pt x="7" y="4"/>
                        </a:lnTo>
                        <a:lnTo>
                          <a:pt x="7" y="1"/>
                        </a:lnTo>
                        <a:lnTo>
                          <a:pt x="6"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59" name="Freeform 1915">
                    <a:extLst>
                      <a:ext uri="{FF2B5EF4-FFF2-40B4-BE49-F238E27FC236}">
                        <a16:creationId xmlns:a16="http://schemas.microsoft.com/office/drawing/2014/main" xmlns="" id="{8FF2514B-E178-40F0-8A84-A7341DEC6A10}"/>
                      </a:ext>
                    </a:extLst>
                  </p:cNvPr>
                  <p:cNvSpPr>
                    <a:spLocks/>
                  </p:cNvSpPr>
                  <p:nvPr/>
                </p:nvSpPr>
                <p:spPr bwMode="gray">
                  <a:xfrm>
                    <a:off x="5239845" y="4624765"/>
                    <a:ext cx="5563" cy="3337"/>
                  </a:xfrm>
                  <a:custGeom>
                    <a:avLst/>
                    <a:gdLst>
                      <a:gd name="T0" fmla="*/ 0 w 5"/>
                      <a:gd name="T1" fmla="*/ 0 h 3"/>
                      <a:gd name="T2" fmla="*/ 0 w 5"/>
                      <a:gd name="T3" fmla="*/ 2147483647 h 3"/>
                      <a:gd name="T4" fmla="*/ 2147483647 w 5"/>
                      <a:gd name="T5" fmla="*/ 2147483647 h 3"/>
                      <a:gd name="T6" fmla="*/ 2147483647 w 5"/>
                      <a:gd name="T7" fmla="*/ 2147483647 h 3"/>
                      <a:gd name="T8" fmla="*/ 2147483647 w 5"/>
                      <a:gd name="T9" fmla="*/ 2147483647 h 3"/>
                      <a:gd name="T10" fmla="*/ 0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0" y="0"/>
                        </a:moveTo>
                        <a:lnTo>
                          <a:pt x="0" y="3"/>
                        </a:lnTo>
                        <a:lnTo>
                          <a:pt x="3" y="3"/>
                        </a:lnTo>
                        <a:lnTo>
                          <a:pt x="5" y="3"/>
                        </a:lnTo>
                        <a:lnTo>
                          <a:pt x="3"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0" name="Freeform 1917">
                    <a:extLst>
                      <a:ext uri="{FF2B5EF4-FFF2-40B4-BE49-F238E27FC236}">
                        <a16:creationId xmlns:a16="http://schemas.microsoft.com/office/drawing/2014/main" xmlns="" id="{0131402A-141D-474F-96D0-79B4E9B34F5A}"/>
                      </a:ext>
                    </a:extLst>
                  </p:cNvPr>
                  <p:cNvSpPr>
                    <a:spLocks/>
                  </p:cNvSpPr>
                  <p:nvPr/>
                </p:nvSpPr>
                <p:spPr bwMode="gray">
                  <a:xfrm>
                    <a:off x="5138605" y="4624766"/>
                    <a:ext cx="186904" cy="56735"/>
                  </a:xfrm>
                  <a:custGeom>
                    <a:avLst/>
                    <a:gdLst>
                      <a:gd name="T0" fmla="*/ 2147483647 w 168"/>
                      <a:gd name="T1" fmla="*/ 2147483647 h 51"/>
                      <a:gd name="T2" fmla="*/ 2147483647 w 168"/>
                      <a:gd name="T3" fmla="*/ 2147483647 h 51"/>
                      <a:gd name="T4" fmla="*/ 2147483647 w 168"/>
                      <a:gd name="T5" fmla="*/ 2147483647 h 51"/>
                      <a:gd name="T6" fmla="*/ 2147483647 w 168"/>
                      <a:gd name="T7" fmla="*/ 2147483647 h 51"/>
                      <a:gd name="T8" fmla="*/ 2147483647 w 168"/>
                      <a:gd name="T9" fmla="*/ 2147483647 h 51"/>
                      <a:gd name="T10" fmla="*/ 2147483647 w 168"/>
                      <a:gd name="T11" fmla="*/ 2147483647 h 51"/>
                      <a:gd name="T12" fmla="*/ 2147483647 w 168"/>
                      <a:gd name="T13" fmla="*/ 2147483647 h 51"/>
                      <a:gd name="T14" fmla="*/ 2147483647 w 168"/>
                      <a:gd name="T15" fmla="*/ 2147483647 h 51"/>
                      <a:gd name="T16" fmla="*/ 2147483647 w 168"/>
                      <a:gd name="T17" fmla="*/ 2147483647 h 51"/>
                      <a:gd name="T18" fmla="*/ 2147483647 w 168"/>
                      <a:gd name="T19" fmla="*/ 2147483647 h 51"/>
                      <a:gd name="T20" fmla="*/ 2147483647 w 168"/>
                      <a:gd name="T21" fmla="*/ 2147483647 h 51"/>
                      <a:gd name="T22" fmla="*/ 2147483647 w 168"/>
                      <a:gd name="T23" fmla="*/ 2147483647 h 51"/>
                      <a:gd name="T24" fmla="*/ 2147483647 w 168"/>
                      <a:gd name="T25" fmla="*/ 2147483647 h 51"/>
                      <a:gd name="T26" fmla="*/ 2147483647 w 168"/>
                      <a:gd name="T27" fmla="*/ 2147483647 h 51"/>
                      <a:gd name="T28" fmla="*/ 2147483647 w 168"/>
                      <a:gd name="T29" fmla="*/ 2147483647 h 51"/>
                      <a:gd name="T30" fmla="*/ 2147483647 w 168"/>
                      <a:gd name="T31" fmla="*/ 2147483647 h 51"/>
                      <a:gd name="T32" fmla="*/ 2147483647 w 168"/>
                      <a:gd name="T33" fmla="*/ 2147483647 h 51"/>
                      <a:gd name="T34" fmla="*/ 2147483647 w 168"/>
                      <a:gd name="T35" fmla="*/ 2147483647 h 51"/>
                      <a:gd name="T36" fmla="*/ 2147483647 w 168"/>
                      <a:gd name="T37" fmla="*/ 2147483647 h 51"/>
                      <a:gd name="T38" fmla="*/ 2147483647 w 168"/>
                      <a:gd name="T39" fmla="*/ 2147483647 h 51"/>
                      <a:gd name="T40" fmla="*/ 2147483647 w 168"/>
                      <a:gd name="T41" fmla="*/ 2147483647 h 51"/>
                      <a:gd name="T42" fmla="*/ 2147483647 w 168"/>
                      <a:gd name="T43" fmla="*/ 2147483647 h 51"/>
                      <a:gd name="T44" fmla="*/ 2147483647 w 168"/>
                      <a:gd name="T45" fmla="*/ 2147483647 h 51"/>
                      <a:gd name="T46" fmla="*/ 2147483647 w 168"/>
                      <a:gd name="T47" fmla="*/ 2147483647 h 51"/>
                      <a:gd name="T48" fmla="*/ 2147483647 w 168"/>
                      <a:gd name="T49" fmla="*/ 2147483647 h 51"/>
                      <a:gd name="T50" fmla="*/ 2147483647 w 168"/>
                      <a:gd name="T51" fmla="*/ 2147483647 h 51"/>
                      <a:gd name="T52" fmla="*/ 2147483647 w 168"/>
                      <a:gd name="T53" fmla="*/ 2147483647 h 51"/>
                      <a:gd name="T54" fmla="*/ 2147483647 w 168"/>
                      <a:gd name="T55" fmla="*/ 2147483647 h 51"/>
                      <a:gd name="T56" fmla="*/ 2147483647 w 168"/>
                      <a:gd name="T57" fmla="*/ 2147483647 h 51"/>
                      <a:gd name="T58" fmla="*/ 2147483647 w 168"/>
                      <a:gd name="T59" fmla="*/ 2147483647 h 51"/>
                      <a:gd name="T60" fmla="*/ 2147483647 w 168"/>
                      <a:gd name="T61" fmla="*/ 2147483647 h 51"/>
                      <a:gd name="T62" fmla="*/ 2147483647 w 168"/>
                      <a:gd name="T63" fmla="*/ 2147483647 h 51"/>
                      <a:gd name="T64" fmla="*/ 2147483647 w 168"/>
                      <a:gd name="T65" fmla="*/ 2147483647 h 51"/>
                      <a:gd name="T66" fmla="*/ 2147483647 w 168"/>
                      <a:gd name="T67" fmla="*/ 2147483647 h 51"/>
                      <a:gd name="T68" fmla="*/ 2147483647 w 168"/>
                      <a:gd name="T69" fmla="*/ 2147483647 h 51"/>
                      <a:gd name="T70" fmla="*/ 2147483647 w 168"/>
                      <a:gd name="T71" fmla="*/ 2147483647 h 51"/>
                      <a:gd name="T72" fmla="*/ 2147483647 w 168"/>
                      <a:gd name="T73" fmla="*/ 2147483647 h 51"/>
                      <a:gd name="T74" fmla="*/ 2147483647 w 168"/>
                      <a:gd name="T75" fmla="*/ 2147483647 h 51"/>
                      <a:gd name="T76" fmla="*/ 2147483647 w 168"/>
                      <a:gd name="T77" fmla="*/ 2147483647 h 51"/>
                      <a:gd name="T78" fmla="*/ 2147483647 w 168"/>
                      <a:gd name="T79" fmla="*/ 2147483647 h 51"/>
                      <a:gd name="T80" fmla="*/ 2147483647 w 168"/>
                      <a:gd name="T81" fmla="*/ 2147483647 h 51"/>
                      <a:gd name="T82" fmla="*/ 2147483647 w 168"/>
                      <a:gd name="T83" fmla="*/ 2147483647 h 51"/>
                      <a:gd name="T84" fmla="*/ 2147483647 w 168"/>
                      <a:gd name="T85" fmla="*/ 2147483647 h 51"/>
                      <a:gd name="T86" fmla="*/ 2147483647 w 168"/>
                      <a:gd name="T87" fmla="*/ 2147483647 h 51"/>
                      <a:gd name="T88" fmla="*/ 2147483647 w 168"/>
                      <a:gd name="T89" fmla="*/ 2147483647 h 51"/>
                      <a:gd name="T90" fmla="*/ 2147483647 w 168"/>
                      <a:gd name="T91" fmla="*/ 2147483647 h 51"/>
                      <a:gd name="T92" fmla="*/ 2147483647 w 168"/>
                      <a:gd name="T93" fmla="*/ 2147483647 h 51"/>
                      <a:gd name="T94" fmla="*/ 2147483647 w 168"/>
                      <a:gd name="T95" fmla="*/ 2147483647 h 51"/>
                      <a:gd name="T96" fmla="*/ 2147483647 w 168"/>
                      <a:gd name="T97" fmla="*/ 2147483647 h 51"/>
                      <a:gd name="T98" fmla="*/ 2147483647 w 168"/>
                      <a:gd name="T99" fmla="*/ 2147483647 h 51"/>
                      <a:gd name="T100" fmla="*/ 2147483647 w 168"/>
                      <a:gd name="T101" fmla="*/ 2147483647 h 51"/>
                      <a:gd name="T102" fmla="*/ 2147483647 w 168"/>
                      <a:gd name="T103" fmla="*/ 2147483647 h 51"/>
                      <a:gd name="T104" fmla="*/ 2147483647 w 168"/>
                      <a:gd name="T105" fmla="*/ 0 h 51"/>
                      <a:gd name="T106" fmla="*/ 2147483647 w 168"/>
                      <a:gd name="T107" fmla="*/ 2147483647 h 51"/>
                      <a:gd name="T108" fmla="*/ 2147483647 w 168"/>
                      <a:gd name="T109" fmla="*/ 2147483647 h 5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8" h="51">
                        <a:moveTo>
                          <a:pt x="11" y="0"/>
                        </a:moveTo>
                        <a:lnTo>
                          <a:pt x="11" y="10"/>
                        </a:lnTo>
                        <a:lnTo>
                          <a:pt x="8" y="10"/>
                        </a:lnTo>
                        <a:lnTo>
                          <a:pt x="6" y="8"/>
                        </a:lnTo>
                        <a:lnTo>
                          <a:pt x="4" y="7"/>
                        </a:lnTo>
                        <a:lnTo>
                          <a:pt x="4" y="5"/>
                        </a:lnTo>
                        <a:lnTo>
                          <a:pt x="4" y="4"/>
                        </a:lnTo>
                        <a:lnTo>
                          <a:pt x="4" y="3"/>
                        </a:lnTo>
                        <a:lnTo>
                          <a:pt x="2" y="10"/>
                        </a:lnTo>
                        <a:lnTo>
                          <a:pt x="1" y="16"/>
                        </a:lnTo>
                        <a:lnTo>
                          <a:pt x="1" y="24"/>
                        </a:lnTo>
                        <a:lnTo>
                          <a:pt x="0" y="33"/>
                        </a:lnTo>
                        <a:lnTo>
                          <a:pt x="2" y="33"/>
                        </a:lnTo>
                        <a:lnTo>
                          <a:pt x="4" y="33"/>
                        </a:lnTo>
                        <a:lnTo>
                          <a:pt x="5" y="33"/>
                        </a:lnTo>
                        <a:lnTo>
                          <a:pt x="7" y="33"/>
                        </a:lnTo>
                        <a:lnTo>
                          <a:pt x="9" y="34"/>
                        </a:lnTo>
                        <a:lnTo>
                          <a:pt x="11" y="34"/>
                        </a:lnTo>
                        <a:lnTo>
                          <a:pt x="12" y="33"/>
                        </a:lnTo>
                        <a:lnTo>
                          <a:pt x="14" y="33"/>
                        </a:lnTo>
                        <a:lnTo>
                          <a:pt x="17" y="33"/>
                        </a:lnTo>
                        <a:lnTo>
                          <a:pt x="21" y="33"/>
                        </a:lnTo>
                        <a:lnTo>
                          <a:pt x="26" y="33"/>
                        </a:lnTo>
                        <a:lnTo>
                          <a:pt x="30" y="33"/>
                        </a:lnTo>
                        <a:lnTo>
                          <a:pt x="33" y="33"/>
                        </a:lnTo>
                        <a:lnTo>
                          <a:pt x="52" y="33"/>
                        </a:lnTo>
                        <a:lnTo>
                          <a:pt x="55" y="34"/>
                        </a:lnTo>
                        <a:lnTo>
                          <a:pt x="57" y="35"/>
                        </a:lnTo>
                        <a:lnTo>
                          <a:pt x="62" y="35"/>
                        </a:lnTo>
                        <a:lnTo>
                          <a:pt x="63" y="34"/>
                        </a:lnTo>
                        <a:lnTo>
                          <a:pt x="64" y="33"/>
                        </a:lnTo>
                        <a:lnTo>
                          <a:pt x="65" y="33"/>
                        </a:lnTo>
                        <a:lnTo>
                          <a:pt x="65" y="35"/>
                        </a:lnTo>
                        <a:lnTo>
                          <a:pt x="66" y="35"/>
                        </a:lnTo>
                        <a:lnTo>
                          <a:pt x="67" y="36"/>
                        </a:lnTo>
                        <a:lnTo>
                          <a:pt x="68" y="38"/>
                        </a:lnTo>
                        <a:lnTo>
                          <a:pt x="70" y="38"/>
                        </a:lnTo>
                        <a:lnTo>
                          <a:pt x="71" y="38"/>
                        </a:lnTo>
                        <a:lnTo>
                          <a:pt x="73" y="38"/>
                        </a:lnTo>
                        <a:lnTo>
                          <a:pt x="75" y="38"/>
                        </a:lnTo>
                        <a:lnTo>
                          <a:pt x="75" y="41"/>
                        </a:lnTo>
                        <a:lnTo>
                          <a:pt x="75" y="44"/>
                        </a:lnTo>
                        <a:lnTo>
                          <a:pt x="75" y="46"/>
                        </a:lnTo>
                        <a:lnTo>
                          <a:pt x="73" y="47"/>
                        </a:lnTo>
                        <a:lnTo>
                          <a:pt x="71" y="47"/>
                        </a:lnTo>
                        <a:lnTo>
                          <a:pt x="68" y="48"/>
                        </a:lnTo>
                        <a:lnTo>
                          <a:pt x="68" y="51"/>
                        </a:lnTo>
                        <a:lnTo>
                          <a:pt x="75" y="51"/>
                        </a:lnTo>
                        <a:lnTo>
                          <a:pt x="84" y="50"/>
                        </a:lnTo>
                        <a:lnTo>
                          <a:pt x="92" y="47"/>
                        </a:lnTo>
                        <a:lnTo>
                          <a:pt x="100" y="45"/>
                        </a:lnTo>
                        <a:lnTo>
                          <a:pt x="103" y="44"/>
                        </a:lnTo>
                        <a:lnTo>
                          <a:pt x="106" y="43"/>
                        </a:lnTo>
                        <a:lnTo>
                          <a:pt x="108" y="42"/>
                        </a:lnTo>
                        <a:lnTo>
                          <a:pt x="111" y="42"/>
                        </a:lnTo>
                        <a:lnTo>
                          <a:pt x="113" y="40"/>
                        </a:lnTo>
                        <a:lnTo>
                          <a:pt x="116" y="40"/>
                        </a:lnTo>
                        <a:lnTo>
                          <a:pt x="120" y="41"/>
                        </a:lnTo>
                        <a:lnTo>
                          <a:pt x="123" y="42"/>
                        </a:lnTo>
                        <a:lnTo>
                          <a:pt x="131" y="40"/>
                        </a:lnTo>
                        <a:lnTo>
                          <a:pt x="137" y="38"/>
                        </a:lnTo>
                        <a:lnTo>
                          <a:pt x="145" y="37"/>
                        </a:lnTo>
                        <a:lnTo>
                          <a:pt x="152" y="35"/>
                        </a:lnTo>
                        <a:lnTo>
                          <a:pt x="155" y="35"/>
                        </a:lnTo>
                        <a:lnTo>
                          <a:pt x="157" y="36"/>
                        </a:lnTo>
                        <a:lnTo>
                          <a:pt x="160" y="36"/>
                        </a:lnTo>
                        <a:lnTo>
                          <a:pt x="161" y="35"/>
                        </a:lnTo>
                        <a:lnTo>
                          <a:pt x="161" y="34"/>
                        </a:lnTo>
                        <a:lnTo>
                          <a:pt x="161" y="33"/>
                        </a:lnTo>
                        <a:lnTo>
                          <a:pt x="163" y="31"/>
                        </a:lnTo>
                        <a:lnTo>
                          <a:pt x="165" y="29"/>
                        </a:lnTo>
                        <a:lnTo>
                          <a:pt x="166" y="28"/>
                        </a:lnTo>
                        <a:lnTo>
                          <a:pt x="168" y="26"/>
                        </a:lnTo>
                        <a:lnTo>
                          <a:pt x="167" y="24"/>
                        </a:lnTo>
                        <a:lnTo>
                          <a:pt x="166" y="24"/>
                        </a:lnTo>
                        <a:lnTo>
                          <a:pt x="165" y="24"/>
                        </a:lnTo>
                        <a:lnTo>
                          <a:pt x="165" y="22"/>
                        </a:lnTo>
                        <a:lnTo>
                          <a:pt x="165" y="21"/>
                        </a:lnTo>
                        <a:lnTo>
                          <a:pt x="165" y="19"/>
                        </a:lnTo>
                        <a:lnTo>
                          <a:pt x="165" y="17"/>
                        </a:lnTo>
                        <a:lnTo>
                          <a:pt x="166" y="15"/>
                        </a:lnTo>
                        <a:lnTo>
                          <a:pt x="168" y="12"/>
                        </a:lnTo>
                        <a:lnTo>
                          <a:pt x="164" y="14"/>
                        </a:lnTo>
                        <a:lnTo>
                          <a:pt x="161" y="16"/>
                        </a:lnTo>
                        <a:lnTo>
                          <a:pt x="160" y="17"/>
                        </a:lnTo>
                        <a:lnTo>
                          <a:pt x="156" y="19"/>
                        </a:lnTo>
                        <a:lnTo>
                          <a:pt x="154" y="19"/>
                        </a:lnTo>
                        <a:lnTo>
                          <a:pt x="152" y="19"/>
                        </a:lnTo>
                        <a:lnTo>
                          <a:pt x="151" y="19"/>
                        </a:lnTo>
                        <a:lnTo>
                          <a:pt x="149" y="19"/>
                        </a:lnTo>
                        <a:lnTo>
                          <a:pt x="146" y="21"/>
                        </a:lnTo>
                        <a:lnTo>
                          <a:pt x="143" y="24"/>
                        </a:lnTo>
                        <a:lnTo>
                          <a:pt x="138" y="26"/>
                        </a:lnTo>
                        <a:lnTo>
                          <a:pt x="137" y="27"/>
                        </a:lnTo>
                        <a:lnTo>
                          <a:pt x="133" y="26"/>
                        </a:lnTo>
                        <a:lnTo>
                          <a:pt x="134" y="25"/>
                        </a:lnTo>
                        <a:lnTo>
                          <a:pt x="134" y="22"/>
                        </a:lnTo>
                        <a:lnTo>
                          <a:pt x="135" y="20"/>
                        </a:lnTo>
                        <a:lnTo>
                          <a:pt x="133" y="19"/>
                        </a:lnTo>
                        <a:lnTo>
                          <a:pt x="136" y="19"/>
                        </a:lnTo>
                        <a:lnTo>
                          <a:pt x="136" y="17"/>
                        </a:lnTo>
                        <a:lnTo>
                          <a:pt x="136" y="16"/>
                        </a:lnTo>
                        <a:lnTo>
                          <a:pt x="136" y="14"/>
                        </a:lnTo>
                        <a:lnTo>
                          <a:pt x="136" y="12"/>
                        </a:lnTo>
                        <a:lnTo>
                          <a:pt x="134" y="13"/>
                        </a:lnTo>
                        <a:lnTo>
                          <a:pt x="131" y="14"/>
                        </a:lnTo>
                        <a:lnTo>
                          <a:pt x="127" y="15"/>
                        </a:lnTo>
                        <a:lnTo>
                          <a:pt x="123" y="16"/>
                        </a:lnTo>
                        <a:lnTo>
                          <a:pt x="122" y="15"/>
                        </a:lnTo>
                        <a:lnTo>
                          <a:pt x="121" y="14"/>
                        </a:lnTo>
                        <a:lnTo>
                          <a:pt x="119" y="13"/>
                        </a:lnTo>
                        <a:lnTo>
                          <a:pt x="116" y="12"/>
                        </a:lnTo>
                        <a:lnTo>
                          <a:pt x="116" y="14"/>
                        </a:lnTo>
                        <a:lnTo>
                          <a:pt x="116" y="15"/>
                        </a:lnTo>
                        <a:lnTo>
                          <a:pt x="113" y="16"/>
                        </a:lnTo>
                        <a:lnTo>
                          <a:pt x="111" y="16"/>
                        </a:lnTo>
                        <a:lnTo>
                          <a:pt x="110" y="15"/>
                        </a:lnTo>
                        <a:lnTo>
                          <a:pt x="109" y="14"/>
                        </a:lnTo>
                        <a:lnTo>
                          <a:pt x="108" y="13"/>
                        </a:lnTo>
                        <a:lnTo>
                          <a:pt x="107" y="12"/>
                        </a:lnTo>
                        <a:lnTo>
                          <a:pt x="98" y="12"/>
                        </a:lnTo>
                        <a:lnTo>
                          <a:pt x="94" y="12"/>
                        </a:lnTo>
                        <a:lnTo>
                          <a:pt x="90" y="12"/>
                        </a:lnTo>
                        <a:lnTo>
                          <a:pt x="89" y="11"/>
                        </a:lnTo>
                        <a:lnTo>
                          <a:pt x="88" y="10"/>
                        </a:lnTo>
                        <a:lnTo>
                          <a:pt x="85" y="10"/>
                        </a:lnTo>
                        <a:lnTo>
                          <a:pt x="81" y="10"/>
                        </a:lnTo>
                        <a:lnTo>
                          <a:pt x="78" y="10"/>
                        </a:lnTo>
                        <a:lnTo>
                          <a:pt x="75" y="10"/>
                        </a:lnTo>
                        <a:lnTo>
                          <a:pt x="68" y="11"/>
                        </a:lnTo>
                        <a:lnTo>
                          <a:pt x="64" y="12"/>
                        </a:lnTo>
                        <a:lnTo>
                          <a:pt x="57" y="15"/>
                        </a:lnTo>
                        <a:lnTo>
                          <a:pt x="49" y="16"/>
                        </a:lnTo>
                        <a:lnTo>
                          <a:pt x="46" y="13"/>
                        </a:lnTo>
                        <a:lnTo>
                          <a:pt x="42" y="11"/>
                        </a:lnTo>
                        <a:lnTo>
                          <a:pt x="39" y="11"/>
                        </a:lnTo>
                        <a:lnTo>
                          <a:pt x="36" y="10"/>
                        </a:lnTo>
                        <a:lnTo>
                          <a:pt x="36" y="8"/>
                        </a:lnTo>
                        <a:lnTo>
                          <a:pt x="36" y="7"/>
                        </a:lnTo>
                        <a:lnTo>
                          <a:pt x="40" y="7"/>
                        </a:lnTo>
                        <a:lnTo>
                          <a:pt x="40" y="6"/>
                        </a:lnTo>
                        <a:lnTo>
                          <a:pt x="40" y="5"/>
                        </a:lnTo>
                        <a:lnTo>
                          <a:pt x="40" y="4"/>
                        </a:lnTo>
                        <a:lnTo>
                          <a:pt x="40" y="3"/>
                        </a:lnTo>
                        <a:lnTo>
                          <a:pt x="39" y="2"/>
                        </a:lnTo>
                        <a:lnTo>
                          <a:pt x="38" y="0"/>
                        </a:lnTo>
                        <a:lnTo>
                          <a:pt x="36" y="0"/>
                        </a:lnTo>
                        <a:lnTo>
                          <a:pt x="34" y="0"/>
                        </a:lnTo>
                        <a:lnTo>
                          <a:pt x="31" y="2"/>
                        </a:lnTo>
                        <a:lnTo>
                          <a:pt x="29" y="3"/>
                        </a:lnTo>
                        <a:lnTo>
                          <a:pt x="26" y="3"/>
                        </a:lnTo>
                        <a:lnTo>
                          <a:pt x="26" y="7"/>
                        </a:lnTo>
                        <a:lnTo>
                          <a:pt x="21" y="8"/>
                        </a:lnTo>
                        <a:lnTo>
                          <a:pt x="17" y="6"/>
                        </a:lnTo>
                        <a:lnTo>
                          <a:pt x="14" y="3"/>
                        </a:lnTo>
                        <a:lnTo>
                          <a:pt x="1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1" name="Freeform 1919">
                    <a:extLst>
                      <a:ext uri="{FF2B5EF4-FFF2-40B4-BE49-F238E27FC236}">
                        <a16:creationId xmlns:a16="http://schemas.microsoft.com/office/drawing/2014/main" xmlns="" id="{67A72F6C-63B1-482D-8294-24F08377E690}"/>
                      </a:ext>
                    </a:extLst>
                  </p:cNvPr>
                  <p:cNvSpPr>
                    <a:spLocks/>
                  </p:cNvSpPr>
                  <p:nvPr/>
                </p:nvSpPr>
                <p:spPr bwMode="gray">
                  <a:xfrm>
                    <a:off x="5106341" y="4614753"/>
                    <a:ext cx="7787" cy="10012"/>
                  </a:xfrm>
                  <a:custGeom>
                    <a:avLst/>
                    <a:gdLst>
                      <a:gd name="T0" fmla="*/ 2147483647 w 7"/>
                      <a:gd name="T1" fmla="*/ 0 h 9"/>
                      <a:gd name="T2" fmla="*/ 2147483647 w 7"/>
                      <a:gd name="T3" fmla="*/ 0 h 9"/>
                      <a:gd name="T4" fmla="*/ 0 w 7"/>
                      <a:gd name="T5" fmla="*/ 2147483647 h 9"/>
                      <a:gd name="T6" fmla="*/ 0 w 7"/>
                      <a:gd name="T7" fmla="*/ 2147483647 h 9"/>
                      <a:gd name="T8" fmla="*/ 2147483647 w 7"/>
                      <a:gd name="T9" fmla="*/ 0 h 9"/>
                      <a:gd name="T10" fmla="*/ 2147483647 w 7"/>
                      <a:gd name="T11" fmla="*/ 2147483647 h 9"/>
                      <a:gd name="T12" fmla="*/ 2147483647 w 7"/>
                      <a:gd name="T13" fmla="*/ 2147483647 h 9"/>
                      <a:gd name="T14" fmla="*/ 2147483647 w 7"/>
                      <a:gd name="T15" fmla="*/ 2147483647 h 9"/>
                      <a:gd name="T16" fmla="*/ 2147483647 w 7"/>
                      <a:gd name="T17" fmla="*/ 2147483647 h 9"/>
                      <a:gd name="T18" fmla="*/ 2147483647 w 7"/>
                      <a:gd name="T19" fmla="*/ 2147483647 h 9"/>
                      <a:gd name="T20" fmla="*/ 2147483647 w 7"/>
                      <a:gd name="T21" fmla="*/ 2147483647 h 9"/>
                      <a:gd name="T22" fmla="*/ 2147483647 w 7"/>
                      <a:gd name="T23" fmla="*/ 2147483647 h 9"/>
                      <a:gd name="T24" fmla="*/ 2147483647 w 7"/>
                      <a:gd name="T25" fmla="*/ 0 h 9"/>
                      <a:gd name="T26" fmla="*/ 2147483647 w 7"/>
                      <a:gd name="T27" fmla="*/ 0 h 9"/>
                      <a:gd name="T28" fmla="*/ 2147483647 w 7"/>
                      <a:gd name="T29" fmla="*/ 0 h 9"/>
                      <a:gd name="T30" fmla="*/ 2147483647 w 7"/>
                      <a:gd name="T31" fmla="*/ 0 h 9"/>
                      <a:gd name="T32" fmla="*/ 2147483647 w 7"/>
                      <a:gd name="T33" fmla="*/ 0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 h="9">
                        <a:moveTo>
                          <a:pt x="1" y="0"/>
                        </a:moveTo>
                        <a:lnTo>
                          <a:pt x="1" y="0"/>
                        </a:lnTo>
                        <a:lnTo>
                          <a:pt x="0" y="1"/>
                        </a:lnTo>
                        <a:lnTo>
                          <a:pt x="1" y="0"/>
                        </a:lnTo>
                        <a:lnTo>
                          <a:pt x="3" y="2"/>
                        </a:lnTo>
                        <a:lnTo>
                          <a:pt x="4" y="5"/>
                        </a:lnTo>
                        <a:lnTo>
                          <a:pt x="5" y="7"/>
                        </a:lnTo>
                        <a:lnTo>
                          <a:pt x="7" y="9"/>
                        </a:lnTo>
                        <a:lnTo>
                          <a:pt x="7" y="8"/>
                        </a:lnTo>
                        <a:lnTo>
                          <a:pt x="7" y="6"/>
                        </a:lnTo>
                        <a:lnTo>
                          <a:pt x="6" y="3"/>
                        </a:lnTo>
                        <a:lnTo>
                          <a:pt x="4" y="0"/>
                        </a:lnTo>
                        <a:lnTo>
                          <a:pt x="3" y="0"/>
                        </a:lnTo>
                        <a:lnTo>
                          <a:pt x="2"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2" name="Freeform 1921">
                    <a:extLst>
                      <a:ext uri="{FF2B5EF4-FFF2-40B4-BE49-F238E27FC236}">
                        <a16:creationId xmlns:a16="http://schemas.microsoft.com/office/drawing/2014/main" xmlns="" id="{0844DFF8-CD95-4DC1-AB4E-C12D8DC6C7E8}"/>
                      </a:ext>
                    </a:extLst>
                  </p:cNvPr>
                  <p:cNvSpPr>
                    <a:spLocks/>
                  </p:cNvSpPr>
                  <p:nvPr/>
                </p:nvSpPr>
                <p:spPr bwMode="gray">
                  <a:xfrm>
                    <a:off x="5323283" y="4600291"/>
                    <a:ext cx="2225" cy="2225"/>
                  </a:xfrm>
                  <a:custGeom>
                    <a:avLst/>
                    <a:gdLst>
                      <a:gd name="T0" fmla="*/ 0 w 2"/>
                      <a:gd name="T1" fmla="*/ 0 h 2"/>
                      <a:gd name="T2" fmla="*/ 2147483647 w 2"/>
                      <a:gd name="T3" fmla="*/ 2147483647 h 2"/>
                      <a:gd name="T4" fmla="*/ 2147483647 w 2"/>
                      <a:gd name="T5" fmla="*/ 2147483647 h 2"/>
                      <a:gd name="T6" fmla="*/ 2147483647 w 2"/>
                      <a:gd name="T7" fmla="*/ 2147483647 h 2"/>
                      <a:gd name="T8" fmla="*/ 0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2" y="2"/>
                        </a:lnTo>
                        <a:lnTo>
                          <a:pt x="2" y="1"/>
                        </a:lnTo>
                        <a:lnTo>
                          <a:pt x="1"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3" name="Freeform 1923">
                    <a:extLst>
                      <a:ext uri="{FF2B5EF4-FFF2-40B4-BE49-F238E27FC236}">
                        <a16:creationId xmlns:a16="http://schemas.microsoft.com/office/drawing/2014/main" xmlns="" id="{CF5AFE79-BCEF-4160-A5F9-A2807AA33C12}"/>
                      </a:ext>
                    </a:extLst>
                  </p:cNvPr>
                  <p:cNvSpPr>
                    <a:spLocks/>
                  </p:cNvSpPr>
                  <p:nvPr/>
                </p:nvSpPr>
                <p:spPr bwMode="gray">
                  <a:xfrm>
                    <a:off x="5368897" y="4600291"/>
                    <a:ext cx="10013" cy="27811"/>
                  </a:xfrm>
                  <a:custGeom>
                    <a:avLst/>
                    <a:gdLst>
                      <a:gd name="T0" fmla="*/ 2147483647 w 9"/>
                      <a:gd name="T1" fmla="*/ 0 h 25"/>
                      <a:gd name="T2" fmla="*/ 2147483647 w 9"/>
                      <a:gd name="T3" fmla="*/ 0 h 25"/>
                      <a:gd name="T4" fmla="*/ 2147483647 w 9"/>
                      <a:gd name="T5" fmla="*/ 2147483647 h 25"/>
                      <a:gd name="T6" fmla="*/ 2147483647 w 9"/>
                      <a:gd name="T7" fmla="*/ 2147483647 h 25"/>
                      <a:gd name="T8" fmla="*/ 2147483647 w 9"/>
                      <a:gd name="T9" fmla="*/ 2147483647 h 25"/>
                      <a:gd name="T10" fmla="*/ 2147483647 w 9"/>
                      <a:gd name="T11" fmla="*/ 2147483647 h 25"/>
                      <a:gd name="T12" fmla="*/ 2147483647 w 9"/>
                      <a:gd name="T13" fmla="*/ 2147483647 h 25"/>
                      <a:gd name="T14" fmla="*/ 2147483647 w 9"/>
                      <a:gd name="T15" fmla="*/ 2147483647 h 25"/>
                      <a:gd name="T16" fmla="*/ 0 w 9"/>
                      <a:gd name="T17" fmla="*/ 2147483647 h 25"/>
                      <a:gd name="T18" fmla="*/ 0 w 9"/>
                      <a:gd name="T19" fmla="*/ 2147483647 h 25"/>
                      <a:gd name="T20" fmla="*/ 0 w 9"/>
                      <a:gd name="T21" fmla="*/ 2147483647 h 25"/>
                      <a:gd name="T22" fmla="*/ 0 w 9"/>
                      <a:gd name="T23" fmla="*/ 2147483647 h 25"/>
                      <a:gd name="T24" fmla="*/ 2147483647 w 9"/>
                      <a:gd name="T25" fmla="*/ 2147483647 h 25"/>
                      <a:gd name="T26" fmla="*/ 2147483647 w 9"/>
                      <a:gd name="T27" fmla="*/ 2147483647 h 25"/>
                      <a:gd name="T28" fmla="*/ 2147483647 w 9"/>
                      <a:gd name="T29" fmla="*/ 2147483647 h 25"/>
                      <a:gd name="T30" fmla="*/ 2147483647 w 9"/>
                      <a:gd name="T31" fmla="*/ 2147483647 h 25"/>
                      <a:gd name="T32" fmla="*/ 2147483647 w 9"/>
                      <a:gd name="T33" fmla="*/ 2147483647 h 25"/>
                      <a:gd name="T34" fmla="*/ 2147483647 w 9"/>
                      <a:gd name="T35" fmla="*/ 2147483647 h 25"/>
                      <a:gd name="T36" fmla="*/ 2147483647 w 9"/>
                      <a:gd name="T37" fmla="*/ 2147483647 h 25"/>
                      <a:gd name="T38" fmla="*/ 2147483647 w 9"/>
                      <a:gd name="T39" fmla="*/ 2147483647 h 25"/>
                      <a:gd name="T40" fmla="*/ 2147483647 w 9"/>
                      <a:gd name="T41" fmla="*/ 2147483647 h 25"/>
                      <a:gd name="T42" fmla="*/ 2147483647 w 9"/>
                      <a:gd name="T43" fmla="*/ 2147483647 h 25"/>
                      <a:gd name="T44" fmla="*/ 2147483647 w 9"/>
                      <a:gd name="T45" fmla="*/ 2147483647 h 25"/>
                      <a:gd name="T46" fmla="*/ 2147483647 w 9"/>
                      <a:gd name="T47" fmla="*/ 2147483647 h 25"/>
                      <a:gd name="T48" fmla="*/ 2147483647 w 9"/>
                      <a:gd name="T49" fmla="*/ 2147483647 h 25"/>
                      <a:gd name="T50" fmla="*/ 2147483647 w 9"/>
                      <a:gd name="T51" fmla="*/ 2147483647 h 25"/>
                      <a:gd name="T52" fmla="*/ 2147483647 w 9"/>
                      <a:gd name="T53" fmla="*/ 2147483647 h 25"/>
                      <a:gd name="T54" fmla="*/ 2147483647 w 9"/>
                      <a:gd name="T55" fmla="*/ 2147483647 h 25"/>
                      <a:gd name="T56" fmla="*/ 2147483647 w 9"/>
                      <a:gd name="T57" fmla="*/ 2147483647 h 25"/>
                      <a:gd name="T58" fmla="*/ 2147483647 w 9"/>
                      <a:gd name="T59" fmla="*/ 2147483647 h 25"/>
                      <a:gd name="T60" fmla="*/ 2147483647 w 9"/>
                      <a:gd name="T61" fmla="*/ 2147483647 h 25"/>
                      <a:gd name="T62" fmla="*/ 2147483647 w 9"/>
                      <a:gd name="T63" fmla="*/ 2147483647 h 25"/>
                      <a:gd name="T64" fmla="*/ 2147483647 w 9"/>
                      <a:gd name="T65" fmla="*/ 0 h 25"/>
                      <a:gd name="T66" fmla="*/ 2147483647 w 9"/>
                      <a:gd name="T67" fmla="*/ 0 h 25"/>
                      <a:gd name="T68" fmla="*/ 2147483647 w 9"/>
                      <a:gd name="T69" fmla="*/ 0 h 25"/>
                      <a:gd name="T70" fmla="*/ 2147483647 w 9"/>
                      <a:gd name="T71" fmla="*/ 0 h 25"/>
                      <a:gd name="T72" fmla="*/ 2147483647 w 9"/>
                      <a:gd name="T73" fmla="*/ 0 h 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 h="25">
                        <a:moveTo>
                          <a:pt x="6" y="0"/>
                        </a:moveTo>
                        <a:lnTo>
                          <a:pt x="4" y="0"/>
                        </a:lnTo>
                        <a:lnTo>
                          <a:pt x="4" y="1"/>
                        </a:lnTo>
                        <a:lnTo>
                          <a:pt x="4" y="2"/>
                        </a:lnTo>
                        <a:lnTo>
                          <a:pt x="3" y="3"/>
                        </a:lnTo>
                        <a:lnTo>
                          <a:pt x="2" y="5"/>
                        </a:lnTo>
                        <a:lnTo>
                          <a:pt x="2" y="8"/>
                        </a:lnTo>
                        <a:lnTo>
                          <a:pt x="1" y="9"/>
                        </a:lnTo>
                        <a:lnTo>
                          <a:pt x="0" y="12"/>
                        </a:lnTo>
                        <a:lnTo>
                          <a:pt x="0" y="13"/>
                        </a:lnTo>
                        <a:lnTo>
                          <a:pt x="0" y="14"/>
                        </a:lnTo>
                        <a:lnTo>
                          <a:pt x="0" y="19"/>
                        </a:lnTo>
                        <a:lnTo>
                          <a:pt x="1" y="19"/>
                        </a:lnTo>
                        <a:lnTo>
                          <a:pt x="2" y="19"/>
                        </a:lnTo>
                        <a:lnTo>
                          <a:pt x="3" y="19"/>
                        </a:lnTo>
                        <a:lnTo>
                          <a:pt x="2" y="20"/>
                        </a:lnTo>
                        <a:lnTo>
                          <a:pt x="2" y="22"/>
                        </a:lnTo>
                        <a:lnTo>
                          <a:pt x="2" y="24"/>
                        </a:lnTo>
                        <a:lnTo>
                          <a:pt x="3" y="25"/>
                        </a:lnTo>
                        <a:lnTo>
                          <a:pt x="5" y="25"/>
                        </a:lnTo>
                        <a:lnTo>
                          <a:pt x="6" y="24"/>
                        </a:lnTo>
                        <a:lnTo>
                          <a:pt x="6" y="22"/>
                        </a:lnTo>
                        <a:lnTo>
                          <a:pt x="6" y="21"/>
                        </a:lnTo>
                        <a:lnTo>
                          <a:pt x="8" y="19"/>
                        </a:lnTo>
                        <a:lnTo>
                          <a:pt x="9" y="16"/>
                        </a:lnTo>
                        <a:lnTo>
                          <a:pt x="9" y="15"/>
                        </a:lnTo>
                        <a:lnTo>
                          <a:pt x="6" y="12"/>
                        </a:lnTo>
                        <a:lnTo>
                          <a:pt x="6" y="9"/>
                        </a:lnTo>
                        <a:lnTo>
                          <a:pt x="8" y="8"/>
                        </a:lnTo>
                        <a:lnTo>
                          <a:pt x="9" y="4"/>
                        </a:lnTo>
                        <a:lnTo>
                          <a:pt x="9" y="0"/>
                        </a:lnTo>
                        <a:lnTo>
                          <a:pt x="8" y="0"/>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4" name="Freeform 1925">
                    <a:extLst>
                      <a:ext uri="{FF2B5EF4-FFF2-40B4-BE49-F238E27FC236}">
                        <a16:creationId xmlns:a16="http://schemas.microsoft.com/office/drawing/2014/main" xmlns="" id="{E202013E-937D-4DC0-A26E-3DEFFA9D5E24}"/>
                      </a:ext>
                    </a:extLst>
                  </p:cNvPr>
                  <p:cNvSpPr>
                    <a:spLocks/>
                  </p:cNvSpPr>
                  <p:nvPr/>
                </p:nvSpPr>
                <p:spPr bwMode="gray">
                  <a:xfrm>
                    <a:off x="5376685" y="4591391"/>
                    <a:ext cx="2225" cy="4450"/>
                  </a:xfrm>
                  <a:custGeom>
                    <a:avLst/>
                    <a:gdLst>
                      <a:gd name="T0" fmla="*/ 0 w 2"/>
                      <a:gd name="T1" fmla="*/ 2147483647 h 4"/>
                      <a:gd name="T2" fmla="*/ 0 w 2"/>
                      <a:gd name="T3" fmla="*/ 2147483647 h 4"/>
                      <a:gd name="T4" fmla="*/ 0 w 2"/>
                      <a:gd name="T5" fmla="*/ 2147483647 h 4"/>
                      <a:gd name="T6" fmla="*/ 0 w 2"/>
                      <a:gd name="T7" fmla="*/ 2147483647 h 4"/>
                      <a:gd name="T8" fmla="*/ 0 w 2"/>
                      <a:gd name="T9" fmla="*/ 2147483647 h 4"/>
                      <a:gd name="T10" fmla="*/ 2147483647 w 2"/>
                      <a:gd name="T11" fmla="*/ 2147483647 h 4"/>
                      <a:gd name="T12" fmla="*/ 2147483647 w 2"/>
                      <a:gd name="T13" fmla="*/ 2147483647 h 4"/>
                      <a:gd name="T14" fmla="*/ 2147483647 w 2"/>
                      <a:gd name="T15" fmla="*/ 2147483647 h 4"/>
                      <a:gd name="T16" fmla="*/ 2147483647 w 2"/>
                      <a:gd name="T17" fmla="*/ 0 h 4"/>
                      <a:gd name="T18" fmla="*/ 0 w 2"/>
                      <a:gd name="T19" fmla="*/ 2147483647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4">
                        <a:moveTo>
                          <a:pt x="0" y="1"/>
                        </a:moveTo>
                        <a:lnTo>
                          <a:pt x="0" y="1"/>
                        </a:lnTo>
                        <a:lnTo>
                          <a:pt x="0" y="3"/>
                        </a:lnTo>
                        <a:lnTo>
                          <a:pt x="0" y="4"/>
                        </a:lnTo>
                        <a:lnTo>
                          <a:pt x="2" y="4"/>
                        </a:lnTo>
                        <a:lnTo>
                          <a:pt x="2" y="3"/>
                        </a:lnTo>
                        <a:lnTo>
                          <a:pt x="2" y="1"/>
                        </a:lnTo>
                        <a:lnTo>
                          <a:pt x="1" y="0"/>
                        </a:lnTo>
                        <a:lnTo>
                          <a:pt x="0"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5" name="Freeform 1927">
                    <a:extLst>
                      <a:ext uri="{FF2B5EF4-FFF2-40B4-BE49-F238E27FC236}">
                        <a16:creationId xmlns:a16="http://schemas.microsoft.com/office/drawing/2014/main" xmlns="" id="{D270C702-CCAD-465C-9532-4E832C243213}"/>
                      </a:ext>
                    </a:extLst>
                  </p:cNvPr>
                  <p:cNvSpPr>
                    <a:spLocks/>
                  </p:cNvSpPr>
                  <p:nvPr/>
                </p:nvSpPr>
                <p:spPr bwMode="gray">
                  <a:xfrm>
                    <a:off x="5323283" y="4582492"/>
                    <a:ext cx="1113" cy="1113"/>
                  </a:xfrm>
                  <a:custGeom>
                    <a:avLst/>
                    <a:gdLst>
                      <a:gd name="T0" fmla="*/ 0 w 1"/>
                      <a:gd name="T1" fmla="*/ 0 h 1"/>
                      <a:gd name="T2" fmla="*/ 0 w 1"/>
                      <a:gd name="T3" fmla="*/ 0 h 1"/>
                      <a:gd name="T4" fmla="*/ 0 w 1"/>
                      <a:gd name="T5" fmla="*/ 2147483647 h 1"/>
                      <a:gd name="T6" fmla="*/ 2147483647 w 1"/>
                      <a:gd name="T7" fmla="*/ 2147483647 h 1"/>
                      <a:gd name="T8" fmla="*/ 0 w 1"/>
                      <a:gd name="T9" fmla="*/ 0 h 1"/>
                      <a:gd name="T10" fmla="*/ 0 w 1"/>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1">
                        <a:moveTo>
                          <a:pt x="0" y="0"/>
                        </a:moveTo>
                        <a:lnTo>
                          <a:pt x="0" y="0"/>
                        </a:lnTo>
                        <a:lnTo>
                          <a:pt x="0" y="1"/>
                        </a:lnTo>
                        <a:lnTo>
                          <a:pt x="1"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6" name="Freeform 1929">
                    <a:extLst>
                      <a:ext uri="{FF2B5EF4-FFF2-40B4-BE49-F238E27FC236}">
                        <a16:creationId xmlns:a16="http://schemas.microsoft.com/office/drawing/2014/main" xmlns="" id="{B839316D-F574-43B1-A734-FF5E1E39BEDE}"/>
                      </a:ext>
                    </a:extLst>
                  </p:cNvPr>
                  <p:cNvSpPr>
                    <a:spLocks/>
                  </p:cNvSpPr>
                  <p:nvPr/>
                </p:nvSpPr>
                <p:spPr bwMode="gray">
                  <a:xfrm>
                    <a:off x="5082978" y="4578042"/>
                    <a:ext cx="15575" cy="17799"/>
                  </a:xfrm>
                  <a:custGeom>
                    <a:avLst/>
                    <a:gdLst>
                      <a:gd name="T0" fmla="*/ 2147483647 w 14"/>
                      <a:gd name="T1" fmla="*/ 0 h 16"/>
                      <a:gd name="T2" fmla="*/ 2147483647 w 14"/>
                      <a:gd name="T3" fmla="*/ 2147483647 h 16"/>
                      <a:gd name="T4" fmla="*/ 0 w 14"/>
                      <a:gd name="T5" fmla="*/ 2147483647 h 16"/>
                      <a:gd name="T6" fmla="*/ 0 w 14"/>
                      <a:gd name="T7" fmla="*/ 2147483647 h 16"/>
                      <a:gd name="T8" fmla="*/ 0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2147483647 h 16"/>
                      <a:gd name="T26" fmla="*/ 2147483647 w 14"/>
                      <a:gd name="T27" fmla="*/ 2147483647 h 16"/>
                      <a:gd name="T28" fmla="*/ 2147483647 w 14"/>
                      <a:gd name="T29" fmla="*/ 2147483647 h 16"/>
                      <a:gd name="T30" fmla="*/ 2147483647 w 14"/>
                      <a:gd name="T31" fmla="*/ 2147483647 h 16"/>
                      <a:gd name="T32" fmla="*/ 2147483647 w 14"/>
                      <a:gd name="T33" fmla="*/ 2147483647 h 16"/>
                      <a:gd name="T34" fmla="*/ 2147483647 w 14"/>
                      <a:gd name="T35" fmla="*/ 2147483647 h 16"/>
                      <a:gd name="T36" fmla="*/ 2147483647 w 14"/>
                      <a:gd name="T37" fmla="*/ 2147483647 h 16"/>
                      <a:gd name="T38" fmla="*/ 2147483647 w 14"/>
                      <a:gd name="T39" fmla="*/ 2147483647 h 16"/>
                      <a:gd name="T40" fmla="*/ 2147483647 w 14"/>
                      <a:gd name="T41" fmla="*/ 2147483647 h 16"/>
                      <a:gd name="T42" fmla="*/ 2147483647 w 14"/>
                      <a:gd name="T43" fmla="*/ 2147483647 h 16"/>
                      <a:gd name="T44" fmla="*/ 2147483647 w 14"/>
                      <a:gd name="T45" fmla="*/ 2147483647 h 16"/>
                      <a:gd name="T46" fmla="*/ 2147483647 w 14"/>
                      <a:gd name="T47" fmla="*/ 2147483647 h 16"/>
                      <a:gd name="T48" fmla="*/ 2147483647 w 14"/>
                      <a:gd name="T49" fmla="*/ 2147483647 h 16"/>
                      <a:gd name="T50" fmla="*/ 2147483647 w 14"/>
                      <a:gd name="T51" fmla="*/ 0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4" h="16">
                        <a:moveTo>
                          <a:pt x="3" y="0"/>
                        </a:moveTo>
                        <a:lnTo>
                          <a:pt x="2" y="4"/>
                        </a:lnTo>
                        <a:lnTo>
                          <a:pt x="0" y="5"/>
                        </a:lnTo>
                        <a:lnTo>
                          <a:pt x="0" y="6"/>
                        </a:lnTo>
                        <a:lnTo>
                          <a:pt x="0" y="8"/>
                        </a:lnTo>
                        <a:lnTo>
                          <a:pt x="2" y="10"/>
                        </a:lnTo>
                        <a:lnTo>
                          <a:pt x="3" y="13"/>
                        </a:lnTo>
                        <a:lnTo>
                          <a:pt x="5" y="14"/>
                        </a:lnTo>
                        <a:lnTo>
                          <a:pt x="6" y="15"/>
                        </a:lnTo>
                        <a:lnTo>
                          <a:pt x="7" y="15"/>
                        </a:lnTo>
                        <a:lnTo>
                          <a:pt x="9" y="16"/>
                        </a:lnTo>
                        <a:lnTo>
                          <a:pt x="9" y="12"/>
                        </a:lnTo>
                        <a:lnTo>
                          <a:pt x="9" y="10"/>
                        </a:lnTo>
                        <a:lnTo>
                          <a:pt x="9" y="9"/>
                        </a:lnTo>
                        <a:lnTo>
                          <a:pt x="11" y="9"/>
                        </a:lnTo>
                        <a:lnTo>
                          <a:pt x="12" y="9"/>
                        </a:lnTo>
                        <a:lnTo>
                          <a:pt x="13" y="9"/>
                        </a:lnTo>
                        <a:lnTo>
                          <a:pt x="13" y="8"/>
                        </a:lnTo>
                        <a:lnTo>
                          <a:pt x="14" y="7"/>
                        </a:lnTo>
                        <a:lnTo>
                          <a:pt x="12" y="6"/>
                        </a:lnTo>
                        <a:lnTo>
                          <a:pt x="11" y="5"/>
                        </a:lnTo>
                        <a:lnTo>
                          <a:pt x="8" y="3"/>
                        </a:lnTo>
                        <a:lnTo>
                          <a:pt x="6"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7" name="Freeform 1931">
                    <a:extLst>
                      <a:ext uri="{FF2B5EF4-FFF2-40B4-BE49-F238E27FC236}">
                        <a16:creationId xmlns:a16="http://schemas.microsoft.com/office/drawing/2014/main" xmlns="" id="{224A5BE7-FF5D-4D32-9FF7-1BB361EB169E}"/>
                      </a:ext>
                    </a:extLst>
                  </p:cNvPr>
                  <p:cNvSpPr>
                    <a:spLocks/>
                  </p:cNvSpPr>
                  <p:nvPr/>
                </p:nvSpPr>
                <p:spPr bwMode="gray">
                  <a:xfrm>
                    <a:off x="5086317" y="4566919"/>
                    <a:ext cx="5563" cy="7787"/>
                  </a:xfrm>
                  <a:custGeom>
                    <a:avLst/>
                    <a:gdLst>
                      <a:gd name="T0" fmla="*/ 2147483647 w 5"/>
                      <a:gd name="T1" fmla="*/ 0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0 w 5"/>
                      <a:gd name="T13" fmla="*/ 2147483647 h 7"/>
                      <a:gd name="T14" fmla="*/ 2147483647 w 5"/>
                      <a:gd name="T15" fmla="*/ 2147483647 h 7"/>
                      <a:gd name="T16" fmla="*/ 2147483647 w 5"/>
                      <a:gd name="T17" fmla="*/ 2147483647 h 7"/>
                      <a:gd name="T18" fmla="*/ 2147483647 w 5"/>
                      <a:gd name="T19" fmla="*/ 2147483647 h 7"/>
                      <a:gd name="T20" fmla="*/ 2147483647 w 5"/>
                      <a:gd name="T21" fmla="*/ 2147483647 h 7"/>
                      <a:gd name="T22" fmla="*/ 2147483647 w 5"/>
                      <a:gd name="T23" fmla="*/ 2147483647 h 7"/>
                      <a:gd name="T24" fmla="*/ 2147483647 w 5"/>
                      <a:gd name="T25" fmla="*/ 0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7">
                        <a:moveTo>
                          <a:pt x="5" y="0"/>
                        </a:moveTo>
                        <a:lnTo>
                          <a:pt x="2" y="1"/>
                        </a:lnTo>
                        <a:lnTo>
                          <a:pt x="2" y="4"/>
                        </a:lnTo>
                        <a:lnTo>
                          <a:pt x="3" y="6"/>
                        </a:lnTo>
                        <a:lnTo>
                          <a:pt x="5" y="7"/>
                        </a:lnTo>
                        <a:lnTo>
                          <a:pt x="2" y="6"/>
                        </a:lnTo>
                        <a:lnTo>
                          <a:pt x="0" y="6"/>
                        </a:lnTo>
                        <a:lnTo>
                          <a:pt x="2" y="7"/>
                        </a:lnTo>
                        <a:lnTo>
                          <a:pt x="5" y="7"/>
                        </a:lnTo>
                        <a:lnTo>
                          <a:pt x="5" y="6"/>
                        </a:lnTo>
                        <a:lnTo>
                          <a:pt x="5" y="4"/>
                        </a:lnTo>
                        <a:lnTo>
                          <a:pt x="5" y="1"/>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8" name="Freeform 1933">
                    <a:extLst>
                      <a:ext uri="{FF2B5EF4-FFF2-40B4-BE49-F238E27FC236}">
                        <a16:creationId xmlns:a16="http://schemas.microsoft.com/office/drawing/2014/main" xmlns="" id="{8F3B61A4-AF1A-46CF-9A6C-216863823369}"/>
                      </a:ext>
                    </a:extLst>
                  </p:cNvPr>
                  <p:cNvSpPr>
                    <a:spLocks/>
                  </p:cNvSpPr>
                  <p:nvPr/>
                </p:nvSpPr>
                <p:spPr bwMode="gray">
                  <a:xfrm>
                    <a:off x="5276557" y="4563581"/>
                    <a:ext cx="7787" cy="7787"/>
                  </a:xfrm>
                  <a:custGeom>
                    <a:avLst/>
                    <a:gdLst>
                      <a:gd name="T0" fmla="*/ 2147483647 w 7"/>
                      <a:gd name="T1" fmla="*/ 0 h 7"/>
                      <a:gd name="T2" fmla="*/ 0 w 7"/>
                      <a:gd name="T3" fmla="*/ 2147483647 h 7"/>
                      <a:gd name="T4" fmla="*/ 0 w 7"/>
                      <a:gd name="T5" fmla="*/ 2147483647 h 7"/>
                      <a:gd name="T6" fmla="*/ 0 w 7"/>
                      <a:gd name="T7" fmla="*/ 2147483647 h 7"/>
                      <a:gd name="T8" fmla="*/ 2147483647 w 7"/>
                      <a:gd name="T9" fmla="*/ 2147483647 h 7"/>
                      <a:gd name="T10" fmla="*/ 2147483647 w 7"/>
                      <a:gd name="T11" fmla="*/ 2147483647 h 7"/>
                      <a:gd name="T12" fmla="*/ 2147483647 w 7"/>
                      <a:gd name="T13" fmla="*/ 2147483647 h 7"/>
                      <a:gd name="T14" fmla="*/ 2147483647 w 7"/>
                      <a:gd name="T15" fmla="*/ 2147483647 h 7"/>
                      <a:gd name="T16" fmla="*/ 2147483647 w 7"/>
                      <a:gd name="T17" fmla="*/ 2147483647 h 7"/>
                      <a:gd name="T18" fmla="*/ 2147483647 w 7"/>
                      <a:gd name="T19" fmla="*/ 2147483647 h 7"/>
                      <a:gd name="T20" fmla="*/ 2147483647 w 7"/>
                      <a:gd name="T21" fmla="*/ 2147483647 h 7"/>
                      <a:gd name="T22" fmla="*/ 2147483647 w 7"/>
                      <a:gd name="T23" fmla="*/ 0 h 7"/>
                      <a:gd name="T24" fmla="*/ 2147483647 w 7"/>
                      <a:gd name="T25" fmla="*/ 0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 h="7">
                        <a:moveTo>
                          <a:pt x="2" y="0"/>
                        </a:moveTo>
                        <a:lnTo>
                          <a:pt x="0" y="2"/>
                        </a:lnTo>
                        <a:lnTo>
                          <a:pt x="0" y="5"/>
                        </a:lnTo>
                        <a:lnTo>
                          <a:pt x="0" y="6"/>
                        </a:lnTo>
                        <a:lnTo>
                          <a:pt x="2" y="7"/>
                        </a:lnTo>
                        <a:lnTo>
                          <a:pt x="3" y="6"/>
                        </a:lnTo>
                        <a:lnTo>
                          <a:pt x="5" y="5"/>
                        </a:lnTo>
                        <a:lnTo>
                          <a:pt x="6" y="4"/>
                        </a:lnTo>
                        <a:lnTo>
                          <a:pt x="7" y="3"/>
                        </a:lnTo>
                        <a:lnTo>
                          <a:pt x="5" y="3"/>
                        </a:lnTo>
                        <a:lnTo>
                          <a:pt x="3" y="2"/>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69" name="Freeform 1935">
                    <a:extLst>
                      <a:ext uri="{FF2B5EF4-FFF2-40B4-BE49-F238E27FC236}">
                        <a16:creationId xmlns:a16="http://schemas.microsoft.com/office/drawing/2014/main" xmlns="" id="{B24BFFA9-1E5B-4CEC-AE3D-C657E987E41D}"/>
                      </a:ext>
                    </a:extLst>
                  </p:cNvPr>
                  <p:cNvSpPr>
                    <a:spLocks/>
                  </p:cNvSpPr>
                  <p:nvPr/>
                </p:nvSpPr>
                <p:spPr bwMode="gray">
                  <a:xfrm>
                    <a:off x="5246519" y="4561355"/>
                    <a:ext cx="3338" cy="5563"/>
                  </a:xfrm>
                  <a:custGeom>
                    <a:avLst/>
                    <a:gdLst>
                      <a:gd name="T0" fmla="*/ 0 w 3"/>
                      <a:gd name="T1" fmla="*/ 0 h 5"/>
                      <a:gd name="T2" fmla="*/ 2147483647 w 3"/>
                      <a:gd name="T3" fmla="*/ 2147483647 h 5"/>
                      <a:gd name="T4" fmla="*/ 2147483647 w 3"/>
                      <a:gd name="T5" fmla="*/ 2147483647 h 5"/>
                      <a:gd name="T6" fmla="*/ 2147483647 w 3"/>
                      <a:gd name="T7" fmla="*/ 2147483647 h 5"/>
                      <a:gd name="T8" fmla="*/ 2147483647 w 3"/>
                      <a:gd name="T9" fmla="*/ 2147483647 h 5"/>
                      <a:gd name="T10" fmla="*/ 2147483647 w 3"/>
                      <a:gd name="T11" fmla="*/ 2147483647 h 5"/>
                      <a:gd name="T12" fmla="*/ 2147483647 w 3"/>
                      <a:gd name="T13" fmla="*/ 2147483647 h 5"/>
                      <a:gd name="T14" fmla="*/ 0 w 3"/>
                      <a:gd name="T15" fmla="*/ 0 h 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5">
                        <a:moveTo>
                          <a:pt x="0" y="0"/>
                        </a:moveTo>
                        <a:lnTo>
                          <a:pt x="1" y="3"/>
                        </a:lnTo>
                        <a:lnTo>
                          <a:pt x="2" y="5"/>
                        </a:lnTo>
                        <a:lnTo>
                          <a:pt x="3" y="5"/>
                        </a:lnTo>
                        <a:lnTo>
                          <a:pt x="3" y="4"/>
                        </a:lnTo>
                        <a:lnTo>
                          <a:pt x="3" y="2"/>
                        </a:lnTo>
                        <a:lnTo>
                          <a:pt x="2"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0" name="Freeform 1937">
                    <a:extLst>
                      <a:ext uri="{FF2B5EF4-FFF2-40B4-BE49-F238E27FC236}">
                        <a16:creationId xmlns:a16="http://schemas.microsoft.com/office/drawing/2014/main" xmlns="" id="{77118320-826A-4AC2-9697-EDA60211FAE7}"/>
                      </a:ext>
                    </a:extLst>
                  </p:cNvPr>
                  <p:cNvSpPr>
                    <a:spLocks/>
                  </p:cNvSpPr>
                  <p:nvPr/>
                </p:nvSpPr>
                <p:spPr bwMode="gray">
                  <a:xfrm>
                    <a:off x="5249857" y="4561355"/>
                    <a:ext cx="12237" cy="10012"/>
                  </a:xfrm>
                  <a:custGeom>
                    <a:avLst/>
                    <a:gdLst>
                      <a:gd name="T0" fmla="*/ 2147483647 w 11"/>
                      <a:gd name="T1" fmla="*/ 0 h 9"/>
                      <a:gd name="T2" fmla="*/ 2147483647 w 11"/>
                      <a:gd name="T3" fmla="*/ 0 h 9"/>
                      <a:gd name="T4" fmla="*/ 2147483647 w 11"/>
                      <a:gd name="T5" fmla="*/ 2147483647 h 9"/>
                      <a:gd name="T6" fmla="*/ 2147483647 w 11"/>
                      <a:gd name="T7" fmla="*/ 2147483647 h 9"/>
                      <a:gd name="T8" fmla="*/ 0 w 11"/>
                      <a:gd name="T9" fmla="*/ 2147483647 h 9"/>
                      <a:gd name="T10" fmla="*/ 2147483647 w 11"/>
                      <a:gd name="T11" fmla="*/ 2147483647 h 9"/>
                      <a:gd name="T12" fmla="*/ 2147483647 w 11"/>
                      <a:gd name="T13" fmla="*/ 2147483647 h 9"/>
                      <a:gd name="T14" fmla="*/ 2147483647 w 11"/>
                      <a:gd name="T15" fmla="*/ 2147483647 h 9"/>
                      <a:gd name="T16" fmla="*/ 0 w 11"/>
                      <a:gd name="T17" fmla="*/ 2147483647 h 9"/>
                      <a:gd name="T18" fmla="*/ 2147483647 w 11"/>
                      <a:gd name="T19" fmla="*/ 2147483647 h 9"/>
                      <a:gd name="T20" fmla="*/ 2147483647 w 11"/>
                      <a:gd name="T21" fmla="*/ 2147483647 h 9"/>
                      <a:gd name="T22" fmla="*/ 2147483647 w 11"/>
                      <a:gd name="T23" fmla="*/ 2147483647 h 9"/>
                      <a:gd name="T24" fmla="*/ 2147483647 w 11"/>
                      <a:gd name="T25" fmla="*/ 2147483647 h 9"/>
                      <a:gd name="T26" fmla="*/ 2147483647 w 11"/>
                      <a:gd name="T27" fmla="*/ 2147483647 h 9"/>
                      <a:gd name="T28" fmla="*/ 2147483647 w 11"/>
                      <a:gd name="T29" fmla="*/ 2147483647 h 9"/>
                      <a:gd name="T30" fmla="*/ 2147483647 w 11"/>
                      <a:gd name="T31" fmla="*/ 2147483647 h 9"/>
                      <a:gd name="T32" fmla="*/ 2147483647 w 11"/>
                      <a:gd name="T33" fmla="*/ 2147483647 h 9"/>
                      <a:gd name="T34" fmla="*/ 2147483647 w 11"/>
                      <a:gd name="T35" fmla="*/ 2147483647 h 9"/>
                      <a:gd name="T36" fmla="*/ 2147483647 w 11"/>
                      <a:gd name="T37" fmla="*/ 2147483647 h 9"/>
                      <a:gd name="T38" fmla="*/ 2147483647 w 11"/>
                      <a:gd name="T39" fmla="*/ 2147483647 h 9"/>
                      <a:gd name="T40" fmla="*/ 2147483647 w 11"/>
                      <a:gd name="T41" fmla="*/ 2147483647 h 9"/>
                      <a:gd name="T42" fmla="*/ 2147483647 w 11"/>
                      <a:gd name="T43" fmla="*/ 2147483647 h 9"/>
                      <a:gd name="T44" fmla="*/ 2147483647 w 11"/>
                      <a:gd name="T45" fmla="*/ 2147483647 h 9"/>
                      <a:gd name="T46" fmla="*/ 2147483647 w 11"/>
                      <a:gd name="T47" fmla="*/ 2147483647 h 9"/>
                      <a:gd name="T48" fmla="*/ 2147483647 w 11"/>
                      <a:gd name="T49" fmla="*/ 0 h 9"/>
                      <a:gd name="T50" fmla="*/ 2147483647 w 11"/>
                      <a:gd name="T51" fmla="*/ 0 h 9"/>
                      <a:gd name="T52" fmla="*/ 2147483647 w 11"/>
                      <a:gd name="T53" fmla="*/ 0 h 9"/>
                      <a:gd name="T54" fmla="*/ 2147483647 w 11"/>
                      <a:gd name="T55" fmla="*/ 0 h 9"/>
                      <a:gd name="T56" fmla="*/ 2147483647 w 11"/>
                      <a:gd name="T57" fmla="*/ 0 h 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1" h="9">
                        <a:moveTo>
                          <a:pt x="4" y="0"/>
                        </a:moveTo>
                        <a:lnTo>
                          <a:pt x="3" y="0"/>
                        </a:lnTo>
                        <a:lnTo>
                          <a:pt x="2" y="1"/>
                        </a:lnTo>
                        <a:lnTo>
                          <a:pt x="1" y="2"/>
                        </a:lnTo>
                        <a:lnTo>
                          <a:pt x="0" y="3"/>
                        </a:lnTo>
                        <a:lnTo>
                          <a:pt x="4" y="5"/>
                        </a:lnTo>
                        <a:lnTo>
                          <a:pt x="4" y="6"/>
                        </a:lnTo>
                        <a:lnTo>
                          <a:pt x="3" y="7"/>
                        </a:lnTo>
                        <a:lnTo>
                          <a:pt x="0" y="9"/>
                        </a:lnTo>
                        <a:lnTo>
                          <a:pt x="2" y="9"/>
                        </a:lnTo>
                        <a:lnTo>
                          <a:pt x="4" y="9"/>
                        </a:lnTo>
                        <a:lnTo>
                          <a:pt x="6" y="9"/>
                        </a:lnTo>
                        <a:lnTo>
                          <a:pt x="7" y="9"/>
                        </a:lnTo>
                        <a:lnTo>
                          <a:pt x="8" y="8"/>
                        </a:lnTo>
                        <a:lnTo>
                          <a:pt x="9" y="7"/>
                        </a:lnTo>
                        <a:lnTo>
                          <a:pt x="10" y="5"/>
                        </a:lnTo>
                        <a:lnTo>
                          <a:pt x="11" y="3"/>
                        </a:lnTo>
                        <a:lnTo>
                          <a:pt x="10" y="3"/>
                        </a:lnTo>
                        <a:lnTo>
                          <a:pt x="9" y="3"/>
                        </a:lnTo>
                        <a:lnTo>
                          <a:pt x="8" y="2"/>
                        </a:lnTo>
                        <a:lnTo>
                          <a:pt x="7" y="0"/>
                        </a:lnTo>
                        <a:lnTo>
                          <a:pt x="6"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1" name="Freeform 1939">
                    <a:extLst>
                      <a:ext uri="{FF2B5EF4-FFF2-40B4-BE49-F238E27FC236}">
                        <a16:creationId xmlns:a16="http://schemas.microsoft.com/office/drawing/2014/main" xmlns="" id="{E2B548B5-3AAF-4199-85BA-12B5A00A4DCF}"/>
                      </a:ext>
                    </a:extLst>
                  </p:cNvPr>
                  <p:cNvSpPr>
                    <a:spLocks/>
                  </p:cNvSpPr>
                  <p:nvPr/>
                </p:nvSpPr>
                <p:spPr bwMode="gray">
                  <a:xfrm>
                    <a:off x="5404497" y="4556906"/>
                    <a:ext cx="3338" cy="4450"/>
                  </a:xfrm>
                  <a:custGeom>
                    <a:avLst/>
                    <a:gdLst>
                      <a:gd name="T0" fmla="*/ 0 w 3"/>
                      <a:gd name="T1" fmla="*/ 0 h 4"/>
                      <a:gd name="T2" fmla="*/ 0 w 3"/>
                      <a:gd name="T3" fmla="*/ 2147483647 h 4"/>
                      <a:gd name="T4" fmla="*/ 0 w 3"/>
                      <a:gd name="T5" fmla="*/ 2147483647 h 4"/>
                      <a:gd name="T6" fmla="*/ 2147483647 w 3"/>
                      <a:gd name="T7" fmla="*/ 2147483647 h 4"/>
                      <a:gd name="T8" fmla="*/ 2147483647 w 3"/>
                      <a:gd name="T9" fmla="*/ 2147483647 h 4"/>
                      <a:gd name="T10" fmla="*/ 2147483647 w 3"/>
                      <a:gd name="T11" fmla="*/ 2147483647 h 4"/>
                      <a:gd name="T12" fmla="*/ 2147483647 w 3"/>
                      <a:gd name="T13" fmla="*/ 2147483647 h 4"/>
                      <a:gd name="T14" fmla="*/ 2147483647 w 3"/>
                      <a:gd name="T15" fmla="*/ 2147483647 h 4"/>
                      <a:gd name="T16" fmla="*/ 2147483647 w 3"/>
                      <a:gd name="T17" fmla="*/ 2147483647 h 4"/>
                      <a:gd name="T18" fmla="*/ 2147483647 w 3"/>
                      <a:gd name="T19" fmla="*/ 2147483647 h 4"/>
                      <a:gd name="T20" fmla="*/ 2147483647 w 3"/>
                      <a:gd name="T21" fmla="*/ 2147483647 h 4"/>
                      <a:gd name="T22" fmla="*/ 2147483647 w 3"/>
                      <a:gd name="T23" fmla="*/ 2147483647 h 4"/>
                      <a:gd name="T24" fmla="*/ 2147483647 w 3"/>
                      <a:gd name="T25" fmla="*/ 0 h 4"/>
                      <a:gd name="T26" fmla="*/ 2147483647 w 3"/>
                      <a:gd name="T27" fmla="*/ 0 h 4"/>
                      <a:gd name="T28" fmla="*/ 2147483647 w 3"/>
                      <a:gd name="T29" fmla="*/ 0 h 4"/>
                      <a:gd name="T30" fmla="*/ 0 w 3"/>
                      <a:gd name="T31" fmla="*/ 0 h 4"/>
                      <a:gd name="T32" fmla="*/ 0 w 3"/>
                      <a:gd name="T33" fmla="*/ 0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 h="4">
                        <a:moveTo>
                          <a:pt x="0" y="0"/>
                        </a:moveTo>
                        <a:lnTo>
                          <a:pt x="0" y="4"/>
                        </a:lnTo>
                        <a:lnTo>
                          <a:pt x="1" y="4"/>
                        </a:lnTo>
                        <a:lnTo>
                          <a:pt x="3" y="4"/>
                        </a:lnTo>
                        <a:lnTo>
                          <a:pt x="2" y="4"/>
                        </a:lnTo>
                        <a:lnTo>
                          <a:pt x="3" y="4"/>
                        </a:lnTo>
                        <a:lnTo>
                          <a:pt x="3" y="3"/>
                        </a:lnTo>
                        <a:lnTo>
                          <a:pt x="3" y="2"/>
                        </a:lnTo>
                        <a:lnTo>
                          <a:pt x="3" y="1"/>
                        </a:lnTo>
                        <a:lnTo>
                          <a:pt x="3"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2" name="Freeform 1941">
                    <a:extLst>
                      <a:ext uri="{FF2B5EF4-FFF2-40B4-BE49-F238E27FC236}">
                        <a16:creationId xmlns:a16="http://schemas.microsoft.com/office/drawing/2014/main" xmlns="" id="{EB4CFB5B-5DFC-44D3-ADB0-E4C906420225}"/>
                      </a:ext>
                    </a:extLst>
                  </p:cNvPr>
                  <p:cNvSpPr>
                    <a:spLocks/>
                  </p:cNvSpPr>
                  <p:nvPr/>
                </p:nvSpPr>
                <p:spPr bwMode="gray">
                  <a:xfrm>
                    <a:off x="5176430" y="4553569"/>
                    <a:ext cx="2225" cy="3337"/>
                  </a:xfrm>
                  <a:custGeom>
                    <a:avLst/>
                    <a:gdLst>
                      <a:gd name="T0" fmla="*/ 0 w 2"/>
                      <a:gd name="T1" fmla="*/ 0 h 3"/>
                      <a:gd name="T2" fmla="*/ 0 w 2"/>
                      <a:gd name="T3" fmla="*/ 0 h 3"/>
                      <a:gd name="T4" fmla="*/ 2147483647 w 2"/>
                      <a:gd name="T5" fmla="*/ 2147483647 h 3"/>
                      <a:gd name="T6" fmla="*/ 2147483647 w 2"/>
                      <a:gd name="T7" fmla="*/ 2147483647 h 3"/>
                      <a:gd name="T8" fmla="*/ 2147483647 w 2"/>
                      <a:gd name="T9" fmla="*/ 2147483647 h 3"/>
                      <a:gd name="T10" fmla="*/ 2147483647 w 2"/>
                      <a:gd name="T11" fmla="*/ 2147483647 h 3"/>
                      <a:gd name="T12" fmla="*/ 2147483647 w 2"/>
                      <a:gd name="T13" fmla="*/ 0 h 3"/>
                      <a:gd name="T14" fmla="*/ 2147483647 w 2"/>
                      <a:gd name="T15" fmla="*/ 0 h 3"/>
                      <a:gd name="T16" fmla="*/ 0 w 2"/>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3">
                        <a:moveTo>
                          <a:pt x="0" y="0"/>
                        </a:moveTo>
                        <a:lnTo>
                          <a:pt x="0" y="0"/>
                        </a:lnTo>
                        <a:lnTo>
                          <a:pt x="1" y="2"/>
                        </a:lnTo>
                        <a:lnTo>
                          <a:pt x="1" y="3"/>
                        </a:lnTo>
                        <a:lnTo>
                          <a:pt x="2" y="3"/>
                        </a:lnTo>
                        <a:lnTo>
                          <a:pt x="1" y="1"/>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3" name="Freeform 1943">
                    <a:extLst>
                      <a:ext uri="{FF2B5EF4-FFF2-40B4-BE49-F238E27FC236}">
                        <a16:creationId xmlns:a16="http://schemas.microsoft.com/office/drawing/2014/main" xmlns="" id="{5D3D6220-FA46-4626-A865-CF61FC448455}"/>
                      </a:ext>
                    </a:extLst>
                  </p:cNvPr>
                  <p:cNvSpPr>
                    <a:spLocks/>
                  </p:cNvSpPr>
                  <p:nvPr/>
                </p:nvSpPr>
                <p:spPr bwMode="gray">
                  <a:xfrm>
                    <a:off x="5412285" y="4549120"/>
                    <a:ext cx="5563" cy="4450"/>
                  </a:xfrm>
                  <a:custGeom>
                    <a:avLst/>
                    <a:gdLst>
                      <a:gd name="T0" fmla="*/ 0 w 5"/>
                      <a:gd name="T1" fmla="*/ 0 h 4"/>
                      <a:gd name="T2" fmla="*/ 2147483647 w 5"/>
                      <a:gd name="T3" fmla="*/ 2147483647 h 4"/>
                      <a:gd name="T4" fmla="*/ 2147483647 w 5"/>
                      <a:gd name="T5" fmla="*/ 2147483647 h 4"/>
                      <a:gd name="T6" fmla="*/ 2147483647 w 5"/>
                      <a:gd name="T7" fmla="*/ 2147483647 h 4"/>
                      <a:gd name="T8" fmla="*/ 2147483647 w 5"/>
                      <a:gd name="T9" fmla="*/ 2147483647 h 4"/>
                      <a:gd name="T10" fmla="*/ 2147483647 w 5"/>
                      <a:gd name="T11" fmla="*/ 2147483647 h 4"/>
                      <a:gd name="T12" fmla="*/ 2147483647 w 5"/>
                      <a:gd name="T13" fmla="*/ 2147483647 h 4"/>
                      <a:gd name="T14" fmla="*/ 2147483647 w 5"/>
                      <a:gd name="T15" fmla="*/ 0 h 4"/>
                      <a:gd name="T16" fmla="*/ 0 w 5"/>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4">
                        <a:moveTo>
                          <a:pt x="0" y="0"/>
                        </a:moveTo>
                        <a:lnTo>
                          <a:pt x="1" y="3"/>
                        </a:lnTo>
                        <a:lnTo>
                          <a:pt x="1" y="4"/>
                        </a:lnTo>
                        <a:lnTo>
                          <a:pt x="2" y="4"/>
                        </a:lnTo>
                        <a:lnTo>
                          <a:pt x="4" y="4"/>
                        </a:lnTo>
                        <a:lnTo>
                          <a:pt x="4" y="3"/>
                        </a:lnTo>
                        <a:lnTo>
                          <a:pt x="5" y="2"/>
                        </a:lnTo>
                        <a:lnTo>
                          <a:pt x="4"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4" name="Freeform 1945">
                    <a:extLst>
                      <a:ext uri="{FF2B5EF4-FFF2-40B4-BE49-F238E27FC236}">
                        <a16:creationId xmlns:a16="http://schemas.microsoft.com/office/drawing/2014/main" xmlns="" id="{614A65D2-25AE-46B1-B963-AE46605BD235}"/>
                      </a:ext>
                    </a:extLst>
                  </p:cNvPr>
                  <p:cNvSpPr>
                    <a:spLocks/>
                  </p:cNvSpPr>
                  <p:nvPr/>
                </p:nvSpPr>
                <p:spPr bwMode="gray">
                  <a:xfrm>
                    <a:off x="5397822" y="4549120"/>
                    <a:ext cx="3338" cy="4450"/>
                  </a:xfrm>
                  <a:custGeom>
                    <a:avLst/>
                    <a:gdLst>
                      <a:gd name="T0" fmla="*/ 0 w 3"/>
                      <a:gd name="T1" fmla="*/ 0 h 4"/>
                      <a:gd name="T2" fmla="*/ 2147483647 w 3"/>
                      <a:gd name="T3" fmla="*/ 2147483647 h 4"/>
                      <a:gd name="T4" fmla="*/ 2147483647 w 3"/>
                      <a:gd name="T5" fmla="*/ 2147483647 h 4"/>
                      <a:gd name="T6" fmla="*/ 2147483647 w 3"/>
                      <a:gd name="T7" fmla="*/ 0 h 4"/>
                      <a:gd name="T8" fmla="*/ 2147483647 w 3"/>
                      <a:gd name="T9" fmla="*/ 0 h 4"/>
                      <a:gd name="T10" fmla="*/ 0 w 3"/>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4">
                        <a:moveTo>
                          <a:pt x="0" y="0"/>
                        </a:moveTo>
                        <a:lnTo>
                          <a:pt x="3" y="4"/>
                        </a:lnTo>
                        <a:lnTo>
                          <a:pt x="3" y="2"/>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5" name="Freeform 1947">
                    <a:extLst>
                      <a:ext uri="{FF2B5EF4-FFF2-40B4-BE49-F238E27FC236}">
                        <a16:creationId xmlns:a16="http://schemas.microsoft.com/office/drawing/2014/main" xmlns="" id="{F653BB17-A72A-4C58-835E-318F1F71EBF4}"/>
                      </a:ext>
                    </a:extLst>
                  </p:cNvPr>
                  <p:cNvSpPr>
                    <a:spLocks/>
                  </p:cNvSpPr>
                  <p:nvPr/>
                </p:nvSpPr>
                <p:spPr bwMode="gray">
                  <a:xfrm>
                    <a:off x="5299920" y="4545781"/>
                    <a:ext cx="5563" cy="3337"/>
                  </a:xfrm>
                  <a:custGeom>
                    <a:avLst/>
                    <a:gdLst>
                      <a:gd name="T0" fmla="*/ 0 w 5"/>
                      <a:gd name="T1" fmla="*/ 0 h 3"/>
                      <a:gd name="T2" fmla="*/ 2147483647 w 5"/>
                      <a:gd name="T3" fmla="*/ 2147483647 h 3"/>
                      <a:gd name="T4" fmla="*/ 2147483647 w 5"/>
                      <a:gd name="T5" fmla="*/ 2147483647 h 3"/>
                      <a:gd name="T6" fmla="*/ 2147483647 w 5"/>
                      <a:gd name="T7" fmla="*/ 2147483647 h 3"/>
                      <a:gd name="T8" fmla="*/ 2147483647 w 5"/>
                      <a:gd name="T9" fmla="*/ 2147483647 h 3"/>
                      <a:gd name="T10" fmla="*/ 2147483647 w 5"/>
                      <a:gd name="T11" fmla="*/ 2147483647 h 3"/>
                      <a:gd name="T12" fmla="*/ 2147483647 w 5"/>
                      <a:gd name="T13" fmla="*/ 2147483647 h 3"/>
                      <a:gd name="T14" fmla="*/ 2147483647 w 5"/>
                      <a:gd name="T15" fmla="*/ 2147483647 h 3"/>
                      <a:gd name="T16" fmla="*/ 2147483647 w 5"/>
                      <a:gd name="T17" fmla="*/ 0 h 3"/>
                      <a:gd name="T18" fmla="*/ 2147483647 w 5"/>
                      <a:gd name="T19" fmla="*/ 0 h 3"/>
                      <a:gd name="T20" fmla="*/ 2147483647 w 5"/>
                      <a:gd name="T21" fmla="*/ 0 h 3"/>
                      <a:gd name="T22" fmla="*/ 2147483647 w 5"/>
                      <a:gd name="T23" fmla="*/ 0 h 3"/>
                      <a:gd name="T24" fmla="*/ 0 w 5"/>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3">
                        <a:moveTo>
                          <a:pt x="0" y="0"/>
                        </a:moveTo>
                        <a:lnTo>
                          <a:pt x="2" y="1"/>
                        </a:lnTo>
                        <a:lnTo>
                          <a:pt x="2" y="2"/>
                        </a:lnTo>
                        <a:lnTo>
                          <a:pt x="3" y="2"/>
                        </a:lnTo>
                        <a:lnTo>
                          <a:pt x="5" y="3"/>
                        </a:lnTo>
                        <a:lnTo>
                          <a:pt x="5" y="2"/>
                        </a:lnTo>
                        <a:lnTo>
                          <a:pt x="5" y="1"/>
                        </a:lnTo>
                        <a:lnTo>
                          <a:pt x="5" y="0"/>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6" name="Freeform 1949">
                    <a:extLst>
                      <a:ext uri="{FF2B5EF4-FFF2-40B4-BE49-F238E27FC236}">
                        <a16:creationId xmlns:a16="http://schemas.microsoft.com/office/drawing/2014/main" xmlns="" id="{7E5E9C09-D66C-409A-AA18-25255C72FA79}"/>
                      </a:ext>
                    </a:extLst>
                  </p:cNvPr>
                  <p:cNvSpPr>
                    <a:spLocks/>
                  </p:cNvSpPr>
                  <p:nvPr/>
                </p:nvSpPr>
                <p:spPr bwMode="gray">
                  <a:xfrm>
                    <a:off x="5215368" y="4545781"/>
                    <a:ext cx="6675" cy="5563"/>
                  </a:xfrm>
                  <a:custGeom>
                    <a:avLst/>
                    <a:gdLst>
                      <a:gd name="T0" fmla="*/ 0 w 6"/>
                      <a:gd name="T1" fmla="*/ 0 h 5"/>
                      <a:gd name="T2" fmla="*/ 2147483647 w 6"/>
                      <a:gd name="T3" fmla="*/ 0 h 5"/>
                      <a:gd name="T4" fmla="*/ 2147483647 w 6"/>
                      <a:gd name="T5" fmla="*/ 0 h 5"/>
                      <a:gd name="T6" fmla="*/ 0 w 6"/>
                      <a:gd name="T7" fmla="*/ 0 h 5"/>
                      <a:gd name="T8" fmla="*/ 0 w 6"/>
                      <a:gd name="T9" fmla="*/ 0 h 5"/>
                      <a:gd name="T10" fmla="*/ 0 w 6"/>
                      <a:gd name="T11" fmla="*/ 2147483647 h 5"/>
                      <a:gd name="T12" fmla="*/ 0 w 6"/>
                      <a:gd name="T13" fmla="*/ 2147483647 h 5"/>
                      <a:gd name="T14" fmla="*/ 2147483647 w 6"/>
                      <a:gd name="T15" fmla="*/ 2147483647 h 5"/>
                      <a:gd name="T16" fmla="*/ 2147483647 w 6"/>
                      <a:gd name="T17" fmla="*/ 2147483647 h 5"/>
                      <a:gd name="T18" fmla="*/ 2147483647 w 6"/>
                      <a:gd name="T19" fmla="*/ 2147483647 h 5"/>
                      <a:gd name="T20" fmla="*/ 2147483647 w 6"/>
                      <a:gd name="T21" fmla="*/ 2147483647 h 5"/>
                      <a:gd name="T22" fmla="*/ 2147483647 w 6"/>
                      <a:gd name="T23" fmla="*/ 2147483647 h 5"/>
                      <a:gd name="T24" fmla="*/ 2147483647 w 6"/>
                      <a:gd name="T25" fmla="*/ 2147483647 h 5"/>
                      <a:gd name="T26" fmla="*/ 2147483647 w 6"/>
                      <a:gd name="T27" fmla="*/ 2147483647 h 5"/>
                      <a:gd name="T28" fmla="*/ 2147483647 w 6"/>
                      <a:gd name="T29" fmla="*/ 2147483647 h 5"/>
                      <a:gd name="T30" fmla="*/ 2147483647 w 6"/>
                      <a:gd name="T31" fmla="*/ 0 h 5"/>
                      <a:gd name="T32" fmla="*/ 2147483647 w 6"/>
                      <a:gd name="T33" fmla="*/ 0 h 5"/>
                      <a:gd name="T34" fmla="*/ 2147483647 w 6"/>
                      <a:gd name="T35" fmla="*/ 0 h 5"/>
                      <a:gd name="T36" fmla="*/ 2147483647 w 6"/>
                      <a:gd name="T37" fmla="*/ 0 h 5"/>
                      <a:gd name="T38" fmla="*/ 0 w 6"/>
                      <a:gd name="T39" fmla="*/ 0 h 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 h="5">
                        <a:moveTo>
                          <a:pt x="0" y="0"/>
                        </a:moveTo>
                        <a:lnTo>
                          <a:pt x="1" y="0"/>
                        </a:lnTo>
                        <a:lnTo>
                          <a:pt x="0" y="0"/>
                        </a:lnTo>
                        <a:lnTo>
                          <a:pt x="0" y="1"/>
                        </a:lnTo>
                        <a:lnTo>
                          <a:pt x="0" y="2"/>
                        </a:lnTo>
                        <a:lnTo>
                          <a:pt x="1" y="3"/>
                        </a:lnTo>
                        <a:lnTo>
                          <a:pt x="2" y="4"/>
                        </a:lnTo>
                        <a:lnTo>
                          <a:pt x="3" y="4"/>
                        </a:lnTo>
                        <a:lnTo>
                          <a:pt x="4" y="5"/>
                        </a:lnTo>
                        <a:lnTo>
                          <a:pt x="5" y="5"/>
                        </a:lnTo>
                        <a:lnTo>
                          <a:pt x="6" y="4"/>
                        </a:lnTo>
                        <a:lnTo>
                          <a:pt x="6" y="2"/>
                        </a:lnTo>
                        <a:lnTo>
                          <a:pt x="6" y="1"/>
                        </a:lnTo>
                        <a:lnTo>
                          <a:pt x="6" y="0"/>
                        </a:lnTo>
                        <a:lnTo>
                          <a:pt x="4" y="0"/>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7" name="Freeform 1952">
                    <a:extLst>
                      <a:ext uri="{FF2B5EF4-FFF2-40B4-BE49-F238E27FC236}">
                        <a16:creationId xmlns:a16="http://schemas.microsoft.com/office/drawing/2014/main" xmlns="" id="{596BC8F5-C147-4BCA-8CFB-EDB340EEE5D5}"/>
                      </a:ext>
                    </a:extLst>
                  </p:cNvPr>
                  <p:cNvSpPr>
                    <a:spLocks/>
                  </p:cNvSpPr>
                  <p:nvPr/>
                </p:nvSpPr>
                <p:spPr bwMode="gray">
                  <a:xfrm>
                    <a:off x="5390035" y="4542444"/>
                    <a:ext cx="8900" cy="6675"/>
                  </a:xfrm>
                  <a:custGeom>
                    <a:avLst/>
                    <a:gdLst>
                      <a:gd name="T0" fmla="*/ 2147483647 w 8"/>
                      <a:gd name="T1" fmla="*/ 0 h 6"/>
                      <a:gd name="T2" fmla="*/ 2147483647 w 8"/>
                      <a:gd name="T3" fmla="*/ 0 h 6"/>
                      <a:gd name="T4" fmla="*/ 0 w 8"/>
                      <a:gd name="T5" fmla="*/ 0 h 6"/>
                      <a:gd name="T6" fmla="*/ 0 w 8"/>
                      <a:gd name="T7" fmla="*/ 0 h 6"/>
                      <a:gd name="T8" fmla="*/ 2147483647 w 8"/>
                      <a:gd name="T9" fmla="*/ 2147483647 h 6"/>
                      <a:gd name="T10" fmla="*/ 2147483647 w 8"/>
                      <a:gd name="T11" fmla="*/ 2147483647 h 6"/>
                      <a:gd name="T12" fmla="*/ 2147483647 w 8"/>
                      <a:gd name="T13" fmla="*/ 2147483647 h 6"/>
                      <a:gd name="T14" fmla="*/ 2147483647 w 8"/>
                      <a:gd name="T15" fmla="*/ 2147483647 h 6"/>
                      <a:gd name="T16" fmla="*/ 2147483647 w 8"/>
                      <a:gd name="T17" fmla="*/ 2147483647 h 6"/>
                      <a:gd name="T18" fmla="*/ 2147483647 w 8"/>
                      <a:gd name="T19" fmla="*/ 2147483647 h 6"/>
                      <a:gd name="T20" fmla="*/ 2147483647 w 8"/>
                      <a:gd name="T21" fmla="*/ 2147483647 h 6"/>
                      <a:gd name="T22" fmla="*/ 2147483647 w 8"/>
                      <a:gd name="T23" fmla="*/ 2147483647 h 6"/>
                      <a:gd name="T24" fmla="*/ 2147483647 w 8"/>
                      <a:gd name="T25" fmla="*/ 2147483647 h 6"/>
                      <a:gd name="T26" fmla="*/ 2147483647 w 8"/>
                      <a:gd name="T27" fmla="*/ 2147483647 h 6"/>
                      <a:gd name="T28" fmla="*/ 2147483647 w 8"/>
                      <a:gd name="T29" fmla="*/ 2147483647 h 6"/>
                      <a:gd name="T30" fmla="*/ 2147483647 w 8"/>
                      <a:gd name="T31" fmla="*/ 2147483647 h 6"/>
                      <a:gd name="T32" fmla="*/ 2147483647 w 8"/>
                      <a:gd name="T33" fmla="*/ 2147483647 h 6"/>
                      <a:gd name="T34" fmla="*/ 2147483647 w 8"/>
                      <a:gd name="T35" fmla="*/ 2147483647 h 6"/>
                      <a:gd name="T36" fmla="*/ 2147483647 w 8"/>
                      <a:gd name="T37" fmla="*/ 2147483647 h 6"/>
                      <a:gd name="T38" fmla="*/ 2147483647 w 8"/>
                      <a:gd name="T39" fmla="*/ 2147483647 h 6"/>
                      <a:gd name="T40" fmla="*/ 2147483647 w 8"/>
                      <a:gd name="T41" fmla="*/ 2147483647 h 6"/>
                      <a:gd name="T42" fmla="*/ 2147483647 w 8"/>
                      <a:gd name="T43" fmla="*/ 2147483647 h 6"/>
                      <a:gd name="T44" fmla="*/ 2147483647 w 8"/>
                      <a:gd name="T45" fmla="*/ 0 h 6"/>
                      <a:gd name="T46" fmla="*/ 2147483647 w 8"/>
                      <a:gd name="T47" fmla="*/ 0 h 6"/>
                      <a:gd name="T48" fmla="*/ 2147483647 w 8"/>
                      <a:gd name="T49" fmla="*/ 0 h 6"/>
                      <a:gd name="T50" fmla="*/ 2147483647 w 8"/>
                      <a:gd name="T51" fmla="*/ 0 h 6"/>
                      <a:gd name="T52" fmla="*/ 2147483647 w 8"/>
                      <a:gd name="T53" fmla="*/ 0 h 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 h="6">
                        <a:moveTo>
                          <a:pt x="1" y="0"/>
                        </a:moveTo>
                        <a:lnTo>
                          <a:pt x="1" y="0"/>
                        </a:lnTo>
                        <a:lnTo>
                          <a:pt x="0" y="0"/>
                        </a:lnTo>
                        <a:lnTo>
                          <a:pt x="1" y="2"/>
                        </a:lnTo>
                        <a:lnTo>
                          <a:pt x="2" y="2"/>
                        </a:lnTo>
                        <a:lnTo>
                          <a:pt x="3" y="2"/>
                        </a:lnTo>
                        <a:lnTo>
                          <a:pt x="5" y="2"/>
                        </a:lnTo>
                        <a:lnTo>
                          <a:pt x="5" y="3"/>
                        </a:lnTo>
                        <a:lnTo>
                          <a:pt x="5" y="4"/>
                        </a:lnTo>
                        <a:lnTo>
                          <a:pt x="5" y="5"/>
                        </a:lnTo>
                        <a:lnTo>
                          <a:pt x="5" y="6"/>
                        </a:lnTo>
                        <a:lnTo>
                          <a:pt x="6" y="6"/>
                        </a:lnTo>
                        <a:lnTo>
                          <a:pt x="7" y="6"/>
                        </a:lnTo>
                        <a:lnTo>
                          <a:pt x="8" y="5"/>
                        </a:lnTo>
                        <a:lnTo>
                          <a:pt x="8" y="4"/>
                        </a:lnTo>
                        <a:lnTo>
                          <a:pt x="8" y="3"/>
                        </a:lnTo>
                        <a:lnTo>
                          <a:pt x="7" y="2"/>
                        </a:lnTo>
                        <a:lnTo>
                          <a:pt x="7" y="1"/>
                        </a:lnTo>
                        <a:lnTo>
                          <a:pt x="7" y="0"/>
                        </a:lnTo>
                        <a:lnTo>
                          <a:pt x="6" y="0"/>
                        </a:lnTo>
                        <a:lnTo>
                          <a:pt x="5" y="0"/>
                        </a:lnTo>
                        <a:lnTo>
                          <a:pt x="3"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8" name="Freeform 1954">
                    <a:extLst>
                      <a:ext uri="{FF2B5EF4-FFF2-40B4-BE49-F238E27FC236}">
                        <a16:creationId xmlns:a16="http://schemas.microsoft.com/office/drawing/2014/main" xmlns="" id="{CC448836-EA1B-4E50-97B3-E2FEEFBC96D1}"/>
                      </a:ext>
                    </a:extLst>
                  </p:cNvPr>
                  <p:cNvSpPr>
                    <a:spLocks/>
                  </p:cNvSpPr>
                  <p:nvPr/>
                </p:nvSpPr>
                <p:spPr bwMode="gray">
                  <a:xfrm>
                    <a:off x="5407835" y="4539107"/>
                    <a:ext cx="36713" cy="46724"/>
                  </a:xfrm>
                  <a:custGeom>
                    <a:avLst/>
                    <a:gdLst>
                      <a:gd name="T0" fmla="*/ 2147483647 w 33"/>
                      <a:gd name="T1" fmla="*/ 0 h 42"/>
                      <a:gd name="T2" fmla="*/ 2147483647 w 33"/>
                      <a:gd name="T3" fmla="*/ 0 h 42"/>
                      <a:gd name="T4" fmla="*/ 2147483647 w 33"/>
                      <a:gd name="T5" fmla="*/ 2147483647 h 42"/>
                      <a:gd name="T6" fmla="*/ 2147483647 w 33"/>
                      <a:gd name="T7" fmla="*/ 2147483647 h 42"/>
                      <a:gd name="T8" fmla="*/ 2147483647 w 33"/>
                      <a:gd name="T9" fmla="*/ 2147483647 h 42"/>
                      <a:gd name="T10" fmla="*/ 2147483647 w 33"/>
                      <a:gd name="T11" fmla="*/ 2147483647 h 42"/>
                      <a:gd name="T12" fmla="*/ 2147483647 w 33"/>
                      <a:gd name="T13" fmla="*/ 2147483647 h 42"/>
                      <a:gd name="T14" fmla="*/ 0 w 33"/>
                      <a:gd name="T15" fmla="*/ 2147483647 h 42"/>
                      <a:gd name="T16" fmla="*/ 2147483647 w 33"/>
                      <a:gd name="T17" fmla="*/ 2147483647 h 42"/>
                      <a:gd name="T18" fmla="*/ 2147483647 w 33"/>
                      <a:gd name="T19" fmla="*/ 2147483647 h 42"/>
                      <a:gd name="T20" fmla="*/ 2147483647 w 33"/>
                      <a:gd name="T21" fmla="*/ 2147483647 h 42"/>
                      <a:gd name="T22" fmla="*/ 2147483647 w 33"/>
                      <a:gd name="T23" fmla="*/ 2147483647 h 42"/>
                      <a:gd name="T24" fmla="*/ 2147483647 w 33"/>
                      <a:gd name="T25" fmla="*/ 2147483647 h 42"/>
                      <a:gd name="T26" fmla="*/ 2147483647 w 33"/>
                      <a:gd name="T27" fmla="*/ 2147483647 h 42"/>
                      <a:gd name="T28" fmla="*/ 2147483647 w 33"/>
                      <a:gd name="T29" fmla="*/ 2147483647 h 42"/>
                      <a:gd name="T30" fmla="*/ 2147483647 w 33"/>
                      <a:gd name="T31" fmla="*/ 2147483647 h 42"/>
                      <a:gd name="T32" fmla="*/ 2147483647 w 33"/>
                      <a:gd name="T33" fmla="*/ 2147483647 h 42"/>
                      <a:gd name="T34" fmla="*/ 2147483647 w 33"/>
                      <a:gd name="T35" fmla="*/ 2147483647 h 42"/>
                      <a:gd name="T36" fmla="*/ 2147483647 w 33"/>
                      <a:gd name="T37" fmla="*/ 2147483647 h 42"/>
                      <a:gd name="T38" fmla="*/ 2147483647 w 33"/>
                      <a:gd name="T39" fmla="*/ 2147483647 h 42"/>
                      <a:gd name="T40" fmla="*/ 2147483647 w 33"/>
                      <a:gd name="T41" fmla="*/ 2147483647 h 42"/>
                      <a:gd name="T42" fmla="*/ 2147483647 w 33"/>
                      <a:gd name="T43" fmla="*/ 2147483647 h 42"/>
                      <a:gd name="T44" fmla="*/ 2147483647 w 33"/>
                      <a:gd name="T45" fmla="*/ 2147483647 h 42"/>
                      <a:gd name="T46" fmla="*/ 2147483647 w 33"/>
                      <a:gd name="T47" fmla="*/ 2147483647 h 42"/>
                      <a:gd name="T48" fmla="*/ 2147483647 w 33"/>
                      <a:gd name="T49" fmla="*/ 2147483647 h 42"/>
                      <a:gd name="T50" fmla="*/ 2147483647 w 33"/>
                      <a:gd name="T51" fmla="*/ 2147483647 h 42"/>
                      <a:gd name="T52" fmla="*/ 2147483647 w 33"/>
                      <a:gd name="T53" fmla="*/ 2147483647 h 42"/>
                      <a:gd name="T54" fmla="*/ 2147483647 w 33"/>
                      <a:gd name="T55" fmla="*/ 2147483647 h 42"/>
                      <a:gd name="T56" fmla="*/ 2147483647 w 33"/>
                      <a:gd name="T57" fmla="*/ 2147483647 h 42"/>
                      <a:gd name="T58" fmla="*/ 2147483647 w 33"/>
                      <a:gd name="T59" fmla="*/ 2147483647 h 42"/>
                      <a:gd name="T60" fmla="*/ 2147483647 w 33"/>
                      <a:gd name="T61" fmla="*/ 2147483647 h 42"/>
                      <a:gd name="T62" fmla="*/ 2147483647 w 33"/>
                      <a:gd name="T63" fmla="*/ 2147483647 h 42"/>
                      <a:gd name="T64" fmla="*/ 2147483647 w 33"/>
                      <a:gd name="T65" fmla="*/ 2147483647 h 42"/>
                      <a:gd name="T66" fmla="*/ 2147483647 w 33"/>
                      <a:gd name="T67" fmla="*/ 2147483647 h 42"/>
                      <a:gd name="T68" fmla="*/ 2147483647 w 33"/>
                      <a:gd name="T69" fmla="*/ 2147483647 h 42"/>
                      <a:gd name="T70" fmla="*/ 2147483647 w 33"/>
                      <a:gd name="T71" fmla="*/ 2147483647 h 42"/>
                      <a:gd name="T72" fmla="*/ 2147483647 w 33"/>
                      <a:gd name="T73" fmla="*/ 2147483647 h 42"/>
                      <a:gd name="T74" fmla="*/ 2147483647 w 33"/>
                      <a:gd name="T75" fmla="*/ 2147483647 h 42"/>
                      <a:gd name="T76" fmla="*/ 2147483647 w 33"/>
                      <a:gd name="T77" fmla="*/ 2147483647 h 42"/>
                      <a:gd name="T78" fmla="*/ 2147483647 w 33"/>
                      <a:gd name="T79" fmla="*/ 2147483647 h 42"/>
                      <a:gd name="T80" fmla="*/ 2147483647 w 33"/>
                      <a:gd name="T81" fmla="*/ 2147483647 h 42"/>
                      <a:gd name="T82" fmla="*/ 2147483647 w 33"/>
                      <a:gd name="T83" fmla="*/ 0 h 42"/>
                      <a:gd name="T84" fmla="*/ 2147483647 w 33"/>
                      <a:gd name="T85" fmla="*/ 0 h 42"/>
                      <a:gd name="T86" fmla="*/ 2147483647 w 33"/>
                      <a:gd name="T87" fmla="*/ 0 h 42"/>
                      <a:gd name="T88" fmla="*/ 2147483647 w 33"/>
                      <a:gd name="T89" fmla="*/ 0 h 42"/>
                      <a:gd name="T90" fmla="*/ 2147483647 w 33"/>
                      <a:gd name="T91" fmla="*/ 0 h 4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3" h="42">
                        <a:moveTo>
                          <a:pt x="29" y="0"/>
                        </a:moveTo>
                        <a:lnTo>
                          <a:pt x="26" y="0"/>
                        </a:lnTo>
                        <a:lnTo>
                          <a:pt x="21" y="3"/>
                        </a:lnTo>
                        <a:lnTo>
                          <a:pt x="17" y="6"/>
                        </a:lnTo>
                        <a:lnTo>
                          <a:pt x="14" y="10"/>
                        </a:lnTo>
                        <a:lnTo>
                          <a:pt x="6" y="17"/>
                        </a:lnTo>
                        <a:lnTo>
                          <a:pt x="3" y="20"/>
                        </a:lnTo>
                        <a:lnTo>
                          <a:pt x="0" y="23"/>
                        </a:lnTo>
                        <a:lnTo>
                          <a:pt x="2" y="28"/>
                        </a:lnTo>
                        <a:lnTo>
                          <a:pt x="3" y="32"/>
                        </a:lnTo>
                        <a:lnTo>
                          <a:pt x="5" y="38"/>
                        </a:lnTo>
                        <a:lnTo>
                          <a:pt x="7" y="42"/>
                        </a:lnTo>
                        <a:lnTo>
                          <a:pt x="10" y="42"/>
                        </a:lnTo>
                        <a:lnTo>
                          <a:pt x="13" y="41"/>
                        </a:lnTo>
                        <a:lnTo>
                          <a:pt x="15" y="40"/>
                        </a:lnTo>
                        <a:lnTo>
                          <a:pt x="16" y="35"/>
                        </a:lnTo>
                        <a:lnTo>
                          <a:pt x="16" y="34"/>
                        </a:lnTo>
                        <a:lnTo>
                          <a:pt x="16" y="32"/>
                        </a:lnTo>
                        <a:lnTo>
                          <a:pt x="17" y="32"/>
                        </a:lnTo>
                        <a:lnTo>
                          <a:pt x="19" y="30"/>
                        </a:lnTo>
                        <a:lnTo>
                          <a:pt x="23" y="29"/>
                        </a:lnTo>
                        <a:lnTo>
                          <a:pt x="23" y="28"/>
                        </a:lnTo>
                        <a:lnTo>
                          <a:pt x="24" y="27"/>
                        </a:lnTo>
                        <a:lnTo>
                          <a:pt x="26" y="26"/>
                        </a:lnTo>
                        <a:lnTo>
                          <a:pt x="27" y="24"/>
                        </a:lnTo>
                        <a:lnTo>
                          <a:pt x="27" y="23"/>
                        </a:lnTo>
                        <a:lnTo>
                          <a:pt x="26" y="22"/>
                        </a:lnTo>
                        <a:lnTo>
                          <a:pt x="26" y="20"/>
                        </a:lnTo>
                        <a:lnTo>
                          <a:pt x="27" y="18"/>
                        </a:lnTo>
                        <a:lnTo>
                          <a:pt x="28" y="17"/>
                        </a:lnTo>
                        <a:lnTo>
                          <a:pt x="30" y="16"/>
                        </a:lnTo>
                        <a:lnTo>
                          <a:pt x="33" y="16"/>
                        </a:lnTo>
                        <a:lnTo>
                          <a:pt x="33" y="12"/>
                        </a:lnTo>
                        <a:lnTo>
                          <a:pt x="33" y="10"/>
                        </a:lnTo>
                        <a:lnTo>
                          <a:pt x="33" y="9"/>
                        </a:lnTo>
                        <a:lnTo>
                          <a:pt x="33" y="6"/>
                        </a:lnTo>
                        <a:lnTo>
                          <a:pt x="33" y="3"/>
                        </a:lnTo>
                        <a:lnTo>
                          <a:pt x="33" y="0"/>
                        </a:lnTo>
                        <a:lnTo>
                          <a:pt x="32" y="0"/>
                        </a:lnTo>
                        <a:lnTo>
                          <a:pt x="31" y="0"/>
                        </a:lnTo>
                        <a:lnTo>
                          <a:pt x="30" y="0"/>
                        </a:lnTo>
                        <a:lnTo>
                          <a:pt x="2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79" name="Freeform 1956">
                    <a:extLst>
                      <a:ext uri="{FF2B5EF4-FFF2-40B4-BE49-F238E27FC236}">
                        <a16:creationId xmlns:a16="http://schemas.microsoft.com/office/drawing/2014/main" xmlns="" id="{163B48F9-2683-4415-9119-5A024E16BB12}"/>
                      </a:ext>
                    </a:extLst>
                  </p:cNvPr>
                  <p:cNvSpPr>
                    <a:spLocks/>
                  </p:cNvSpPr>
                  <p:nvPr/>
                </p:nvSpPr>
                <p:spPr bwMode="gray">
                  <a:xfrm>
                    <a:off x="5233169" y="4539107"/>
                    <a:ext cx="6675" cy="10012"/>
                  </a:xfrm>
                  <a:custGeom>
                    <a:avLst/>
                    <a:gdLst>
                      <a:gd name="T0" fmla="*/ 2147483647 w 6"/>
                      <a:gd name="T1" fmla="*/ 0 h 9"/>
                      <a:gd name="T2" fmla="*/ 2147483647 w 6"/>
                      <a:gd name="T3" fmla="*/ 2147483647 h 9"/>
                      <a:gd name="T4" fmla="*/ 0 w 6"/>
                      <a:gd name="T5" fmla="*/ 2147483647 h 9"/>
                      <a:gd name="T6" fmla="*/ 0 w 6"/>
                      <a:gd name="T7" fmla="*/ 2147483647 h 9"/>
                      <a:gd name="T8" fmla="*/ 0 w 6"/>
                      <a:gd name="T9" fmla="*/ 2147483647 h 9"/>
                      <a:gd name="T10" fmla="*/ 0 w 6"/>
                      <a:gd name="T11" fmla="*/ 2147483647 h 9"/>
                      <a:gd name="T12" fmla="*/ 0 w 6"/>
                      <a:gd name="T13" fmla="*/ 2147483647 h 9"/>
                      <a:gd name="T14" fmla="*/ 2147483647 w 6"/>
                      <a:gd name="T15" fmla="*/ 2147483647 h 9"/>
                      <a:gd name="T16" fmla="*/ 2147483647 w 6"/>
                      <a:gd name="T17" fmla="*/ 2147483647 h 9"/>
                      <a:gd name="T18" fmla="*/ 2147483647 w 6"/>
                      <a:gd name="T19" fmla="*/ 2147483647 h 9"/>
                      <a:gd name="T20" fmla="*/ 2147483647 w 6"/>
                      <a:gd name="T21" fmla="*/ 2147483647 h 9"/>
                      <a:gd name="T22" fmla="*/ 2147483647 w 6"/>
                      <a:gd name="T23" fmla="*/ 2147483647 h 9"/>
                      <a:gd name="T24" fmla="*/ 2147483647 w 6"/>
                      <a:gd name="T25" fmla="*/ 0 h 9"/>
                      <a:gd name="T26" fmla="*/ 2147483647 w 6"/>
                      <a:gd name="T27" fmla="*/ 0 h 9"/>
                      <a:gd name="T28" fmla="*/ 2147483647 w 6"/>
                      <a:gd name="T29" fmla="*/ 0 h 9"/>
                      <a:gd name="T30" fmla="*/ 2147483647 w 6"/>
                      <a:gd name="T31" fmla="*/ 0 h 9"/>
                      <a:gd name="T32" fmla="*/ 2147483647 w 6"/>
                      <a:gd name="T33" fmla="*/ 0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 h="9">
                        <a:moveTo>
                          <a:pt x="3" y="0"/>
                        </a:moveTo>
                        <a:lnTo>
                          <a:pt x="1" y="2"/>
                        </a:lnTo>
                        <a:lnTo>
                          <a:pt x="0" y="3"/>
                        </a:lnTo>
                        <a:lnTo>
                          <a:pt x="0" y="5"/>
                        </a:lnTo>
                        <a:lnTo>
                          <a:pt x="0" y="9"/>
                        </a:lnTo>
                        <a:lnTo>
                          <a:pt x="0" y="8"/>
                        </a:lnTo>
                        <a:lnTo>
                          <a:pt x="2" y="5"/>
                        </a:lnTo>
                        <a:lnTo>
                          <a:pt x="4" y="4"/>
                        </a:lnTo>
                        <a:lnTo>
                          <a:pt x="6" y="3"/>
                        </a:lnTo>
                        <a:lnTo>
                          <a:pt x="6" y="2"/>
                        </a:lnTo>
                        <a:lnTo>
                          <a:pt x="6" y="1"/>
                        </a:lnTo>
                        <a:lnTo>
                          <a:pt x="6" y="0"/>
                        </a:lnTo>
                        <a:lnTo>
                          <a:pt x="5" y="0"/>
                        </a:lnTo>
                        <a:lnTo>
                          <a:pt x="4"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0" name="Freeform 1958">
                    <a:extLst>
                      <a:ext uri="{FF2B5EF4-FFF2-40B4-BE49-F238E27FC236}">
                        <a16:creationId xmlns:a16="http://schemas.microsoft.com/office/drawing/2014/main" xmlns="" id="{AC0E1FF6-6C55-4761-AD1B-7C32C906FD57}"/>
                      </a:ext>
                    </a:extLst>
                  </p:cNvPr>
                  <p:cNvSpPr>
                    <a:spLocks/>
                  </p:cNvSpPr>
                  <p:nvPr/>
                </p:nvSpPr>
                <p:spPr bwMode="gray">
                  <a:xfrm>
                    <a:off x="5178656" y="4539107"/>
                    <a:ext cx="17800" cy="10012"/>
                  </a:xfrm>
                  <a:custGeom>
                    <a:avLst/>
                    <a:gdLst>
                      <a:gd name="T0" fmla="*/ 2147483647 w 16"/>
                      <a:gd name="T1" fmla="*/ 0 h 9"/>
                      <a:gd name="T2" fmla="*/ 2147483647 w 16"/>
                      <a:gd name="T3" fmla="*/ 0 h 9"/>
                      <a:gd name="T4" fmla="*/ 2147483647 w 16"/>
                      <a:gd name="T5" fmla="*/ 2147483647 h 9"/>
                      <a:gd name="T6" fmla="*/ 2147483647 w 16"/>
                      <a:gd name="T7" fmla="*/ 2147483647 h 9"/>
                      <a:gd name="T8" fmla="*/ 2147483647 w 16"/>
                      <a:gd name="T9" fmla="*/ 2147483647 h 9"/>
                      <a:gd name="T10" fmla="*/ 2147483647 w 16"/>
                      <a:gd name="T11" fmla="*/ 2147483647 h 9"/>
                      <a:gd name="T12" fmla="*/ 2147483647 w 16"/>
                      <a:gd name="T13" fmla="*/ 2147483647 h 9"/>
                      <a:gd name="T14" fmla="*/ 2147483647 w 16"/>
                      <a:gd name="T15" fmla="*/ 0 h 9"/>
                      <a:gd name="T16" fmla="*/ 2147483647 w 16"/>
                      <a:gd name="T17" fmla="*/ 0 h 9"/>
                      <a:gd name="T18" fmla="*/ 2147483647 w 16"/>
                      <a:gd name="T19" fmla="*/ 0 h 9"/>
                      <a:gd name="T20" fmla="*/ 2147483647 w 16"/>
                      <a:gd name="T21" fmla="*/ 2147483647 h 9"/>
                      <a:gd name="T22" fmla="*/ 2147483647 w 16"/>
                      <a:gd name="T23" fmla="*/ 2147483647 h 9"/>
                      <a:gd name="T24" fmla="*/ 0 w 16"/>
                      <a:gd name="T25" fmla="*/ 2147483647 h 9"/>
                      <a:gd name="T26" fmla="*/ 2147483647 w 16"/>
                      <a:gd name="T27" fmla="*/ 2147483647 h 9"/>
                      <a:gd name="T28" fmla="*/ 2147483647 w 16"/>
                      <a:gd name="T29" fmla="*/ 2147483647 h 9"/>
                      <a:gd name="T30" fmla="*/ 2147483647 w 16"/>
                      <a:gd name="T31" fmla="*/ 2147483647 h 9"/>
                      <a:gd name="T32" fmla="*/ 2147483647 w 16"/>
                      <a:gd name="T33" fmla="*/ 2147483647 h 9"/>
                      <a:gd name="T34" fmla="*/ 2147483647 w 16"/>
                      <a:gd name="T35" fmla="*/ 2147483647 h 9"/>
                      <a:gd name="T36" fmla="*/ 2147483647 w 16"/>
                      <a:gd name="T37" fmla="*/ 2147483647 h 9"/>
                      <a:gd name="T38" fmla="*/ 2147483647 w 16"/>
                      <a:gd name="T39" fmla="*/ 2147483647 h 9"/>
                      <a:gd name="T40" fmla="*/ 2147483647 w 16"/>
                      <a:gd name="T41" fmla="*/ 0 h 9"/>
                      <a:gd name="T42" fmla="*/ 2147483647 w 16"/>
                      <a:gd name="T43" fmla="*/ 0 h 9"/>
                      <a:gd name="T44" fmla="*/ 2147483647 w 16"/>
                      <a:gd name="T45" fmla="*/ 0 h 9"/>
                      <a:gd name="T46" fmla="*/ 2147483647 w 16"/>
                      <a:gd name="T47" fmla="*/ 0 h 9"/>
                      <a:gd name="T48" fmla="*/ 2147483647 w 16"/>
                      <a:gd name="T49" fmla="*/ 0 h 9"/>
                      <a:gd name="T50" fmla="*/ 2147483647 w 16"/>
                      <a:gd name="T51" fmla="*/ 0 h 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 h="9">
                        <a:moveTo>
                          <a:pt x="13" y="0"/>
                        </a:moveTo>
                        <a:lnTo>
                          <a:pt x="12" y="0"/>
                        </a:lnTo>
                        <a:lnTo>
                          <a:pt x="10" y="1"/>
                        </a:lnTo>
                        <a:lnTo>
                          <a:pt x="9" y="2"/>
                        </a:lnTo>
                        <a:lnTo>
                          <a:pt x="9" y="3"/>
                        </a:lnTo>
                        <a:lnTo>
                          <a:pt x="7" y="2"/>
                        </a:lnTo>
                        <a:lnTo>
                          <a:pt x="6" y="1"/>
                        </a:lnTo>
                        <a:lnTo>
                          <a:pt x="5" y="0"/>
                        </a:lnTo>
                        <a:lnTo>
                          <a:pt x="4" y="0"/>
                        </a:lnTo>
                        <a:lnTo>
                          <a:pt x="3" y="1"/>
                        </a:lnTo>
                        <a:lnTo>
                          <a:pt x="2" y="2"/>
                        </a:lnTo>
                        <a:lnTo>
                          <a:pt x="0" y="3"/>
                        </a:lnTo>
                        <a:lnTo>
                          <a:pt x="4" y="9"/>
                        </a:lnTo>
                        <a:lnTo>
                          <a:pt x="7" y="8"/>
                        </a:lnTo>
                        <a:lnTo>
                          <a:pt x="11" y="5"/>
                        </a:lnTo>
                        <a:lnTo>
                          <a:pt x="14" y="4"/>
                        </a:lnTo>
                        <a:lnTo>
                          <a:pt x="16" y="3"/>
                        </a:lnTo>
                        <a:lnTo>
                          <a:pt x="16" y="2"/>
                        </a:lnTo>
                        <a:lnTo>
                          <a:pt x="16" y="1"/>
                        </a:lnTo>
                        <a:lnTo>
                          <a:pt x="16" y="0"/>
                        </a:lnTo>
                        <a:lnTo>
                          <a:pt x="15" y="0"/>
                        </a:lnTo>
                        <a:lnTo>
                          <a:pt x="1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1" name="Freeform 1960">
                    <a:extLst>
                      <a:ext uri="{FF2B5EF4-FFF2-40B4-BE49-F238E27FC236}">
                        <a16:creationId xmlns:a16="http://schemas.microsoft.com/office/drawing/2014/main" xmlns="" id="{3E3A7835-A880-48B3-B13D-2D9720305ADA}"/>
                      </a:ext>
                    </a:extLst>
                  </p:cNvPr>
                  <p:cNvSpPr>
                    <a:spLocks/>
                  </p:cNvSpPr>
                  <p:nvPr/>
                </p:nvSpPr>
                <p:spPr bwMode="gray">
                  <a:xfrm>
                    <a:off x="5243181" y="4535770"/>
                    <a:ext cx="13350" cy="13350"/>
                  </a:xfrm>
                  <a:custGeom>
                    <a:avLst/>
                    <a:gdLst>
                      <a:gd name="T0" fmla="*/ 0 w 12"/>
                      <a:gd name="T1" fmla="*/ 0 h 12"/>
                      <a:gd name="T2" fmla="*/ 2147483647 w 12"/>
                      <a:gd name="T3" fmla="*/ 2147483647 h 12"/>
                      <a:gd name="T4" fmla="*/ 2147483647 w 12"/>
                      <a:gd name="T5" fmla="*/ 2147483647 h 12"/>
                      <a:gd name="T6" fmla="*/ 0 w 12"/>
                      <a:gd name="T7" fmla="*/ 2147483647 h 12"/>
                      <a:gd name="T8" fmla="*/ 0 w 12"/>
                      <a:gd name="T9" fmla="*/ 2147483647 h 12"/>
                      <a:gd name="T10" fmla="*/ 0 w 12"/>
                      <a:gd name="T11" fmla="*/ 2147483647 h 12"/>
                      <a:gd name="T12" fmla="*/ 2147483647 w 12"/>
                      <a:gd name="T13" fmla="*/ 2147483647 h 12"/>
                      <a:gd name="T14" fmla="*/ 2147483647 w 12"/>
                      <a:gd name="T15" fmla="*/ 2147483647 h 12"/>
                      <a:gd name="T16" fmla="*/ 2147483647 w 12"/>
                      <a:gd name="T17" fmla="*/ 2147483647 h 12"/>
                      <a:gd name="T18" fmla="*/ 2147483647 w 12"/>
                      <a:gd name="T19" fmla="*/ 2147483647 h 12"/>
                      <a:gd name="T20" fmla="*/ 2147483647 w 12"/>
                      <a:gd name="T21" fmla="*/ 2147483647 h 12"/>
                      <a:gd name="T22" fmla="*/ 2147483647 w 12"/>
                      <a:gd name="T23" fmla="*/ 2147483647 h 12"/>
                      <a:gd name="T24" fmla="*/ 2147483647 w 12"/>
                      <a:gd name="T25" fmla="*/ 2147483647 h 12"/>
                      <a:gd name="T26" fmla="*/ 2147483647 w 12"/>
                      <a:gd name="T27" fmla="*/ 2147483647 h 12"/>
                      <a:gd name="T28" fmla="*/ 2147483647 w 12"/>
                      <a:gd name="T29" fmla="*/ 2147483647 h 12"/>
                      <a:gd name="T30" fmla="*/ 2147483647 w 12"/>
                      <a:gd name="T31" fmla="*/ 2147483647 h 12"/>
                      <a:gd name="T32" fmla="*/ 2147483647 w 12"/>
                      <a:gd name="T33" fmla="*/ 2147483647 h 12"/>
                      <a:gd name="T34" fmla="*/ 2147483647 w 12"/>
                      <a:gd name="T35" fmla="*/ 2147483647 h 12"/>
                      <a:gd name="T36" fmla="*/ 2147483647 w 12"/>
                      <a:gd name="T37" fmla="*/ 2147483647 h 12"/>
                      <a:gd name="T38" fmla="*/ 2147483647 w 12"/>
                      <a:gd name="T39" fmla="*/ 2147483647 h 12"/>
                      <a:gd name="T40" fmla="*/ 2147483647 w 12"/>
                      <a:gd name="T41" fmla="*/ 2147483647 h 12"/>
                      <a:gd name="T42" fmla="*/ 2147483647 w 12"/>
                      <a:gd name="T43" fmla="*/ 2147483647 h 12"/>
                      <a:gd name="T44" fmla="*/ 2147483647 w 12"/>
                      <a:gd name="T45" fmla="*/ 2147483647 h 12"/>
                      <a:gd name="T46" fmla="*/ 2147483647 w 12"/>
                      <a:gd name="T47" fmla="*/ 2147483647 h 12"/>
                      <a:gd name="T48" fmla="*/ 0 w 12"/>
                      <a:gd name="T49" fmla="*/ 0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2" h="12">
                        <a:moveTo>
                          <a:pt x="0" y="0"/>
                        </a:moveTo>
                        <a:lnTo>
                          <a:pt x="2" y="2"/>
                        </a:lnTo>
                        <a:lnTo>
                          <a:pt x="2" y="3"/>
                        </a:lnTo>
                        <a:lnTo>
                          <a:pt x="0" y="4"/>
                        </a:lnTo>
                        <a:lnTo>
                          <a:pt x="0" y="6"/>
                        </a:lnTo>
                        <a:lnTo>
                          <a:pt x="3" y="6"/>
                        </a:lnTo>
                        <a:lnTo>
                          <a:pt x="4" y="6"/>
                        </a:lnTo>
                        <a:lnTo>
                          <a:pt x="6" y="8"/>
                        </a:lnTo>
                        <a:lnTo>
                          <a:pt x="7" y="9"/>
                        </a:lnTo>
                        <a:lnTo>
                          <a:pt x="7" y="11"/>
                        </a:lnTo>
                        <a:lnTo>
                          <a:pt x="7" y="12"/>
                        </a:lnTo>
                        <a:lnTo>
                          <a:pt x="8" y="11"/>
                        </a:lnTo>
                        <a:lnTo>
                          <a:pt x="9" y="10"/>
                        </a:lnTo>
                        <a:lnTo>
                          <a:pt x="10" y="9"/>
                        </a:lnTo>
                        <a:lnTo>
                          <a:pt x="11" y="9"/>
                        </a:lnTo>
                        <a:lnTo>
                          <a:pt x="12" y="9"/>
                        </a:lnTo>
                        <a:lnTo>
                          <a:pt x="12" y="8"/>
                        </a:lnTo>
                        <a:lnTo>
                          <a:pt x="11" y="6"/>
                        </a:lnTo>
                        <a:lnTo>
                          <a:pt x="8" y="5"/>
                        </a:lnTo>
                        <a:lnTo>
                          <a:pt x="6" y="4"/>
                        </a:lnTo>
                        <a:lnTo>
                          <a:pt x="3"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2" name="Freeform 1962">
                    <a:extLst>
                      <a:ext uri="{FF2B5EF4-FFF2-40B4-BE49-F238E27FC236}">
                        <a16:creationId xmlns:a16="http://schemas.microsoft.com/office/drawing/2014/main" xmlns="" id="{72FF1EFE-2820-4611-B8FF-BB67519C5CEC}"/>
                      </a:ext>
                    </a:extLst>
                  </p:cNvPr>
                  <p:cNvSpPr>
                    <a:spLocks/>
                  </p:cNvSpPr>
                  <p:nvPr/>
                </p:nvSpPr>
                <p:spPr bwMode="gray">
                  <a:xfrm>
                    <a:off x="5308820" y="4535770"/>
                    <a:ext cx="14463" cy="17799"/>
                  </a:xfrm>
                  <a:custGeom>
                    <a:avLst/>
                    <a:gdLst>
                      <a:gd name="T0" fmla="*/ 2147483647 w 13"/>
                      <a:gd name="T1" fmla="*/ 0 h 16"/>
                      <a:gd name="T2" fmla="*/ 2147483647 w 13"/>
                      <a:gd name="T3" fmla="*/ 2147483647 h 16"/>
                      <a:gd name="T4" fmla="*/ 2147483647 w 13"/>
                      <a:gd name="T5" fmla="*/ 2147483647 h 16"/>
                      <a:gd name="T6" fmla="*/ 2147483647 w 13"/>
                      <a:gd name="T7" fmla="*/ 2147483647 h 16"/>
                      <a:gd name="T8" fmla="*/ 2147483647 w 13"/>
                      <a:gd name="T9" fmla="*/ 2147483647 h 16"/>
                      <a:gd name="T10" fmla="*/ 2147483647 w 13"/>
                      <a:gd name="T11" fmla="*/ 2147483647 h 16"/>
                      <a:gd name="T12" fmla="*/ 2147483647 w 13"/>
                      <a:gd name="T13" fmla="*/ 2147483647 h 16"/>
                      <a:gd name="T14" fmla="*/ 2147483647 w 13"/>
                      <a:gd name="T15" fmla="*/ 2147483647 h 16"/>
                      <a:gd name="T16" fmla="*/ 2147483647 w 13"/>
                      <a:gd name="T17" fmla="*/ 2147483647 h 16"/>
                      <a:gd name="T18" fmla="*/ 2147483647 w 13"/>
                      <a:gd name="T19" fmla="*/ 2147483647 h 16"/>
                      <a:gd name="T20" fmla="*/ 2147483647 w 13"/>
                      <a:gd name="T21" fmla="*/ 2147483647 h 16"/>
                      <a:gd name="T22" fmla="*/ 2147483647 w 13"/>
                      <a:gd name="T23" fmla="*/ 2147483647 h 16"/>
                      <a:gd name="T24" fmla="*/ 2147483647 w 13"/>
                      <a:gd name="T25" fmla="*/ 2147483647 h 16"/>
                      <a:gd name="T26" fmla="*/ 2147483647 w 13"/>
                      <a:gd name="T27" fmla="*/ 2147483647 h 16"/>
                      <a:gd name="T28" fmla="*/ 2147483647 w 13"/>
                      <a:gd name="T29" fmla="*/ 2147483647 h 16"/>
                      <a:gd name="T30" fmla="*/ 0 w 13"/>
                      <a:gd name="T31" fmla="*/ 2147483647 h 16"/>
                      <a:gd name="T32" fmla="*/ 2147483647 w 13"/>
                      <a:gd name="T33" fmla="*/ 2147483647 h 16"/>
                      <a:gd name="T34" fmla="*/ 2147483647 w 13"/>
                      <a:gd name="T35" fmla="*/ 2147483647 h 16"/>
                      <a:gd name="T36" fmla="*/ 2147483647 w 13"/>
                      <a:gd name="T37" fmla="*/ 2147483647 h 16"/>
                      <a:gd name="T38" fmla="*/ 2147483647 w 13"/>
                      <a:gd name="T39" fmla="*/ 2147483647 h 16"/>
                      <a:gd name="T40" fmla="*/ 0 w 13"/>
                      <a:gd name="T41" fmla="*/ 2147483647 h 16"/>
                      <a:gd name="T42" fmla="*/ 2147483647 w 13"/>
                      <a:gd name="T43" fmla="*/ 2147483647 h 16"/>
                      <a:gd name="T44" fmla="*/ 2147483647 w 13"/>
                      <a:gd name="T45" fmla="*/ 2147483647 h 16"/>
                      <a:gd name="T46" fmla="*/ 2147483647 w 13"/>
                      <a:gd name="T47" fmla="*/ 2147483647 h 16"/>
                      <a:gd name="T48" fmla="*/ 2147483647 w 13"/>
                      <a:gd name="T49" fmla="*/ 2147483647 h 16"/>
                      <a:gd name="T50" fmla="*/ 2147483647 w 13"/>
                      <a:gd name="T51" fmla="*/ 2147483647 h 16"/>
                      <a:gd name="T52" fmla="*/ 2147483647 w 13"/>
                      <a:gd name="T53" fmla="*/ 2147483647 h 16"/>
                      <a:gd name="T54" fmla="*/ 2147483647 w 13"/>
                      <a:gd name="T55" fmla="*/ 2147483647 h 16"/>
                      <a:gd name="T56" fmla="*/ 2147483647 w 13"/>
                      <a:gd name="T57" fmla="*/ 2147483647 h 16"/>
                      <a:gd name="T58" fmla="*/ 2147483647 w 13"/>
                      <a:gd name="T59" fmla="*/ 2147483647 h 16"/>
                      <a:gd name="T60" fmla="*/ 2147483647 w 13"/>
                      <a:gd name="T61" fmla="*/ 2147483647 h 16"/>
                      <a:gd name="T62" fmla="*/ 2147483647 w 13"/>
                      <a:gd name="T63" fmla="*/ 2147483647 h 16"/>
                      <a:gd name="T64" fmla="*/ 2147483647 w 13"/>
                      <a:gd name="T65" fmla="*/ 2147483647 h 16"/>
                      <a:gd name="T66" fmla="*/ 2147483647 w 13"/>
                      <a:gd name="T67" fmla="*/ 2147483647 h 16"/>
                      <a:gd name="T68" fmla="*/ 2147483647 w 13"/>
                      <a:gd name="T69" fmla="*/ 2147483647 h 16"/>
                      <a:gd name="T70" fmla="*/ 2147483647 w 13"/>
                      <a:gd name="T71" fmla="*/ 2147483647 h 16"/>
                      <a:gd name="T72" fmla="*/ 2147483647 w 13"/>
                      <a:gd name="T73" fmla="*/ 2147483647 h 16"/>
                      <a:gd name="T74" fmla="*/ 2147483647 w 13"/>
                      <a:gd name="T75" fmla="*/ 2147483647 h 16"/>
                      <a:gd name="T76" fmla="*/ 2147483647 w 13"/>
                      <a:gd name="T77" fmla="*/ 2147483647 h 16"/>
                      <a:gd name="T78" fmla="*/ 2147483647 w 13"/>
                      <a:gd name="T79" fmla="*/ 2147483647 h 16"/>
                      <a:gd name="T80" fmla="*/ 2147483647 w 13"/>
                      <a:gd name="T81" fmla="*/ 2147483647 h 16"/>
                      <a:gd name="T82" fmla="*/ 2147483647 w 13"/>
                      <a:gd name="T83" fmla="*/ 2147483647 h 16"/>
                      <a:gd name="T84" fmla="*/ 2147483647 w 13"/>
                      <a:gd name="T85" fmla="*/ 0 h 16"/>
                      <a:gd name="T86" fmla="*/ 2147483647 w 13"/>
                      <a:gd name="T87" fmla="*/ 0 h 16"/>
                      <a:gd name="T88" fmla="*/ 2147483647 w 13"/>
                      <a:gd name="T89" fmla="*/ 0 h 16"/>
                      <a:gd name="T90" fmla="*/ 2147483647 w 13"/>
                      <a:gd name="T91" fmla="*/ 0 h 16"/>
                      <a:gd name="T92" fmla="*/ 2147483647 w 13"/>
                      <a:gd name="T93" fmla="*/ 0 h 1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 h="16">
                        <a:moveTo>
                          <a:pt x="9" y="0"/>
                        </a:moveTo>
                        <a:lnTo>
                          <a:pt x="9" y="1"/>
                        </a:lnTo>
                        <a:lnTo>
                          <a:pt x="8" y="2"/>
                        </a:lnTo>
                        <a:lnTo>
                          <a:pt x="7" y="3"/>
                        </a:lnTo>
                        <a:lnTo>
                          <a:pt x="7" y="4"/>
                        </a:lnTo>
                        <a:lnTo>
                          <a:pt x="7" y="5"/>
                        </a:lnTo>
                        <a:lnTo>
                          <a:pt x="9" y="7"/>
                        </a:lnTo>
                        <a:lnTo>
                          <a:pt x="7" y="7"/>
                        </a:lnTo>
                        <a:lnTo>
                          <a:pt x="6" y="7"/>
                        </a:lnTo>
                        <a:lnTo>
                          <a:pt x="5" y="7"/>
                        </a:lnTo>
                        <a:lnTo>
                          <a:pt x="4" y="7"/>
                        </a:lnTo>
                        <a:lnTo>
                          <a:pt x="0" y="9"/>
                        </a:lnTo>
                        <a:lnTo>
                          <a:pt x="2" y="9"/>
                        </a:lnTo>
                        <a:lnTo>
                          <a:pt x="3" y="10"/>
                        </a:lnTo>
                        <a:lnTo>
                          <a:pt x="3" y="11"/>
                        </a:lnTo>
                        <a:lnTo>
                          <a:pt x="1" y="12"/>
                        </a:lnTo>
                        <a:lnTo>
                          <a:pt x="0" y="13"/>
                        </a:lnTo>
                        <a:lnTo>
                          <a:pt x="2" y="13"/>
                        </a:lnTo>
                        <a:lnTo>
                          <a:pt x="3" y="13"/>
                        </a:lnTo>
                        <a:lnTo>
                          <a:pt x="4" y="13"/>
                        </a:lnTo>
                        <a:lnTo>
                          <a:pt x="3" y="13"/>
                        </a:lnTo>
                        <a:lnTo>
                          <a:pt x="2" y="14"/>
                        </a:lnTo>
                        <a:lnTo>
                          <a:pt x="2" y="15"/>
                        </a:lnTo>
                        <a:lnTo>
                          <a:pt x="4" y="16"/>
                        </a:lnTo>
                        <a:lnTo>
                          <a:pt x="7" y="15"/>
                        </a:lnTo>
                        <a:lnTo>
                          <a:pt x="7" y="13"/>
                        </a:lnTo>
                        <a:lnTo>
                          <a:pt x="8" y="10"/>
                        </a:lnTo>
                        <a:lnTo>
                          <a:pt x="9" y="7"/>
                        </a:lnTo>
                        <a:lnTo>
                          <a:pt x="10" y="7"/>
                        </a:lnTo>
                        <a:lnTo>
                          <a:pt x="11" y="8"/>
                        </a:lnTo>
                        <a:lnTo>
                          <a:pt x="12" y="9"/>
                        </a:lnTo>
                        <a:lnTo>
                          <a:pt x="13" y="9"/>
                        </a:lnTo>
                        <a:lnTo>
                          <a:pt x="13" y="8"/>
                        </a:lnTo>
                        <a:lnTo>
                          <a:pt x="13" y="7"/>
                        </a:lnTo>
                        <a:lnTo>
                          <a:pt x="13" y="6"/>
                        </a:lnTo>
                        <a:lnTo>
                          <a:pt x="13" y="5"/>
                        </a:lnTo>
                        <a:lnTo>
                          <a:pt x="13" y="0"/>
                        </a:lnTo>
                        <a:lnTo>
                          <a:pt x="12" y="0"/>
                        </a:lnTo>
                        <a:lnTo>
                          <a:pt x="11" y="0"/>
                        </a:lnTo>
                        <a:lnTo>
                          <a:pt x="10" y="0"/>
                        </a:lnTo>
                        <a:lnTo>
                          <a:pt x="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3" name="Freeform 1964">
                    <a:extLst>
                      <a:ext uri="{FF2B5EF4-FFF2-40B4-BE49-F238E27FC236}">
                        <a16:creationId xmlns:a16="http://schemas.microsoft.com/office/drawing/2014/main" xmlns="" id="{70CC9D3F-2093-497C-9C8F-4E6136A9CBCA}"/>
                      </a:ext>
                    </a:extLst>
                  </p:cNvPr>
                  <p:cNvSpPr>
                    <a:spLocks/>
                  </p:cNvSpPr>
                  <p:nvPr/>
                </p:nvSpPr>
                <p:spPr bwMode="gray">
                  <a:xfrm>
                    <a:off x="5202018" y="4535770"/>
                    <a:ext cx="4450" cy="3337"/>
                  </a:xfrm>
                  <a:custGeom>
                    <a:avLst/>
                    <a:gdLst>
                      <a:gd name="T0" fmla="*/ 2147483647 w 4"/>
                      <a:gd name="T1" fmla="*/ 0 h 3"/>
                      <a:gd name="T2" fmla="*/ 0 w 4"/>
                      <a:gd name="T3" fmla="*/ 2147483647 h 3"/>
                      <a:gd name="T4" fmla="*/ 2147483647 w 4"/>
                      <a:gd name="T5" fmla="*/ 2147483647 h 3"/>
                      <a:gd name="T6" fmla="*/ 2147483647 w 4"/>
                      <a:gd name="T7" fmla="*/ 2147483647 h 3"/>
                      <a:gd name="T8" fmla="*/ 2147483647 w 4"/>
                      <a:gd name="T9" fmla="*/ 2147483647 h 3"/>
                      <a:gd name="T10" fmla="*/ 2147483647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2" y="0"/>
                        </a:moveTo>
                        <a:lnTo>
                          <a:pt x="0" y="3"/>
                        </a:lnTo>
                        <a:lnTo>
                          <a:pt x="2" y="2"/>
                        </a:lnTo>
                        <a:lnTo>
                          <a:pt x="4" y="1"/>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4" name="Freeform 1966">
                    <a:extLst>
                      <a:ext uri="{FF2B5EF4-FFF2-40B4-BE49-F238E27FC236}">
                        <a16:creationId xmlns:a16="http://schemas.microsoft.com/office/drawing/2014/main" xmlns="" id="{DAAB1853-4215-4756-9B76-24FE63683F2B}"/>
                      </a:ext>
                    </a:extLst>
                  </p:cNvPr>
                  <p:cNvSpPr>
                    <a:spLocks/>
                  </p:cNvSpPr>
                  <p:nvPr/>
                </p:nvSpPr>
                <p:spPr bwMode="gray">
                  <a:xfrm>
                    <a:off x="5404497" y="4532433"/>
                    <a:ext cx="8900" cy="5563"/>
                  </a:xfrm>
                  <a:custGeom>
                    <a:avLst/>
                    <a:gdLst>
                      <a:gd name="T0" fmla="*/ 2147483647 w 8"/>
                      <a:gd name="T1" fmla="*/ 0 h 5"/>
                      <a:gd name="T2" fmla="*/ 2147483647 w 8"/>
                      <a:gd name="T3" fmla="*/ 2147483647 h 5"/>
                      <a:gd name="T4" fmla="*/ 0 w 8"/>
                      <a:gd name="T5" fmla="*/ 2147483647 h 5"/>
                      <a:gd name="T6" fmla="*/ 2147483647 w 8"/>
                      <a:gd name="T7" fmla="*/ 2147483647 h 5"/>
                      <a:gd name="T8" fmla="*/ 2147483647 w 8"/>
                      <a:gd name="T9" fmla="*/ 2147483647 h 5"/>
                      <a:gd name="T10" fmla="*/ 2147483647 w 8"/>
                      <a:gd name="T11" fmla="*/ 2147483647 h 5"/>
                      <a:gd name="T12" fmla="*/ 2147483647 w 8"/>
                      <a:gd name="T13" fmla="*/ 2147483647 h 5"/>
                      <a:gd name="T14" fmla="*/ 2147483647 w 8"/>
                      <a:gd name="T15" fmla="*/ 2147483647 h 5"/>
                      <a:gd name="T16" fmla="*/ 2147483647 w 8"/>
                      <a:gd name="T17" fmla="*/ 2147483647 h 5"/>
                      <a:gd name="T18" fmla="*/ 2147483647 w 8"/>
                      <a:gd name="T19" fmla="*/ 2147483647 h 5"/>
                      <a:gd name="T20" fmla="*/ 2147483647 w 8"/>
                      <a:gd name="T21" fmla="*/ 0 h 5"/>
                      <a:gd name="T22" fmla="*/ 2147483647 w 8"/>
                      <a:gd name="T23" fmla="*/ 0 h 5"/>
                      <a:gd name="T24" fmla="*/ 2147483647 w 8"/>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5">
                        <a:moveTo>
                          <a:pt x="4" y="0"/>
                        </a:moveTo>
                        <a:lnTo>
                          <a:pt x="2" y="1"/>
                        </a:lnTo>
                        <a:lnTo>
                          <a:pt x="0" y="2"/>
                        </a:lnTo>
                        <a:lnTo>
                          <a:pt x="2" y="3"/>
                        </a:lnTo>
                        <a:lnTo>
                          <a:pt x="3" y="4"/>
                        </a:lnTo>
                        <a:lnTo>
                          <a:pt x="7" y="5"/>
                        </a:lnTo>
                        <a:lnTo>
                          <a:pt x="8" y="4"/>
                        </a:lnTo>
                        <a:lnTo>
                          <a:pt x="7" y="2"/>
                        </a:lnTo>
                        <a:lnTo>
                          <a:pt x="7"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5" name="Freeform 1968">
                    <a:extLst>
                      <a:ext uri="{FF2B5EF4-FFF2-40B4-BE49-F238E27FC236}">
                        <a16:creationId xmlns:a16="http://schemas.microsoft.com/office/drawing/2014/main" xmlns="" id="{B72A157D-27D2-4BBA-A3FA-8ACDFE3EE689}"/>
                      </a:ext>
                    </a:extLst>
                  </p:cNvPr>
                  <p:cNvSpPr>
                    <a:spLocks/>
                  </p:cNvSpPr>
                  <p:nvPr/>
                </p:nvSpPr>
                <p:spPr bwMode="gray">
                  <a:xfrm>
                    <a:off x="5378909" y="4532433"/>
                    <a:ext cx="4450" cy="3337"/>
                  </a:xfrm>
                  <a:custGeom>
                    <a:avLst/>
                    <a:gdLst>
                      <a:gd name="T0" fmla="*/ 0 w 4"/>
                      <a:gd name="T1" fmla="*/ 0 h 3"/>
                      <a:gd name="T2" fmla="*/ 0 w 4"/>
                      <a:gd name="T3" fmla="*/ 2147483647 h 3"/>
                      <a:gd name="T4" fmla="*/ 2147483647 w 4"/>
                      <a:gd name="T5" fmla="*/ 2147483647 h 3"/>
                      <a:gd name="T6" fmla="*/ 2147483647 w 4"/>
                      <a:gd name="T7" fmla="*/ 2147483647 h 3"/>
                      <a:gd name="T8" fmla="*/ 2147483647 w 4"/>
                      <a:gd name="T9" fmla="*/ 2147483647 h 3"/>
                      <a:gd name="T10" fmla="*/ 2147483647 w 4"/>
                      <a:gd name="T11" fmla="*/ 2147483647 h 3"/>
                      <a:gd name="T12" fmla="*/ 2147483647 w 4"/>
                      <a:gd name="T13" fmla="*/ 2147483647 h 3"/>
                      <a:gd name="T14" fmla="*/ 2147483647 w 4"/>
                      <a:gd name="T15" fmla="*/ 2147483647 h 3"/>
                      <a:gd name="T16" fmla="*/ 2147483647 w 4"/>
                      <a:gd name="T17" fmla="*/ 0 h 3"/>
                      <a:gd name="T18" fmla="*/ 2147483647 w 4"/>
                      <a:gd name="T19" fmla="*/ 0 h 3"/>
                      <a:gd name="T20" fmla="*/ 0 w 4"/>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3">
                        <a:moveTo>
                          <a:pt x="0" y="0"/>
                        </a:moveTo>
                        <a:lnTo>
                          <a:pt x="0" y="3"/>
                        </a:lnTo>
                        <a:lnTo>
                          <a:pt x="1" y="3"/>
                        </a:lnTo>
                        <a:lnTo>
                          <a:pt x="2" y="3"/>
                        </a:lnTo>
                        <a:lnTo>
                          <a:pt x="3" y="3"/>
                        </a:lnTo>
                        <a:lnTo>
                          <a:pt x="4" y="3"/>
                        </a:lnTo>
                        <a:lnTo>
                          <a:pt x="3" y="3"/>
                        </a:lnTo>
                        <a:lnTo>
                          <a:pt x="3" y="2"/>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6" name="Freeform 1970">
                    <a:extLst>
                      <a:ext uri="{FF2B5EF4-FFF2-40B4-BE49-F238E27FC236}">
                        <a16:creationId xmlns:a16="http://schemas.microsoft.com/office/drawing/2014/main" xmlns="" id="{F903644E-1887-4C35-A3C6-2EE45ACC4833}"/>
                      </a:ext>
                    </a:extLst>
                  </p:cNvPr>
                  <p:cNvSpPr>
                    <a:spLocks/>
                  </p:cNvSpPr>
                  <p:nvPr/>
                </p:nvSpPr>
                <p:spPr bwMode="gray">
                  <a:xfrm>
                    <a:off x="5193118" y="4532433"/>
                    <a:ext cx="8900" cy="3337"/>
                  </a:xfrm>
                  <a:custGeom>
                    <a:avLst/>
                    <a:gdLst>
                      <a:gd name="T0" fmla="*/ 2147483647 w 8"/>
                      <a:gd name="T1" fmla="*/ 0 h 3"/>
                      <a:gd name="T2" fmla="*/ 2147483647 w 8"/>
                      <a:gd name="T3" fmla="*/ 0 h 3"/>
                      <a:gd name="T4" fmla="*/ 2147483647 w 8"/>
                      <a:gd name="T5" fmla="*/ 2147483647 h 3"/>
                      <a:gd name="T6" fmla="*/ 0 w 8"/>
                      <a:gd name="T7" fmla="*/ 2147483647 h 3"/>
                      <a:gd name="T8" fmla="*/ 0 w 8"/>
                      <a:gd name="T9" fmla="*/ 2147483647 h 3"/>
                      <a:gd name="T10" fmla="*/ 2147483647 w 8"/>
                      <a:gd name="T11" fmla="*/ 2147483647 h 3"/>
                      <a:gd name="T12" fmla="*/ 2147483647 w 8"/>
                      <a:gd name="T13" fmla="*/ 2147483647 h 3"/>
                      <a:gd name="T14" fmla="*/ 2147483647 w 8"/>
                      <a:gd name="T15" fmla="*/ 2147483647 h 3"/>
                      <a:gd name="T16" fmla="*/ 2147483647 w 8"/>
                      <a:gd name="T17" fmla="*/ 2147483647 h 3"/>
                      <a:gd name="T18" fmla="*/ 2147483647 w 8"/>
                      <a:gd name="T19" fmla="*/ 2147483647 h 3"/>
                      <a:gd name="T20" fmla="*/ 2147483647 w 8"/>
                      <a:gd name="T21" fmla="*/ 0 h 3"/>
                      <a:gd name="T22" fmla="*/ 2147483647 w 8"/>
                      <a:gd name="T23" fmla="*/ 0 h 3"/>
                      <a:gd name="T24" fmla="*/ 2147483647 w 8"/>
                      <a:gd name="T25" fmla="*/ 0 h 3"/>
                      <a:gd name="T26" fmla="*/ 2147483647 w 8"/>
                      <a:gd name="T27" fmla="*/ 0 h 3"/>
                      <a:gd name="T28" fmla="*/ 2147483647 w 8"/>
                      <a:gd name="T29" fmla="*/ 0 h 3"/>
                      <a:gd name="T30" fmla="*/ 2147483647 w 8"/>
                      <a:gd name="T31" fmla="*/ 0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 h="3">
                        <a:moveTo>
                          <a:pt x="4" y="0"/>
                        </a:moveTo>
                        <a:lnTo>
                          <a:pt x="4" y="0"/>
                        </a:lnTo>
                        <a:lnTo>
                          <a:pt x="3" y="2"/>
                        </a:lnTo>
                        <a:lnTo>
                          <a:pt x="0" y="3"/>
                        </a:lnTo>
                        <a:lnTo>
                          <a:pt x="5" y="3"/>
                        </a:lnTo>
                        <a:lnTo>
                          <a:pt x="7" y="3"/>
                        </a:lnTo>
                        <a:lnTo>
                          <a:pt x="8" y="3"/>
                        </a:lnTo>
                        <a:lnTo>
                          <a:pt x="8" y="2"/>
                        </a:lnTo>
                        <a:lnTo>
                          <a:pt x="8" y="0"/>
                        </a:lnTo>
                        <a:lnTo>
                          <a:pt x="7" y="0"/>
                        </a:lnTo>
                        <a:lnTo>
                          <a:pt x="6" y="0"/>
                        </a:lnTo>
                        <a:lnTo>
                          <a:pt x="5"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7" name="Freeform 1972">
                    <a:extLst>
                      <a:ext uri="{FF2B5EF4-FFF2-40B4-BE49-F238E27FC236}">
                        <a16:creationId xmlns:a16="http://schemas.microsoft.com/office/drawing/2014/main" xmlns="" id="{0FDA1976-9EA1-4678-A283-19B1451E6A80}"/>
                      </a:ext>
                    </a:extLst>
                  </p:cNvPr>
                  <p:cNvSpPr>
                    <a:spLocks/>
                  </p:cNvSpPr>
                  <p:nvPr/>
                </p:nvSpPr>
                <p:spPr bwMode="gray">
                  <a:xfrm>
                    <a:off x="5255419" y="4527982"/>
                    <a:ext cx="4450" cy="4450"/>
                  </a:xfrm>
                  <a:custGeom>
                    <a:avLst/>
                    <a:gdLst>
                      <a:gd name="T0" fmla="*/ 2147483647 w 4"/>
                      <a:gd name="T1" fmla="*/ 0 h 4"/>
                      <a:gd name="T2" fmla="*/ 2147483647 w 4"/>
                      <a:gd name="T3" fmla="*/ 0 h 4"/>
                      <a:gd name="T4" fmla="*/ 2147483647 w 4"/>
                      <a:gd name="T5" fmla="*/ 2147483647 h 4"/>
                      <a:gd name="T6" fmla="*/ 0 w 4"/>
                      <a:gd name="T7" fmla="*/ 2147483647 h 4"/>
                      <a:gd name="T8" fmla="*/ 0 w 4"/>
                      <a:gd name="T9" fmla="*/ 2147483647 h 4"/>
                      <a:gd name="T10" fmla="*/ 0 w 4"/>
                      <a:gd name="T11" fmla="*/ 2147483647 h 4"/>
                      <a:gd name="T12" fmla="*/ 0 w 4"/>
                      <a:gd name="T13" fmla="*/ 2147483647 h 4"/>
                      <a:gd name="T14" fmla="*/ 2147483647 w 4"/>
                      <a:gd name="T15" fmla="*/ 2147483647 h 4"/>
                      <a:gd name="T16" fmla="*/ 2147483647 w 4"/>
                      <a:gd name="T17" fmla="*/ 2147483647 h 4"/>
                      <a:gd name="T18" fmla="*/ 2147483647 w 4"/>
                      <a:gd name="T19" fmla="*/ 2147483647 h 4"/>
                      <a:gd name="T20" fmla="*/ 2147483647 w 4"/>
                      <a:gd name="T21" fmla="*/ 2147483647 h 4"/>
                      <a:gd name="T22" fmla="*/ 2147483647 w 4"/>
                      <a:gd name="T23" fmla="*/ 2147483647 h 4"/>
                      <a:gd name="T24" fmla="*/ 2147483647 w 4"/>
                      <a:gd name="T25" fmla="*/ 2147483647 h 4"/>
                      <a:gd name="T26" fmla="*/ 2147483647 w 4"/>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4">
                        <a:moveTo>
                          <a:pt x="2" y="0"/>
                        </a:moveTo>
                        <a:lnTo>
                          <a:pt x="2" y="0"/>
                        </a:lnTo>
                        <a:lnTo>
                          <a:pt x="1" y="1"/>
                        </a:lnTo>
                        <a:lnTo>
                          <a:pt x="0" y="3"/>
                        </a:lnTo>
                        <a:lnTo>
                          <a:pt x="0" y="4"/>
                        </a:lnTo>
                        <a:lnTo>
                          <a:pt x="2" y="4"/>
                        </a:lnTo>
                        <a:lnTo>
                          <a:pt x="3" y="3"/>
                        </a:lnTo>
                        <a:lnTo>
                          <a:pt x="4" y="1"/>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8" name="Freeform 1974">
                    <a:extLst>
                      <a:ext uri="{FF2B5EF4-FFF2-40B4-BE49-F238E27FC236}">
                        <a16:creationId xmlns:a16="http://schemas.microsoft.com/office/drawing/2014/main" xmlns="" id="{E96D1AD4-0CB7-45AD-BEC6-A024CAA3CF22}"/>
                      </a:ext>
                    </a:extLst>
                  </p:cNvPr>
                  <p:cNvSpPr>
                    <a:spLocks/>
                  </p:cNvSpPr>
                  <p:nvPr/>
                </p:nvSpPr>
                <p:spPr bwMode="gray">
                  <a:xfrm>
                    <a:off x="5262095" y="4524645"/>
                    <a:ext cx="4450" cy="5563"/>
                  </a:xfrm>
                  <a:custGeom>
                    <a:avLst/>
                    <a:gdLst>
                      <a:gd name="T0" fmla="*/ 0 w 4"/>
                      <a:gd name="T1" fmla="*/ 0 h 5"/>
                      <a:gd name="T2" fmla="*/ 0 w 4"/>
                      <a:gd name="T3" fmla="*/ 2147483647 h 5"/>
                      <a:gd name="T4" fmla="*/ 2147483647 w 4"/>
                      <a:gd name="T5" fmla="*/ 2147483647 h 5"/>
                      <a:gd name="T6" fmla="*/ 2147483647 w 4"/>
                      <a:gd name="T7" fmla="*/ 2147483647 h 5"/>
                      <a:gd name="T8" fmla="*/ 2147483647 w 4"/>
                      <a:gd name="T9" fmla="*/ 2147483647 h 5"/>
                      <a:gd name="T10" fmla="*/ 2147483647 w 4"/>
                      <a:gd name="T11" fmla="*/ 2147483647 h 5"/>
                      <a:gd name="T12" fmla="*/ 2147483647 w 4"/>
                      <a:gd name="T13" fmla="*/ 2147483647 h 5"/>
                      <a:gd name="T14" fmla="*/ 2147483647 w 4"/>
                      <a:gd name="T15" fmla="*/ 2147483647 h 5"/>
                      <a:gd name="T16" fmla="*/ 0 w 4"/>
                      <a:gd name="T17" fmla="*/ 2147483647 h 5"/>
                      <a:gd name="T18" fmla="*/ 0 w 4"/>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5">
                        <a:moveTo>
                          <a:pt x="0" y="0"/>
                        </a:moveTo>
                        <a:lnTo>
                          <a:pt x="0" y="3"/>
                        </a:lnTo>
                        <a:lnTo>
                          <a:pt x="1" y="4"/>
                        </a:lnTo>
                        <a:lnTo>
                          <a:pt x="3" y="5"/>
                        </a:lnTo>
                        <a:lnTo>
                          <a:pt x="4" y="5"/>
                        </a:lnTo>
                        <a:lnTo>
                          <a:pt x="3" y="3"/>
                        </a:lnTo>
                        <a:lnTo>
                          <a:pt x="2" y="3"/>
                        </a:lnTo>
                        <a:lnTo>
                          <a:pt x="1" y="2"/>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89" name="Freeform 1976">
                    <a:extLst>
                      <a:ext uri="{FF2B5EF4-FFF2-40B4-BE49-F238E27FC236}">
                        <a16:creationId xmlns:a16="http://schemas.microsoft.com/office/drawing/2014/main" xmlns="" id="{A7C0D3ED-20C3-4544-8467-89586041DC74}"/>
                      </a:ext>
                    </a:extLst>
                  </p:cNvPr>
                  <p:cNvSpPr>
                    <a:spLocks/>
                  </p:cNvSpPr>
                  <p:nvPr/>
                </p:nvSpPr>
                <p:spPr bwMode="gray">
                  <a:xfrm>
                    <a:off x="5268770" y="4521307"/>
                    <a:ext cx="7787" cy="6675"/>
                  </a:xfrm>
                  <a:custGeom>
                    <a:avLst/>
                    <a:gdLst>
                      <a:gd name="T0" fmla="*/ 0 w 7"/>
                      <a:gd name="T1" fmla="*/ 0 h 6"/>
                      <a:gd name="T2" fmla="*/ 0 w 7"/>
                      <a:gd name="T3" fmla="*/ 2147483647 h 6"/>
                      <a:gd name="T4" fmla="*/ 0 w 7"/>
                      <a:gd name="T5" fmla="*/ 2147483647 h 6"/>
                      <a:gd name="T6" fmla="*/ 2147483647 w 7"/>
                      <a:gd name="T7" fmla="*/ 2147483647 h 6"/>
                      <a:gd name="T8" fmla="*/ 2147483647 w 7"/>
                      <a:gd name="T9" fmla="*/ 2147483647 h 6"/>
                      <a:gd name="T10" fmla="*/ 2147483647 w 7"/>
                      <a:gd name="T11" fmla="*/ 2147483647 h 6"/>
                      <a:gd name="T12" fmla="*/ 0 w 7"/>
                      <a:gd name="T13" fmla="*/ 2147483647 h 6"/>
                      <a:gd name="T14" fmla="*/ 2147483647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2147483647 w 7"/>
                      <a:gd name="T25" fmla="*/ 2147483647 h 6"/>
                      <a:gd name="T26" fmla="*/ 2147483647 w 7"/>
                      <a:gd name="T27" fmla="*/ 2147483647 h 6"/>
                      <a:gd name="T28" fmla="*/ 2147483647 w 7"/>
                      <a:gd name="T29" fmla="*/ 2147483647 h 6"/>
                      <a:gd name="T30" fmla="*/ 0 w 7"/>
                      <a:gd name="T31" fmla="*/ 2147483647 h 6"/>
                      <a:gd name="T32" fmla="*/ 2147483647 w 7"/>
                      <a:gd name="T33" fmla="*/ 2147483647 h 6"/>
                      <a:gd name="T34" fmla="*/ 2147483647 w 7"/>
                      <a:gd name="T35" fmla="*/ 2147483647 h 6"/>
                      <a:gd name="T36" fmla="*/ 2147483647 w 7"/>
                      <a:gd name="T37" fmla="*/ 0 h 6"/>
                      <a:gd name="T38" fmla="*/ 2147483647 w 7"/>
                      <a:gd name="T39" fmla="*/ 0 h 6"/>
                      <a:gd name="T40" fmla="*/ 2147483647 w 7"/>
                      <a:gd name="T41" fmla="*/ 0 h 6"/>
                      <a:gd name="T42" fmla="*/ 2147483647 w 7"/>
                      <a:gd name="T43" fmla="*/ 0 h 6"/>
                      <a:gd name="T44" fmla="*/ 2147483647 w 7"/>
                      <a:gd name="T45" fmla="*/ 0 h 6"/>
                      <a:gd name="T46" fmla="*/ 0 w 7"/>
                      <a:gd name="T47" fmla="*/ 0 h 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 h="6">
                        <a:moveTo>
                          <a:pt x="0" y="0"/>
                        </a:moveTo>
                        <a:lnTo>
                          <a:pt x="0" y="3"/>
                        </a:lnTo>
                        <a:lnTo>
                          <a:pt x="1" y="4"/>
                        </a:lnTo>
                        <a:lnTo>
                          <a:pt x="1" y="5"/>
                        </a:lnTo>
                        <a:lnTo>
                          <a:pt x="1" y="6"/>
                        </a:lnTo>
                        <a:lnTo>
                          <a:pt x="0" y="6"/>
                        </a:lnTo>
                        <a:lnTo>
                          <a:pt x="3" y="6"/>
                        </a:lnTo>
                        <a:lnTo>
                          <a:pt x="4" y="6"/>
                        </a:lnTo>
                        <a:lnTo>
                          <a:pt x="6" y="6"/>
                        </a:lnTo>
                        <a:lnTo>
                          <a:pt x="6" y="3"/>
                        </a:lnTo>
                        <a:lnTo>
                          <a:pt x="7" y="5"/>
                        </a:lnTo>
                        <a:lnTo>
                          <a:pt x="5" y="4"/>
                        </a:lnTo>
                        <a:lnTo>
                          <a:pt x="2" y="4"/>
                        </a:lnTo>
                        <a:lnTo>
                          <a:pt x="0" y="3"/>
                        </a:lnTo>
                        <a:lnTo>
                          <a:pt x="1" y="3"/>
                        </a:lnTo>
                        <a:lnTo>
                          <a:pt x="1" y="1"/>
                        </a:lnTo>
                        <a:lnTo>
                          <a:pt x="2" y="0"/>
                        </a:lnTo>
                        <a:lnTo>
                          <a:pt x="3" y="0"/>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0" name="Freeform 1978">
                    <a:extLst>
                      <a:ext uri="{FF2B5EF4-FFF2-40B4-BE49-F238E27FC236}">
                        <a16:creationId xmlns:a16="http://schemas.microsoft.com/office/drawing/2014/main" xmlns="" id="{BE6D8C39-FCEC-4A59-9EFC-A05C615A5650}"/>
                      </a:ext>
                    </a:extLst>
                  </p:cNvPr>
                  <p:cNvSpPr>
                    <a:spLocks/>
                  </p:cNvSpPr>
                  <p:nvPr/>
                </p:nvSpPr>
                <p:spPr bwMode="gray">
                  <a:xfrm>
                    <a:off x="5226494" y="4521307"/>
                    <a:ext cx="3338" cy="3337"/>
                  </a:xfrm>
                  <a:custGeom>
                    <a:avLst/>
                    <a:gdLst>
                      <a:gd name="T0" fmla="*/ 0 w 3"/>
                      <a:gd name="T1" fmla="*/ 0 h 3"/>
                      <a:gd name="T2" fmla="*/ 2147483647 w 3"/>
                      <a:gd name="T3" fmla="*/ 2147483647 h 3"/>
                      <a:gd name="T4" fmla="*/ 2147483647 w 3"/>
                      <a:gd name="T5" fmla="*/ 2147483647 h 3"/>
                      <a:gd name="T6" fmla="*/ 2147483647 w 3"/>
                      <a:gd name="T7" fmla="*/ 2147483647 h 3"/>
                      <a:gd name="T8" fmla="*/ 2147483647 w 3"/>
                      <a:gd name="T9" fmla="*/ 0 h 3"/>
                      <a:gd name="T10" fmla="*/ 0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0" y="0"/>
                        </a:moveTo>
                        <a:lnTo>
                          <a:pt x="3" y="3"/>
                        </a:lnTo>
                        <a:lnTo>
                          <a:pt x="3" y="1"/>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1" name="Freeform 1980">
                    <a:extLst>
                      <a:ext uri="{FF2B5EF4-FFF2-40B4-BE49-F238E27FC236}">
                        <a16:creationId xmlns:a16="http://schemas.microsoft.com/office/drawing/2014/main" xmlns="" id="{F189E41E-E726-48B0-9956-D867348048E1}"/>
                      </a:ext>
                    </a:extLst>
                  </p:cNvPr>
                  <p:cNvSpPr>
                    <a:spLocks/>
                  </p:cNvSpPr>
                  <p:nvPr/>
                </p:nvSpPr>
                <p:spPr bwMode="gray">
                  <a:xfrm>
                    <a:off x="5226494" y="4516858"/>
                    <a:ext cx="3338" cy="4450"/>
                  </a:xfrm>
                  <a:custGeom>
                    <a:avLst/>
                    <a:gdLst>
                      <a:gd name="T0" fmla="*/ 0 w 3"/>
                      <a:gd name="T1" fmla="*/ 0 h 4"/>
                      <a:gd name="T2" fmla="*/ 0 w 3"/>
                      <a:gd name="T3" fmla="*/ 2147483647 h 4"/>
                      <a:gd name="T4" fmla="*/ 2147483647 w 3"/>
                      <a:gd name="T5" fmla="*/ 2147483647 h 4"/>
                      <a:gd name="T6" fmla="*/ 2147483647 w 3"/>
                      <a:gd name="T7" fmla="*/ 2147483647 h 4"/>
                      <a:gd name="T8" fmla="*/ 2147483647 w 3"/>
                      <a:gd name="T9" fmla="*/ 2147483647 h 4"/>
                      <a:gd name="T10" fmla="*/ 0 w 3"/>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4">
                        <a:moveTo>
                          <a:pt x="0" y="0"/>
                        </a:moveTo>
                        <a:lnTo>
                          <a:pt x="0" y="4"/>
                        </a:lnTo>
                        <a:lnTo>
                          <a:pt x="2" y="3"/>
                        </a:lnTo>
                        <a:lnTo>
                          <a:pt x="3" y="2"/>
                        </a:lnTo>
                        <a:lnTo>
                          <a:pt x="2"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2" name="Freeform 1982">
                    <a:extLst>
                      <a:ext uri="{FF2B5EF4-FFF2-40B4-BE49-F238E27FC236}">
                        <a16:creationId xmlns:a16="http://schemas.microsoft.com/office/drawing/2014/main" xmlns="" id="{E96A6CBC-6EBB-4043-B7ED-B6F883CC64D1}"/>
                      </a:ext>
                    </a:extLst>
                  </p:cNvPr>
                  <p:cNvSpPr>
                    <a:spLocks/>
                  </p:cNvSpPr>
                  <p:nvPr/>
                </p:nvSpPr>
                <p:spPr bwMode="gray">
                  <a:xfrm>
                    <a:off x="5275445" y="4516858"/>
                    <a:ext cx="30038" cy="18912"/>
                  </a:xfrm>
                  <a:custGeom>
                    <a:avLst/>
                    <a:gdLst>
                      <a:gd name="T0" fmla="*/ 2147483647 w 27"/>
                      <a:gd name="T1" fmla="*/ 0 h 17"/>
                      <a:gd name="T2" fmla="*/ 2147483647 w 27"/>
                      <a:gd name="T3" fmla="*/ 2147483647 h 17"/>
                      <a:gd name="T4" fmla="*/ 2147483647 w 27"/>
                      <a:gd name="T5" fmla="*/ 2147483647 h 17"/>
                      <a:gd name="T6" fmla="*/ 2147483647 w 27"/>
                      <a:gd name="T7" fmla="*/ 2147483647 h 17"/>
                      <a:gd name="T8" fmla="*/ 2147483647 w 27"/>
                      <a:gd name="T9" fmla="*/ 2147483647 h 17"/>
                      <a:gd name="T10" fmla="*/ 2147483647 w 27"/>
                      <a:gd name="T11" fmla="*/ 2147483647 h 17"/>
                      <a:gd name="T12" fmla="*/ 2147483647 w 27"/>
                      <a:gd name="T13" fmla="*/ 2147483647 h 17"/>
                      <a:gd name="T14" fmla="*/ 2147483647 w 27"/>
                      <a:gd name="T15" fmla="*/ 2147483647 h 17"/>
                      <a:gd name="T16" fmla="*/ 2147483647 w 27"/>
                      <a:gd name="T17" fmla="*/ 2147483647 h 17"/>
                      <a:gd name="T18" fmla="*/ 2147483647 w 27"/>
                      <a:gd name="T19" fmla="*/ 2147483647 h 17"/>
                      <a:gd name="T20" fmla="*/ 2147483647 w 27"/>
                      <a:gd name="T21" fmla="*/ 2147483647 h 17"/>
                      <a:gd name="T22" fmla="*/ 2147483647 w 27"/>
                      <a:gd name="T23" fmla="*/ 2147483647 h 17"/>
                      <a:gd name="T24" fmla="*/ 2147483647 w 27"/>
                      <a:gd name="T25" fmla="*/ 2147483647 h 17"/>
                      <a:gd name="T26" fmla="*/ 2147483647 w 27"/>
                      <a:gd name="T27" fmla="*/ 2147483647 h 17"/>
                      <a:gd name="T28" fmla="*/ 2147483647 w 27"/>
                      <a:gd name="T29" fmla="*/ 2147483647 h 17"/>
                      <a:gd name="T30" fmla="*/ 2147483647 w 27"/>
                      <a:gd name="T31" fmla="*/ 2147483647 h 17"/>
                      <a:gd name="T32" fmla="*/ 2147483647 w 27"/>
                      <a:gd name="T33" fmla="*/ 2147483647 h 17"/>
                      <a:gd name="T34" fmla="*/ 2147483647 w 27"/>
                      <a:gd name="T35" fmla="*/ 2147483647 h 17"/>
                      <a:gd name="T36" fmla="*/ 2147483647 w 27"/>
                      <a:gd name="T37" fmla="*/ 2147483647 h 17"/>
                      <a:gd name="T38" fmla="*/ 2147483647 w 27"/>
                      <a:gd name="T39" fmla="*/ 2147483647 h 17"/>
                      <a:gd name="T40" fmla="*/ 2147483647 w 27"/>
                      <a:gd name="T41" fmla="*/ 2147483647 h 17"/>
                      <a:gd name="T42" fmla="*/ 2147483647 w 27"/>
                      <a:gd name="T43" fmla="*/ 2147483647 h 17"/>
                      <a:gd name="T44" fmla="*/ 2147483647 w 27"/>
                      <a:gd name="T45" fmla="*/ 2147483647 h 17"/>
                      <a:gd name="T46" fmla="*/ 0 w 27"/>
                      <a:gd name="T47" fmla="*/ 2147483647 h 17"/>
                      <a:gd name="T48" fmla="*/ 0 w 27"/>
                      <a:gd name="T49" fmla="*/ 2147483647 h 17"/>
                      <a:gd name="T50" fmla="*/ 2147483647 w 27"/>
                      <a:gd name="T51" fmla="*/ 2147483647 h 17"/>
                      <a:gd name="T52" fmla="*/ 2147483647 w 27"/>
                      <a:gd name="T53" fmla="*/ 2147483647 h 17"/>
                      <a:gd name="T54" fmla="*/ 2147483647 w 27"/>
                      <a:gd name="T55" fmla="*/ 2147483647 h 17"/>
                      <a:gd name="T56" fmla="*/ 2147483647 w 27"/>
                      <a:gd name="T57" fmla="*/ 2147483647 h 17"/>
                      <a:gd name="T58" fmla="*/ 2147483647 w 27"/>
                      <a:gd name="T59" fmla="*/ 2147483647 h 17"/>
                      <a:gd name="T60" fmla="*/ 2147483647 w 27"/>
                      <a:gd name="T61" fmla="*/ 2147483647 h 17"/>
                      <a:gd name="T62" fmla="*/ 2147483647 w 27"/>
                      <a:gd name="T63" fmla="*/ 2147483647 h 17"/>
                      <a:gd name="T64" fmla="*/ 2147483647 w 27"/>
                      <a:gd name="T65" fmla="*/ 2147483647 h 17"/>
                      <a:gd name="T66" fmla="*/ 2147483647 w 27"/>
                      <a:gd name="T67" fmla="*/ 2147483647 h 17"/>
                      <a:gd name="T68" fmla="*/ 2147483647 w 27"/>
                      <a:gd name="T69" fmla="*/ 2147483647 h 17"/>
                      <a:gd name="T70" fmla="*/ 2147483647 w 27"/>
                      <a:gd name="T71" fmla="*/ 2147483647 h 17"/>
                      <a:gd name="T72" fmla="*/ 2147483647 w 27"/>
                      <a:gd name="T73" fmla="*/ 2147483647 h 17"/>
                      <a:gd name="T74" fmla="*/ 2147483647 w 27"/>
                      <a:gd name="T75" fmla="*/ 2147483647 h 17"/>
                      <a:gd name="T76" fmla="*/ 2147483647 w 27"/>
                      <a:gd name="T77" fmla="*/ 2147483647 h 17"/>
                      <a:gd name="T78" fmla="*/ 2147483647 w 27"/>
                      <a:gd name="T79" fmla="*/ 2147483647 h 17"/>
                      <a:gd name="T80" fmla="*/ 2147483647 w 27"/>
                      <a:gd name="T81" fmla="*/ 2147483647 h 17"/>
                      <a:gd name="T82" fmla="*/ 2147483647 w 27"/>
                      <a:gd name="T83" fmla="*/ 2147483647 h 17"/>
                      <a:gd name="T84" fmla="*/ 2147483647 w 27"/>
                      <a:gd name="T85" fmla="*/ 2147483647 h 17"/>
                      <a:gd name="T86" fmla="*/ 2147483647 w 27"/>
                      <a:gd name="T87" fmla="*/ 2147483647 h 17"/>
                      <a:gd name="T88" fmla="*/ 2147483647 w 27"/>
                      <a:gd name="T89" fmla="*/ 2147483647 h 17"/>
                      <a:gd name="T90" fmla="*/ 2147483647 w 27"/>
                      <a:gd name="T91" fmla="*/ 2147483647 h 17"/>
                      <a:gd name="T92" fmla="*/ 2147483647 w 27"/>
                      <a:gd name="T93" fmla="*/ 0 h 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 h="17">
                        <a:moveTo>
                          <a:pt x="17" y="0"/>
                        </a:moveTo>
                        <a:lnTo>
                          <a:pt x="17" y="1"/>
                        </a:lnTo>
                        <a:lnTo>
                          <a:pt x="17" y="2"/>
                        </a:lnTo>
                        <a:lnTo>
                          <a:pt x="17" y="3"/>
                        </a:lnTo>
                        <a:lnTo>
                          <a:pt x="17" y="4"/>
                        </a:lnTo>
                        <a:lnTo>
                          <a:pt x="15" y="4"/>
                        </a:lnTo>
                        <a:lnTo>
                          <a:pt x="13" y="4"/>
                        </a:lnTo>
                        <a:lnTo>
                          <a:pt x="12" y="5"/>
                        </a:lnTo>
                        <a:lnTo>
                          <a:pt x="10" y="7"/>
                        </a:lnTo>
                        <a:lnTo>
                          <a:pt x="13" y="4"/>
                        </a:lnTo>
                        <a:lnTo>
                          <a:pt x="11" y="4"/>
                        </a:lnTo>
                        <a:lnTo>
                          <a:pt x="9" y="5"/>
                        </a:lnTo>
                        <a:lnTo>
                          <a:pt x="9" y="7"/>
                        </a:lnTo>
                        <a:lnTo>
                          <a:pt x="10" y="7"/>
                        </a:lnTo>
                        <a:lnTo>
                          <a:pt x="9" y="7"/>
                        </a:lnTo>
                        <a:lnTo>
                          <a:pt x="7" y="7"/>
                        </a:lnTo>
                        <a:lnTo>
                          <a:pt x="7" y="8"/>
                        </a:lnTo>
                        <a:lnTo>
                          <a:pt x="8" y="9"/>
                        </a:lnTo>
                        <a:lnTo>
                          <a:pt x="8" y="11"/>
                        </a:lnTo>
                        <a:lnTo>
                          <a:pt x="7" y="14"/>
                        </a:lnTo>
                        <a:lnTo>
                          <a:pt x="6" y="14"/>
                        </a:lnTo>
                        <a:lnTo>
                          <a:pt x="5" y="14"/>
                        </a:lnTo>
                        <a:lnTo>
                          <a:pt x="0" y="14"/>
                        </a:lnTo>
                        <a:lnTo>
                          <a:pt x="0" y="17"/>
                        </a:lnTo>
                        <a:lnTo>
                          <a:pt x="4" y="17"/>
                        </a:lnTo>
                        <a:lnTo>
                          <a:pt x="8" y="16"/>
                        </a:lnTo>
                        <a:lnTo>
                          <a:pt x="11" y="14"/>
                        </a:lnTo>
                        <a:lnTo>
                          <a:pt x="13" y="14"/>
                        </a:lnTo>
                        <a:lnTo>
                          <a:pt x="15" y="12"/>
                        </a:lnTo>
                        <a:lnTo>
                          <a:pt x="15" y="10"/>
                        </a:lnTo>
                        <a:lnTo>
                          <a:pt x="15" y="9"/>
                        </a:lnTo>
                        <a:lnTo>
                          <a:pt x="17" y="7"/>
                        </a:lnTo>
                        <a:lnTo>
                          <a:pt x="18" y="7"/>
                        </a:lnTo>
                        <a:lnTo>
                          <a:pt x="20" y="7"/>
                        </a:lnTo>
                        <a:lnTo>
                          <a:pt x="22" y="5"/>
                        </a:lnTo>
                        <a:lnTo>
                          <a:pt x="24" y="4"/>
                        </a:lnTo>
                        <a:lnTo>
                          <a:pt x="26" y="4"/>
                        </a:lnTo>
                        <a:lnTo>
                          <a:pt x="27" y="4"/>
                        </a:lnTo>
                        <a:lnTo>
                          <a:pt x="26" y="4"/>
                        </a:lnTo>
                        <a:lnTo>
                          <a:pt x="25" y="4"/>
                        </a:lnTo>
                        <a:lnTo>
                          <a:pt x="24" y="4"/>
                        </a:lnTo>
                        <a:lnTo>
                          <a:pt x="22" y="3"/>
                        </a:lnTo>
                        <a:lnTo>
                          <a:pt x="20" y="2"/>
                        </a:lnTo>
                        <a:lnTo>
                          <a:pt x="18" y="1"/>
                        </a:lnTo>
                        <a:lnTo>
                          <a:pt x="1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3" name="Freeform 1984">
                    <a:extLst>
                      <a:ext uri="{FF2B5EF4-FFF2-40B4-BE49-F238E27FC236}">
                        <a16:creationId xmlns:a16="http://schemas.microsoft.com/office/drawing/2014/main" xmlns="" id="{3A097E8C-C587-422D-969B-49585C43295D}"/>
                      </a:ext>
                    </a:extLst>
                  </p:cNvPr>
                  <p:cNvSpPr>
                    <a:spLocks/>
                  </p:cNvSpPr>
                  <p:nvPr/>
                </p:nvSpPr>
                <p:spPr bwMode="gray">
                  <a:xfrm>
                    <a:off x="5358884" y="4513521"/>
                    <a:ext cx="20025" cy="14462"/>
                  </a:xfrm>
                  <a:custGeom>
                    <a:avLst/>
                    <a:gdLst>
                      <a:gd name="T0" fmla="*/ 2147483647 w 18"/>
                      <a:gd name="T1" fmla="*/ 0 h 13"/>
                      <a:gd name="T2" fmla="*/ 2147483647 w 18"/>
                      <a:gd name="T3" fmla="*/ 0 h 13"/>
                      <a:gd name="T4" fmla="*/ 2147483647 w 18"/>
                      <a:gd name="T5" fmla="*/ 2147483647 h 13"/>
                      <a:gd name="T6" fmla="*/ 2147483647 w 18"/>
                      <a:gd name="T7" fmla="*/ 2147483647 h 13"/>
                      <a:gd name="T8" fmla="*/ 2147483647 w 18"/>
                      <a:gd name="T9" fmla="*/ 2147483647 h 13"/>
                      <a:gd name="T10" fmla="*/ 2147483647 w 18"/>
                      <a:gd name="T11" fmla="*/ 2147483647 h 13"/>
                      <a:gd name="T12" fmla="*/ 2147483647 w 18"/>
                      <a:gd name="T13" fmla="*/ 2147483647 h 13"/>
                      <a:gd name="T14" fmla="*/ 2147483647 w 18"/>
                      <a:gd name="T15" fmla="*/ 2147483647 h 13"/>
                      <a:gd name="T16" fmla="*/ 2147483647 w 18"/>
                      <a:gd name="T17" fmla="*/ 2147483647 h 13"/>
                      <a:gd name="T18" fmla="*/ 2147483647 w 18"/>
                      <a:gd name="T19" fmla="*/ 2147483647 h 13"/>
                      <a:gd name="T20" fmla="*/ 0 w 18"/>
                      <a:gd name="T21" fmla="*/ 2147483647 h 13"/>
                      <a:gd name="T22" fmla="*/ 0 w 18"/>
                      <a:gd name="T23" fmla="*/ 2147483647 h 13"/>
                      <a:gd name="T24" fmla="*/ 0 w 18"/>
                      <a:gd name="T25" fmla="*/ 2147483647 h 13"/>
                      <a:gd name="T26" fmla="*/ 0 w 18"/>
                      <a:gd name="T27" fmla="*/ 2147483647 h 13"/>
                      <a:gd name="T28" fmla="*/ 0 w 18"/>
                      <a:gd name="T29" fmla="*/ 2147483647 h 13"/>
                      <a:gd name="T30" fmla="*/ 2147483647 w 18"/>
                      <a:gd name="T31" fmla="*/ 2147483647 h 13"/>
                      <a:gd name="T32" fmla="*/ 2147483647 w 18"/>
                      <a:gd name="T33" fmla="*/ 2147483647 h 13"/>
                      <a:gd name="T34" fmla="*/ 2147483647 w 18"/>
                      <a:gd name="T35" fmla="*/ 2147483647 h 13"/>
                      <a:gd name="T36" fmla="*/ 2147483647 w 18"/>
                      <a:gd name="T37" fmla="*/ 2147483647 h 13"/>
                      <a:gd name="T38" fmla="*/ 2147483647 w 18"/>
                      <a:gd name="T39" fmla="*/ 2147483647 h 13"/>
                      <a:gd name="T40" fmla="*/ 2147483647 w 18"/>
                      <a:gd name="T41" fmla="*/ 2147483647 h 13"/>
                      <a:gd name="T42" fmla="*/ 2147483647 w 18"/>
                      <a:gd name="T43" fmla="*/ 2147483647 h 13"/>
                      <a:gd name="T44" fmla="*/ 2147483647 w 18"/>
                      <a:gd name="T45" fmla="*/ 2147483647 h 13"/>
                      <a:gd name="T46" fmla="*/ 2147483647 w 18"/>
                      <a:gd name="T47" fmla="*/ 2147483647 h 13"/>
                      <a:gd name="T48" fmla="*/ 2147483647 w 18"/>
                      <a:gd name="T49" fmla="*/ 2147483647 h 13"/>
                      <a:gd name="T50" fmla="*/ 2147483647 w 18"/>
                      <a:gd name="T51" fmla="*/ 2147483647 h 13"/>
                      <a:gd name="T52" fmla="*/ 2147483647 w 18"/>
                      <a:gd name="T53" fmla="*/ 2147483647 h 13"/>
                      <a:gd name="T54" fmla="*/ 2147483647 w 18"/>
                      <a:gd name="T55" fmla="*/ 2147483647 h 13"/>
                      <a:gd name="T56" fmla="*/ 2147483647 w 18"/>
                      <a:gd name="T57" fmla="*/ 2147483647 h 13"/>
                      <a:gd name="T58" fmla="*/ 2147483647 w 18"/>
                      <a:gd name="T59" fmla="*/ 2147483647 h 13"/>
                      <a:gd name="T60" fmla="*/ 2147483647 w 18"/>
                      <a:gd name="T61" fmla="*/ 2147483647 h 13"/>
                      <a:gd name="T62" fmla="*/ 2147483647 w 18"/>
                      <a:gd name="T63" fmla="*/ 2147483647 h 13"/>
                      <a:gd name="T64" fmla="*/ 2147483647 w 18"/>
                      <a:gd name="T65" fmla="*/ 2147483647 h 13"/>
                      <a:gd name="T66" fmla="*/ 2147483647 w 18"/>
                      <a:gd name="T67" fmla="*/ 2147483647 h 13"/>
                      <a:gd name="T68" fmla="*/ 2147483647 w 18"/>
                      <a:gd name="T69" fmla="*/ 2147483647 h 13"/>
                      <a:gd name="T70" fmla="*/ 2147483647 w 18"/>
                      <a:gd name="T71" fmla="*/ 2147483647 h 13"/>
                      <a:gd name="T72" fmla="*/ 2147483647 w 18"/>
                      <a:gd name="T73" fmla="*/ 2147483647 h 13"/>
                      <a:gd name="T74" fmla="*/ 2147483647 w 18"/>
                      <a:gd name="T75" fmla="*/ 0 h 13"/>
                      <a:gd name="T76" fmla="*/ 2147483647 w 18"/>
                      <a:gd name="T77" fmla="*/ 0 h 13"/>
                      <a:gd name="T78" fmla="*/ 2147483647 w 18"/>
                      <a:gd name="T79" fmla="*/ 0 h 13"/>
                      <a:gd name="T80" fmla="*/ 2147483647 w 18"/>
                      <a:gd name="T81" fmla="*/ 0 h 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8" h="13">
                        <a:moveTo>
                          <a:pt x="13" y="0"/>
                        </a:moveTo>
                        <a:lnTo>
                          <a:pt x="13" y="0"/>
                        </a:lnTo>
                        <a:lnTo>
                          <a:pt x="11" y="2"/>
                        </a:lnTo>
                        <a:lnTo>
                          <a:pt x="10" y="2"/>
                        </a:lnTo>
                        <a:lnTo>
                          <a:pt x="9" y="2"/>
                        </a:lnTo>
                        <a:lnTo>
                          <a:pt x="7" y="3"/>
                        </a:lnTo>
                        <a:lnTo>
                          <a:pt x="6" y="5"/>
                        </a:lnTo>
                        <a:lnTo>
                          <a:pt x="5" y="7"/>
                        </a:lnTo>
                        <a:lnTo>
                          <a:pt x="4" y="9"/>
                        </a:lnTo>
                        <a:lnTo>
                          <a:pt x="3" y="10"/>
                        </a:lnTo>
                        <a:lnTo>
                          <a:pt x="0" y="10"/>
                        </a:lnTo>
                        <a:lnTo>
                          <a:pt x="0" y="11"/>
                        </a:lnTo>
                        <a:lnTo>
                          <a:pt x="0" y="12"/>
                        </a:lnTo>
                        <a:lnTo>
                          <a:pt x="0" y="13"/>
                        </a:lnTo>
                        <a:lnTo>
                          <a:pt x="1" y="13"/>
                        </a:lnTo>
                        <a:lnTo>
                          <a:pt x="3" y="13"/>
                        </a:lnTo>
                        <a:lnTo>
                          <a:pt x="6" y="13"/>
                        </a:lnTo>
                        <a:lnTo>
                          <a:pt x="7" y="13"/>
                        </a:lnTo>
                        <a:lnTo>
                          <a:pt x="6" y="13"/>
                        </a:lnTo>
                        <a:lnTo>
                          <a:pt x="5" y="12"/>
                        </a:lnTo>
                        <a:lnTo>
                          <a:pt x="4" y="11"/>
                        </a:lnTo>
                        <a:lnTo>
                          <a:pt x="3" y="10"/>
                        </a:lnTo>
                        <a:lnTo>
                          <a:pt x="8" y="10"/>
                        </a:lnTo>
                        <a:lnTo>
                          <a:pt x="10" y="10"/>
                        </a:lnTo>
                        <a:lnTo>
                          <a:pt x="10" y="9"/>
                        </a:lnTo>
                        <a:lnTo>
                          <a:pt x="11" y="7"/>
                        </a:lnTo>
                        <a:lnTo>
                          <a:pt x="12" y="5"/>
                        </a:lnTo>
                        <a:lnTo>
                          <a:pt x="13" y="3"/>
                        </a:lnTo>
                        <a:lnTo>
                          <a:pt x="15" y="3"/>
                        </a:lnTo>
                        <a:lnTo>
                          <a:pt x="16" y="3"/>
                        </a:lnTo>
                        <a:lnTo>
                          <a:pt x="17" y="3"/>
                        </a:lnTo>
                        <a:lnTo>
                          <a:pt x="18" y="3"/>
                        </a:lnTo>
                        <a:lnTo>
                          <a:pt x="18" y="2"/>
                        </a:lnTo>
                        <a:lnTo>
                          <a:pt x="18" y="1"/>
                        </a:lnTo>
                        <a:lnTo>
                          <a:pt x="18" y="0"/>
                        </a:lnTo>
                        <a:lnTo>
                          <a:pt x="15" y="0"/>
                        </a:lnTo>
                        <a:lnTo>
                          <a:pt x="1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4" name="Freeform 1986">
                    <a:extLst>
                      <a:ext uri="{FF2B5EF4-FFF2-40B4-BE49-F238E27FC236}">
                        <a16:creationId xmlns:a16="http://schemas.microsoft.com/office/drawing/2014/main" xmlns="" id="{364E9B55-3501-4D7D-8A98-66356CC50EC8}"/>
                      </a:ext>
                    </a:extLst>
                  </p:cNvPr>
                  <p:cNvSpPr>
                    <a:spLocks/>
                  </p:cNvSpPr>
                  <p:nvPr/>
                </p:nvSpPr>
                <p:spPr bwMode="gray">
                  <a:xfrm>
                    <a:off x="5204243" y="4513521"/>
                    <a:ext cx="11125" cy="14462"/>
                  </a:xfrm>
                  <a:custGeom>
                    <a:avLst/>
                    <a:gdLst>
                      <a:gd name="T0" fmla="*/ 0 w 10"/>
                      <a:gd name="T1" fmla="*/ 0 h 13"/>
                      <a:gd name="T2" fmla="*/ 0 w 10"/>
                      <a:gd name="T3" fmla="*/ 2147483647 h 13"/>
                      <a:gd name="T4" fmla="*/ 0 w 10"/>
                      <a:gd name="T5" fmla="*/ 2147483647 h 13"/>
                      <a:gd name="T6" fmla="*/ 2147483647 w 10"/>
                      <a:gd name="T7" fmla="*/ 2147483647 h 13"/>
                      <a:gd name="T8" fmla="*/ 2147483647 w 10"/>
                      <a:gd name="T9" fmla="*/ 2147483647 h 13"/>
                      <a:gd name="T10" fmla="*/ 2147483647 w 10"/>
                      <a:gd name="T11" fmla="*/ 2147483647 h 13"/>
                      <a:gd name="T12" fmla="*/ 2147483647 w 10"/>
                      <a:gd name="T13" fmla="*/ 2147483647 h 13"/>
                      <a:gd name="T14" fmla="*/ 2147483647 w 10"/>
                      <a:gd name="T15" fmla="*/ 2147483647 h 13"/>
                      <a:gd name="T16" fmla="*/ 2147483647 w 10"/>
                      <a:gd name="T17" fmla="*/ 2147483647 h 13"/>
                      <a:gd name="T18" fmla="*/ 2147483647 w 10"/>
                      <a:gd name="T19" fmla="*/ 2147483647 h 13"/>
                      <a:gd name="T20" fmla="*/ 2147483647 w 10"/>
                      <a:gd name="T21" fmla="*/ 2147483647 h 13"/>
                      <a:gd name="T22" fmla="*/ 2147483647 w 10"/>
                      <a:gd name="T23" fmla="*/ 2147483647 h 13"/>
                      <a:gd name="T24" fmla="*/ 2147483647 w 10"/>
                      <a:gd name="T25" fmla="*/ 2147483647 h 13"/>
                      <a:gd name="T26" fmla="*/ 2147483647 w 10"/>
                      <a:gd name="T27" fmla="*/ 2147483647 h 13"/>
                      <a:gd name="T28" fmla="*/ 2147483647 w 10"/>
                      <a:gd name="T29" fmla="*/ 2147483647 h 13"/>
                      <a:gd name="T30" fmla="*/ 2147483647 w 10"/>
                      <a:gd name="T31" fmla="*/ 2147483647 h 13"/>
                      <a:gd name="T32" fmla="*/ 2147483647 w 10"/>
                      <a:gd name="T33" fmla="*/ 2147483647 h 13"/>
                      <a:gd name="T34" fmla="*/ 2147483647 w 10"/>
                      <a:gd name="T35" fmla="*/ 2147483647 h 13"/>
                      <a:gd name="T36" fmla="*/ 2147483647 w 10"/>
                      <a:gd name="T37" fmla="*/ 2147483647 h 13"/>
                      <a:gd name="T38" fmla="*/ 2147483647 w 10"/>
                      <a:gd name="T39" fmla="*/ 2147483647 h 13"/>
                      <a:gd name="T40" fmla="*/ 2147483647 w 10"/>
                      <a:gd name="T41" fmla="*/ 2147483647 h 13"/>
                      <a:gd name="T42" fmla="*/ 2147483647 w 10"/>
                      <a:gd name="T43" fmla="*/ 2147483647 h 13"/>
                      <a:gd name="T44" fmla="*/ 2147483647 w 10"/>
                      <a:gd name="T45" fmla="*/ 2147483647 h 13"/>
                      <a:gd name="T46" fmla="*/ 0 w 10"/>
                      <a:gd name="T47" fmla="*/ 0 h 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 h="13">
                        <a:moveTo>
                          <a:pt x="0" y="0"/>
                        </a:moveTo>
                        <a:lnTo>
                          <a:pt x="0" y="5"/>
                        </a:lnTo>
                        <a:lnTo>
                          <a:pt x="0" y="8"/>
                        </a:lnTo>
                        <a:lnTo>
                          <a:pt x="1" y="11"/>
                        </a:lnTo>
                        <a:lnTo>
                          <a:pt x="3" y="13"/>
                        </a:lnTo>
                        <a:lnTo>
                          <a:pt x="4" y="13"/>
                        </a:lnTo>
                        <a:lnTo>
                          <a:pt x="5" y="13"/>
                        </a:lnTo>
                        <a:lnTo>
                          <a:pt x="6" y="13"/>
                        </a:lnTo>
                        <a:lnTo>
                          <a:pt x="7" y="13"/>
                        </a:lnTo>
                        <a:lnTo>
                          <a:pt x="8" y="12"/>
                        </a:lnTo>
                        <a:lnTo>
                          <a:pt x="9" y="11"/>
                        </a:lnTo>
                        <a:lnTo>
                          <a:pt x="10" y="10"/>
                        </a:lnTo>
                        <a:lnTo>
                          <a:pt x="10" y="12"/>
                        </a:lnTo>
                        <a:lnTo>
                          <a:pt x="10" y="11"/>
                        </a:lnTo>
                        <a:lnTo>
                          <a:pt x="10" y="10"/>
                        </a:lnTo>
                        <a:lnTo>
                          <a:pt x="10" y="8"/>
                        </a:lnTo>
                        <a:lnTo>
                          <a:pt x="10" y="7"/>
                        </a:lnTo>
                        <a:lnTo>
                          <a:pt x="9" y="4"/>
                        </a:lnTo>
                        <a:lnTo>
                          <a:pt x="6" y="2"/>
                        </a:lnTo>
                        <a:lnTo>
                          <a:pt x="3"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5" name="Freeform 1988">
                    <a:extLst>
                      <a:ext uri="{FF2B5EF4-FFF2-40B4-BE49-F238E27FC236}">
                        <a16:creationId xmlns:a16="http://schemas.microsoft.com/office/drawing/2014/main" xmlns="" id="{934CD5A5-F109-4BD4-A179-FA1BFA946691}"/>
                      </a:ext>
                    </a:extLst>
                  </p:cNvPr>
                  <p:cNvSpPr>
                    <a:spLocks/>
                  </p:cNvSpPr>
                  <p:nvPr/>
                </p:nvSpPr>
                <p:spPr bwMode="gray">
                  <a:xfrm>
                    <a:off x="5308820" y="4513521"/>
                    <a:ext cx="4450" cy="3337"/>
                  </a:xfrm>
                  <a:custGeom>
                    <a:avLst/>
                    <a:gdLst>
                      <a:gd name="T0" fmla="*/ 0 w 4"/>
                      <a:gd name="T1" fmla="*/ 0 h 3"/>
                      <a:gd name="T2" fmla="*/ 2147483647 w 4"/>
                      <a:gd name="T3" fmla="*/ 2147483647 h 3"/>
                      <a:gd name="T4" fmla="*/ 2147483647 w 4"/>
                      <a:gd name="T5" fmla="*/ 2147483647 h 3"/>
                      <a:gd name="T6" fmla="*/ 2147483647 w 4"/>
                      <a:gd name="T7" fmla="*/ 2147483647 h 3"/>
                      <a:gd name="T8" fmla="*/ 0 w 4"/>
                      <a:gd name="T9" fmla="*/ 2147483647 h 3"/>
                      <a:gd name="T10" fmla="*/ 2147483647 w 4"/>
                      <a:gd name="T11" fmla="*/ 2147483647 h 3"/>
                      <a:gd name="T12" fmla="*/ 2147483647 w 4"/>
                      <a:gd name="T13" fmla="*/ 2147483647 h 3"/>
                      <a:gd name="T14" fmla="*/ 2147483647 w 4"/>
                      <a:gd name="T15" fmla="*/ 2147483647 h 3"/>
                      <a:gd name="T16" fmla="*/ 0 w 4"/>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3">
                        <a:moveTo>
                          <a:pt x="0" y="0"/>
                        </a:moveTo>
                        <a:lnTo>
                          <a:pt x="2" y="1"/>
                        </a:lnTo>
                        <a:lnTo>
                          <a:pt x="2" y="2"/>
                        </a:lnTo>
                        <a:lnTo>
                          <a:pt x="2" y="3"/>
                        </a:lnTo>
                        <a:lnTo>
                          <a:pt x="0" y="3"/>
                        </a:lnTo>
                        <a:lnTo>
                          <a:pt x="3" y="3"/>
                        </a:lnTo>
                        <a:lnTo>
                          <a:pt x="4" y="2"/>
                        </a:lnTo>
                        <a:lnTo>
                          <a:pt x="3"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6" name="Freeform 1990">
                    <a:extLst>
                      <a:ext uri="{FF2B5EF4-FFF2-40B4-BE49-F238E27FC236}">
                        <a16:creationId xmlns:a16="http://schemas.microsoft.com/office/drawing/2014/main" xmlns="" id="{D4C3FCFD-6277-4EC6-BBD9-8135F13BCBA9}"/>
                      </a:ext>
                    </a:extLst>
                  </p:cNvPr>
                  <p:cNvSpPr>
                    <a:spLocks/>
                  </p:cNvSpPr>
                  <p:nvPr/>
                </p:nvSpPr>
                <p:spPr bwMode="gray">
                  <a:xfrm>
                    <a:off x="5322170" y="4506846"/>
                    <a:ext cx="4450" cy="3337"/>
                  </a:xfrm>
                  <a:custGeom>
                    <a:avLst/>
                    <a:gdLst>
                      <a:gd name="T0" fmla="*/ 2147483647 w 4"/>
                      <a:gd name="T1" fmla="*/ 0 h 3"/>
                      <a:gd name="T2" fmla="*/ 0 w 4"/>
                      <a:gd name="T3" fmla="*/ 2147483647 h 3"/>
                      <a:gd name="T4" fmla="*/ 2147483647 w 4"/>
                      <a:gd name="T5" fmla="*/ 2147483647 h 3"/>
                      <a:gd name="T6" fmla="*/ 2147483647 w 4"/>
                      <a:gd name="T7" fmla="*/ 2147483647 h 3"/>
                      <a:gd name="T8" fmla="*/ 2147483647 w 4"/>
                      <a:gd name="T9" fmla="*/ 2147483647 h 3"/>
                      <a:gd name="T10" fmla="*/ 2147483647 w 4"/>
                      <a:gd name="T11" fmla="*/ 2147483647 h 3"/>
                      <a:gd name="T12" fmla="*/ 2147483647 w 4"/>
                      <a:gd name="T13" fmla="*/ 2147483647 h 3"/>
                      <a:gd name="T14" fmla="*/ 2147483647 w 4"/>
                      <a:gd name="T15" fmla="*/ 0 h 3"/>
                      <a:gd name="T16" fmla="*/ 2147483647 w 4"/>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3">
                        <a:moveTo>
                          <a:pt x="1" y="0"/>
                        </a:moveTo>
                        <a:lnTo>
                          <a:pt x="0" y="1"/>
                        </a:lnTo>
                        <a:lnTo>
                          <a:pt x="1" y="1"/>
                        </a:lnTo>
                        <a:lnTo>
                          <a:pt x="2" y="2"/>
                        </a:lnTo>
                        <a:lnTo>
                          <a:pt x="3" y="3"/>
                        </a:lnTo>
                        <a:lnTo>
                          <a:pt x="3" y="2"/>
                        </a:lnTo>
                        <a:lnTo>
                          <a:pt x="4" y="1"/>
                        </a:lnTo>
                        <a:lnTo>
                          <a:pt x="3"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7" name="Freeform 1992">
                    <a:extLst>
                      <a:ext uri="{FF2B5EF4-FFF2-40B4-BE49-F238E27FC236}">
                        <a16:creationId xmlns:a16="http://schemas.microsoft.com/office/drawing/2014/main" xmlns="" id="{F8585636-0C88-4A82-98A2-B56AF47060D0}"/>
                      </a:ext>
                    </a:extLst>
                  </p:cNvPr>
                  <p:cNvSpPr>
                    <a:spLocks/>
                  </p:cNvSpPr>
                  <p:nvPr/>
                </p:nvSpPr>
                <p:spPr bwMode="gray">
                  <a:xfrm>
                    <a:off x="5229831" y="4503508"/>
                    <a:ext cx="16688" cy="17799"/>
                  </a:xfrm>
                  <a:custGeom>
                    <a:avLst/>
                    <a:gdLst>
                      <a:gd name="T0" fmla="*/ 2147483647 w 15"/>
                      <a:gd name="T1" fmla="*/ 0 h 16"/>
                      <a:gd name="T2" fmla="*/ 2147483647 w 15"/>
                      <a:gd name="T3" fmla="*/ 2147483647 h 16"/>
                      <a:gd name="T4" fmla="*/ 2147483647 w 15"/>
                      <a:gd name="T5" fmla="*/ 2147483647 h 16"/>
                      <a:gd name="T6" fmla="*/ 2147483647 w 15"/>
                      <a:gd name="T7" fmla="*/ 2147483647 h 16"/>
                      <a:gd name="T8" fmla="*/ 2147483647 w 15"/>
                      <a:gd name="T9" fmla="*/ 2147483647 h 16"/>
                      <a:gd name="T10" fmla="*/ 2147483647 w 15"/>
                      <a:gd name="T11" fmla="*/ 0 h 16"/>
                      <a:gd name="T12" fmla="*/ 2147483647 w 15"/>
                      <a:gd name="T13" fmla="*/ 2147483647 h 16"/>
                      <a:gd name="T14" fmla="*/ 2147483647 w 15"/>
                      <a:gd name="T15" fmla="*/ 2147483647 h 16"/>
                      <a:gd name="T16" fmla="*/ 2147483647 w 15"/>
                      <a:gd name="T17" fmla="*/ 2147483647 h 16"/>
                      <a:gd name="T18" fmla="*/ 2147483647 w 15"/>
                      <a:gd name="T19" fmla="*/ 2147483647 h 16"/>
                      <a:gd name="T20" fmla="*/ 2147483647 w 15"/>
                      <a:gd name="T21" fmla="*/ 2147483647 h 16"/>
                      <a:gd name="T22" fmla="*/ 2147483647 w 15"/>
                      <a:gd name="T23" fmla="*/ 2147483647 h 16"/>
                      <a:gd name="T24" fmla="*/ 2147483647 w 15"/>
                      <a:gd name="T25" fmla="*/ 2147483647 h 16"/>
                      <a:gd name="T26" fmla="*/ 2147483647 w 15"/>
                      <a:gd name="T27" fmla="*/ 2147483647 h 16"/>
                      <a:gd name="T28" fmla="*/ 2147483647 w 15"/>
                      <a:gd name="T29" fmla="*/ 2147483647 h 16"/>
                      <a:gd name="T30" fmla="*/ 2147483647 w 15"/>
                      <a:gd name="T31" fmla="*/ 2147483647 h 16"/>
                      <a:gd name="T32" fmla="*/ 0 w 15"/>
                      <a:gd name="T33" fmla="*/ 2147483647 h 16"/>
                      <a:gd name="T34" fmla="*/ 0 w 15"/>
                      <a:gd name="T35" fmla="*/ 2147483647 h 16"/>
                      <a:gd name="T36" fmla="*/ 0 w 15"/>
                      <a:gd name="T37" fmla="*/ 2147483647 h 16"/>
                      <a:gd name="T38" fmla="*/ 0 w 15"/>
                      <a:gd name="T39" fmla="*/ 2147483647 h 16"/>
                      <a:gd name="T40" fmla="*/ 0 w 15"/>
                      <a:gd name="T41" fmla="*/ 2147483647 h 16"/>
                      <a:gd name="T42" fmla="*/ 0 w 15"/>
                      <a:gd name="T43" fmla="*/ 2147483647 h 16"/>
                      <a:gd name="T44" fmla="*/ 2147483647 w 15"/>
                      <a:gd name="T45" fmla="*/ 2147483647 h 16"/>
                      <a:gd name="T46" fmla="*/ 2147483647 w 15"/>
                      <a:gd name="T47" fmla="*/ 2147483647 h 16"/>
                      <a:gd name="T48" fmla="*/ 2147483647 w 15"/>
                      <a:gd name="T49" fmla="*/ 2147483647 h 16"/>
                      <a:gd name="T50" fmla="*/ 2147483647 w 15"/>
                      <a:gd name="T51" fmla="*/ 2147483647 h 16"/>
                      <a:gd name="T52" fmla="*/ 2147483647 w 15"/>
                      <a:gd name="T53" fmla="*/ 2147483647 h 16"/>
                      <a:gd name="T54" fmla="*/ 2147483647 w 15"/>
                      <a:gd name="T55" fmla="*/ 2147483647 h 16"/>
                      <a:gd name="T56" fmla="*/ 2147483647 w 15"/>
                      <a:gd name="T57" fmla="*/ 2147483647 h 16"/>
                      <a:gd name="T58" fmla="*/ 2147483647 w 15"/>
                      <a:gd name="T59" fmla="*/ 2147483647 h 16"/>
                      <a:gd name="T60" fmla="*/ 2147483647 w 15"/>
                      <a:gd name="T61" fmla="*/ 2147483647 h 16"/>
                      <a:gd name="T62" fmla="*/ 2147483647 w 15"/>
                      <a:gd name="T63" fmla="*/ 2147483647 h 16"/>
                      <a:gd name="T64" fmla="*/ 2147483647 w 15"/>
                      <a:gd name="T65" fmla="*/ 2147483647 h 16"/>
                      <a:gd name="T66" fmla="*/ 2147483647 w 15"/>
                      <a:gd name="T67" fmla="*/ 2147483647 h 16"/>
                      <a:gd name="T68" fmla="*/ 2147483647 w 15"/>
                      <a:gd name="T69" fmla="*/ 2147483647 h 16"/>
                      <a:gd name="T70" fmla="*/ 2147483647 w 15"/>
                      <a:gd name="T71" fmla="*/ 2147483647 h 16"/>
                      <a:gd name="T72" fmla="*/ 2147483647 w 15"/>
                      <a:gd name="T73" fmla="*/ 0 h 16"/>
                      <a:gd name="T74" fmla="*/ 2147483647 w 15"/>
                      <a:gd name="T75" fmla="*/ 0 h 16"/>
                      <a:gd name="T76" fmla="*/ 2147483647 w 15"/>
                      <a:gd name="T77" fmla="*/ 0 h 16"/>
                      <a:gd name="T78" fmla="*/ 2147483647 w 15"/>
                      <a:gd name="T79" fmla="*/ 0 h 16"/>
                      <a:gd name="T80" fmla="*/ 2147483647 w 15"/>
                      <a:gd name="T81" fmla="*/ 0 h 1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5" h="16">
                        <a:moveTo>
                          <a:pt x="13" y="0"/>
                        </a:moveTo>
                        <a:lnTo>
                          <a:pt x="13" y="1"/>
                        </a:lnTo>
                        <a:lnTo>
                          <a:pt x="13" y="2"/>
                        </a:lnTo>
                        <a:lnTo>
                          <a:pt x="13" y="3"/>
                        </a:lnTo>
                        <a:lnTo>
                          <a:pt x="13" y="0"/>
                        </a:lnTo>
                        <a:lnTo>
                          <a:pt x="9" y="3"/>
                        </a:lnTo>
                        <a:lnTo>
                          <a:pt x="8" y="5"/>
                        </a:lnTo>
                        <a:lnTo>
                          <a:pt x="6" y="9"/>
                        </a:lnTo>
                        <a:lnTo>
                          <a:pt x="4" y="12"/>
                        </a:lnTo>
                        <a:lnTo>
                          <a:pt x="2" y="11"/>
                        </a:lnTo>
                        <a:lnTo>
                          <a:pt x="2" y="10"/>
                        </a:lnTo>
                        <a:lnTo>
                          <a:pt x="3" y="8"/>
                        </a:lnTo>
                        <a:lnTo>
                          <a:pt x="4" y="7"/>
                        </a:lnTo>
                        <a:lnTo>
                          <a:pt x="2" y="7"/>
                        </a:lnTo>
                        <a:lnTo>
                          <a:pt x="1" y="8"/>
                        </a:lnTo>
                        <a:lnTo>
                          <a:pt x="0" y="10"/>
                        </a:lnTo>
                        <a:lnTo>
                          <a:pt x="0" y="12"/>
                        </a:lnTo>
                        <a:lnTo>
                          <a:pt x="0" y="15"/>
                        </a:lnTo>
                        <a:lnTo>
                          <a:pt x="0" y="16"/>
                        </a:lnTo>
                        <a:lnTo>
                          <a:pt x="3" y="16"/>
                        </a:lnTo>
                        <a:lnTo>
                          <a:pt x="6" y="16"/>
                        </a:lnTo>
                        <a:lnTo>
                          <a:pt x="7" y="16"/>
                        </a:lnTo>
                        <a:lnTo>
                          <a:pt x="6" y="16"/>
                        </a:lnTo>
                        <a:lnTo>
                          <a:pt x="4" y="16"/>
                        </a:lnTo>
                        <a:lnTo>
                          <a:pt x="6" y="14"/>
                        </a:lnTo>
                        <a:lnTo>
                          <a:pt x="8" y="15"/>
                        </a:lnTo>
                        <a:lnTo>
                          <a:pt x="9" y="15"/>
                        </a:lnTo>
                        <a:lnTo>
                          <a:pt x="9" y="16"/>
                        </a:lnTo>
                        <a:lnTo>
                          <a:pt x="10" y="13"/>
                        </a:lnTo>
                        <a:lnTo>
                          <a:pt x="11" y="11"/>
                        </a:lnTo>
                        <a:lnTo>
                          <a:pt x="12" y="10"/>
                        </a:lnTo>
                        <a:lnTo>
                          <a:pt x="13" y="10"/>
                        </a:lnTo>
                        <a:lnTo>
                          <a:pt x="15" y="10"/>
                        </a:lnTo>
                        <a:lnTo>
                          <a:pt x="15" y="0"/>
                        </a:lnTo>
                        <a:lnTo>
                          <a:pt x="1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8" name="Freeform 1994">
                    <a:extLst>
                      <a:ext uri="{FF2B5EF4-FFF2-40B4-BE49-F238E27FC236}">
                        <a16:creationId xmlns:a16="http://schemas.microsoft.com/office/drawing/2014/main" xmlns="" id="{770F7BB9-DEF2-432F-9F43-470109699DD8}"/>
                      </a:ext>
                    </a:extLst>
                  </p:cNvPr>
                  <p:cNvSpPr>
                    <a:spLocks/>
                  </p:cNvSpPr>
                  <p:nvPr/>
                </p:nvSpPr>
                <p:spPr bwMode="gray">
                  <a:xfrm>
                    <a:off x="5358884" y="4500171"/>
                    <a:ext cx="3338" cy="3337"/>
                  </a:xfrm>
                  <a:custGeom>
                    <a:avLst/>
                    <a:gdLst>
                      <a:gd name="T0" fmla="*/ 0 w 3"/>
                      <a:gd name="T1" fmla="*/ 0 h 3"/>
                      <a:gd name="T2" fmla="*/ 0 w 3"/>
                      <a:gd name="T3" fmla="*/ 2147483647 h 3"/>
                      <a:gd name="T4" fmla="*/ 2147483647 w 3"/>
                      <a:gd name="T5" fmla="*/ 2147483647 h 3"/>
                      <a:gd name="T6" fmla="*/ 2147483647 w 3"/>
                      <a:gd name="T7" fmla="*/ 2147483647 h 3"/>
                      <a:gd name="T8" fmla="*/ 2147483647 w 3"/>
                      <a:gd name="T9" fmla="*/ 0 h 3"/>
                      <a:gd name="T10" fmla="*/ 0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0" y="0"/>
                        </a:moveTo>
                        <a:lnTo>
                          <a:pt x="0" y="3"/>
                        </a:lnTo>
                        <a:lnTo>
                          <a:pt x="2" y="3"/>
                        </a:lnTo>
                        <a:lnTo>
                          <a:pt x="3" y="1"/>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199" name="Freeform 1996">
                    <a:extLst>
                      <a:ext uri="{FF2B5EF4-FFF2-40B4-BE49-F238E27FC236}">
                        <a16:creationId xmlns:a16="http://schemas.microsoft.com/office/drawing/2014/main" xmlns="" id="{B5184B99-8358-4911-B608-937BCA9DABA0}"/>
                      </a:ext>
                    </a:extLst>
                  </p:cNvPr>
                  <p:cNvSpPr>
                    <a:spLocks/>
                  </p:cNvSpPr>
                  <p:nvPr/>
                </p:nvSpPr>
                <p:spPr bwMode="gray">
                  <a:xfrm>
                    <a:off x="5347759" y="4500171"/>
                    <a:ext cx="11125" cy="13350"/>
                  </a:xfrm>
                  <a:custGeom>
                    <a:avLst/>
                    <a:gdLst>
                      <a:gd name="T0" fmla="*/ 0 w 10"/>
                      <a:gd name="T1" fmla="*/ 0 h 12"/>
                      <a:gd name="T2" fmla="*/ 0 w 10"/>
                      <a:gd name="T3" fmla="*/ 2147483647 h 12"/>
                      <a:gd name="T4" fmla="*/ 0 w 10"/>
                      <a:gd name="T5" fmla="*/ 2147483647 h 12"/>
                      <a:gd name="T6" fmla="*/ 0 w 10"/>
                      <a:gd name="T7" fmla="*/ 2147483647 h 12"/>
                      <a:gd name="T8" fmla="*/ 0 w 10"/>
                      <a:gd name="T9" fmla="*/ 2147483647 h 12"/>
                      <a:gd name="T10" fmla="*/ 2147483647 w 10"/>
                      <a:gd name="T11" fmla="*/ 2147483647 h 12"/>
                      <a:gd name="T12" fmla="*/ 2147483647 w 10"/>
                      <a:gd name="T13" fmla="*/ 2147483647 h 12"/>
                      <a:gd name="T14" fmla="*/ 2147483647 w 10"/>
                      <a:gd name="T15" fmla="*/ 2147483647 h 12"/>
                      <a:gd name="T16" fmla="*/ 2147483647 w 10"/>
                      <a:gd name="T17" fmla="*/ 2147483647 h 12"/>
                      <a:gd name="T18" fmla="*/ 2147483647 w 10"/>
                      <a:gd name="T19" fmla="*/ 2147483647 h 12"/>
                      <a:gd name="T20" fmla="*/ 2147483647 w 10"/>
                      <a:gd name="T21" fmla="*/ 2147483647 h 12"/>
                      <a:gd name="T22" fmla="*/ 2147483647 w 10"/>
                      <a:gd name="T23" fmla="*/ 2147483647 h 12"/>
                      <a:gd name="T24" fmla="*/ 2147483647 w 10"/>
                      <a:gd name="T25" fmla="*/ 2147483647 h 12"/>
                      <a:gd name="T26" fmla="*/ 2147483647 w 10"/>
                      <a:gd name="T27" fmla="*/ 2147483647 h 12"/>
                      <a:gd name="T28" fmla="*/ 2147483647 w 10"/>
                      <a:gd name="T29" fmla="*/ 2147483647 h 12"/>
                      <a:gd name="T30" fmla="*/ 2147483647 w 10"/>
                      <a:gd name="T31" fmla="*/ 0 h 12"/>
                      <a:gd name="T32" fmla="*/ 2147483647 w 10"/>
                      <a:gd name="T33" fmla="*/ 0 h 12"/>
                      <a:gd name="T34" fmla="*/ 2147483647 w 10"/>
                      <a:gd name="T35" fmla="*/ 0 h 12"/>
                      <a:gd name="T36" fmla="*/ 2147483647 w 10"/>
                      <a:gd name="T37" fmla="*/ 0 h 12"/>
                      <a:gd name="T38" fmla="*/ 0 w 10"/>
                      <a:gd name="T39" fmla="*/ 0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2">
                        <a:moveTo>
                          <a:pt x="0" y="0"/>
                        </a:moveTo>
                        <a:lnTo>
                          <a:pt x="0" y="4"/>
                        </a:lnTo>
                        <a:lnTo>
                          <a:pt x="0" y="5"/>
                        </a:lnTo>
                        <a:lnTo>
                          <a:pt x="0" y="8"/>
                        </a:lnTo>
                        <a:lnTo>
                          <a:pt x="0" y="12"/>
                        </a:lnTo>
                        <a:lnTo>
                          <a:pt x="5" y="12"/>
                        </a:lnTo>
                        <a:lnTo>
                          <a:pt x="9" y="11"/>
                        </a:lnTo>
                        <a:lnTo>
                          <a:pt x="10" y="9"/>
                        </a:lnTo>
                        <a:lnTo>
                          <a:pt x="10" y="8"/>
                        </a:lnTo>
                        <a:lnTo>
                          <a:pt x="10" y="7"/>
                        </a:lnTo>
                        <a:lnTo>
                          <a:pt x="10" y="6"/>
                        </a:lnTo>
                        <a:lnTo>
                          <a:pt x="10" y="5"/>
                        </a:lnTo>
                        <a:lnTo>
                          <a:pt x="6" y="5"/>
                        </a:lnTo>
                        <a:lnTo>
                          <a:pt x="4" y="4"/>
                        </a:lnTo>
                        <a:lnTo>
                          <a:pt x="3" y="3"/>
                        </a:lnTo>
                        <a:lnTo>
                          <a:pt x="3" y="0"/>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0" name="Freeform 1998">
                    <a:extLst>
                      <a:ext uri="{FF2B5EF4-FFF2-40B4-BE49-F238E27FC236}">
                        <a16:creationId xmlns:a16="http://schemas.microsoft.com/office/drawing/2014/main" xmlns="" id="{72D13280-E89C-4452-98D1-753173B7EB5F}"/>
                      </a:ext>
                    </a:extLst>
                  </p:cNvPr>
                  <p:cNvSpPr>
                    <a:spLocks/>
                  </p:cNvSpPr>
                  <p:nvPr/>
                </p:nvSpPr>
                <p:spPr bwMode="gray">
                  <a:xfrm>
                    <a:off x="5248744" y="4500171"/>
                    <a:ext cx="17800" cy="21137"/>
                  </a:xfrm>
                  <a:custGeom>
                    <a:avLst/>
                    <a:gdLst>
                      <a:gd name="T0" fmla="*/ 2147483647 w 16"/>
                      <a:gd name="T1" fmla="*/ 0 h 19"/>
                      <a:gd name="T2" fmla="*/ 2147483647 w 16"/>
                      <a:gd name="T3" fmla="*/ 2147483647 h 19"/>
                      <a:gd name="T4" fmla="*/ 2147483647 w 16"/>
                      <a:gd name="T5" fmla="*/ 2147483647 h 19"/>
                      <a:gd name="T6" fmla="*/ 2147483647 w 16"/>
                      <a:gd name="T7" fmla="*/ 2147483647 h 19"/>
                      <a:gd name="T8" fmla="*/ 0 w 16"/>
                      <a:gd name="T9" fmla="*/ 2147483647 h 19"/>
                      <a:gd name="T10" fmla="*/ 0 w 16"/>
                      <a:gd name="T11" fmla="*/ 2147483647 h 19"/>
                      <a:gd name="T12" fmla="*/ 2147483647 w 16"/>
                      <a:gd name="T13" fmla="*/ 2147483647 h 19"/>
                      <a:gd name="T14" fmla="*/ 2147483647 w 16"/>
                      <a:gd name="T15" fmla="*/ 2147483647 h 19"/>
                      <a:gd name="T16" fmla="*/ 2147483647 w 16"/>
                      <a:gd name="T17" fmla="*/ 2147483647 h 19"/>
                      <a:gd name="T18" fmla="*/ 2147483647 w 16"/>
                      <a:gd name="T19" fmla="*/ 2147483647 h 19"/>
                      <a:gd name="T20" fmla="*/ 2147483647 w 16"/>
                      <a:gd name="T21" fmla="*/ 2147483647 h 19"/>
                      <a:gd name="T22" fmla="*/ 2147483647 w 16"/>
                      <a:gd name="T23" fmla="*/ 2147483647 h 19"/>
                      <a:gd name="T24" fmla="*/ 2147483647 w 16"/>
                      <a:gd name="T25" fmla="*/ 2147483647 h 19"/>
                      <a:gd name="T26" fmla="*/ 2147483647 w 16"/>
                      <a:gd name="T27" fmla="*/ 2147483647 h 19"/>
                      <a:gd name="T28" fmla="*/ 2147483647 w 16"/>
                      <a:gd name="T29" fmla="*/ 0 h 19"/>
                      <a:gd name="T30" fmla="*/ 2147483647 w 16"/>
                      <a:gd name="T31" fmla="*/ 0 h 19"/>
                      <a:gd name="T32" fmla="*/ 2147483647 w 16"/>
                      <a:gd name="T33" fmla="*/ 0 h 19"/>
                      <a:gd name="T34" fmla="*/ 2147483647 w 16"/>
                      <a:gd name="T35" fmla="*/ 0 h 19"/>
                      <a:gd name="T36" fmla="*/ 2147483647 w 1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 h="19">
                        <a:moveTo>
                          <a:pt x="12" y="0"/>
                        </a:moveTo>
                        <a:lnTo>
                          <a:pt x="7" y="3"/>
                        </a:lnTo>
                        <a:lnTo>
                          <a:pt x="4" y="7"/>
                        </a:lnTo>
                        <a:lnTo>
                          <a:pt x="2" y="9"/>
                        </a:lnTo>
                        <a:lnTo>
                          <a:pt x="0" y="11"/>
                        </a:lnTo>
                        <a:lnTo>
                          <a:pt x="0" y="15"/>
                        </a:lnTo>
                        <a:lnTo>
                          <a:pt x="2" y="18"/>
                        </a:lnTo>
                        <a:lnTo>
                          <a:pt x="5" y="19"/>
                        </a:lnTo>
                        <a:lnTo>
                          <a:pt x="9" y="19"/>
                        </a:lnTo>
                        <a:lnTo>
                          <a:pt x="13" y="18"/>
                        </a:lnTo>
                        <a:lnTo>
                          <a:pt x="15" y="15"/>
                        </a:lnTo>
                        <a:lnTo>
                          <a:pt x="16" y="12"/>
                        </a:lnTo>
                        <a:lnTo>
                          <a:pt x="16" y="8"/>
                        </a:lnTo>
                        <a:lnTo>
                          <a:pt x="15" y="5"/>
                        </a:lnTo>
                        <a:lnTo>
                          <a:pt x="15" y="0"/>
                        </a:lnTo>
                        <a:lnTo>
                          <a:pt x="14" y="0"/>
                        </a:lnTo>
                        <a:lnTo>
                          <a:pt x="13" y="0"/>
                        </a:lnTo>
                        <a:lnTo>
                          <a:pt x="1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1" name="Freeform 2000">
                    <a:extLst>
                      <a:ext uri="{FF2B5EF4-FFF2-40B4-BE49-F238E27FC236}">
                        <a16:creationId xmlns:a16="http://schemas.microsoft.com/office/drawing/2014/main" xmlns="" id="{9E63088C-98AE-4526-ADA5-C4EBCF8879B7}"/>
                      </a:ext>
                    </a:extLst>
                  </p:cNvPr>
                  <p:cNvSpPr>
                    <a:spLocks/>
                  </p:cNvSpPr>
                  <p:nvPr/>
                </p:nvSpPr>
                <p:spPr bwMode="gray">
                  <a:xfrm>
                    <a:off x="5185330" y="4500171"/>
                    <a:ext cx="11125" cy="10012"/>
                  </a:xfrm>
                  <a:custGeom>
                    <a:avLst/>
                    <a:gdLst>
                      <a:gd name="T0" fmla="*/ 2147483647 w 10"/>
                      <a:gd name="T1" fmla="*/ 0 h 9"/>
                      <a:gd name="T2" fmla="*/ 2147483647 w 10"/>
                      <a:gd name="T3" fmla="*/ 2147483647 h 9"/>
                      <a:gd name="T4" fmla="*/ 0 w 10"/>
                      <a:gd name="T5" fmla="*/ 2147483647 h 9"/>
                      <a:gd name="T6" fmla="*/ 0 w 10"/>
                      <a:gd name="T7" fmla="*/ 2147483647 h 9"/>
                      <a:gd name="T8" fmla="*/ 0 w 10"/>
                      <a:gd name="T9" fmla="*/ 2147483647 h 9"/>
                      <a:gd name="T10" fmla="*/ 2147483647 w 10"/>
                      <a:gd name="T11" fmla="*/ 2147483647 h 9"/>
                      <a:gd name="T12" fmla="*/ 2147483647 w 10"/>
                      <a:gd name="T13" fmla="*/ 2147483647 h 9"/>
                      <a:gd name="T14" fmla="*/ 2147483647 w 10"/>
                      <a:gd name="T15" fmla="*/ 2147483647 h 9"/>
                      <a:gd name="T16" fmla="*/ 2147483647 w 10"/>
                      <a:gd name="T17" fmla="*/ 2147483647 h 9"/>
                      <a:gd name="T18" fmla="*/ 2147483647 w 10"/>
                      <a:gd name="T19" fmla="*/ 2147483647 h 9"/>
                      <a:gd name="T20" fmla="*/ 2147483647 w 10"/>
                      <a:gd name="T21" fmla="*/ 0 h 9"/>
                      <a:gd name="T22" fmla="*/ 2147483647 w 10"/>
                      <a:gd name="T23" fmla="*/ 0 h 9"/>
                      <a:gd name="T24" fmla="*/ 2147483647 w 10"/>
                      <a:gd name="T25" fmla="*/ 0 h 9"/>
                      <a:gd name="T26" fmla="*/ 2147483647 w 10"/>
                      <a:gd name="T27" fmla="*/ 0 h 9"/>
                      <a:gd name="T28" fmla="*/ 2147483647 w 10"/>
                      <a:gd name="T29" fmla="*/ 0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9">
                        <a:moveTo>
                          <a:pt x="4" y="0"/>
                        </a:moveTo>
                        <a:lnTo>
                          <a:pt x="1" y="2"/>
                        </a:lnTo>
                        <a:lnTo>
                          <a:pt x="0" y="4"/>
                        </a:lnTo>
                        <a:lnTo>
                          <a:pt x="0" y="5"/>
                        </a:lnTo>
                        <a:lnTo>
                          <a:pt x="0" y="6"/>
                        </a:lnTo>
                        <a:lnTo>
                          <a:pt x="4" y="8"/>
                        </a:lnTo>
                        <a:lnTo>
                          <a:pt x="10" y="9"/>
                        </a:lnTo>
                        <a:lnTo>
                          <a:pt x="8" y="5"/>
                        </a:lnTo>
                        <a:lnTo>
                          <a:pt x="7" y="4"/>
                        </a:lnTo>
                        <a:lnTo>
                          <a:pt x="7" y="2"/>
                        </a:lnTo>
                        <a:lnTo>
                          <a:pt x="7" y="0"/>
                        </a:lnTo>
                        <a:lnTo>
                          <a:pt x="6" y="0"/>
                        </a:lnTo>
                        <a:lnTo>
                          <a:pt x="5"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2" name="Freeform 2002">
                    <a:extLst>
                      <a:ext uri="{FF2B5EF4-FFF2-40B4-BE49-F238E27FC236}">
                        <a16:creationId xmlns:a16="http://schemas.microsoft.com/office/drawing/2014/main" xmlns="" id="{DD6D8737-46C0-495A-B49D-F0309245E3FF}"/>
                      </a:ext>
                    </a:extLst>
                  </p:cNvPr>
                  <p:cNvSpPr>
                    <a:spLocks/>
                  </p:cNvSpPr>
                  <p:nvPr/>
                </p:nvSpPr>
                <p:spPr bwMode="gray">
                  <a:xfrm>
                    <a:off x="5337747" y="4484596"/>
                    <a:ext cx="10013" cy="15575"/>
                  </a:xfrm>
                  <a:custGeom>
                    <a:avLst/>
                    <a:gdLst>
                      <a:gd name="T0" fmla="*/ 0 w 9"/>
                      <a:gd name="T1" fmla="*/ 0 h 14"/>
                      <a:gd name="T2" fmla="*/ 0 w 9"/>
                      <a:gd name="T3" fmla="*/ 2147483647 h 14"/>
                      <a:gd name="T4" fmla="*/ 2147483647 w 9"/>
                      <a:gd name="T5" fmla="*/ 2147483647 h 14"/>
                      <a:gd name="T6" fmla="*/ 2147483647 w 9"/>
                      <a:gd name="T7" fmla="*/ 2147483647 h 14"/>
                      <a:gd name="T8" fmla="*/ 2147483647 w 9"/>
                      <a:gd name="T9" fmla="*/ 2147483647 h 14"/>
                      <a:gd name="T10" fmla="*/ 2147483647 w 9"/>
                      <a:gd name="T11" fmla="*/ 2147483647 h 14"/>
                      <a:gd name="T12" fmla="*/ 2147483647 w 9"/>
                      <a:gd name="T13" fmla="*/ 2147483647 h 14"/>
                      <a:gd name="T14" fmla="*/ 2147483647 w 9"/>
                      <a:gd name="T15" fmla="*/ 2147483647 h 14"/>
                      <a:gd name="T16" fmla="*/ 2147483647 w 9"/>
                      <a:gd name="T17" fmla="*/ 2147483647 h 14"/>
                      <a:gd name="T18" fmla="*/ 2147483647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2147483647 w 9"/>
                      <a:gd name="T31" fmla="*/ 2147483647 h 14"/>
                      <a:gd name="T32" fmla="*/ 2147483647 w 9"/>
                      <a:gd name="T33" fmla="*/ 2147483647 h 14"/>
                      <a:gd name="T34" fmla="*/ 2147483647 w 9"/>
                      <a:gd name="T35" fmla="*/ 2147483647 h 14"/>
                      <a:gd name="T36" fmla="*/ 2147483647 w 9"/>
                      <a:gd name="T37" fmla="*/ 2147483647 h 14"/>
                      <a:gd name="T38" fmla="*/ 2147483647 w 9"/>
                      <a:gd name="T39" fmla="*/ 2147483647 h 14"/>
                      <a:gd name="T40" fmla="*/ 2147483647 w 9"/>
                      <a:gd name="T41" fmla="*/ 2147483647 h 14"/>
                      <a:gd name="T42" fmla="*/ 2147483647 w 9"/>
                      <a:gd name="T43" fmla="*/ 2147483647 h 14"/>
                      <a:gd name="T44" fmla="*/ 2147483647 w 9"/>
                      <a:gd name="T45" fmla="*/ 2147483647 h 14"/>
                      <a:gd name="T46" fmla="*/ 2147483647 w 9"/>
                      <a:gd name="T47" fmla="*/ 2147483647 h 14"/>
                      <a:gd name="T48" fmla="*/ 2147483647 w 9"/>
                      <a:gd name="T49" fmla="*/ 2147483647 h 14"/>
                      <a:gd name="T50" fmla="*/ 2147483647 w 9"/>
                      <a:gd name="T51" fmla="*/ 2147483647 h 14"/>
                      <a:gd name="T52" fmla="*/ 2147483647 w 9"/>
                      <a:gd name="T53" fmla="*/ 2147483647 h 14"/>
                      <a:gd name="T54" fmla="*/ 2147483647 w 9"/>
                      <a:gd name="T55" fmla="*/ 2147483647 h 14"/>
                      <a:gd name="T56" fmla="*/ 2147483647 w 9"/>
                      <a:gd name="T57" fmla="*/ 2147483647 h 14"/>
                      <a:gd name="T58" fmla="*/ 2147483647 w 9"/>
                      <a:gd name="T59" fmla="*/ 2147483647 h 14"/>
                      <a:gd name="T60" fmla="*/ 2147483647 w 9"/>
                      <a:gd name="T61" fmla="*/ 2147483647 h 14"/>
                      <a:gd name="T62" fmla="*/ 2147483647 w 9"/>
                      <a:gd name="T63" fmla="*/ 2147483647 h 14"/>
                      <a:gd name="T64" fmla="*/ 2147483647 w 9"/>
                      <a:gd name="T65" fmla="*/ 2147483647 h 14"/>
                      <a:gd name="T66" fmla="*/ 2147483647 w 9"/>
                      <a:gd name="T67" fmla="*/ 2147483647 h 14"/>
                      <a:gd name="T68" fmla="*/ 2147483647 w 9"/>
                      <a:gd name="T69" fmla="*/ 2147483647 h 14"/>
                      <a:gd name="T70" fmla="*/ 2147483647 w 9"/>
                      <a:gd name="T71" fmla="*/ 2147483647 h 14"/>
                      <a:gd name="T72" fmla="*/ 0 w 9"/>
                      <a:gd name="T73" fmla="*/ 0 h 1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 h="14">
                        <a:moveTo>
                          <a:pt x="0" y="0"/>
                        </a:moveTo>
                        <a:lnTo>
                          <a:pt x="0" y="3"/>
                        </a:lnTo>
                        <a:lnTo>
                          <a:pt x="2" y="5"/>
                        </a:lnTo>
                        <a:lnTo>
                          <a:pt x="3" y="6"/>
                        </a:lnTo>
                        <a:lnTo>
                          <a:pt x="3" y="7"/>
                        </a:lnTo>
                        <a:lnTo>
                          <a:pt x="3" y="9"/>
                        </a:lnTo>
                        <a:lnTo>
                          <a:pt x="3" y="10"/>
                        </a:lnTo>
                        <a:lnTo>
                          <a:pt x="5" y="10"/>
                        </a:lnTo>
                        <a:lnTo>
                          <a:pt x="6" y="10"/>
                        </a:lnTo>
                        <a:lnTo>
                          <a:pt x="5" y="10"/>
                        </a:lnTo>
                        <a:lnTo>
                          <a:pt x="5" y="11"/>
                        </a:lnTo>
                        <a:lnTo>
                          <a:pt x="5" y="12"/>
                        </a:lnTo>
                        <a:lnTo>
                          <a:pt x="6" y="14"/>
                        </a:lnTo>
                        <a:lnTo>
                          <a:pt x="6" y="13"/>
                        </a:lnTo>
                        <a:lnTo>
                          <a:pt x="6" y="12"/>
                        </a:lnTo>
                        <a:lnTo>
                          <a:pt x="6" y="11"/>
                        </a:lnTo>
                        <a:lnTo>
                          <a:pt x="6" y="10"/>
                        </a:lnTo>
                        <a:lnTo>
                          <a:pt x="7" y="10"/>
                        </a:lnTo>
                        <a:lnTo>
                          <a:pt x="9" y="10"/>
                        </a:lnTo>
                        <a:lnTo>
                          <a:pt x="6" y="7"/>
                        </a:lnTo>
                        <a:lnTo>
                          <a:pt x="6" y="5"/>
                        </a:lnTo>
                        <a:lnTo>
                          <a:pt x="6" y="4"/>
                        </a:lnTo>
                        <a:lnTo>
                          <a:pt x="5" y="4"/>
                        </a:lnTo>
                        <a:lnTo>
                          <a:pt x="4" y="4"/>
                        </a:lnTo>
                        <a:lnTo>
                          <a:pt x="3" y="4"/>
                        </a:lnTo>
                        <a:lnTo>
                          <a:pt x="3" y="3"/>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3" name="Freeform 2004">
                    <a:extLst>
                      <a:ext uri="{FF2B5EF4-FFF2-40B4-BE49-F238E27FC236}">
                        <a16:creationId xmlns:a16="http://schemas.microsoft.com/office/drawing/2014/main" xmlns="" id="{99EFB566-DD85-4998-9E97-88C4F0727AF6}"/>
                      </a:ext>
                    </a:extLst>
                  </p:cNvPr>
                  <p:cNvSpPr>
                    <a:spLocks/>
                  </p:cNvSpPr>
                  <p:nvPr/>
                </p:nvSpPr>
                <p:spPr bwMode="gray">
                  <a:xfrm>
                    <a:off x="5334408" y="4482372"/>
                    <a:ext cx="5563" cy="2225"/>
                  </a:xfrm>
                  <a:custGeom>
                    <a:avLst/>
                    <a:gdLst>
                      <a:gd name="T0" fmla="*/ 0 w 5"/>
                      <a:gd name="T1" fmla="*/ 0 h 2"/>
                      <a:gd name="T2" fmla="*/ 0 w 5"/>
                      <a:gd name="T3" fmla="*/ 0 h 2"/>
                      <a:gd name="T4" fmla="*/ 2147483647 w 5"/>
                      <a:gd name="T5" fmla="*/ 2147483647 h 2"/>
                      <a:gd name="T6" fmla="*/ 2147483647 w 5"/>
                      <a:gd name="T7" fmla="*/ 2147483647 h 2"/>
                      <a:gd name="T8" fmla="*/ 2147483647 w 5"/>
                      <a:gd name="T9" fmla="*/ 2147483647 h 2"/>
                      <a:gd name="T10" fmla="*/ 2147483647 w 5"/>
                      <a:gd name="T11" fmla="*/ 2147483647 h 2"/>
                      <a:gd name="T12" fmla="*/ 2147483647 w 5"/>
                      <a:gd name="T13" fmla="*/ 0 h 2"/>
                      <a:gd name="T14" fmla="*/ 2147483647 w 5"/>
                      <a:gd name="T15" fmla="*/ 0 h 2"/>
                      <a:gd name="T16" fmla="*/ 2147483647 w 5"/>
                      <a:gd name="T17" fmla="*/ 0 h 2"/>
                      <a:gd name="T18" fmla="*/ 2147483647 w 5"/>
                      <a:gd name="T19" fmla="*/ 0 h 2"/>
                      <a:gd name="T20" fmla="*/ 0 w 5"/>
                      <a:gd name="T21" fmla="*/ 0 h 2"/>
                      <a:gd name="T22" fmla="*/ 0 w 5"/>
                      <a:gd name="T23" fmla="*/ 0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 h="2">
                        <a:moveTo>
                          <a:pt x="0" y="0"/>
                        </a:moveTo>
                        <a:lnTo>
                          <a:pt x="0" y="0"/>
                        </a:lnTo>
                        <a:lnTo>
                          <a:pt x="1" y="1"/>
                        </a:lnTo>
                        <a:lnTo>
                          <a:pt x="2" y="2"/>
                        </a:lnTo>
                        <a:lnTo>
                          <a:pt x="4" y="2"/>
                        </a:lnTo>
                        <a:lnTo>
                          <a:pt x="5" y="1"/>
                        </a:lnTo>
                        <a:lnTo>
                          <a:pt x="4" y="0"/>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4" name="Freeform 2006">
                    <a:extLst>
                      <a:ext uri="{FF2B5EF4-FFF2-40B4-BE49-F238E27FC236}">
                        <a16:creationId xmlns:a16="http://schemas.microsoft.com/office/drawing/2014/main" xmlns="" id="{8131933F-12D6-4214-B108-3867502B6ED1}"/>
                      </a:ext>
                    </a:extLst>
                  </p:cNvPr>
                  <p:cNvSpPr>
                    <a:spLocks/>
                  </p:cNvSpPr>
                  <p:nvPr/>
                </p:nvSpPr>
                <p:spPr bwMode="gray">
                  <a:xfrm>
                    <a:off x="5229831" y="4479035"/>
                    <a:ext cx="3338" cy="5563"/>
                  </a:xfrm>
                  <a:custGeom>
                    <a:avLst/>
                    <a:gdLst>
                      <a:gd name="T0" fmla="*/ 0 w 3"/>
                      <a:gd name="T1" fmla="*/ 0 h 5"/>
                      <a:gd name="T2" fmla="*/ 0 w 3"/>
                      <a:gd name="T3" fmla="*/ 2147483647 h 5"/>
                      <a:gd name="T4" fmla="*/ 0 w 3"/>
                      <a:gd name="T5" fmla="*/ 2147483647 h 5"/>
                      <a:gd name="T6" fmla="*/ 0 w 3"/>
                      <a:gd name="T7" fmla="*/ 2147483647 h 5"/>
                      <a:gd name="T8" fmla="*/ 0 w 3"/>
                      <a:gd name="T9" fmla="*/ 2147483647 h 5"/>
                      <a:gd name="T10" fmla="*/ 2147483647 w 3"/>
                      <a:gd name="T11" fmla="*/ 2147483647 h 5"/>
                      <a:gd name="T12" fmla="*/ 2147483647 w 3"/>
                      <a:gd name="T13" fmla="*/ 2147483647 h 5"/>
                      <a:gd name="T14" fmla="*/ 2147483647 w 3"/>
                      <a:gd name="T15" fmla="*/ 2147483647 h 5"/>
                      <a:gd name="T16" fmla="*/ 2147483647 w 3"/>
                      <a:gd name="T17" fmla="*/ 0 h 5"/>
                      <a:gd name="T18" fmla="*/ 2147483647 w 3"/>
                      <a:gd name="T19" fmla="*/ 0 h 5"/>
                      <a:gd name="T20" fmla="*/ 2147483647 w 3"/>
                      <a:gd name="T21" fmla="*/ 0 h 5"/>
                      <a:gd name="T22" fmla="*/ 2147483647 w 3"/>
                      <a:gd name="T23" fmla="*/ 0 h 5"/>
                      <a:gd name="T24" fmla="*/ 0 w 3"/>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 h="5">
                        <a:moveTo>
                          <a:pt x="0" y="0"/>
                        </a:moveTo>
                        <a:lnTo>
                          <a:pt x="0" y="1"/>
                        </a:lnTo>
                        <a:lnTo>
                          <a:pt x="0" y="2"/>
                        </a:lnTo>
                        <a:lnTo>
                          <a:pt x="0" y="4"/>
                        </a:lnTo>
                        <a:lnTo>
                          <a:pt x="0" y="5"/>
                        </a:lnTo>
                        <a:lnTo>
                          <a:pt x="1" y="4"/>
                        </a:lnTo>
                        <a:lnTo>
                          <a:pt x="2" y="2"/>
                        </a:lnTo>
                        <a:lnTo>
                          <a:pt x="3" y="1"/>
                        </a:lnTo>
                        <a:lnTo>
                          <a:pt x="3" y="0"/>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5" name="Freeform 2008">
                    <a:extLst>
                      <a:ext uri="{FF2B5EF4-FFF2-40B4-BE49-F238E27FC236}">
                        <a16:creationId xmlns:a16="http://schemas.microsoft.com/office/drawing/2014/main" xmlns="" id="{EFD8D4E4-013E-4F62-952D-577036BB9ACA}"/>
                      </a:ext>
                    </a:extLst>
                  </p:cNvPr>
                  <p:cNvSpPr>
                    <a:spLocks/>
                  </p:cNvSpPr>
                  <p:nvPr/>
                </p:nvSpPr>
                <p:spPr bwMode="gray">
                  <a:xfrm>
                    <a:off x="5318833" y="4479035"/>
                    <a:ext cx="6675" cy="8899"/>
                  </a:xfrm>
                  <a:custGeom>
                    <a:avLst/>
                    <a:gdLst>
                      <a:gd name="T0" fmla="*/ 0 w 6"/>
                      <a:gd name="T1" fmla="*/ 0 h 8"/>
                      <a:gd name="T2" fmla="*/ 0 w 6"/>
                      <a:gd name="T3" fmla="*/ 0 h 8"/>
                      <a:gd name="T4" fmla="*/ 0 w 6"/>
                      <a:gd name="T5" fmla="*/ 2147483647 h 8"/>
                      <a:gd name="T6" fmla="*/ 0 w 6"/>
                      <a:gd name="T7" fmla="*/ 2147483647 h 8"/>
                      <a:gd name="T8" fmla="*/ 0 w 6"/>
                      <a:gd name="T9" fmla="*/ 2147483647 h 8"/>
                      <a:gd name="T10" fmla="*/ 0 w 6"/>
                      <a:gd name="T11" fmla="*/ 2147483647 h 8"/>
                      <a:gd name="T12" fmla="*/ 2147483647 w 6"/>
                      <a:gd name="T13" fmla="*/ 2147483647 h 8"/>
                      <a:gd name="T14" fmla="*/ 2147483647 w 6"/>
                      <a:gd name="T15" fmla="*/ 2147483647 h 8"/>
                      <a:gd name="T16" fmla="*/ 2147483647 w 6"/>
                      <a:gd name="T17" fmla="*/ 2147483647 h 8"/>
                      <a:gd name="T18" fmla="*/ 0 w 6"/>
                      <a:gd name="T19" fmla="*/ 2147483647 h 8"/>
                      <a:gd name="T20" fmla="*/ 2147483647 w 6"/>
                      <a:gd name="T21" fmla="*/ 2147483647 h 8"/>
                      <a:gd name="T22" fmla="*/ 2147483647 w 6"/>
                      <a:gd name="T23" fmla="*/ 2147483647 h 8"/>
                      <a:gd name="T24" fmla="*/ 2147483647 w 6"/>
                      <a:gd name="T25" fmla="*/ 2147483647 h 8"/>
                      <a:gd name="T26" fmla="*/ 2147483647 w 6"/>
                      <a:gd name="T27" fmla="*/ 2147483647 h 8"/>
                      <a:gd name="T28" fmla="*/ 2147483647 w 6"/>
                      <a:gd name="T29" fmla="*/ 2147483647 h 8"/>
                      <a:gd name="T30" fmla="*/ 2147483647 w 6"/>
                      <a:gd name="T31" fmla="*/ 2147483647 h 8"/>
                      <a:gd name="T32" fmla="*/ 2147483647 w 6"/>
                      <a:gd name="T33" fmla="*/ 2147483647 h 8"/>
                      <a:gd name="T34" fmla="*/ 2147483647 w 6"/>
                      <a:gd name="T35" fmla="*/ 2147483647 h 8"/>
                      <a:gd name="T36" fmla="*/ 2147483647 w 6"/>
                      <a:gd name="T37" fmla="*/ 2147483647 h 8"/>
                      <a:gd name="T38" fmla="*/ 2147483647 w 6"/>
                      <a:gd name="T39" fmla="*/ 0 h 8"/>
                      <a:gd name="T40" fmla="*/ 2147483647 w 6"/>
                      <a:gd name="T41" fmla="*/ 0 h 8"/>
                      <a:gd name="T42" fmla="*/ 2147483647 w 6"/>
                      <a:gd name="T43" fmla="*/ 0 h 8"/>
                      <a:gd name="T44" fmla="*/ 2147483647 w 6"/>
                      <a:gd name="T45" fmla="*/ 0 h 8"/>
                      <a:gd name="T46" fmla="*/ 0 w 6"/>
                      <a:gd name="T47" fmla="*/ 0 h 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 h="8">
                        <a:moveTo>
                          <a:pt x="0" y="0"/>
                        </a:moveTo>
                        <a:lnTo>
                          <a:pt x="0" y="0"/>
                        </a:lnTo>
                        <a:lnTo>
                          <a:pt x="0" y="1"/>
                        </a:lnTo>
                        <a:lnTo>
                          <a:pt x="0" y="2"/>
                        </a:lnTo>
                        <a:lnTo>
                          <a:pt x="0" y="3"/>
                        </a:lnTo>
                        <a:lnTo>
                          <a:pt x="2" y="3"/>
                        </a:lnTo>
                        <a:lnTo>
                          <a:pt x="1" y="4"/>
                        </a:lnTo>
                        <a:lnTo>
                          <a:pt x="1" y="5"/>
                        </a:lnTo>
                        <a:lnTo>
                          <a:pt x="0" y="5"/>
                        </a:lnTo>
                        <a:lnTo>
                          <a:pt x="3" y="7"/>
                        </a:lnTo>
                        <a:lnTo>
                          <a:pt x="4" y="8"/>
                        </a:lnTo>
                        <a:lnTo>
                          <a:pt x="5" y="7"/>
                        </a:lnTo>
                        <a:lnTo>
                          <a:pt x="5" y="6"/>
                        </a:lnTo>
                        <a:lnTo>
                          <a:pt x="4" y="4"/>
                        </a:lnTo>
                        <a:lnTo>
                          <a:pt x="4" y="3"/>
                        </a:lnTo>
                        <a:lnTo>
                          <a:pt x="4" y="1"/>
                        </a:lnTo>
                        <a:lnTo>
                          <a:pt x="6" y="0"/>
                        </a:lnTo>
                        <a:lnTo>
                          <a:pt x="4"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6" name="Freeform 2010">
                    <a:extLst>
                      <a:ext uri="{FF2B5EF4-FFF2-40B4-BE49-F238E27FC236}">
                        <a16:creationId xmlns:a16="http://schemas.microsoft.com/office/drawing/2014/main" xmlns="" id="{2CEF8FAC-18FE-48BF-A0A8-4F3C92080BEB}"/>
                      </a:ext>
                    </a:extLst>
                  </p:cNvPr>
                  <p:cNvSpPr>
                    <a:spLocks/>
                  </p:cNvSpPr>
                  <p:nvPr/>
                </p:nvSpPr>
                <p:spPr bwMode="gray">
                  <a:xfrm>
                    <a:off x="5358884" y="4474585"/>
                    <a:ext cx="3338" cy="4450"/>
                  </a:xfrm>
                  <a:custGeom>
                    <a:avLst/>
                    <a:gdLst>
                      <a:gd name="T0" fmla="*/ 0 w 3"/>
                      <a:gd name="T1" fmla="*/ 0 h 4"/>
                      <a:gd name="T2" fmla="*/ 0 w 3"/>
                      <a:gd name="T3" fmla="*/ 2147483647 h 4"/>
                      <a:gd name="T4" fmla="*/ 2147483647 w 3"/>
                      <a:gd name="T5" fmla="*/ 2147483647 h 4"/>
                      <a:gd name="T6" fmla="*/ 2147483647 w 3"/>
                      <a:gd name="T7" fmla="*/ 2147483647 h 4"/>
                      <a:gd name="T8" fmla="*/ 2147483647 w 3"/>
                      <a:gd name="T9" fmla="*/ 2147483647 h 4"/>
                      <a:gd name="T10" fmla="*/ 2147483647 w 3"/>
                      <a:gd name="T11" fmla="*/ 0 h 4"/>
                      <a:gd name="T12" fmla="*/ 2147483647 w 3"/>
                      <a:gd name="T13" fmla="*/ 0 h 4"/>
                      <a:gd name="T14" fmla="*/ 2147483647 w 3"/>
                      <a:gd name="T15" fmla="*/ 0 h 4"/>
                      <a:gd name="T16" fmla="*/ 2147483647 w 3"/>
                      <a:gd name="T17" fmla="*/ 0 h 4"/>
                      <a:gd name="T18" fmla="*/ 0 w 3"/>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4">
                        <a:moveTo>
                          <a:pt x="0" y="0"/>
                        </a:moveTo>
                        <a:lnTo>
                          <a:pt x="0" y="4"/>
                        </a:lnTo>
                        <a:lnTo>
                          <a:pt x="2" y="4"/>
                        </a:lnTo>
                        <a:lnTo>
                          <a:pt x="3" y="3"/>
                        </a:lnTo>
                        <a:lnTo>
                          <a:pt x="3" y="2"/>
                        </a:lnTo>
                        <a:lnTo>
                          <a:pt x="3" y="0"/>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7" name="Freeform 2012">
                    <a:extLst>
                      <a:ext uri="{FF2B5EF4-FFF2-40B4-BE49-F238E27FC236}">
                        <a16:creationId xmlns:a16="http://schemas.microsoft.com/office/drawing/2014/main" xmlns="" id="{94D04BB0-0C69-48AE-9B08-5590602BA9C5}"/>
                      </a:ext>
                    </a:extLst>
                  </p:cNvPr>
                  <p:cNvSpPr>
                    <a:spLocks/>
                  </p:cNvSpPr>
                  <p:nvPr/>
                </p:nvSpPr>
                <p:spPr bwMode="gray">
                  <a:xfrm>
                    <a:off x="5178656" y="4474585"/>
                    <a:ext cx="7787" cy="17799"/>
                  </a:xfrm>
                  <a:custGeom>
                    <a:avLst/>
                    <a:gdLst>
                      <a:gd name="T0" fmla="*/ 0 w 7"/>
                      <a:gd name="T1" fmla="*/ 0 h 16"/>
                      <a:gd name="T2" fmla="*/ 0 w 7"/>
                      <a:gd name="T3" fmla="*/ 2147483647 h 16"/>
                      <a:gd name="T4" fmla="*/ 0 w 7"/>
                      <a:gd name="T5" fmla="*/ 2147483647 h 16"/>
                      <a:gd name="T6" fmla="*/ 0 w 7"/>
                      <a:gd name="T7" fmla="*/ 2147483647 h 16"/>
                      <a:gd name="T8" fmla="*/ 2147483647 w 7"/>
                      <a:gd name="T9" fmla="*/ 2147483647 h 16"/>
                      <a:gd name="T10" fmla="*/ 2147483647 w 7"/>
                      <a:gd name="T11" fmla="*/ 2147483647 h 16"/>
                      <a:gd name="T12" fmla="*/ 2147483647 w 7"/>
                      <a:gd name="T13" fmla="*/ 2147483647 h 16"/>
                      <a:gd name="T14" fmla="*/ 2147483647 w 7"/>
                      <a:gd name="T15" fmla="*/ 2147483647 h 16"/>
                      <a:gd name="T16" fmla="*/ 2147483647 w 7"/>
                      <a:gd name="T17" fmla="*/ 2147483647 h 16"/>
                      <a:gd name="T18" fmla="*/ 2147483647 w 7"/>
                      <a:gd name="T19" fmla="*/ 2147483647 h 16"/>
                      <a:gd name="T20" fmla="*/ 2147483647 w 7"/>
                      <a:gd name="T21" fmla="*/ 2147483647 h 16"/>
                      <a:gd name="T22" fmla="*/ 2147483647 w 7"/>
                      <a:gd name="T23" fmla="*/ 0 h 16"/>
                      <a:gd name="T24" fmla="*/ 2147483647 w 7"/>
                      <a:gd name="T25" fmla="*/ 2147483647 h 16"/>
                      <a:gd name="T26" fmla="*/ 2147483647 w 7"/>
                      <a:gd name="T27" fmla="*/ 2147483647 h 16"/>
                      <a:gd name="T28" fmla="*/ 2147483647 w 7"/>
                      <a:gd name="T29" fmla="*/ 2147483647 h 16"/>
                      <a:gd name="T30" fmla="*/ 0 w 7"/>
                      <a:gd name="T31" fmla="*/ 0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 h="16">
                        <a:moveTo>
                          <a:pt x="0" y="0"/>
                        </a:moveTo>
                        <a:lnTo>
                          <a:pt x="0" y="3"/>
                        </a:lnTo>
                        <a:lnTo>
                          <a:pt x="0" y="6"/>
                        </a:lnTo>
                        <a:lnTo>
                          <a:pt x="0" y="16"/>
                        </a:lnTo>
                        <a:lnTo>
                          <a:pt x="2" y="14"/>
                        </a:lnTo>
                        <a:lnTo>
                          <a:pt x="4" y="13"/>
                        </a:lnTo>
                        <a:lnTo>
                          <a:pt x="5" y="11"/>
                        </a:lnTo>
                        <a:lnTo>
                          <a:pt x="7" y="9"/>
                        </a:lnTo>
                        <a:lnTo>
                          <a:pt x="7" y="6"/>
                        </a:lnTo>
                        <a:lnTo>
                          <a:pt x="7" y="4"/>
                        </a:lnTo>
                        <a:lnTo>
                          <a:pt x="7" y="0"/>
                        </a:lnTo>
                        <a:lnTo>
                          <a:pt x="5" y="1"/>
                        </a:lnTo>
                        <a:lnTo>
                          <a:pt x="4" y="1"/>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8" name="Freeform 2014">
                    <a:extLst>
                      <a:ext uri="{FF2B5EF4-FFF2-40B4-BE49-F238E27FC236}">
                        <a16:creationId xmlns:a16="http://schemas.microsoft.com/office/drawing/2014/main" xmlns="" id="{BD461169-D4A7-4D2A-A17E-D9F50176A33F}"/>
                      </a:ext>
                    </a:extLst>
                  </p:cNvPr>
                  <p:cNvSpPr>
                    <a:spLocks/>
                  </p:cNvSpPr>
                  <p:nvPr/>
                </p:nvSpPr>
                <p:spPr bwMode="gray">
                  <a:xfrm>
                    <a:off x="5212031" y="4474585"/>
                    <a:ext cx="7787" cy="10012"/>
                  </a:xfrm>
                  <a:custGeom>
                    <a:avLst/>
                    <a:gdLst>
                      <a:gd name="T0" fmla="*/ 0 w 7"/>
                      <a:gd name="T1" fmla="*/ 0 h 9"/>
                      <a:gd name="T2" fmla="*/ 0 w 7"/>
                      <a:gd name="T3" fmla="*/ 2147483647 h 9"/>
                      <a:gd name="T4" fmla="*/ 0 w 7"/>
                      <a:gd name="T5" fmla="*/ 2147483647 h 9"/>
                      <a:gd name="T6" fmla="*/ 0 w 7"/>
                      <a:gd name="T7" fmla="*/ 2147483647 h 9"/>
                      <a:gd name="T8" fmla="*/ 0 w 7"/>
                      <a:gd name="T9" fmla="*/ 2147483647 h 9"/>
                      <a:gd name="T10" fmla="*/ 0 w 7"/>
                      <a:gd name="T11" fmla="*/ 2147483647 h 9"/>
                      <a:gd name="T12" fmla="*/ 0 w 7"/>
                      <a:gd name="T13" fmla="*/ 2147483647 h 9"/>
                      <a:gd name="T14" fmla="*/ 0 w 7"/>
                      <a:gd name="T15" fmla="*/ 2147483647 h 9"/>
                      <a:gd name="T16" fmla="*/ 0 w 7"/>
                      <a:gd name="T17" fmla="*/ 2147483647 h 9"/>
                      <a:gd name="T18" fmla="*/ 2147483647 w 7"/>
                      <a:gd name="T19" fmla="*/ 2147483647 h 9"/>
                      <a:gd name="T20" fmla="*/ 2147483647 w 7"/>
                      <a:gd name="T21" fmla="*/ 2147483647 h 9"/>
                      <a:gd name="T22" fmla="*/ 2147483647 w 7"/>
                      <a:gd name="T23" fmla="*/ 2147483647 h 9"/>
                      <a:gd name="T24" fmla="*/ 2147483647 w 7"/>
                      <a:gd name="T25" fmla="*/ 2147483647 h 9"/>
                      <a:gd name="T26" fmla="*/ 2147483647 w 7"/>
                      <a:gd name="T27" fmla="*/ 2147483647 h 9"/>
                      <a:gd name="T28" fmla="*/ 2147483647 w 7"/>
                      <a:gd name="T29" fmla="*/ 2147483647 h 9"/>
                      <a:gd name="T30" fmla="*/ 2147483647 w 7"/>
                      <a:gd name="T31" fmla="*/ 2147483647 h 9"/>
                      <a:gd name="T32" fmla="*/ 2147483647 w 7"/>
                      <a:gd name="T33" fmla="*/ 0 h 9"/>
                      <a:gd name="T34" fmla="*/ 2147483647 w 7"/>
                      <a:gd name="T35" fmla="*/ 0 h 9"/>
                      <a:gd name="T36" fmla="*/ 2147483647 w 7"/>
                      <a:gd name="T37" fmla="*/ 0 h 9"/>
                      <a:gd name="T38" fmla="*/ 2147483647 w 7"/>
                      <a:gd name="T39" fmla="*/ 0 h 9"/>
                      <a:gd name="T40" fmla="*/ 0 w 7"/>
                      <a:gd name="T41" fmla="*/ 0 h 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 h="9">
                        <a:moveTo>
                          <a:pt x="0" y="0"/>
                        </a:moveTo>
                        <a:lnTo>
                          <a:pt x="0" y="1"/>
                        </a:lnTo>
                        <a:lnTo>
                          <a:pt x="0" y="2"/>
                        </a:lnTo>
                        <a:lnTo>
                          <a:pt x="0" y="3"/>
                        </a:lnTo>
                        <a:lnTo>
                          <a:pt x="0" y="5"/>
                        </a:lnTo>
                        <a:lnTo>
                          <a:pt x="0" y="6"/>
                        </a:lnTo>
                        <a:lnTo>
                          <a:pt x="0" y="7"/>
                        </a:lnTo>
                        <a:lnTo>
                          <a:pt x="0" y="9"/>
                        </a:lnTo>
                        <a:lnTo>
                          <a:pt x="2" y="9"/>
                        </a:lnTo>
                        <a:lnTo>
                          <a:pt x="3" y="9"/>
                        </a:lnTo>
                        <a:lnTo>
                          <a:pt x="4" y="9"/>
                        </a:lnTo>
                        <a:lnTo>
                          <a:pt x="5" y="9"/>
                        </a:lnTo>
                        <a:lnTo>
                          <a:pt x="7" y="8"/>
                        </a:lnTo>
                        <a:lnTo>
                          <a:pt x="7" y="4"/>
                        </a:lnTo>
                        <a:lnTo>
                          <a:pt x="6" y="2"/>
                        </a:lnTo>
                        <a:lnTo>
                          <a:pt x="5" y="0"/>
                        </a:lnTo>
                        <a:lnTo>
                          <a:pt x="4" y="0"/>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09" name="Freeform 2016">
                    <a:extLst>
                      <a:ext uri="{FF2B5EF4-FFF2-40B4-BE49-F238E27FC236}">
                        <a16:creationId xmlns:a16="http://schemas.microsoft.com/office/drawing/2014/main" xmlns="" id="{0A2D4143-DE9F-4B2F-90AB-1993A9ED19E4}"/>
                      </a:ext>
                    </a:extLst>
                  </p:cNvPr>
                  <p:cNvSpPr>
                    <a:spLocks/>
                  </p:cNvSpPr>
                  <p:nvPr/>
                </p:nvSpPr>
                <p:spPr bwMode="gray">
                  <a:xfrm>
                    <a:off x="5334408" y="4474585"/>
                    <a:ext cx="3338" cy="4450"/>
                  </a:xfrm>
                  <a:custGeom>
                    <a:avLst/>
                    <a:gdLst>
                      <a:gd name="T0" fmla="*/ 0 w 3"/>
                      <a:gd name="T1" fmla="*/ 0 h 4"/>
                      <a:gd name="T2" fmla="*/ 2147483647 w 3"/>
                      <a:gd name="T3" fmla="*/ 2147483647 h 4"/>
                      <a:gd name="T4" fmla="*/ 2147483647 w 3"/>
                      <a:gd name="T5" fmla="*/ 2147483647 h 4"/>
                      <a:gd name="T6" fmla="*/ 2147483647 w 3"/>
                      <a:gd name="T7" fmla="*/ 2147483647 h 4"/>
                      <a:gd name="T8" fmla="*/ 2147483647 w 3"/>
                      <a:gd name="T9" fmla="*/ 2147483647 h 4"/>
                      <a:gd name="T10" fmla="*/ 2147483647 w 3"/>
                      <a:gd name="T11" fmla="*/ 0 h 4"/>
                      <a:gd name="T12" fmla="*/ 2147483647 w 3"/>
                      <a:gd name="T13" fmla="*/ 0 h 4"/>
                      <a:gd name="T14" fmla="*/ 2147483647 w 3"/>
                      <a:gd name="T15" fmla="*/ 0 h 4"/>
                      <a:gd name="T16" fmla="*/ 0 w 3"/>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4">
                        <a:moveTo>
                          <a:pt x="0" y="0"/>
                        </a:moveTo>
                        <a:lnTo>
                          <a:pt x="2" y="4"/>
                        </a:lnTo>
                        <a:lnTo>
                          <a:pt x="3" y="3"/>
                        </a:lnTo>
                        <a:lnTo>
                          <a:pt x="3" y="2"/>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0" name="Freeform 2018">
                    <a:extLst>
                      <a:ext uri="{FF2B5EF4-FFF2-40B4-BE49-F238E27FC236}">
                        <a16:creationId xmlns:a16="http://schemas.microsoft.com/office/drawing/2014/main" xmlns="" id="{7CE93F21-AF5A-4C60-B20E-C32B8F4199B3}"/>
                      </a:ext>
                    </a:extLst>
                  </p:cNvPr>
                  <p:cNvSpPr>
                    <a:spLocks/>
                  </p:cNvSpPr>
                  <p:nvPr/>
                </p:nvSpPr>
                <p:spPr bwMode="gray">
                  <a:xfrm>
                    <a:off x="5236507" y="4473473"/>
                    <a:ext cx="12237" cy="8899"/>
                  </a:xfrm>
                  <a:custGeom>
                    <a:avLst/>
                    <a:gdLst>
                      <a:gd name="T0" fmla="*/ 2147483647 w 11"/>
                      <a:gd name="T1" fmla="*/ 2147483647 h 8"/>
                      <a:gd name="T2" fmla="*/ 2147483647 w 11"/>
                      <a:gd name="T3" fmla="*/ 2147483647 h 8"/>
                      <a:gd name="T4" fmla="*/ 2147483647 w 11"/>
                      <a:gd name="T5" fmla="*/ 2147483647 h 8"/>
                      <a:gd name="T6" fmla="*/ 2147483647 w 11"/>
                      <a:gd name="T7" fmla="*/ 2147483647 h 8"/>
                      <a:gd name="T8" fmla="*/ 0 w 11"/>
                      <a:gd name="T9" fmla="*/ 2147483647 h 8"/>
                      <a:gd name="T10" fmla="*/ 2147483647 w 11"/>
                      <a:gd name="T11" fmla="*/ 2147483647 h 8"/>
                      <a:gd name="T12" fmla="*/ 2147483647 w 11"/>
                      <a:gd name="T13" fmla="*/ 2147483647 h 8"/>
                      <a:gd name="T14" fmla="*/ 2147483647 w 11"/>
                      <a:gd name="T15" fmla="*/ 2147483647 h 8"/>
                      <a:gd name="T16" fmla="*/ 2147483647 w 11"/>
                      <a:gd name="T17" fmla="*/ 2147483647 h 8"/>
                      <a:gd name="T18" fmla="*/ 2147483647 w 11"/>
                      <a:gd name="T19" fmla="*/ 2147483647 h 8"/>
                      <a:gd name="T20" fmla="*/ 2147483647 w 11"/>
                      <a:gd name="T21" fmla="*/ 2147483647 h 8"/>
                      <a:gd name="T22" fmla="*/ 2147483647 w 11"/>
                      <a:gd name="T23" fmla="*/ 2147483647 h 8"/>
                      <a:gd name="T24" fmla="*/ 2147483647 w 11"/>
                      <a:gd name="T25" fmla="*/ 2147483647 h 8"/>
                      <a:gd name="T26" fmla="*/ 2147483647 w 11"/>
                      <a:gd name="T27" fmla="*/ 2147483647 h 8"/>
                      <a:gd name="T28" fmla="*/ 2147483647 w 11"/>
                      <a:gd name="T29" fmla="*/ 2147483647 h 8"/>
                      <a:gd name="T30" fmla="*/ 2147483647 w 11"/>
                      <a:gd name="T31" fmla="*/ 2147483647 h 8"/>
                      <a:gd name="T32" fmla="*/ 2147483647 w 11"/>
                      <a:gd name="T33" fmla="*/ 2147483647 h 8"/>
                      <a:gd name="T34" fmla="*/ 2147483647 w 11"/>
                      <a:gd name="T35" fmla="*/ 2147483647 h 8"/>
                      <a:gd name="T36" fmla="*/ 2147483647 w 11"/>
                      <a:gd name="T37" fmla="*/ 2147483647 h 8"/>
                      <a:gd name="T38" fmla="*/ 2147483647 w 11"/>
                      <a:gd name="T39" fmla="*/ 0 h 8"/>
                      <a:gd name="T40" fmla="*/ 2147483647 w 11"/>
                      <a:gd name="T41" fmla="*/ 2147483647 h 8"/>
                      <a:gd name="T42" fmla="*/ 2147483647 w 11"/>
                      <a:gd name="T43" fmla="*/ 2147483647 h 8"/>
                      <a:gd name="T44" fmla="*/ 2147483647 w 11"/>
                      <a:gd name="T45" fmla="*/ 2147483647 h 8"/>
                      <a:gd name="T46" fmla="*/ 2147483647 w 11"/>
                      <a:gd name="T47" fmla="*/ 2147483647 h 8"/>
                      <a:gd name="T48" fmla="*/ 2147483647 w 11"/>
                      <a:gd name="T49" fmla="*/ 2147483647 h 8"/>
                      <a:gd name="T50" fmla="*/ 2147483647 w 11"/>
                      <a:gd name="T51" fmla="*/ 2147483647 h 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 h="8">
                        <a:moveTo>
                          <a:pt x="2" y="1"/>
                        </a:moveTo>
                        <a:lnTo>
                          <a:pt x="2" y="1"/>
                        </a:lnTo>
                        <a:lnTo>
                          <a:pt x="1" y="1"/>
                        </a:lnTo>
                        <a:lnTo>
                          <a:pt x="0" y="1"/>
                        </a:lnTo>
                        <a:lnTo>
                          <a:pt x="1" y="5"/>
                        </a:lnTo>
                        <a:lnTo>
                          <a:pt x="2" y="6"/>
                        </a:lnTo>
                        <a:lnTo>
                          <a:pt x="4" y="6"/>
                        </a:lnTo>
                        <a:lnTo>
                          <a:pt x="6" y="7"/>
                        </a:lnTo>
                        <a:lnTo>
                          <a:pt x="9" y="8"/>
                        </a:lnTo>
                        <a:lnTo>
                          <a:pt x="9" y="7"/>
                        </a:lnTo>
                        <a:lnTo>
                          <a:pt x="9" y="6"/>
                        </a:lnTo>
                        <a:lnTo>
                          <a:pt x="9" y="5"/>
                        </a:lnTo>
                        <a:lnTo>
                          <a:pt x="11" y="5"/>
                        </a:lnTo>
                        <a:lnTo>
                          <a:pt x="10" y="5"/>
                        </a:lnTo>
                        <a:lnTo>
                          <a:pt x="9" y="5"/>
                        </a:lnTo>
                        <a:lnTo>
                          <a:pt x="8" y="1"/>
                        </a:lnTo>
                        <a:lnTo>
                          <a:pt x="6" y="0"/>
                        </a:lnTo>
                        <a:lnTo>
                          <a:pt x="4" y="1"/>
                        </a:lnTo>
                        <a:lnTo>
                          <a:pt x="2" y="1"/>
                        </a:lnTo>
                        <a:lnTo>
                          <a:pt x="3" y="1"/>
                        </a:lnTo>
                        <a:lnTo>
                          <a:pt x="2"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1" name="Freeform 2020">
                    <a:extLst>
                      <a:ext uri="{FF2B5EF4-FFF2-40B4-BE49-F238E27FC236}">
                        <a16:creationId xmlns:a16="http://schemas.microsoft.com/office/drawing/2014/main" xmlns="" id="{A4A87EA2-B944-4DCA-B60C-5CA8C228673A}"/>
                      </a:ext>
                    </a:extLst>
                  </p:cNvPr>
                  <p:cNvSpPr>
                    <a:spLocks/>
                  </p:cNvSpPr>
                  <p:nvPr/>
                </p:nvSpPr>
                <p:spPr bwMode="gray">
                  <a:xfrm>
                    <a:off x="5196456" y="4463460"/>
                    <a:ext cx="7787" cy="7787"/>
                  </a:xfrm>
                  <a:custGeom>
                    <a:avLst/>
                    <a:gdLst>
                      <a:gd name="T0" fmla="*/ 2147483647 w 7"/>
                      <a:gd name="T1" fmla="*/ 0 h 7"/>
                      <a:gd name="T2" fmla="*/ 0 w 7"/>
                      <a:gd name="T3" fmla="*/ 2147483647 h 7"/>
                      <a:gd name="T4" fmla="*/ 0 w 7"/>
                      <a:gd name="T5" fmla="*/ 2147483647 h 7"/>
                      <a:gd name="T6" fmla="*/ 2147483647 w 7"/>
                      <a:gd name="T7" fmla="*/ 2147483647 h 7"/>
                      <a:gd name="T8" fmla="*/ 2147483647 w 7"/>
                      <a:gd name="T9" fmla="*/ 2147483647 h 7"/>
                      <a:gd name="T10" fmla="*/ 2147483647 w 7"/>
                      <a:gd name="T11" fmla="*/ 2147483647 h 7"/>
                      <a:gd name="T12" fmla="*/ 2147483647 w 7"/>
                      <a:gd name="T13" fmla="*/ 2147483647 h 7"/>
                      <a:gd name="T14" fmla="*/ 2147483647 w 7"/>
                      <a:gd name="T15" fmla="*/ 2147483647 h 7"/>
                      <a:gd name="T16" fmla="*/ 2147483647 w 7"/>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7">
                        <a:moveTo>
                          <a:pt x="5" y="0"/>
                        </a:moveTo>
                        <a:lnTo>
                          <a:pt x="0" y="1"/>
                        </a:lnTo>
                        <a:lnTo>
                          <a:pt x="0" y="4"/>
                        </a:lnTo>
                        <a:lnTo>
                          <a:pt x="1" y="6"/>
                        </a:lnTo>
                        <a:lnTo>
                          <a:pt x="5" y="7"/>
                        </a:lnTo>
                        <a:lnTo>
                          <a:pt x="6" y="4"/>
                        </a:lnTo>
                        <a:lnTo>
                          <a:pt x="7" y="2"/>
                        </a:lnTo>
                        <a:lnTo>
                          <a:pt x="6" y="1"/>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2" name="Freeform 1623">
                    <a:extLst>
                      <a:ext uri="{FF2B5EF4-FFF2-40B4-BE49-F238E27FC236}">
                        <a16:creationId xmlns:a16="http://schemas.microsoft.com/office/drawing/2014/main" xmlns="" id="{3587A066-D8D8-4529-8262-71DDB22C6C9C}"/>
                      </a:ext>
                    </a:extLst>
                  </p:cNvPr>
                  <p:cNvSpPr>
                    <a:spLocks/>
                  </p:cNvSpPr>
                  <p:nvPr/>
                </p:nvSpPr>
                <p:spPr bwMode="gray">
                  <a:xfrm>
                    <a:off x="4687888" y="3552618"/>
                    <a:ext cx="382691" cy="248097"/>
                  </a:xfrm>
                  <a:custGeom>
                    <a:avLst/>
                    <a:gdLst>
                      <a:gd name="T0" fmla="*/ 2147483647 w 344"/>
                      <a:gd name="T1" fmla="*/ 2147483647 h 223"/>
                      <a:gd name="T2" fmla="*/ 2147483647 w 344"/>
                      <a:gd name="T3" fmla="*/ 2147483647 h 223"/>
                      <a:gd name="T4" fmla="*/ 2147483647 w 344"/>
                      <a:gd name="T5" fmla="*/ 2147483647 h 223"/>
                      <a:gd name="T6" fmla="*/ 2147483647 w 344"/>
                      <a:gd name="T7" fmla="*/ 2147483647 h 223"/>
                      <a:gd name="T8" fmla="*/ 2147483647 w 344"/>
                      <a:gd name="T9" fmla="*/ 2147483647 h 223"/>
                      <a:gd name="T10" fmla="*/ 2147483647 w 344"/>
                      <a:gd name="T11" fmla="*/ 2147483647 h 223"/>
                      <a:gd name="T12" fmla="*/ 2147483647 w 344"/>
                      <a:gd name="T13" fmla="*/ 2147483647 h 223"/>
                      <a:gd name="T14" fmla="*/ 2147483647 w 344"/>
                      <a:gd name="T15" fmla="*/ 2147483647 h 223"/>
                      <a:gd name="T16" fmla="*/ 2147483647 w 344"/>
                      <a:gd name="T17" fmla="*/ 2147483647 h 223"/>
                      <a:gd name="T18" fmla="*/ 2147483647 w 344"/>
                      <a:gd name="T19" fmla="*/ 2147483647 h 223"/>
                      <a:gd name="T20" fmla="*/ 2147483647 w 344"/>
                      <a:gd name="T21" fmla="*/ 2147483647 h 223"/>
                      <a:gd name="T22" fmla="*/ 2147483647 w 344"/>
                      <a:gd name="T23" fmla="*/ 2147483647 h 223"/>
                      <a:gd name="T24" fmla="*/ 2147483647 w 344"/>
                      <a:gd name="T25" fmla="*/ 2147483647 h 223"/>
                      <a:gd name="T26" fmla="*/ 2147483647 w 344"/>
                      <a:gd name="T27" fmla="*/ 2147483647 h 223"/>
                      <a:gd name="T28" fmla="*/ 2147483647 w 344"/>
                      <a:gd name="T29" fmla="*/ 2147483647 h 223"/>
                      <a:gd name="T30" fmla="*/ 2147483647 w 344"/>
                      <a:gd name="T31" fmla="*/ 2147483647 h 223"/>
                      <a:gd name="T32" fmla="*/ 2147483647 w 344"/>
                      <a:gd name="T33" fmla="*/ 2147483647 h 223"/>
                      <a:gd name="T34" fmla="*/ 2147483647 w 344"/>
                      <a:gd name="T35" fmla="*/ 2147483647 h 223"/>
                      <a:gd name="T36" fmla="*/ 2147483647 w 344"/>
                      <a:gd name="T37" fmla="*/ 2147483647 h 223"/>
                      <a:gd name="T38" fmla="*/ 2147483647 w 344"/>
                      <a:gd name="T39" fmla="*/ 2147483647 h 223"/>
                      <a:gd name="T40" fmla="*/ 2147483647 w 344"/>
                      <a:gd name="T41" fmla="*/ 2147483647 h 223"/>
                      <a:gd name="T42" fmla="*/ 2147483647 w 344"/>
                      <a:gd name="T43" fmla="*/ 2147483647 h 223"/>
                      <a:gd name="T44" fmla="*/ 2147483647 w 344"/>
                      <a:gd name="T45" fmla="*/ 2147483647 h 223"/>
                      <a:gd name="T46" fmla="*/ 2147483647 w 344"/>
                      <a:gd name="T47" fmla="*/ 2147483647 h 223"/>
                      <a:gd name="T48" fmla="*/ 2147483647 w 344"/>
                      <a:gd name="T49" fmla="*/ 2147483647 h 223"/>
                      <a:gd name="T50" fmla="*/ 2147483647 w 344"/>
                      <a:gd name="T51" fmla="*/ 2147483647 h 223"/>
                      <a:gd name="T52" fmla="*/ 2147483647 w 344"/>
                      <a:gd name="T53" fmla="*/ 2147483647 h 223"/>
                      <a:gd name="T54" fmla="*/ 2147483647 w 344"/>
                      <a:gd name="T55" fmla="*/ 2147483647 h 223"/>
                      <a:gd name="T56" fmla="*/ 2147483647 w 344"/>
                      <a:gd name="T57" fmla="*/ 2147483647 h 223"/>
                      <a:gd name="T58" fmla="*/ 2147483647 w 344"/>
                      <a:gd name="T59" fmla="*/ 2147483647 h 223"/>
                      <a:gd name="T60" fmla="*/ 2147483647 w 344"/>
                      <a:gd name="T61" fmla="*/ 2147483647 h 223"/>
                      <a:gd name="T62" fmla="*/ 2147483647 w 344"/>
                      <a:gd name="T63" fmla="*/ 2147483647 h 223"/>
                      <a:gd name="T64" fmla="*/ 2147483647 w 344"/>
                      <a:gd name="T65" fmla="*/ 2147483647 h 223"/>
                      <a:gd name="T66" fmla="*/ 2147483647 w 344"/>
                      <a:gd name="T67" fmla="*/ 2147483647 h 223"/>
                      <a:gd name="T68" fmla="*/ 2147483647 w 344"/>
                      <a:gd name="T69" fmla="*/ 2147483647 h 223"/>
                      <a:gd name="T70" fmla="*/ 2147483647 w 344"/>
                      <a:gd name="T71" fmla="*/ 2147483647 h 223"/>
                      <a:gd name="T72" fmla="*/ 2147483647 w 344"/>
                      <a:gd name="T73" fmla="*/ 2147483647 h 223"/>
                      <a:gd name="T74" fmla="*/ 2147483647 w 344"/>
                      <a:gd name="T75" fmla="*/ 2147483647 h 223"/>
                      <a:gd name="T76" fmla="*/ 2147483647 w 344"/>
                      <a:gd name="T77" fmla="*/ 2147483647 h 223"/>
                      <a:gd name="T78" fmla="*/ 2147483647 w 344"/>
                      <a:gd name="T79" fmla="*/ 2147483647 h 223"/>
                      <a:gd name="T80" fmla="*/ 2147483647 w 344"/>
                      <a:gd name="T81" fmla="*/ 0 h 223"/>
                      <a:gd name="T82" fmla="*/ 2147483647 w 344"/>
                      <a:gd name="T83" fmla="*/ 2147483647 h 223"/>
                      <a:gd name="T84" fmla="*/ 2147483647 w 344"/>
                      <a:gd name="T85" fmla="*/ 2147483647 h 223"/>
                      <a:gd name="T86" fmla="*/ 2147483647 w 344"/>
                      <a:gd name="T87" fmla="*/ 2147483647 h 223"/>
                      <a:gd name="T88" fmla="*/ 2147483647 w 344"/>
                      <a:gd name="T89" fmla="*/ 2147483647 h 223"/>
                      <a:gd name="T90" fmla="*/ 2147483647 w 344"/>
                      <a:gd name="T91" fmla="*/ 2147483647 h 223"/>
                      <a:gd name="T92" fmla="*/ 2147483647 w 344"/>
                      <a:gd name="T93" fmla="*/ 2147483647 h 223"/>
                      <a:gd name="T94" fmla="*/ 2147483647 w 344"/>
                      <a:gd name="T95" fmla="*/ 2147483647 h 223"/>
                      <a:gd name="T96" fmla="*/ 2147483647 w 344"/>
                      <a:gd name="T97" fmla="*/ 2147483647 h 223"/>
                      <a:gd name="T98" fmla="*/ 2147483647 w 344"/>
                      <a:gd name="T99" fmla="*/ 2147483647 h 223"/>
                      <a:gd name="T100" fmla="*/ 2147483647 w 344"/>
                      <a:gd name="T101" fmla="*/ 2147483647 h 223"/>
                      <a:gd name="T102" fmla="*/ 2147483647 w 344"/>
                      <a:gd name="T103" fmla="*/ 2147483647 h 223"/>
                      <a:gd name="T104" fmla="*/ 2147483647 w 344"/>
                      <a:gd name="T105" fmla="*/ 2147483647 h 223"/>
                      <a:gd name="T106" fmla="*/ 2147483647 w 344"/>
                      <a:gd name="T107" fmla="*/ 2147483647 h 223"/>
                      <a:gd name="T108" fmla="*/ 2147483647 w 344"/>
                      <a:gd name="T109" fmla="*/ 2147483647 h 223"/>
                      <a:gd name="T110" fmla="*/ 2147483647 w 344"/>
                      <a:gd name="T111" fmla="*/ 2147483647 h 223"/>
                      <a:gd name="T112" fmla="*/ 2147483647 w 344"/>
                      <a:gd name="T113" fmla="*/ 2147483647 h 223"/>
                      <a:gd name="T114" fmla="*/ 2147483647 w 344"/>
                      <a:gd name="T115" fmla="*/ 2147483647 h 223"/>
                      <a:gd name="T116" fmla="*/ 2147483647 w 344"/>
                      <a:gd name="T117" fmla="*/ 2147483647 h 22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44" h="223">
                        <a:moveTo>
                          <a:pt x="29" y="77"/>
                        </a:moveTo>
                        <a:lnTo>
                          <a:pt x="28" y="77"/>
                        </a:lnTo>
                        <a:lnTo>
                          <a:pt x="27" y="77"/>
                        </a:lnTo>
                        <a:lnTo>
                          <a:pt x="22" y="77"/>
                        </a:lnTo>
                        <a:lnTo>
                          <a:pt x="20" y="77"/>
                        </a:lnTo>
                        <a:lnTo>
                          <a:pt x="19" y="77"/>
                        </a:lnTo>
                        <a:lnTo>
                          <a:pt x="19" y="78"/>
                        </a:lnTo>
                        <a:lnTo>
                          <a:pt x="19" y="79"/>
                        </a:lnTo>
                        <a:lnTo>
                          <a:pt x="19" y="80"/>
                        </a:lnTo>
                        <a:lnTo>
                          <a:pt x="19" y="81"/>
                        </a:lnTo>
                        <a:lnTo>
                          <a:pt x="17" y="81"/>
                        </a:lnTo>
                        <a:lnTo>
                          <a:pt x="16" y="81"/>
                        </a:lnTo>
                        <a:lnTo>
                          <a:pt x="15" y="81"/>
                        </a:lnTo>
                        <a:lnTo>
                          <a:pt x="14" y="83"/>
                        </a:lnTo>
                        <a:lnTo>
                          <a:pt x="14" y="84"/>
                        </a:lnTo>
                        <a:lnTo>
                          <a:pt x="15" y="86"/>
                        </a:lnTo>
                        <a:lnTo>
                          <a:pt x="15" y="87"/>
                        </a:lnTo>
                        <a:lnTo>
                          <a:pt x="16" y="87"/>
                        </a:lnTo>
                        <a:lnTo>
                          <a:pt x="17" y="87"/>
                        </a:lnTo>
                        <a:lnTo>
                          <a:pt x="18" y="87"/>
                        </a:lnTo>
                        <a:lnTo>
                          <a:pt x="19" y="87"/>
                        </a:lnTo>
                        <a:lnTo>
                          <a:pt x="21" y="88"/>
                        </a:lnTo>
                        <a:lnTo>
                          <a:pt x="22" y="88"/>
                        </a:lnTo>
                        <a:lnTo>
                          <a:pt x="22" y="89"/>
                        </a:lnTo>
                        <a:lnTo>
                          <a:pt x="22" y="91"/>
                        </a:lnTo>
                        <a:lnTo>
                          <a:pt x="22" y="92"/>
                        </a:lnTo>
                        <a:lnTo>
                          <a:pt x="22" y="94"/>
                        </a:lnTo>
                        <a:lnTo>
                          <a:pt x="20" y="95"/>
                        </a:lnTo>
                        <a:lnTo>
                          <a:pt x="19" y="96"/>
                        </a:lnTo>
                        <a:lnTo>
                          <a:pt x="19" y="97"/>
                        </a:lnTo>
                        <a:lnTo>
                          <a:pt x="18" y="97"/>
                        </a:lnTo>
                        <a:lnTo>
                          <a:pt x="17" y="96"/>
                        </a:lnTo>
                        <a:lnTo>
                          <a:pt x="15" y="96"/>
                        </a:lnTo>
                        <a:lnTo>
                          <a:pt x="13" y="97"/>
                        </a:lnTo>
                        <a:lnTo>
                          <a:pt x="13" y="98"/>
                        </a:lnTo>
                        <a:lnTo>
                          <a:pt x="13" y="99"/>
                        </a:lnTo>
                        <a:lnTo>
                          <a:pt x="13" y="100"/>
                        </a:lnTo>
                        <a:lnTo>
                          <a:pt x="14" y="100"/>
                        </a:lnTo>
                        <a:lnTo>
                          <a:pt x="15" y="101"/>
                        </a:lnTo>
                        <a:lnTo>
                          <a:pt x="15" y="103"/>
                        </a:lnTo>
                        <a:lnTo>
                          <a:pt x="15" y="105"/>
                        </a:lnTo>
                        <a:lnTo>
                          <a:pt x="15" y="106"/>
                        </a:lnTo>
                        <a:lnTo>
                          <a:pt x="14" y="107"/>
                        </a:lnTo>
                        <a:lnTo>
                          <a:pt x="13" y="107"/>
                        </a:lnTo>
                        <a:lnTo>
                          <a:pt x="13" y="109"/>
                        </a:lnTo>
                        <a:lnTo>
                          <a:pt x="13" y="110"/>
                        </a:lnTo>
                        <a:lnTo>
                          <a:pt x="13" y="111"/>
                        </a:lnTo>
                        <a:lnTo>
                          <a:pt x="13" y="113"/>
                        </a:lnTo>
                        <a:lnTo>
                          <a:pt x="14" y="115"/>
                        </a:lnTo>
                        <a:lnTo>
                          <a:pt x="14" y="117"/>
                        </a:lnTo>
                        <a:lnTo>
                          <a:pt x="15" y="118"/>
                        </a:lnTo>
                        <a:lnTo>
                          <a:pt x="15" y="120"/>
                        </a:lnTo>
                        <a:lnTo>
                          <a:pt x="15" y="121"/>
                        </a:lnTo>
                        <a:lnTo>
                          <a:pt x="15" y="122"/>
                        </a:lnTo>
                        <a:lnTo>
                          <a:pt x="15" y="124"/>
                        </a:lnTo>
                        <a:lnTo>
                          <a:pt x="15" y="126"/>
                        </a:lnTo>
                        <a:lnTo>
                          <a:pt x="14" y="127"/>
                        </a:lnTo>
                        <a:lnTo>
                          <a:pt x="13" y="129"/>
                        </a:lnTo>
                        <a:lnTo>
                          <a:pt x="12" y="129"/>
                        </a:lnTo>
                        <a:lnTo>
                          <a:pt x="10" y="129"/>
                        </a:lnTo>
                        <a:lnTo>
                          <a:pt x="8" y="129"/>
                        </a:lnTo>
                        <a:lnTo>
                          <a:pt x="6" y="130"/>
                        </a:lnTo>
                        <a:lnTo>
                          <a:pt x="5" y="131"/>
                        </a:lnTo>
                        <a:lnTo>
                          <a:pt x="3" y="132"/>
                        </a:lnTo>
                        <a:lnTo>
                          <a:pt x="2" y="135"/>
                        </a:lnTo>
                        <a:lnTo>
                          <a:pt x="1" y="137"/>
                        </a:lnTo>
                        <a:lnTo>
                          <a:pt x="0" y="139"/>
                        </a:lnTo>
                        <a:lnTo>
                          <a:pt x="2" y="141"/>
                        </a:lnTo>
                        <a:lnTo>
                          <a:pt x="3" y="140"/>
                        </a:lnTo>
                        <a:lnTo>
                          <a:pt x="4" y="140"/>
                        </a:lnTo>
                        <a:lnTo>
                          <a:pt x="6" y="139"/>
                        </a:lnTo>
                        <a:lnTo>
                          <a:pt x="11" y="139"/>
                        </a:lnTo>
                        <a:lnTo>
                          <a:pt x="13" y="139"/>
                        </a:lnTo>
                        <a:lnTo>
                          <a:pt x="12" y="140"/>
                        </a:lnTo>
                        <a:lnTo>
                          <a:pt x="10" y="143"/>
                        </a:lnTo>
                        <a:lnTo>
                          <a:pt x="9" y="145"/>
                        </a:lnTo>
                        <a:lnTo>
                          <a:pt x="10" y="148"/>
                        </a:lnTo>
                        <a:lnTo>
                          <a:pt x="11" y="149"/>
                        </a:lnTo>
                        <a:lnTo>
                          <a:pt x="13" y="150"/>
                        </a:lnTo>
                        <a:lnTo>
                          <a:pt x="13" y="152"/>
                        </a:lnTo>
                        <a:lnTo>
                          <a:pt x="13" y="154"/>
                        </a:lnTo>
                        <a:lnTo>
                          <a:pt x="13" y="158"/>
                        </a:lnTo>
                        <a:lnTo>
                          <a:pt x="14" y="159"/>
                        </a:lnTo>
                        <a:lnTo>
                          <a:pt x="14" y="160"/>
                        </a:lnTo>
                        <a:lnTo>
                          <a:pt x="15" y="161"/>
                        </a:lnTo>
                        <a:lnTo>
                          <a:pt x="15" y="162"/>
                        </a:lnTo>
                        <a:lnTo>
                          <a:pt x="17" y="164"/>
                        </a:lnTo>
                        <a:lnTo>
                          <a:pt x="17" y="166"/>
                        </a:lnTo>
                        <a:lnTo>
                          <a:pt x="17" y="168"/>
                        </a:lnTo>
                        <a:lnTo>
                          <a:pt x="19" y="168"/>
                        </a:lnTo>
                        <a:lnTo>
                          <a:pt x="20" y="169"/>
                        </a:lnTo>
                        <a:lnTo>
                          <a:pt x="21" y="171"/>
                        </a:lnTo>
                        <a:lnTo>
                          <a:pt x="22" y="172"/>
                        </a:lnTo>
                        <a:lnTo>
                          <a:pt x="26" y="174"/>
                        </a:lnTo>
                        <a:lnTo>
                          <a:pt x="28" y="176"/>
                        </a:lnTo>
                        <a:lnTo>
                          <a:pt x="30" y="177"/>
                        </a:lnTo>
                        <a:lnTo>
                          <a:pt x="32" y="180"/>
                        </a:lnTo>
                        <a:lnTo>
                          <a:pt x="32" y="181"/>
                        </a:lnTo>
                        <a:lnTo>
                          <a:pt x="37" y="185"/>
                        </a:lnTo>
                        <a:lnTo>
                          <a:pt x="40" y="187"/>
                        </a:lnTo>
                        <a:lnTo>
                          <a:pt x="41" y="187"/>
                        </a:lnTo>
                        <a:lnTo>
                          <a:pt x="44" y="190"/>
                        </a:lnTo>
                        <a:lnTo>
                          <a:pt x="46" y="193"/>
                        </a:lnTo>
                        <a:lnTo>
                          <a:pt x="47" y="195"/>
                        </a:lnTo>
                        <a:lnTo>
                          <a:pt x="51" y="196"/>
                        </a:lnTo>
                        <a:lnTo>
                          <a:pt x="54" y="198"/>
                        </a:lnTo>
                        <a:lnTo>
                          <a:pt x="56" y="201"/>
                        </a:lnTo>
                        <a:lnTo>
                          <a:pt x="59" y="202"/>
                        </a:lnTo>
                        <a:lnTo>
                          <a:pt x="61" y="204"/>
                        </a:lnTo>
                        <a:lnTo>
                          <a:pt x="62" y="204"/>
                        </a:lnTo>
                        <a:lnTo>
                          <a:pt x="63" y="205"/>
                        </a:lnTo>
                        <a:lnTo>
                          <a:pt x="66" y="206"/>
                        </a:lnTo>
                        <a:lnTo>
                          <a:pt x="68" y="207"/>
                        </a:lnTo>
                        <a:lnTo>
                          <a:pt x="69" y="207"/>
                        </a:lnTo>
                        <a:lnTo>
                          <a:pt x="70" y="208"/>
                        </a:lnTo>
                        <a:lnTo>
                          <a:pt x="72" y="209"/>
                        </a:lnTo>
                        <a:lnTo>
                          <a:pt x="74" y="210"/>
                        </a:lnTo>
                        <a:lnTo>
                          <a:pt x="79" y="214"/>
                        </a:lnTo>
                        <a:lnTo>
                          <a:pt x="81" y="216"/>
                        </a:lnTo>
                        <a:lnTo>
                          <a:pt x="84" y="217"/>
                        </a:lnTo>
                        <a:lnTo>
                          <a:pt x="88" y="217"/>
                        </a:lnTo>
                        <a:lnTo>
                          <a:pt x="91" y="219"/>
                        </a:lnTo>
                        <a:lnTo>
                          <a:pt x="93" y="222"/>
                        </a:lnTo>
                        <a:lnTo>
                          <a:pt x="97" y="222"/>
                        </a:lnTo>
                        <a:lnTo>
                          <a:pt x="99" y="222"/>
                        </a:lnTo>
                        <a:lnTo>
                          <a:pt x="103" y="222"/>
                        </a:lnTo>
                        <a:lnTo>
                          <a:pt x="107" y="223"/>
                        </a:lnTo>
                        <a:lnTo>
                          <a:pt x="110" y="222"/>
                        </a:lnTo>
                        <a:lnTo>
                          <a:pt x="114" y="219"/>
                        </a:lnTo>
                        <a:lnTo>
                          <a:pt x="116" y="217"/>
                        </a:lnTo>
                        <a:lnTo>
                          <a:pt x="118" y="217"/>
                        </a:lnTo>
                        <a:lnTo>
                          <a:pt x="119" y="217"/>
                        </a:lnTo>
                        <a:lnTo>
                          <a:pt x="120" y="217"/>
                        </a:lnTo>
                        <a:lnTo>
                          <a:pt x="122" y="217"/>
                        </a:lnTo>
                        <a:lnTo>
                          <a:pt x="123" y="216"/>
                        </a:lnTo>
                        <a:lnTo>
                          <a:pt x="124" y="215"/>
                        </a:lnTo>
                        <a:lnTo>
                          <a:pt x="126" y="214"/>
                        </a:lnTo>
                        <a:lnTo>
                          <a:pt x="129" y="213"/>
                        </a:lnTo>
                        <a:lnTo>
                          <a:pt x="131" y="211"/>
                        </a:lnTo>
                        <a:lnTo>
                          <a:pt x="132" y="209"/>
                        </a:lnTo>
                        <a:lnTo>
                          <a:pt x="134" y="207"/>
                        </a:lnTo>
                        <a:lnTo>
                          <a:pt x="136" y="207"/>
                        </a:lnTo>
                        <a:lnTo>
                          <a:pt x="139" y="207"/>
                        </a:lnTo>
                        <a:lnTo>
                          <a:pt x="142" y="206"/>
                        </a:lnTo>
                        <a:lnTo>
                          <a:pt x="145" y="204"/>
                        </a:lnTo>
                        <a:lnTo>
                          <a:pt x="146" y="201"/>
                        </a:lnTo>
                        <a:lnTo>
                          <a:pt x="145" y="199"/>
                        </a:lnTo>
                        <a:lnTo>
                          <a:pt x="147" y="201"/>
                        </a:lnTo>
                        <a:lnTo>
                          <a:pt x="150" y="201"/>
                        </a:lnTo>
                        <a:lnTo>
                          <a:pt x="151" y="201"/>
                        </a:lnTo>
                        <a:lnTo>
                          <a:pt x="152" y="198"/>
                        </a:lnTo>
                        <a:lnTo>
                          <a:pt x="153" y="196"/>
                        </a:lnTo>
                        <a:lnTo>
                          <a:pt x="154" y="195"/>
                        </a:lnTo>
                        <a:lnTo>
                          <a:pt x="155" y="193"/>
                        </a:lnTo>
                        <a:lnTo>
                          <a:pt x="159" y="193"/>
                        </a:lnTo>
                        <a:lnTo>
                          <a:pt x="161" y="191"/>
                        </a:lnTo>
                        <a:lnTo>
                          <a:pt x="161" y="189"/>
                        </a:lnTo>
                        <a:lnTo>
                          <a:pt x="161" y="187"/>
                        </a:lnTo>
                        <a:lnTo>
                          <a:pt x="165" y="186"/>
                        </a:lnTo>
                        <a:lnTo>
                          <a:pt x="168" y="185"/>
                        </a:lnTo>
                        <a:lnTo>
                          <a:pt x="169" y="184"/>
                        </a:lnTo>
                        <a:lnTo>
                          <a:pt x="170" y="184"/>
                        </a:lnTo>
                        <a:lnTo>
                          <a:pt x="173" y="185"/>
                        </a:lnTo>
                        <a:lnTo>
                          <a:pt x="176" y="185"/>
                        </a:lnTo>
                        <a:lnTo>
                          <a:pt x="179" y="186"/>
                        </a:lnTo>
                        <a:lnTo>
                          <a:pt x="182" y="184"/>
                        </a:lnTo>
                        <a:lnTo>
                          <a:pt x="183" y="183"/>
                        </a:lnTo>
                        <a:lnTo>
                          <a:pt x="186" y="183"/>
                        </a:lnTo>
                        <a:lnTo>
                          <a:pt x="188" y="184"/>
                        </a:lnTo>
                        <a:lnTo>
                          <a:pt x="191" y="184"/>
                        </a:lnTo>
                        <a:lnTo>
                          <a:pt x="192" y="182"/>
                        </a:lnTo>
                        <a:lnTo>
                          <a:pt x="194" y="181"/>
                        </a:lnTo>
                        <a:lnTo>
                          <a:pt x="196" y="181"/>
                        </a:lnTo>
                        <a:lnTo>
                          <a:pt x="197" y="181"/>
                        </a:lnTo>
                        <a:lnTo>
                          <a:pt x="201" y="181"/>
                        </a:lnTo>
                        <a:lnTo>
                          <a:pt x="204" y="181"/>
                        </a:lnTo>
                        <a:lnTo>
                          <a:pt x="205" y="181"/>
                        </a:lnTo>
                        <a:lnTo>
                          <a:pt x="207" y="181"/>
                        </a:lnTo>
                        <a:lnTo>
                          <a:pt x="213" y="184"/>
                        </a:lnTo>
                        <a:lnTo>
                          <a:pt x="216" y="183"/>
                        </a:lnTo>
                        <a:lnTo>
                          <a:pt x="218" y="181"/>
                        </a:lnTo>
                        <a:lnTo>
                          <a:pt x="221" y="178"/>
                        </a:lnTo>
                        <a:lnTo>
                          <a:pt x="223" y="177"/>
                        </a:lnTo>
                        <a:lnTo>
                          <a:pt x="224" y="178"/>
                        </a:lnTo>
                        <a:lnTo>
                          <a:pt x="227" y="180"/>
                        </a:lnTo>
                        <a:lnTo>
                          <a:pt x="230" y="180"/>
                        </a:lnTo>
                        <a:lnTo>
                          <a:pt x="232" y="181"/>
                        </a:lnTo>
                        <a:lnTo>
                          <a:pt x="236" y="174"/>
                        </a:lnTo>
                        <a:lnTo>
                          <a:pt x="239" y="168"/>
                        </a:lnTo>
                        <a:lnTo>
                          <a:pt x="240" y="166"/>
                        </a:lnTo>
                        <a:lnTo>
                          <a:pt x="242" y="165"/>
                        </a:lnTo>
                        <a:lnTo>
                          <a:pt x="244" y="165"/>
                        </a:lnTo>
                        <a:lnTo>
                          <a:pt x="248" y="165"/>
                        </a:lnTo>
                        <a:lnTo>
                          <a:pt x="250" y="164"/>
                        </a:lnTo>
                        <a:lnTo>
                          <a:pt x="252" y="162"/>
                        </a:lnTo>
                        <a:lnTo>
                          <a:pt x="253" y="161"/>
                        </a:lnTo>
                        <a:lnTo>
                          <a:pt x="254" y="159"/>
                        </a:lnTo>
                        <a:lnTo>
                          <a:pt x="255" y="157"/>
                        </a:lnTo>
                        <a:lnTo>
                          <a:pt x="255" y="155"/>
                        </a:lnTo>
                        <a:lnTo>
                          <a:pt x="257" y="156"/>
                        </a:lnTo>
                        <a:lnTo>
                          <a:pt x="259" y="155"/>
                        </a:lnTo>
                        <a:lnTo>
                          <a:pt x="261" y="152"/>
                        </a:lnTo>
                        <a:lnTo>
                          <a:pt x="260" y="150"/>
                        </a:lnTo>
                        <a:lnTo>
                          <a:pt x="258" y="148"/>
                        </a:lnTo>
                        <a:lnTo>
                          <a:pt x="256" y="147"/>
                        </a:lnTo>
                        <a:lnTo>
                          <a:pt x="255" y="145"/>
                        </a:lnTo>
                        <a:lnTo>
                          <a:pt x="255" y="144"/>
                        </a:lnTo>
                        <a:lnTo>
                          <a:pt x="255" y="139"/>
                        </a:lnTo>
                        <a:lnTo>
                          <a:pt x="256" y="136"/>
                        </a:lnTo>
                        <a:lnTo>
                          <a:pt x="258" y="135"/>
                        </a:lnTo>
                        <a:lnTo>
                          <a:pt x="260" y="134"/>
                        </a:lnTo>
                        <a:lnTo>
                          <a:pt x="261" y="132"/>
                        </a:lnTo>
                        <a:lnTo>
                          <a:pt x="264" y="130"/>
                        </a:lnTo>
                        <a:lnTo>
                          <a:pt x="267" y="129"/>
                        </a:lnTo>
                        <a:lnTo>
                          <a:pt x="269" y="128"/>
                        </a:lnTo>
                        <a:lnTo>
                          <a:pt x="268" y="126"/>
                        </a:lnTo>
                        <a:lnTo>
                          <a:pt x="269" y="123"/>
                        </a:lnTo>
                        <a:lnTo>
                          <a:pt x="272" y="120"/>
                        </a:lnTo>
                        <a:lnTo>
                          <a:pt x="275" y="116"/>
                        </a:lnTo>
                        <a:lnTo>
                          <a:pt x="278" y="113"/>
                        </a:lnTo>
                        <a:lnTo>
                          <a:pt x="278" y="111"/>
                        </a:lnTo>
                        <a:lnTo>
                          <a:pt x="279" y="110"/>
                        </a:lnTo>
                        <a:lnTo>
                          <a:pt x="279" y="109"/>
                        </a:lnTo>
                        <a:lnTo>
                          <a:pt x="281" y="107"/>
                        </a:lnTo>
                        <a:lnTo>
                          <a:pt x="284" y="97"/>
                        </a:lnTo>
                        <a:lnTo>
                          <a:pt x="286" y="96"/>
                        </a:lnTo>
                        <a:lnTo>
                          <a:pt x="289" y="96"/>
                        </a:lnTo>
                        <a:lnTo>
                          <a:pt x="291" y="96"/>
                        </a:lnTo>
                        <a:lnTo>
                          <a:pt x="294" y="94"/>
                        </a:lnTo>
                        <a:lnTo>
                          <a:pt x="295" y="92"/>
                        </a:lnTo>
                        <a:lnTo>
                          <a:pt x="294" y="91"/>
                        </a:lnTo>
                        <a:lnTo>
                          <a:pt x="293" y="89"/>
                        </a:lnTo>
                        <a:lnTo>
                          <a:pt x="294" y="87"/>
                        </a:lnTo>
                        <a:lnTo>
                          <a:pt x="297" y="84"/>
                        </a:lnTo>
                        <a:lnTo>
                          <a:pt x="301" y="81"/>
                        </a:lnTo>
                        <a:lnTo>
                          <a:pt x="303" y="77"/>
                        </a:lnTo>
                        <a:lnTo>
                          <a:pt x="306" y="74"/>
                        </a:lnTo>
                        <a:lnTo>
                          <a:pt x="313" y="72"/>
                        </a:lnTo>
                        <a:lnTo>
                          <a:pt x="317" y="68"/>
                        </a:lnTo>
                        <a:lnTo>
                          <a:pt x="319" y="65"/>
                        </a:lnTo>
                        <a:lnTo>
                          <a:pt x="320" y="62"/>
                        </a:lnTo>
                        <a:lnTo>
                          <a:pt x="326" y="65"/>
                        </a:lnTo>
                        <a:lnTo>
                          <a:pt x="329" y="64"/>
                        </a:lnTo>
                        <a:lnTo>
                          <a:pt x="331" y="63"/>
                        </a:lnTo>
                        <a:lnTo>
                          <a:pt x="331" y="60"/>
                        </a:lnTo>
                        <a:lnTo>
                          <a:pt x="331" y="58"/>
                        </a:lnTo>
                        <a:lnTo>
                          <a:pt x="332" y="55"/>
                        </a:lnTo>
                        <a:lnTo>
                          <a:pt x="335" y="53"/>
                        </a:lnTo>
                        <a:lnTo>
                          <a:pt x="337" y="51"/>
                        </a:lnTo>
                        <a:lnTo>
                          <a:pt x="340" y="49"/>
                        </a:lnTo>
                        <a:lnTo>
                          <a:pt x="342" y="46"/>
                        </a:lnTo>
                        <a:lnTo>
                          <a:pt x="343" y="45"/>
                        </a:lnTo>
                        <a:lnTo>
                          <a:pt x="344" y="42"/>
                        </a:lnTo>
                        <a:lnTo>
                          <a:pt x="344" y="39"/>
                        </a:lnTo>
                        <a:lnTo>
                          <a:pt x="342" y="36"/>
                        </a:lnTo>
                        <a:lnTo>
                          <a:pt x="338" y="36"/>
                        </a:lnTo>
                        <a:lnTo>
                          <a:pt x="337" y="36"/>
                        </a:lnTo>
                        <a:lnTo>
                          <a:pt x="334" y="35"/>
                        </a:lnTo>
                        <a:lnTo>
                          <a:pt x="332" y="36"/>
                        </a:lnTo>
                        <a:lnTo>
                          <a:pt x="329" y="38"/>
                        </a:lnTo>
                        <a:lnTo>
                          <a:pt x="326" y="39"/>
                        </a:lnTo>
                        <a:lnTo>
                          <a:pt x="325" y="37"/>
                        </a:lnTo>
                        <a:lnTo>
                          <a:pt x="324" y="35"/>
                        </a:lnTo>
                        <a:lnTo>
                          <a:pt x="323" y="33"/>
                        </a:lnTo>
                        <a:lnTo>
                          <a:pt x="323" y="32"/>
                        </a:lnTo>
                        <a:lnTo>
                          <a:pt x="322" y="28"/>
                        </a:lnTo>
                        <a:lnTo>
                          <a:pt x="320" y="26"/>
                        </a:lnTo>
                        <a:lnTo>
                          <a:pt x="317" y="25"/>
                        </a:lnTo>
                        <a:lnTo>
                          <a:pt x="315" y="24"/>
                        </a:lnTo>
                        <a:lnTo>
                          <a:pt x="311" y="23"/>
                        </a:lnTo>
                        <a:lnTo>
                          <a:pt x="310" y="22"/>
                        </a:lnTo>
                        <a:lnTo>
                          <a:pt x="310" y="20"/>
                        </a:lnTo>
                        <a:lnTo>
                          <a:pt x="309" y="16"/>
                        </a:lnTo>
                        <a:lnTo>
                          <a:pt x="306" y="14"/>
                        </a:lnTo>
                        <a:lnTo>
                          <a:pt x="304" y="14"/>
                        </a:lnTo>
                        <a:lnTo>
                          <a:pt x="303" y="13"/>
                        </a:lnTo>
                        <a:lnTo>
                          <a:pt x="302" y="14"/>
                        </a:lnTo>
                        <a:lnTo>
                          <a:pt x="299" y="15"/>
                        </a:lnTo>
                        <a:lnTo>
                          <a:pt x="298" y="16"/>
                        </a:lnTo>
                        <a:lnTo>
                          <a:pt x="297" y="17"/>
                        </a:lnTo>
                        <a:lnTo>
                          <a:pt x="293" y="17"/>
                        </a:lnTo>
                        <a:lnTo>
                          <a:pt x="291" y="17"/>
                        </a:lnTo>
                        <a:lnTo>
                          <a:pt x="290" y="17"/>
                        </a:lnTo>
                        <a:lnTo>
                          <a:pt x="290" y="18"/>
                        </a:lnTo>
                        <a:lnTo>
                          <a:pt x="289" y="18"/>
                        </a:lnTo>
                        <a:lnTo>
                          <a:pt x="287" y="18"/>
                        </a:lnTo>
                        <a:lnTo>
                          <a:pt x="284" y="17"/>
                        </a:lnTo>
                        <a:lnTo>
                          <a:pt x="280" y="17"/>
                        </a:lnTo>
                        <a:lnTo>
                          <a:pt x="279" y="17"/>
                        </a:lnTo>
                        <a:lnTo>
                          <a:pt x="277" y="15"/>
                        </a:lnTo>
                        <a:lnTo>
                          <a:pt x="276" y="13"/>
                        </a:lnTo>
                        <a:lnTo>
                          <a:pt x="275" y="10"/>
                        </a:lnTo>
                        <a:lnTo>
                          <a:pt x="275" y="8"/>
                        </a:lnTo>
                        <a:lnTo>
                          <a:pt x="276" y="5"/>
                        </a:lnTo>
                        <a:lnTo>
                          <a:pt x="275" y="3"/>
                        </a:lnTo>
                        <a:lnTo>
                          <a:pt x="271" y="0"/>
                        </a:lnTo>
                        <a:lnTo>
                          <a:pt x="266" y="0"/>
                        </a:lnTo>
                        <a:lnTo>
                          <a:pt x="262" y="2"/>
                        </a:lnTo>
                        <a:lnTo>
                          <a:pt x="260" y="3"/>
                        </a:lnTo>
                        <a:lnTo>
                          <a:pt x="258" y="3"/>
                        </a:lnTo>
                        <a:lnTo>
                          <a:pt x="256" y="5"/>
                        </a:lnTo>
                        <a:lnTo>
                          <a:pt x="254" y="5"/>
                        </a:lnTo>
                        <a:lnTo>
                          <a:pt x="252" y="4"/>
                        </a:lnTo>
                        <a:lnTo>
                          <a:pt x="249" y="3"/>
                        </a:lnTo>
                        <a:lnTo>
                          <a:pt x="247" y="5"/>
                        </a:lnTo>
                        <a:lnTo>
                          <a:pt x="244" y="4"/>
                        </a:lnTo>
                        <a:lnTo>
                          <a:pt x="243" y="2"/>
                        </a:lnTo>
                        <a:lnTo>
                          <a:pt x="242" y="0"/>
                        </a:lnTo>
                        <a:lnTo>
                          <a:pt x="232" y="0"/>
                        </a:lnTo>
                        <a:lnTo>
                          <a:pt x="231" y="0"/>
                        </a:lnTo>
                        <a:lnTo>
                          <a:pt x="228" y="0"/>
                        </a:lnTo>
                        <a:lnTo>
                          <a:pt x="226" y="1"/>
                        </a:lnTo>
                        <a:lnTo>
                          <a:pt x="223" y="3"/>
                        </a:lnTo>
                        <a:lnTo>
                          <a:pt x="221" y="5"/>
                        </a:lnTo>
                        <a:lnTo>
                          <a:pt x="218" y="9"/>
                        </a:lnTo>
                        <a:lnTo>
                          <a:pt x="216" y="13"/>
                        </a:lnTo>
                        <a:lnTo>
                          <a:pt x="213" y="17"/>
                        </a:lnTo>
                        <a:lnTo>
                          <a:pt x="213" y="18"/>
                        </a:lnTo>
                        <a:lnTo>
                          <a:pt x="211" y="18"/>
                        </a:lnTo>
                        <a:lnTo>
                          <a:pt x="209" y="19"/>
                        </a:lnTo>
                        <a:lnTo>
                          <a:pt x="207" y="20"/>
                        </a:lnTo>
                        <a:lnTo>
                          <a:pt x="207" y="22"/>
                        </a:lnTo>
                        <a:lnTo>
                          <a:pt x="207" y="23"/>
                        </a:lnTo>
                        <a:lnTo>
                          <a:pt x="206" y="25"/>
                        </a:lnTo>
                        <a:lnTo>
                          <a:pt x="204" y="26"/>
                        </a:lnTo>
                        <a:lnTo>
                          <a:pt x="202" y="26"/>
                        </a:lnTo>
                        <a:lnTo>
                          <a:pt x="201" y="28"/>
                        </a:lnTo>
                        <a:lnTo>
                          <a:pt x="199" y="30"/>
                        </a:lnTo>
                        <a:lnTo>
                          <a:pt x="197" y="32"/>
                        </a:lnTo>
                        <a:lnTo>
                          <a:pt x="193" y="34"/>
                        </a:lnTo>
                        <a:lnTo>
                          <a:pt x="191" y="35"/>
                        </a:lnTo>
                        <a:lnTo>
                          <a:pt x="191" y="36"/>
                        </a:lnTo>
                        <a:lnTo>
                          <a:pt x="190" y="38"/>
                        </a:lnTo>
                        <a:lnTo>
                          <a:pt x="189" y="39"/>
                        </a:lnTo>
                        <a:lnTo>
                          <a:pt x="187" y="39"/>
                        </a:lnTo>
                        <a:lnTo>
                          <a:pt x="185" y="38"/>
                        </a:lnTo>
                        <a:lnTo>
                          <a:pt x="182" y="35"/>
                        </a:lnTo>
                        <a:lnTo>
                          <a:pt x="179" y="32"/>
                        </a:lnTo>
                        <a:lnTo>
                          <a:pt x="176" y="32"/>
                        </a:lnTo>
                        <a:lnTo>
                          <a:pt x="174" y="32"/>
                        </a:lnTo>
                        <a:lnTo>
                          <a:pt x="171" y="33"/>
                        </a:lnTo>
                        <a:lnTo>
                          <a:pt x="170" y="34"/>
                        </a:lnTo>
                        <a:lnTo>
                          <a:pt x="167" y="35"/>
                        </a:lnTo>
                        <a:lnTo>
                          <a:pt x="165" y="36"/>
                        </a:lnTo>
                        <a:lnTo>
                          <a:pt x="163" y="38"/>
                        </a:lnTo>
                        <a:lnTo>
                          <a:pt x="163" y="40"/>
                        </a:lnTo>
                        <a:lnTo>
                          <a:pt x="163" y="42"/>
                        </a:lnTo>
                        <a:lnTo>
                          <a:pt x="161" y="43"/>
                        </a:lnTo>
                        <a:lnTo>
                          <a:pt x="158" y="45"/>
                        </a:lnTo>
                        <a:lnTo>
                          <a:pt x="157" y="47"/>
                        </a:lnTo>
                        <a:lnTo>
                          <a:pt x="156" y="47"/>
                        </a:lnTo>
                        <a:lnTo>
                          <a:pt x="155" y="46"/>
                        </a:lnTo>
                        <a:lnTo>
                          <a:pt x="154" y="45"/>
                        </a:lnTo>
                        <a:lnTo>
                          <a:pt x="153" y="45"/>
                        </a:lnTo>
                        <a:lnTo>
                          <a:pt x="150" y="45"/>
                        </a:lnTo>
                        <a:lnTo>
                          <a:pt x="148" y="46"/>
                        </a:lnTo>
                        <a:lnTo>
                          <a:pt x="147" y="46"/>
                        </a:lnTo>
                        <a:lnTo>
                          <a:pt x="146" y="48"/>
                        </a:lnTo>
                        <a:lnTo>
                          <a:pt x="145" y="49"/>
                        </a:lnTo>
                        <a:lnTo>
                          <a:pt x="142" y="49"/>
                        </a:lnTo>
                        <a:lnTo>
                          <a:pt x="140" y="49"/>
                        </a:lnTo>
                        <a:lnTo>
                          <a:pt x="139" y="49"/>
                        </a:lnTo>
                        <a:lnTo>
                          <a:pt x="138" y="50"/>
                        </a:lnTo>
                        <a:lnTo>
                          <a:pt x="136" y="52"/>
                        </a:lnTo>
                        <a:lnTo>
                          <a:pt x="134" y="54"/>
                        </a:lnTo>
                        <a:lnTo>
                          <a:pt x="134" y="55"/>
                        </a:lnTo>
                        <a:lnTo>
                          <a:pt x="135" y="56"/>
                        </a:lnTo>
                        <a:lnTo>
                          <a:pt x="136" y="58"/>
                        </a:lnTo>
                        <a:lnTo>
                          <a:pt x="135" y="62"/>
                        </a:lnTo>
                        <a:lnTo>
                          <a:pt x="134" y="65"/>
                        </a:lnTo>
                        <a:lnTo>
                          <a:pt x="133" y="66"/>
                        </a:lnTo>
                        <a:lnTo>
                          <a:pt x="132" y="68"/>
                        </a:lnTo>
                        <a:lnTo>
                          <a:pt x="135" y="70"/>
                        </a:lnTo>
                        <a:lnTo>
                          <a:pt x="137" y="71"/>
                        </a:lnTo>
                        <a:lnTo>
                          <a:pt x="138" y="72"/>
                        </a:lnTo>
                        <a:lnTo>
                          <a:pt x="139" y="72"/>
                        </a:lnTo>
                        <a:lnTo>
                          <a:pt x="129" y="72"/>
                        </a:lnTo>
                        <a:lnTo>
                          <a:pt x="127" y="72"/>
                        </a:lnTo>
                        <a:lnTo>
                          <a:pt x="125" y="73"/>
                        </a:lnTo>
                        <a:lnTo>
                          <a:pt x="124" y="74"/>
                        </a:lnTo>
                        <a:lnTo>
                          <a:pt x="122" y="74"/>
                        </a:lnTo>
                        <a:lnTo>
                          <a:pt x="113" y="74"/>
                        </a:lnTo>
                        <a:lnTo>
                          <a:pt x="111" y="76"/>
                        </a:lnTo>
                        <a:lnTo>
                          <a:pt x="108" y="75"/>
                        </a:lnTo>
                        <a:lnTo>
                          <a:pt x="106" y="75"/>
                        </a:lnTo>
                        <a:lnTo>
                          <a:pt x="103" y="74"/>
                        </a:lnTo>
                        <a:lnTo>
                          <a:pt x="101" y="74"/>
                        </a:lnTo>
                        <a:lnTo>
                          <a:pt x="98" y="74"/>
                        </a:lnTo>
                        <a:lnTo>
                          <a:pt x="97" y="74"/>
                        </a:lnTo>
                        <a:lnTo>
                          <a:pt x="94" y="74"/>
                        </a:lnTo>
                        <a:lnTo>
                          <a:pt x="92" y="74"/>
                        </a:lnTo>
                        <a:lnTo>
                          <a:pt x="91" y="74"/>
                        </a:lnTo>
                        <a:lnTo>
                          <a:pt x="89" y="73"/>
                        </a:lnTo>
                        <a:lnTo>
                          <a:pt x="87" y="72"/>
                        </a:lnTo>
                        <a:lnTo>
                          <a:pt x="82" y="71"/>
                        </a:lnTo>
                        <a:lnTo>
                          <a:pt x="80" y="70"/>
                        </a:lnTo>
                        <a:lnTo>
                          <a:pt x="77" y="68"/>
                        </a:lnTo>
                        <a:lnTo>
                          <a:pt x="74" y="63"/>
                        </a:lnTo>
                        <a:lnTo>
                          <a:pt x="72" y="61"/>
                        </a:lnTo>
                        <a:lnTo>
                          <a:pt x="71" y="58"/>
                        </a:lnTo>
                        <a:lnTo>
                          <a:pt x="66" y="58"/>
                        </a:lnTo>
                        <a:lnTo>
                          <a:pt x="64" y="57"/>
                        </a:lnTo>
                        <a:lnTo>
                          <a:pt x="61" y="55"/>
                        </a:lnTo>
                        <a:lnTo>
                          <a:pt x="60" y="53"/>
                        </a:lnTo>
                        <a:lnTo>
                          <a:pt x="60" y="52"/>
                        </a:lnTo>
                        <a:lnTo>
                          <a:pt x="59" y="52"/>
                        </a:lnTo>
                        <a:lnTo>
                          <a:pt x="58" y="53"/>
                        </a:lnTo>
                        <a:lnTo>
                          <a:pt x="55" y="52"/>
                        </a:lnTo>
                        <a:lnTo>
                          <a:pt x="54" y="53"/>
                        </a:lnTo>
                        <a:lnTo>
                          <a:pt x="53" y="55"/>
                        </a:lnTo>
                        <a:lnTo>
                          <a:pt x="52" y="57"/>
                        </a:lnTo>
                        <a:lnTo>
                          <a:pt x="51" y="58"/>
                        </a:lnTo>
                        <a:lnTo>
                          <a:pt x="50" y="59"/>
                        </a:lnTo>
                        <a:lnTo>
                          <a:pt x="50" y="60"/>
                        </a:lnTo>
                        <a:lnTo>
                          <a:pt x="50" y="63"/>
                        </a:lnTo>
                        <a:lnTo>
                          <a:pt x="51" y="65"/>
                        </a:lnTo>
                        <a:lnTo>
                          <a:pt x="51" y="66"/>
                        </a:lnTo>
                        <a:lnTo>
                          <a:pt x="51" y="67"/>
                        </a:lnTo>
                        <a:lnTo>
                          <a:pt x="51" y="68"/>
                        </a:lnTo>
                        <a:lnTo>
                          <a:pt x="50" y="69"/>
                        </a:lnTo>
                        <a:lnTo>
                          <a:pt x="49" y="70"/>
                        </a:lnTo>
                        <a:lnTo>
                          <a:pt x="49" y="72"/>
                        </a:lnTo>
                        <a:lnTo>
                          <a:pt x="50" y="72"/>
                        </a:lnTo>
                        <a:lnTo>
                          <a:pt x="51" y="72"/>
                        </a:lnTo>
                        <a:lnTo>
                          <a:pt x="51" y="74"/>
                        </a:lnTo>
                        <a:lnTo>
                          <a:pt x="51" y="77"/>
                        </a:lnTo>
                        <a:lnTo>
                          <a:pt x="51" y="80"/>
                        </a:lnTo>
                        <a:lnTo>
                          <a:pt x="51" y="81"/>
                        </a:lnTo>
                        <a:lnTo>
                          <a:pt x="50" y="80"/>
                        </a:lnTo>
                        <a:lnTo>
                          <a:pt x="47" y="79"/>
                        </a:lnTo>
                        <a:lnTo>
                          <a:pt x="44" y="78"/>
                        </a:lnTo>
                        <a:lnTo>
                          <a:pt x="41" y="77"/>
                        </a:lnTo>
                        <a:lnTo>
                          <a:pt x="41" y="79"/>
                        </a:lnTo>
                        <a:lnTo>
                          <a:pt x="41" y="80"/>
                        </a:lnTo>
                        <a:lnTo>
                          <a:pt x="40" y="81"/>
                        </a:lnTo>
                        <a:lnTo>
                          <a:pt x="38" y="81"/>
                        </a:lnTo>
                        <a:lnTo>
                          <a:pt x="37" y="80"/>
                        </a:lnTo>
                        <a:lnTo>
                          <a:pt x="37" y="79"/>
                        </a:lnTo>
                        <a:lnTo>
                          <a:pt x="37" y="78"/>
                        </a:lnTo>
                        <a:lnTo>
                          <a:pt x="36" y="77"/>
                        </a:lnTo>
                        <a:lnTo>
                          <a:pt x="35" y="77"/>
                        </a:lnTo>
                        <a:lnTo>
                          <a:pt x="34" y="77"/>
                        </a:lnTo>
                        <a:lnTo>
                          <a:pt x="33" y="77"/>
                        </a:lnTo>
                        <a:lnTo>
                          <a:pt x="32" y="77"/>
                        </a:lnTo>
                        <a:lnTo>
                          <a:pt x="31" y="77"/>
                        </a:lnTo>
                        <a:lnTo>
                          <a:pt x="29" y="7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3" name="Freeform 1625">
                    <a:extLst>
                      <a:ext uri="{FF2B5EF4-FFF2-40B4-BE49-F238E27FC236}">
                        <a16:creationId xmlns:a16="http://schemas.microsoft.com/office/drawing/2014/main" xmlns="" id="{00A57E93-31DB-4959-9989-77CAF1752187}"/>
                      </a:ext>
                    </a:extLst>
                  </p:cNvPr>
                  <p:cNvSpPr>
                    <a:spLocks/>
                  </p:cNvSpPr>
                  <p:nvPr/>
                </p:nvSpPr>
                <p:spPr bwMode="gray">
                  <a:xfrm>
                    <a:off x="4781336" y="3700585"/>
                    <a:ext cx="10013" cy="6675"/>
                  </a:xfrm>
                  <a:custGeom>
                    <a:avLst/>
                    <a:gdLst>
                      <a:gd name="T0" fmla="*/ 2147483647 w 9"/>
                      <a:gd name="T1" fmla="*/ 0 h 6"/>
                      <a:gd name="T2" fmla="*/ 2147483647 w 9"/>
                      <a:gd name="T3" fmla="*/ 2147483647 h 6"/>
                      <a:gd name="T4" fmla="*/ 2147483647 w 9"/>
                      <a:gd name="T5" fmla="*/ 2147483647 h 6"/>
                      <a:gd name="T6" fmla="*/ 2147483647 w 9"/>
                      <a:gd name="T7" fmla="*/ 2147483647 h 6"/>
                      <a:gd name="T8" fmla="*/ 2147483647 w 9"/>
                      <a:gd name="T9" fmla="*/ 2147483647 h 6"/>
                      <a:gd name="T10" fmla="*/ 2147483647 w 9"/>
                      <a:gd name="T11" fmla="*/ 2147483647 h 6"/>
                      <a:gd name="T12" fmla="*/ 2147483647 w 9"/>
                      <a:gd name="T13" fmla="*/ 2147483647 h 6"/>
                      <a:gd name="T14" fmla="*/ 0 w 9"/>
                      <a:gd name="T15" fmla="*/ 2147483647 h 6"/>
                      <a:gd name="T16" fmla="*/ 0 w 9"/>
                      <a:gd name="T17" fmla="*/ 2147483647 h 6"/>
                      <a:gd name="T18" fmla="*/ 0 w 9"/>
                      <a:gd name="T19" fmla="*/ 2147483647 h 6"/>
                      <a:gd name="T20" fmla="*/ 2147483647 w 9"/>
                      <a:gd name="T21" fmla="*/ 2147483647 h 6"/>
                      <a:gd name="T22" fmla="*/ 2147483647 w 9"/>
                      <a:gd name="T23" fmla="*/ 2147483647 h 6"/>
                      <a:gd name="T24" fmla="*/ 2147483647 w 9"/>
                      <a:gd name="T25" fmla="*/ 2147483647 h 6"/>
                      <a:gd name="T26" fmla="*/ 2147483647 w 9"/>
                      <a:gd name="T27" fmla="*/ 2147483647 h 6"/>
                      <a:gd name="T28" fmla="*/ 2147483647 w 9"/>
                      <a:gd name="T29" fmla="*/ 2147483647 h 6"/>
                      <a:gd name="T30" fmla="*/ 2147483647 w 9"/>
                      <a:gd name="T31" fmla="*/ 0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 h="6">
                        <a:moveTo>
                          <a:pt x="6" y="0"/>
                        </a:moveTo>
                        <a:lnTo>
                          <a:pt x="6" y="1"/>
                        </a:lnTo>
                        <a:lnTo>
                          <a:pt x="7" y="2"/>
                        </a:lnTo>
                        <a:lnTo>
                          <a:pt x="8" y="2"/>
                        </a:lnTo>
                        <a:lnTo>
                          <a:pt x="9" y="3"/>
                        </a:lnTo>
                        <a:lnTo>
                          <a:pt x="4" y="3"/>
                        </a:lnTo>
                        <a:lnTo>
                          <a:pt x="2" y="4"/>
                        </a:lnTo>
                        <a:lnTo>
                          <a:pt x="0" y="6"/>
                        </a:lnTo>
                        <a:lnTo>
                          <a:pt x="0" y="3"/>
                        </a:lnTo>
                        <a:lnTo>
                          <a:pt x="1" y="3"/>
                        </a:lnTo>
                        <a:lnTo>
                          <a:pt x="2" y="3"/>
                        </a:lnTo>
                        <a:lnTo>
                          <a:pt x="2" y="2"/>
                        </a:lnTo>
                        <a:lnTo>
                          <a:pt x="3" y="2"/>
                        </a:lnTo>
                        <a:lnTo>
                          <a:pt x="4" y="1"/>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4" name="Freeform 1627">
                    <a:extLst>
                      <a:ext uri="{FF2B5EF4-FFF2-40B4-BE49-F238E27FC236}">
                        <a16:creationId xmlns:a16="http://schemas.microsoft.com/office/drawing/2014/main" xmlns="" id="{C646A9F0-A5F2-4F1E-8F86-EE02F0C61966}"/>
                      </a:ext>
                    </a:extLst>
                  </p:cNvPr>
                  <p:cNvSpPr>
                    <a:spLocks/>
                  </p:cNvSpPr>
                  <p:nvPr/>
                </p:nvSpPr>
                <p:spPr bwMode="gray">
                  <a:xfrm>
                    <a:off x="4792461" y="3697247"/>
                    <a:ext cx="5563" cy="3337"/>
                  </a:xfrm>
                  <a:custGeom>
                    <a:avLst/>
                    <a:gdLst>
                      <a:gd name="T0" fmla="*/ 2147483647 w 5"/>
                      <a:gd name="T1" fmla="*/ 0 h 3"/>
                      <a:gd name="T2" fmla="*/ 2147483647 w 5"/>
                      <a:gd name="T3" fmla="*/ 2147483647 h 3"/>
                      <a:gd name="T4" fmla="*/ 2147483647 w 5"/>
                      <a:gd name="T5" fmla="*/ 2147483647 h 3"/>
                      <a:gd name="T6" fmla="*/ 2147483647 w 5"/>
                      <a:gd name="T7" fmla="*/ 2147483647 h 3"/>
                      <a:gd name="T8" fmla="*/ 2147483647 w 5"/>
                      <a:gd name="T9" fmla="*/ 2147483647 h 3"/>
                      <a:gd name="T10" fmla="*/ 0 w 5"/>
                      <a:gd name="T11" fmla="*/ 2147483647 h 3"/>
                      <a:gd name="T12" fmla="*/ 0 w 5"/>
                      <a:gd name="T13" fmla="*/ 2147483647 h 3"/>
                      <a:gd name="T14" fmla="*/ 0 w 5"/>
                      <a:gd name="T15" fmla="*/ 2147483647 h 3"/>
                      <a:gd name="T16" fmla="*/ 2147483647 w 5"/>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
                        <a:moveTo>
                          <a:pt x="3" y="0"/>
                        </a:moveTo>
                        <a:lnTo>
                          <a:pt x="5" y="1"/>
                        </a:lnTo>
                        <a:lnTo>
                          <a:pt x="5" y="2"/>
                        </a:lnTo>
                        <a:lnTo>
                          <a:pt x="5" y="3"/>
                        </a:lnTo>
                        <a:lnTo>
                          <a:pt x="3" y="3"/>
                        </a:lnTo>
                        <a:lnTo>
                          <a:pt x="0" y="3"/>
                        </a:lnTo>
                        <a:lnTo>
                          <a:pt x="0" y="2"/>
                        </a:lnTo>
                        <a:lnTo>
                          <a:pt x="0"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5" name="Freeform 1629">
                    <a:extLst>
                      <a:ext uri="{FF2B5EF4-FFF2-40B4-BE49-F238E27FC236}">
                        <a16:creationId xmlns:a16="http://schemas.microsoft.com/office/drawing/2014/main" xmlns="" id="{FAD8C777-9C3E-477E-A891-7C33C87C8D25}"/>
                      </a:ext>
                    </a:extLst>
                  </p:cNvPr>
                  <p:cNvSpPr>
                    <a:spLocks/>
                  </p:cNvSpPr>
                  <p:nvPr/>
                </p:nvSpPr>
                <p:spPr bwMode="gray">
                  <a:xfrm>
                    <a:off x="4842523" y="3672773"/>
                    <a:ext cx="2225" cy="6675"/>
                  </a:xfrm>
                  <a:custGeom>
                    <a:avLst/>
                    <a:gdLst>
                      <a:gd name="T0" fmla="*/ 2147483647 w 2"/>
                      <a:gd name="T1" fmla="*/ 0 h 6"/>
                      <a:gd name="T2" fmla="*/ 2147483647 w 2"/>
                      <a:gd name="T3" fmla="*/ 2147483647 h 6"/>
                      <a:gd name="T4" fmla="*/ 2147483647 w 2"/>
                      <a:gd name="T5" fmla="*/ 2147483647 h 6"/>
                      <a:gd name="T6" fmla="*/ 0 w 2"/>
                      <a:gd name="T7" fmla="*/ 2147483647 h 6"/>
                      <a:gd name="T8" fmla="*/ 0 w 2"/>
                      <a:gd name="T9" fmla="*/ 2147483647 h 6"/>
                      <a:gd name="T10" fmla="*/ 0 w 2"/>
                      <a:gd name="T11" fmla="*/ 2147483647 h 6"/>
                      <a:gd name="T12" fmla="*/ 2147483647 w 2"/>
                      <a:gd name="T13" fmla="*/ 0 h 6"/>
                      <a:gd name="T14" fmla="*/ 2147483647 w 2"/>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6">
                        <a:moveTo>
                          <a:pt x="2" y="0"/>
                        </a:moveTo>
                        <a:lnTo>
                          <a:pt x="2" y="1"/>
                        </a:lnTo>
                        <a:lnTo>
                          <a:pt x="1" y="3"/>
                        </a:lnTo>
                        <a:lnTo>
                          <a:pt x="0" y="5"/>
                        </a:lnTo>
                        <a:lnTo>
                          <a:pt x="0" y="6"/>
                        </a:lnTo>
                        <a:lnTo>
                          <a:pt x="0" y="2"/>
                        </a:lnTo>
                        <a:lnTo>
                          <a:pt x="1" y="0"/>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6" name="Freeform 1631">
                    <a:extLst>
                      <a:ext uri="{FF2B5EF4-FFF2-40B4-BE49-F238E27FC236}">
                        <a16:creationId xmlns:a16="http://schemas.microsoft.com/office/drawing/2014/main" xmlns="" id="{D582AE4A-0B52-4DBA-A1C9-C92F19C8A3A9}"/>
                      </a:ext>
                    </a:extLst>
                  </p:cNvPr>
                  <p:cNvSpPr>
                    <a:spLocks/>
                  </p:cNvSpPr>
                  <p:nvPr/>
                </p:nvSpPr>
                <p:spPr bwMode="gray">
                  <a:xfrm>
                    <a:off x="5032755" y="2623643"/>
                    <a:ext cx="189121" cy="166882"/>
                  </a:xfrm>
                  <a:custGeom>
                    <a:avLst/>
                    <a:gdLst>
                      <a:gd name="T0" fmla="*/ 2147483647 w 170"/>
                      <a:gd name="T1" fmla="*/ 2147483647 h 150"/>
                      <a:gd name="T2" fmla="*/ 2147483647 w 170"/>
                      <a:gd name="T3" fmla="*/ 2147483647 h 150"/>
                      <a:gd name="T4" fmla="*/ 2147483647 w 170"/>
                      <a:gd name="T5" fmla="*/ 2147483647 h 150"/>
                      <a:gd name="T6" fmla="*/ 2147483647 w 170"/>
                      <a:gd name="T7" fmla="*/ 2147483647 h 150"/>
                      <a:gd name="T8" fmla="*/ 2147483647 w 170"/>
                      <a:gd name="T9" fmla="*/ 2147483647 h 150"/>
                      <a:gd name="T10" fmla="*/ 2147483647 w 170"/>
                      <a:gd name="T11" fmla="*/ 2147483647 h 150"/>
                      <a:gd name="T12" fmla="*/ 2147483647 w 170"/>
                      <a:gd name="T13" fmla="*/ 2147483647 h 150"/>
                      <a:gd name="T14" fmla="*/ 2147483647 w 170"/>
                      <a:gd name="T15" fmla="*/ 2147483647 h 150"/>
                      <a:gd name="T16" fmla="*/ 2147483647 w 170"/>
                      <a:gd name="T17" fmla="*/ 2147483647 h 150"/>
                      <a:gd name="T18" fmla="*/ 2147483647 w 170"/>
                      <a:gd name="T19" fmla="*/ 2147483647 h 150"/>
                      <a:gd name="T20" fmla="*/ 2147483647 w 170"/>
                      <a:gd name="T21" fmla="*/ 2147483647 h 150"/>
                      <a:gd name="T22" fmla="*/ 2147483647 w 170"/>
                      <a:gd name="T23" fmla="*/ 2147483647 h 150"/>
                      <a:gd name="T24" fmla="*/ 2147483647 w 170"/>
                      <a:gd name="T25" fmla="*/ 2147483647 h 150"/>
                      <a:gd name="T26" fmla="*/ 2147483647 w 170"/>
                      <a:gd name="T27" fmla="*/ 2147483647 h 150"/>
                      <a:gd name="T28" fmla="*/ 2147483647 w 170"/>
                      <a:gd name="T29" fmla="*/ 2147483647 h 150"/>
                      <a:gd name="T30" fmla="*/ 2147483647 w 170"/>
                      <a:gd name="T31" fmla="*/ 2147483647 h 150"/>
                      <a:gd name="T32" fmla="*/ 2147483647 w 170"/>
                      <a:gd name="T33" fmla="*/ 2147483647 h 150"/>
                      <a:gd name="T34" fmla="*/ 2147483647 w 170"/>
                      <a:gd name="T35" fmla="*/ 0 h 150"/>
                      <a:gd name="T36" fmla="*/ 2147483647 w 170"/>
                      <a:gd name="T37" fmla="*/ 2147483647 h 150"/>
                      <a:gd name="T38" fmla="*/ 2147483647 w 170"/>
                      <a:gd name="T39" fmla="*/ 2147483647 h 150"/>
                      <a:gd name="T40" fmla="*/ 2147483647 w 170"/>
                      <a:gd name="T41" fmla="*/ 2147483647 h 150"/>
                      <a:gd name="T42" fmla="*/ 2147483647 w 170"/>
                      <a:gd name="T43" fmla="*/ 2147483647 h 150"/>
                      <a:gd name="T44" fmla="*/ 2147483647 w 170"/>
                      <a:gd name="T45" fmla="*/ 2147483647 h 150"/>
                      <a:gd name="T46" fmla="*/ 2147483647 w 170"/>
                      <a:gd name="T47" fmla="*/ 2147483647 h 150"/>
                      <a:gd name="T48" fmla="*/ 2147483647 w 170"/>
                      <a:gd name="T49" fmla="*/ 2147483647 h 150"/>
                      <a:gd name="T50" fmla="*/ 2147483647 w 170"/>
                      <a:gd name="T51" fmla="*/ 2147483647 h 150"/>
                      <a:gd name="T52" fmla="*/ 2147483647 w 170"/>
                      <a:gd name="T53" fmla="*/ 2147483647 h 150"/>
                      <a:gd name="T54" fmla="*/ 2147483647 w 170"/>
                      <a:gd name="T55" fmla="*/ 2147483647 h 150"/>
                      <a:gd name="T56" fmla="*/ 2147483647 w 170"/>
                      <a:gd name="T57" fmla="*/ 2147483647 h 150"/>
                      <a:gd name="T58" fmla="*/ 2147483647 w 170"/>
                      <a:gd name="T59" fmla="*/ 2147483647 h 150"/>
                      <a:gd name="T60" fmla="*/ 2147483647 w 170"/>
                      <a:gd name="T61" fmla="*/ 2147483647 h 150"/>
                      <a:gd name="T62" fmla="*/ 2147483647 w 170"/>
                      <a:gd name="T63" fmla="*/ 2147483647 h 150"/>
                      <a:gd name="T64" fmla="*/ 2147483647 w 170"/>
                      <a:gd name="T65" fmla="*/ 2147483647 h 150"/>
                      <a:gd name="T66" fmla="*/ 2147483647 w 170"/>
                      <a:gd name="T67" fmla="*/ 2147483647 h 150"/>
                      <a:gd name="T68" fmla="*/ 2147483647 w 170"/>
                      <a:gd name="T69" fmla="*/ 2147483647 h 150"/>
                      <a:gd name="T70" fmla="*/ 2147483647 w 170"/>
                      <a:gd name="T71" fmla="*/ 2147483647 h 150"/>
                      <a:gd name="T72" fmla="*/ 2147483647 w 170"/>
                      <a:gd name="T73" fmla="*/ 2147483647 h 150"/>
                      <a:gd name="T74" fmla="*/ 2147483647 w 170"/>
                      <a:gd name="T75" fmla="*/ 2147483647 h 150"/>
                      <a:gd name="T76" fmla="*/ 2147483647 w 170"/>
                      <a:gd name="T77" fmla="*/ 2147483647 h 150"/>
                      <a:gd name="T78" fmla="*/ 2147483647 w 170"/>
                      <a:gd name="T79" fmla="*/ 2147483647 h 150"/>
                      <a:gd name="T80" fmla="*/ 2147483647 w 170"/>
                      <a:gd name="T81" fmla="*/ 2147483647 h 150"/>
                      <a:gd name="T82" fmla="*/ 2147483647 w 170"/>
                      <a:gd name="T83" fmla="*/ 2147483647 h 150"/>
                      <a:gd name="T84" fmla="*/ 2147483647 w 170"/>
                      <a:gd name="T85" fmla="*/ 2147483647 h 150"/>
                      <a:gd name="T86" fmla="*/ 2147483647 w 170"/>
                      <a:gd name="T87" fmla="*/ 2147483647 h 150"/>
                      <a:gd name="T88" fmla="*/ 2147483647 w 170"/>
                      <a:gd name="T89" fmla="*/ 2147483647 h 150"/>
                      <a:gd name="T90" fmla="*/ 2147483647 w 170"/>
                      <a:gd name="T91" fmla="*/ 2147483647 h 150"/>
                      <a:gd name="T92" fmla="*/ 2147483647 w 170"/>
                      <a:gd name="T93" fmla="*/ 2147483647 h 150"/>
                      <a:gd name="T94" fmla="*/ 2147483647 w 170"/>
                      <a:gd name="T95" fmla="*/ 2147483647 h 150"/>
                      <a:gd name="T96" fmla="*/ 2147483647 w 170"/>
                      <a:gd name="T97" fmla="*/ 2147483647 h 150"/>
                      <a:gd name="T98" fmla="*/ 2147483647 w 170"/>
                      <a:gd name="T99" fmla="*/ 2147483647 h 150"/>
                      <a:gd name="T100" fmla="*/ 2147483647 w 170"/>
                      <a:gd name="T101" fmla="*/ 2147483647 h 150"/>
                      <a:gd name="T102" fmla="*/ 2147483647 w 170"/>
                      <a:gd name="T103" fmla="*/ 2147483647 h 150"/>
                      <a:gd name="T104" fmla="*/ 2147483647 w 170"/>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70" h="150">
                        <a:moveTo>
                          <a:pt x="163" y="111"/>
                        </a:moveTo>
                        <a:lnTo>
                          <a:pt x="161" y="111"/>
                        </a:lnTo>
                        <a:lnTo>
                          <a:pt x="160" y="110"/>
                        </a:lnTo>
                        <a:lnTo>
                          <a:pt x="160" y="111"/>
                        </a:lnTo>
                        <a:lnTo>
                          <a:pt x="160" y="110"/>
                        </a:lnTo>
                        <a:lnTo>
                          <a:pt x="160" y="108"/>
                        </a:lnTo>
                        <a:lnTo>
                          <a:pt x="160" y="107"/>
                        </a:lnTo>
                        <a:lnTo>
                          <a:pt x="160" y="105"/>
                        </a:lnTo>
                        <a:lnTo>
                          <a:pt x="157" y="105"/>
                        </a:lnTo>
                        <a:lnTo>
                          <a:pt x="157" y="103"/>
                        </a:lnTo>
                        <a:lnTo>
                          <a:pt x="157" y="102"/>
                        </a:lnTo>
                        <a:lnTo>
                          <a:pt x="157" y="101"/>
                        </a:lnTo>
                        <a:lnTo>
                          <a:pt x="156" y="100"/>
                        </a:lnTo>
                        <a:lnTo>
                          <a:pt x="154" y="98"/>
                        </a:lnTo>
                        <a:lnTo>
                          <a:pt x="154" y="96"/>
                        </a:lnTo>
                        <a:lnTo>
                          <a:pt x="154" y="95"/>
                        </a:lnTo>
                        <a:lnTo>
                          <a:pt x="154" y="94"/>
                        </a:lnTo>
                        <a:lnTo>
                          <a:pt x="153" y="92"/>
                        </a:lnTo>
                        <a:lnTo>
                          <a:pt x="150" y="91"/>
                        </a:lnTo>
                        <a:lnTo>
                          <a:pt x="148" y="90"/>
                        </a:lnTo>
                        <a:lnTo>
                          <a:pt x="147" y="88"/>
                        </a:lnTo>
                        <a:lnTo>
                          <a:pt x="145" y="85"/>
                        </a:lnTo>
                        <a:lnTo>
                          <a:pt x="144" y="83"/>
                        </a:lnTo>
                        <a:lnTo>
                          <a:pt x="144" y="79"/>
                        </a:lnTo>
                        <a:lnTo>
                          <a:pt x="143" y="76"/>
                        </a:lnTo>
                        <a:lnTo>
                          <a:pt x="142" y="74"/>
                        </a:lnTo>
                        <a:lnTo>
                          <a:pt x="137" y="69"/>
                        </a:lnTo>
                        <a:lnTo>
                          <a:pt x="137" y="67"/>
                        </a:lnTo>
                        <a:lnTo>
                          <a:pt x="137" y="65"/>
                        </a:lnTo>
                        <a:lnTo>
                          <a:pt x="137" y="64"/>
                        </a:lnTo>
                        <a:lnTo>
                          <a:pt x="137" y="62"/>
                        </a:lnTo>
                        <a:lnTo>
                          <a:pt x="136" y="61"/>
                        </a:lnTo>
                        <a:lnTo>
                          <a:pt x="135" y="60"/>
                        </a:lnTo>
                        <a:lnTo>
                          <a:pt x="132" y="59"/>
                        </a:lnTo>
                        <a:lnTo>
                          <a:pt x="131" y="58"/>
                        </a:lnTo>
                        <a:lnTo>
                          <a:pt x="131" y="53"/>
                        </a:lnTo>
                        <a:lnTo>
                          <a:pt x="132" y="49"/>
                        </a:lnTo>
                        <a:lnTo>
                          <a:pt x="134" y="45"/>
                        </a:lnTo>
                        <a:lnTo>
                          <a:pt x="137" y="43"/>
                        </a:lnTo>
                        <a:lnTo>
                          <a:pt x="140" y="39"/>
                        </a:lnTo>
                        <a:lnTo>
                          <a:pt x="142" y="40"/>
                        </a:lnTo>
                        <a:lnTo>
                          <a:pt x="143" y="41"/>
                        </a:lnTo>
                        <a:lnTo>
                          <a:pt x="144" y="42"/>
                        </a:lnTo>
                        <a:lnTo>
                          <a:pt x="144" y="43"/>
                        </a:lnTo>
                        <a:lnTo>
                          <a:pt x="146" y="42"/>
                        </a:lnTo>
                        <a:lnTo>
                          <a:pt x="148" y="41"/>
                        </a:lnTo>
                        <a:lnTo>
                          <a:pt x="150" y="40"/>
                        </a:lnTo>
                        <a:lnTo>
                          <a:pt x="150" y="39"/>
                        </a:lnTo>
                        <a:lnTo>
                          <a:pt x="152" y="39"/>
                        </a:lnTo>
                        <a:lnTo>
                          <a:pt x="154" y="39"/>
                        </a:lnTo>
                        <a:lnTo>
                          <a:pt x="155" y="39"/>
                        </a:lnTo>
                        <a:lnTo>
                          <a:pt x="157" y="39"/>
                        </a:lnTo>
                        <a:lnTo>
                          <a:pt x="159" y="37"/>
                        </a:lnTo>
                        <a:lnTo>
                          <a:pt x="158" y="34"/>
                        </a:lnTo>
                        <a:lnTo>
                          <a:pt x="158" y="32"/>
                        </a:lnTo>
                        <a:lnTo>
                          <a:pt x="157" y="30"/>
                        </a:lnTo>
                        <a:lnTo>
                          <a:pt x="159" y="30"/>
                        </a:lnTo>
                        <a:lnTo>
                          <a:pt x="160" y="28"/>
                        </a:lnTo>
                        <a:lnTo>
                          <a:pt x="160" y="24"/>
                        </a:lnTo>
                        <a:lnTo>
                          <a:pt x="162" y="22"/>
                        </a:lnTo>
                        <a:lnTo>
                          <a:pt x="163" y="20"/>
                        </a:lnTo>
                        <a:lnTo>
                          <a:pt x="164" y="19"/>
                        </a:lnTo>
                        <a:lnTo>
                          <a:pt x="166" y="17"/>
                        </a:lnTo>
                        <a:lnTo>
                          <a:pt x="167" y="15"/>
                        </a:lnTo>
                        <a:lnTo>
                          <a:pt x="168" y="13"/>
                        </a:lnTo>
                        <a:lnTo>
                          <a:pt x="169" y="12"/>
                        </a:lnTo>
                        <a:lnTo>
                          <a:pt x="170" y="10"/>
                        </a:lnTo>
                        <a:lnTo>
                          <a:pt x="169" y="8"/>
                        </a:lnTo>
                        <a:lnTo>
                          <a:pt x="168" y="7"/>
                        </a:lnTo>
                        <a:lnTo>
                          <a:pt x="166" y="7"/>
                        </a:lnTo>
                        <a:lnTo>
                          <a:pt x="166" y="6"/>
                        </a:lnTo>
                        <a:lnTo>
                          <a:pt x="165" y="6"/>
                        </a:lnTo>
                        <a:lnTo>
                          <a:pt x="163" y="5"/>
                        </a:lnTo>
                        <a:lnTo>
                          <a:pt x="163" y="4"/>
                        </a:lnTo>
                        <a:lnTo>
                          <a:pt x="163" y="5"/>
                        </a:lnTo>
                        <a:lnTo>
                          <a:pt x="163" y="6"/>
                        </a:lnTo>
                        <a:lnTo>
                          <a:pt x="163" y="4"/>
                        </a:lnTo>
                        <a:lnTo>
                          <a:pt x="160" y="4"/>
                        </a:lnTo>
                        <a:lnTo>
                          <a:pt x="159" y="4"/>
                        </a:lnTo>
                        <a:lnTo>
                          <a:pt x="158" y="4"/>
                        </a:lnTo>
                        <a:lnTo>
                          <a:pt x="157" y="4"/>
                        </a:lnTo>
                        <a:lnTo>
                          <a:pt x="150" y="6"/>
                        </a:lnTo>
                        <a:lnTo>
                          <a:pt x="144" y="6"/>
                        </a:lnTo>
                        <a:lnTo>
                          <a:pt x="137" y="5"/>
                        </a:lnTo>
                        <a:lnTo>
                          <a:pt x="131" y="4"/>
                        </a:lnTo>
                        <a:lnTo>
                          <a:pt x="129" y="5"/>
                        </a:lnTo>
                        <a:lnTo>
                          <a:pt x="128" y="6"/>
                        </a:lnTo>
                        <a:lnTo>
                          <a:pt x="125" y="6"/>
                        </a:lnTo>
                        <a:lnTo>
                          <a:pt x="121" y="7"/>
                        </a:lnTo>
                        <a:lnTo>
                          <a:pt x="117" y="6"/>
                        </a:lnTo>
                        <a:lnTo>
                          <a:pt x="114" y="6"/>
                        </a:lnTo>
                        <a:lnTo>
                          <a:pt x="111" y="4"/>
                        </a:lnTo>
                        <a:lnTo>
                          <a:pt x="108" y="2"/>
                        </a:lnTo>
                        <a:lnTo>
                          <a:pt x="105" y="3"/>
                        </a:lnTo>
                        <a:lnTo>
                          <a:pt x="102" y="4"/>
                        </a:lnTo>
                        <a:lnTo>
                          <a:pt x="99" y="4"/>
                        </a:lnTo>
                        <a:lnTo>
                          <a:pt x="95" y="3"/>
                        </a:lnTo>
                        <a:lnTo>
                          <a:pt x="90" y="0"/>
                        </a:lnTo>
                        <a:lnTo>
                          <a:pt x="86" y="0"/>
                        </a:lnTo>
                        <a:lnTo>
                          <a:pt x="84" y="2"/>
                        </a:lnTo>
                        <a:lnTo>
                          <a:pt x="83" y="3"/>
                        </a:lnTo>
                        <a:lnTo>
                          <a:pt x="82" y="5"/>
                        </a:lnTo>
                        <a:lnTo>
                          <a:pt x="80" y="7"/>
                        </a:lnTo>
                        <a:lnTo>
                          <a:pt x="79" y="6"/>
                        </a:lnTo>
                        <a:lnTo>
                          <a:pt x="78" y="4"/>
                        </a:lnTo>
                        <a:lnTo>
                          <a:pt x="77" y="3"/>
                        </a:lnTo>
                        <a:lnTo>
                          <a:pt x="76" y="0"/>
                        </a:lnTo>
                        <a:lnTo>
                          <a:pt x="74" y="4"/>
                        </a:lnTo>
                        <a:lnTo>
                          <a:pt x="73" y="6"/>
                        </a:lnTo>
                        <a:lnTo>
                          <a:pt x="71" y="8"/>
                        </a:lnTo>
                        <a:lnTo>
                          <a:pt x="69" y="10"/>
                        </a:lnTo>
                        <a:lnTo>
                          <a:pt x="63" y="11"/>
                        </a:lnTo>
                        <a:lnTo>
                          <a:pt x="57" y="11"/>
                        </a:lnTo>
                        <a:lnTo>
                          <a:pt x="51" y="12"/>
                        </a:lnTo>
                        <a:lnTo>
                          <a:pt x="44" y="10"/>
                        </a:lnTo>
                        <a:lnTo>
                          <a:pt x="44" y="12"/>
                        </a:lnTo>
                        <a:lnTo>
                          <a:pt x="44" y="13"/>
                        </a:lnTo>
                        <a:lnTo>
                          <a:pt x="44" y="15"/>
                        </a:lnTo>
                        <a:lnTo>
                          <a:pt x="44" y="17"/>
                        </a:lnTo>
                        <a:lnTo>
                          <a:pt x="41" y="17"/>
                        </a:lnTo>
                        <a:lnTo>
                          <a:pt x="40" y="19"/>
                        </a:lnTo>
                        <a:lnTo>
                          <a:pt x="38" y="20"/>
                        </a:lnTo>
                        <a:lnTo>
                          <a:pt x="35" y="20"/>
                        </a:lnTo>
                        <a:lnTo>
                          <a:pt x="33" y="19"/>
                        </a:lnTo>
                        <a:lnTo>
                          <a:pt x="32" y="17"/>
                        </a:lnTo>
                        <a:lnTo>
                          <a:pt x="31" y="17"/>
                        </a:lnTo>
                        <a:lnTo>
                          <a:pt x="26" y="22"/>
                        </a:lnTo>
                        <a:lnTo>
                          <a:pt x="25" y="24"/>
                        </a:lnTo>
                        <a:lnTo>
                          <a:pt x="24" y="27"/>
                        </a:lnTo>
                        <a:lnTo>
                          <a:pt x="20" y="27"/>
                        </a:lnTo>
                        <a:lnTo>
                          <a:pt x="18" y="27"/>
                        </a:lnTo>
                        <a:lnTo>
                          <a:pt x="16" y="27"/>
                        </a:lnTo>
                        <a:lnTo>
                          <a:pt x="15" y="27"/>
                        </a:lnTo>
                        <a:lnTo>
                          <a:pt x="14" y="29"/>
                        </a:lnTo>
                        <a:lnTo>
                          <a:pt x="12" y="30"/>
                        </a:lnTo>
                        <a:lnTo>
                          <a:pt x="14" y="30"/>
                        </a:lnTo>
                        <a:lnTo>
                          <a:pt x="15" y="31"/>
                        </a:lnTo>
                        <a:lnTo>
                          <a:pt x="13" y="33"/>
                        </a:lnTo>
                        <a:lnTo>
                          <a:pt x="12" y="36"/>
                        </a:lnTo>
                        <a:lnTo>
                          <a:pt x="12" y="38"/>
                        </a:lnTo>
                        <a:lnTo>
                          <a:pt x="12" y="39"/>
                        </a:lnTo>
                        <a:lnTo>
                          <a:pt x="11" y="39"/>
                        </a:lnTo>
                        <a:lnTo>
                          <a:pt x="10" y="38"/>
                        </a:lnTo>
                        <a:lnTo>
                          <a:pt x="9" y="36"/>
                        </a:lnTo>
                        <a:lnTo>
                          <a:pt x="8" y="36"/>
                        </a:lnTo>
                        <a:lnTo>
                          <a:pt x="7" y="36"/>
                        </a:lnTo>
                        <a:lnTo>
                          <a:pt x="5" y="36"/>
                        </a:lnTo>
                        <a:lnTo>
                          <a:pt x="2" y="46"/>
                        </a:lnTo>
                        <a:lnTo>
                          <a:pt x="0" y="50"/>
                        </a:lnTo>
                        <a:lnTo>
                          <a:pt x="1" y="52"/>
                        </a:lnTo>
                        <a:lnTo>
                          <a:pt x="3" y="54"/>
                        </a:lnTo>
                        <a:lnTo>
                          <a:pt x="5" y="55"/>
                        </a:lnTo>
                        <a:lnTo>
                          <a:pt x="4" y="55"/>
                        </a:lnTo>
                        <a:lnTo>
                          <a:pt x="4" y="56"/>
                        </a:lnTo>
                        <a:lnTo>
                          <a:pt x="5" y="57"/>
                        </a:lnTo>
                        <a:lnTo>
                          <a:pt x="5" y="58"/>
                        </a:lnTo>
                        <a:lnTo>
                          <a:pt x="2" y="58"/>
                        </a:lnTo>
                        <a:lnTo>
                          <a:pt x="2" y="62"/>
                        </a:lnTo>
                        <a:lnTo>
                          <a:pt x="2" y="65"/>
                        </a:lnTo>
                        <a:lnTo>
                          <a:pt x="2" y="67"/>
                        </a:lnTo>
                        <a:lnTo>
                          <a:pt x="2" y="69"/>
                        </a:lnTo>
                        <a:lnTo>
                          <a:pt x="2" y="71"/>
                        </a:lnTo>
                        <a:lnTo>
                          <a:pt x="4" y="72"/>
                        </a:lnTo>
                        <a:lnTo>
                          <a:pt x="5" y="72"/>
                        </a:lnTo>
                        <a:lnTo>
                          <a:pt x="3" y="76"/>
                        </a:lnTo>
                        <a:lnTo>
                          <a:pt x="2" y="79"/>
                        </a:lnTo>
                        <a:lnTo>
                          <a:pt x="2" y="82"/>
                        </a:lnTo>
                        <a:lnTo>
                          <a:pt x="2" y="88"/>
                        </a:lnTo>
                        <a:lnTo>
                          <a:pt x="4" y="87"/>
                        </a:lnTo>
                        <a:lnTo>
                          <a:pt x="5" y="87"/>
                        </a:lnTo>
                        <a:lnTo>
                          <a:pt x="5" y="85"/>
                        </a:lnTo>
                        <a:lnTo>
                          <a:pt x="5" y="84"/>
                        </a:lnTo>
                        <a:lnTo>
                          <a:pt x="5" y="94"/>
                        </a:lnTo>
                        <a:lnTo>
                          <a:pt x="7" y="95"/>
                        </a:lnTo>
                        <a:lnTo>
                          <a:pt x="8" y="95"/>
                        </a:lnTo>
                        <a:lnTo>
                          <a:pt x="9" y="96"/>
                        </a:lnTo>
                        <a:lnTo>
                          <a:pt x="9" y="98"/>
                        </a:lnTo>
                        <a:lnTo>
                          <a:pt x="11" y="98"/>
                        </a:lnTo>
                        <a:lnTo>
                          <a:pt x="12" y="100"/>
                        </a:lnTo>
                        <a:lnTo>
                          <a:pt x="12" y="105"/>
                        </a:lnTo>
                        <a:lnTo>
                          <a:pt x="14" y="105"/>
                        </a:lnTo>
                        <a:lnTo>
                          <a:pt x="15" y="105"/>
                        </a:lnTo>
                        <a:lnTo>
                          <a:pt x="16" y="105"/>
                        </a:lnTo>
                        <a:lnTo>
                          <a:pt x="18" y="105"/>
                        </a:lnTo>
                        <a:lnTo>
                          <a:pt x="19" y="106"/>
                        </a:lnTo>
                        <a:lnTo>
                          <a:pt x="21" y="107"/>
                        </a:lnTo>
                        <a:lnTo>
                          <a:pt x="21" y="108"/>
                        </a:lnTo>
                        <a:lnTo>
                          <a:pt x="26" y="109"/>
                        </a:lnTo>
                        <a:lnTo>
                          <a:pt x="29" y="108"/>
                        </a:lnTo>
                        <a:lnTo>
                          <a:pt x="31" y="107"/>
                        </a:lnTo>
                        <a:lnTo>
                          <a:pt x="32" y="105"/>
                        </a:lnTo>
                        <a:lnTo>
                          <a:pt x="33" y="104"/>
                        </a:lnTo>
                        <a:lnTo>
                          <a:pt x="35" y="103"/>
                        </a:lnTo>
                        <a:lnTo>
                          <a:pt x="37" y="103"/>
                        </a:lnTo>
                        <a:lnTo>
                          <a:pt x="40" y="105"/>
                        </a:lnTo>
                        <a:lnTo>
                          <a:pt x="40" y="115"/>
                        </a:lnTo>
                        <a:lnTo>
                          <a:pt x="40" y="116"/>
                        </a:lnTo>
                        <a:lnTo>
                          <a:pt x="40" y="117"/>
                        </a:lnTo>
                        <a:lnTo>
                          <a:pt x="40" y="118"/>
                        </a:lnTo>
                        <a:lnTo>
                          <a:pt x="40" y="120"/>
                        </a:lnTo>
                        <a:lnTo>
                          <a:pt x="40" y="123"/>
                        </a:lnTo>
                        <a:lnTo>
                          <a:pt x="40" y="125"/>
                        </a:lnTo>
                        <a:lnTo>
                          <a:pt x="38" y="128"/>
                        </a:lnTo>
                        <a:lnTo>
                          <a:pt x="38" y="130"/>
                        </a:lnTo>
                        <a:lnTo>
                          <a:pt x="40" y="128"/>
                        </a:lnTo>
                        <a:lnTo>
                          <a:pt x="44" y="127"/>
                        </a:lnTo>
                        <a:lnTo>
                          <a:pt x="47" y="126"/>
                        </a:lnTo>
                        <a:lnTo>
                          <a:pt x="50" y="124"/>
                        </a:lnTo>
                        <a:lnTo>
                          <a:pt x="53" y="122"/>
                        </a:lnTo>
                        <a:lnTo>
                          <a:pt x="55" y="122"/>
                        </a:lnTo>
                        <a:lnTo>
                          <a:pt x="58" y="122"/>
                        </a:lnTo>
                        <a:lnTo>
                          <a:pt x="60" y="120"/>
                        </a:lnTo>
                        <a:lnTo>
                          <a:pt x="61" y="120"/>
                        </a:lnTo>
                        <a:lnTo>
                          <a:pt x="62" y="120"/>
                        </a:lnTo>
                        <a:lnTo>
                          <a:pt x="63" y="120"/>
                        </a:lnTo>
                        <a:lnTo>
                          <a:pt x="64" y="120"/>
                        </a:lnTo>
                        <a:lnTo>
                          <a:pt x="65" y="118"/>
                        </a:lnTo>
                        <a:lnTo>
                          <a:pt x="66" y="118"/>
                        </a:lnTo>
                        <a:lnTo>
                          <a:pt x="67" y="117"/>
                        </a:lnTo>
                        <a:lnTo>
                          <a:pt x="69" y="117"/>
                        </a:lnTo>
                        <a:lnTo>
                          <a:pt x="70" y="117"/>
                        </a:lnTo>
                        <a:lnTo>
                          <a:pt x="71" y="117"/>
                        </a:lnTo>
                        <a:lnTo>
                          <a:pt x="72" y="117"/>
                        </a:lnTo>
                        <a:lnTo>
                          <a:pt x="73" y="117"/>
                        </a:lnTo>
                        <a:lnTo>
                          <a:pt x="75" y="118"/>
                        </a:lnTo>
                        <a:lnTo>
                          <a:pt x="76" y="119"/>
                        </a:lnTo>
                        <a:lnTo>
                          <a:pt x="76" y="120"/>
                        </a:lnTo>
                        <a:lnTo>
                          <a:pt x="78" y="120"/>
                        </a:lnTo>
                        <a:lnTo>
                          <a:pt x="79" y="119"/>
                        </a:lnTo>
                        <a:lnTo>
                          <a:pt x="80" y="118"/>
                        </a:lnTo>
                        <a:lnTo>
                          <a:pt x="80" y="117"/>
                        </a:lnTo>
                        <a:lnTo>
                          <a:pt x="83" y="118"/>
                        </a:lnTo>
                        <a:lnTo>
                          <a:pt x="86" y="121"/>
                        </a:lnTo>
                        <a:lnTo>
                          <a:pt x="89" y="124"/>
                        </a:lnTo>
                        <a:lnTo>
                          <a:pt x="92" y="127"/>
                        </a:lnTo>
                        <a:lnTo>
                          <a:pt x="95" y="129"/>
                        </a:lnTo>
                        <a:lnTo>
                          <a:pt x="97" y="130"/>
                        </a:lnTo>
                        <a:lnTo>
                          <a:pt x="102" y="130"/>
                        </a:lnTo>
                        <a:lnTo>
                          <a:pt x="104" y="132"/>
                        </a:lnTo>
                        <a:lnTo>
                          <a:pt x="105" y="134"/>
                        </a:lnTo>
                        <a:lnTo>
                          <a:pt x="107" y="135"/>
                        </a:lnTo>
                        <a:lnTo>
                          <a:pt x="109" y="137"/>
                        </a:lnTo>
                        <a:lnTo>
                          <a:pt x="109" y="138"/>
                        </a:lnTo>
                        <a:lnTo>
                          <a:pt x="109" y="139"/>
                        </a:lnTo>
                        <a:lnTo>
                          <a:pt x="109" y="140"/>
                        </a:lnTo>
                        <a:lnTo>
                          <a:pt x="111" y="142"/>
                        </a:lnTo>
                        <a:lnTo>
                          <a:pt x="112" y="143"/>
                        </a:lnTo>
                        <a:lnTo>
                          <a:pt x="112" y="144"/>
                        </a:lnTo>
                        <a:lnTo>
                          <a:pt x="114" y="146"/>
                        </a:lnTo>
                        <a:lnTo>
                          <a:pt x="116" y="146"/>
                        </a:lnTo>
                        <a:lnTo>
                          <a:pt x="117" y="147"/>
                        </a:lnTo>
                        <a:lnTo>
                          <a:pt x="118" y="148"/>
                        </a:lnTo>
                        <a:lnTo>
                          <a:pt x="118" y="150"/>
                        </a:lnTo>
                        <a:lnTo>
                          <a:pt x="120" y="150"/>
                        </a:lnTo>
                        <a:lnTo>
                          <a:pt x="121" y="150"/>
                        </a:lnTo>
                        <a:lnTo>
                          <a:pt x="123" y="150"/>
                        </a:lnTo>
                        <a:lnTo>
                          <a:pt x="125" y="150"/>
                        </a:lnTo>
                        <a:lnTo>
                          <a:pt x="127" y="150"/>
                        </a:lnTo>
                        <a:lnTo>
                          <a:pt x="131" y="150"/>
                        </a:lnTo>
                        <a:lnTo>
                          <a:pt x="133" y="149"/>
                        </a:lnTo>
                        <a:lnTo>
                          <a:pt x="135" y="146"/>
                        </a:lnTo>
                        <a:lnTo>
                          <a:pt x="136" y="144"/>
                        </a:lnTo>
                        <a:lnTo>
                          <a:pt x="140" y="143"/>
                        </a:lnTo>
                        <a:lnTo>
                          <a:pt x="143" y="142"/>
                        </a:lnTo>
                        <a:lnTo>
                          <a:pt x="145" y="142"/>
                        </a:lnTo>
                        <a:lnTo>
                          <a:pt x="148" y="142"/>
                        </a:lnTo>
                        <a:lnTo>
                          <a:pt x="150" y="143"/>
                        </a:lnTo>
                        <a:lnTo>
                          <a:pt x="160" y="143"/>
                        </a:lnTo>
                        <a:lnTo>
                          <a:pt x="160" y="142"/>
                        </a:lnTo>
                        <a:lnTo>
                          <a:pt x="161" y="141"/>
                        </a:lnTo>
                        <a:lnTo>
                          <a:pt x="162" y="139"/>
                        </a:lnTo>
                        <a:lnTo>
                          <a:pt x="163" y="137"/>
                        </a:lnTo>
                        <a:lnTo>
                          <a:pt x="163" y="136"/>
                        </a:lnTo>
                        <a:lnTo>
                          <a:pt x="163" y="134"/>
                        </a:lnTo>
                        <a:lnTo>
                          <a:pt x="163" y="132"/>
                        </a:lnTo>
                        <a:lnTo>
                          <a:pt x="163" y="131"/>
                        </a:lnTo>
                        <a:lnTo>
                          <a:pt x="163" y="130"/>
                        </a:lnTo>
                        <a:lnTo>
                          <a:pt x="163" y="126"/>
                        </a:lnTo>
                        <a:lnTo>
                          <a:pt x="164" y="124"/>
                        </a:lnTo>
                        <a:lnTo>
                          <a:pt x="166" y="124"/>
                        </a:lnTo>
                        <a:lnTo>
                          <a:pt x="167" y="124"/>
                        </a:lnTo>
                        <a:lnTo>
                          <a:pt x="168" y="124"/>
                        </a:lnTo>
                        <a:lnTo>
                          <a:pt x="169" y="124"/>
                        </a:lnTo>
                        <a:lnTo>
                          <a:pt x="170" y="124"/>
                        </a:lnTo>
                        <a:lnTo>
                          <a:pt x="170" y="122"/>
                        </a:lnTo>
                        <a:lnTo>
                          <a:pt x="170" y="120"/>
                        </a:lnTo>
                        <a:lnTo>
                          <a:pt x="170" y="119"/>
                        </a:lnTo>
                        <a:lnTo>
                          <a:pt x="170" y="117"/>
                        </a:lnTo>
                        <a:lnTo>
                          <a:pt x="169" y="117"/>
                        </a:lnTo>
                        <a:lnTo>
                          <a:pt x="168" y="117"/>
                        </a:lnTo>
                        <a:lnTo>
                          <a:pt x="165" y="116"/>
                        </a:lnTo>
                        <a:lnTo>
                          <a:pt x="163" y="115"/>
                        </a:lnTo>
                        <a:lnTo>
                          <a:pt x="163" y="114"/>
                        </a:lnTo>
                        <a:lnTo>
                          <a:pt x="163" y="113"/>
                        </a:lnTo>
                        <a:lnTo>
                          <a:pt x="163" y="112"/>
                        </a:lnTo>
                        <a:lnTo>
                          <a:pt x="163" y="11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7" name="Freeform 1633">
                    <a:extLst>
                      <a:ext uri="{FF2B5EF4-FFF2-40B4-BE49-F238E27FC236}">
                        <a16:creationId xmlns:a16="http://schemas.microsoft.com/office/drawing/2014/main" xmlns="" id="{0B2CF6F0-9CF3-463F-91FB-725DCF63F2E3}"/>
                      </a:ext>
                    </a:extLst>
                  </p:cNvPr>
                  <p:cNvSpPr>
                    <a:spLocks/>
                  </p:cNvSpPr>
                  <p:nvPr/>
                </p:nvSpPr>
                <p:spPr bwMode="gray">
                  <a:xfrm>
                    <a:off x="4966007" y="2757148"/>
                    <a:ext cx="6675" cy="7788"/>
                  </a:xfrm>
                  <a:custGeom>
                    <a:avLst/>
                    <a:gdLst>
                      <a:gd name="T0" fmla="*/ 2147483647 w 6"/>
                      <a:gd name="T1" fmla="*/ 0 h 7"/>
                      <a:gd name="T2" fmla="*/ 2147483647 w 6"/>
                      <a:gd name="T3" fmla="*/ 2147483647 h 7"/>
                      <a:gd name="T4" fmla="*/ 0 w 6"/>
                      <a:gd name="T5" fmla="*/ 2147483647 h 7"/>
                      <a:gd name="T6" fmla="*/ 0 w 6"/>
                      <a:gd name="T7" fmla="*/ 2147483647 h 7"/>
                      <a:gd name="T8" fmla="*/ 2147483647 w 6"/>
                      <a:gd name="T9" fmla="*/ 2147483647 h 7"/>
                      <a:gd name="T10" fmla="*/ 2147483647 w 6"/>
                      <a:gd name="T11" fmla="*/ 2147483647 h 7"/>
                      <a:gd name="T12" fmla="*/ 2147483647 w 6"/>
                      <a:gd name="T13" fmla="*/ 2147483647 h 7"/>
                      <a:gd name="T14" fmla="*/ 2147483647 w 6"/>
                      <a:gd name="T15" fmla="*/ 2147483647 h 7"/>
                      <a:gd name="T16" fmla="*/ 2147483647 w 6"/>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7">
                        <a:moveTo>
                          <a:pt x="4" y="0"/>
                        </a:moveTo>
                        <a:lnTo>
                          <a:pt x="2" y="3"/>
                        </a:lnTo>
                        <a:lnTo>
                          <a:pt x="0" y="5"/>
                        </a:lnTo>
                        <a:lnTo>
                          <a:pt x="0" y="7"/>
                        </a:lnTo>
                        <a:lnTo>
                          <a:pt x="1" y="7"/>
                        </a:lnTo>
                        <a:lnTo>
                          <a:pt x="3" y="5"/>
                        </a:lnTo>
                        <a:lnTo>
                          <a:pt x="5" y="2"/>
                        </a:lnTo>
                        <a:lnTo>
                          <a:pt x="6" y="1"/>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8" name="Freeform 1635">
                    <a:extLst>
                      <a:ext uri="{FF2B5EF4-FFF2-40B4-BE49-F238E27FC236}">
                        <a16:creationId xmlns:a16="http://schemas.microsoft.com/office/drawing/2014/main" xmlns="" id="{7B2AFAED-0B5D-458E-9635-B9C1FAB3C907}"/>
                      </a:ext>
                    </a:extLst>
                  </p:cNvPr>
                  <p:cNvSpPr>
                    <a:spLocks/>
                  </p:cNvSpPr>
                  <p:nvPr/>
                </p:nvSpPr>
                <p:spPr bwMode="gray">
                  <a:xfrm>
                    <a:off x="5004944" y="2749360"/>
                    <a:ext cx="4450" cy="7788"/>
                  </a:xfrm>
                  <a:custGeom>
                    <a:avLst/>
                    <a:gdLst>
                      <a:gd name="T0" fmla="*/ 2147483647 w 4"/>
                      <a:gd name="T1" fmla="*/ 2147483647 h 7"/>
                      <a:gd name="T2" fmla="*/ 0 w 4"/>
                      <a:gd name="T3" fmla="*/ 2147483647 h 7"/>
                      <a:gd name="T4" fmla="*/ 0 w 4"/>
                      <a:gd name="T5" fmla="*/ 2147483647 h 7"/>
                      <a:gd name="T6" fmla="*/ 0 w 4"/>
                      <a:gd name="T7" fmla="*/ 2147483647 h 7"/>
                      <a:gd name="T8" fmla="*/ 2147483647 w 4"/>
                      <a:gd name="T9" fmla="*/ 2147483647 h 7"/>
                      <a:gd name="T10" fmla="*/ 2147483647 w 4"/>
                      <a:gd name="T11" fmla="*/ 2147483647 h 7"/>
                      <a:gd name="T12" fmla="*/ 2147483647 w 4"/>
                      <a:gd name="T13" fmla="*/ 2147483647 h 7"/>
                      <a:gd name="T14" fmla="*/ 2147483647 w 4"/>
                      <a:gd name="T15" fmla="*/ 0 h 7"/>
                      <a:gd name="T16" fmla="*/ 2147483647 w 4"/>
                      <a:gd name="T17" fmla="*/ 0 h 7"/>
                      <a:gd name="T18" fmla="*/ 2147483647 w 4"/>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7">
                        <a:moveTo>
                          <a:pt x="1" y="1"/>
                        </a:moveTo>
                        <a:lnTo>
                          <a:pt x="0" y="1"/>
                        </a:lnTo>
                        <a:lnTo>
                          <a:pt x="0" y="3"/>
                        </a:lnTo>
                        <a:lnTo>
                          <a:pt x="0" y="6"/>
                        </a:lnTo>
                        <a:lnTo>
                          <a:pt x="1" y="7"/>
                        </a:lnTo>
                        <a:lnTo>
                          <a:pt x="2" y="6"/>
                        </a:lnTo>
                        <a:lnTo>
                          <a:pt x="4" y="2"/>
                        </a:lnTo>
                        <a:lnTo>
                          <a:pt x="4" y="0"/>
                        </a:lnTo>
                        <a:lnTo>
                          <a:pt x="3" y="0"/>
                        </a:lnTo>
                        <a:lnTo>
                          <a:pt x="1"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19" name="Freeform 1637">
                    <a:extLst>
                      <a:ext uri="{FF2B5EF4-FFF2-40B4-BE49-F238E27FC236}">
                        <a16:creationId xmlns:a16="http://schemas.microsoft.com/office/drawing/2014/main" xmlns="" id="{AB5699C3-7EA2-4E7B-B682-A1C0077C3811}"/>
                      </a:ext>
                    </a:extLst>
                  </p:cNvPr>
                  <p:cNvSpPr>
                    <a:spLocks/>
                  </p:cNvSpPr>
                  <p:nvPr/>
                </p:nvSpPr>
                <p:spPr bwMode="gray">
                  <a:xfrm>
                    <a:off x="5142891" y="2731560"/>
                    <a:ext cx="4450" cy="14463"/>
                  </a:xfrm>
                  <a:custGeom>
                    <a:avLst/>
                    <a:gdLst>
                      <a:gd name="T0" fmla="*/ 0 w 4"/>
                      <a:gd name="T1" fmla="*/ 0 h 13"/>
                      <a:gd name="T2" fmla="*/ 2147483647 w 4"/>
                      <a:gd name="T3" fmla="*/ 2147483647 h 13"/>
                      <a:gd name="T4" fmla="*/ 2147483647 w 4"/>
                      <a:gd name="T5" fmla="*/ 2147483647 h 13"/>
                      <a:gd name="T6" fmla="*/ 0 w 4"/>
                      <a:gd name="T7" fmla="*/ 2147483647 h 13"/>
                      <a:gd name="T8" fmla="*/ 0 w 4"/>
                      <a:gd name="T9" fmla="*/ 2147483647 h 13"/>
                      <a:gd name="T10" fmla="*/ 0 w 4"/>
                      <a:gd name="T11" fmla="*/ 2147483647 h 13"/>
                      <a:gd name="T12" fmla="*/ 0 w 4"/>
                      <a:gd name="T13" fmla="*/ 0 h 13"/>
                      <a:gd name="T14" fmla="*/ 0 w 4"/>
                      <a:gd name="T15" fmla="*/ 0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13">
                        <a:moveTo>
                          <a:pt x="0" y="0"/>
                        </a:moveTo>
                        <a:lnTo>
                          <a:pt x="4" y="3"/>
                        </a:lnTo>
                        <a:lnTo>
                          <a:pt x="4" y="13"/>
                        </a:lnTo>
                        <a:lnTo>
                          <a:pt x="0" y="13"/>
                        </a:lnTo>
                        <a:lnTo>
                          <a:pt x="0" y="8"/>
                        </a:lnTo>
                        <a:lnTo>
                          <a:pt x="0" y="4"/>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0" name="Freeform 1639">
                    <a:extLst>
                      <a:ext uri="{FF2B5EF4-FFF2-40B4-BE49-F238E27FC236}">
                        <a16:creationId xmlns:a16="http://schemas.microsoft.com/office/drawing/2014/main" xmlns="" id="{6366B361-23F5-4A87-B732-8E437C708C8C}"/>
                      </a:ext>
                    </a:extLst>
                  </p:cNvPr>
                  <p:cNvSpPr>
                    <a:spLocks/>
                  </p:cNvSpPr>
                  <p:nvPr/>
                </p:nvSpPr>
                <p:spPr bwMode="gray">
                  <a:xfrm>
                    <a:off x="4970457" y="2718209"/>
                    <a:ext cx="57849" cy="64527"/>
                  </a:xfrm>
                  <a:custGeom>
                    <a:avLst/>
                    <a:gdLst>
                      <a:gd name="T0" fmla="*/ 2147483647 w 52"/>
                      <a:gd name="T1" fmla="*/ 2147483647 h 58"/>
                      <a:gd name="T2" fmla="*/ 2147483647 w 52"/>
                      <a:gd name="T3" fmla="*/ 2147483647 h 58"/>
                      <a:gd name="T4" fmla="*/ 2147483647 w 52"/>
                      <a:gd name="T5" fmla="*/ 2147483647 h 58"/>
                      <a:gd name="T6" fmla="*/ 2147483647 w 52"/>
                      <a:gd name="T7" fmla="*/ 2147483647 h 58"/>
                      <a:gd name="T8" fmla="*/ 2147483647 w 52"/>
                      <a:gd name="T9" fmla="*/ 2147483647 h 58"/>
                      <a:gd name="T10" fmla="*/ 2147483647 w 52"/>
                      <a:gd name="T11" fmla="*/ 2147483647 h 58"/>
                      <a:gd name="T12" fmla="*/ 2147483647 w 52"/>
                      <a:gd name="T13" fmla="*/ 2147483647 h 58"/>
                      <a:gd name="T14" fmla="*/ 2147483647 w 52"/>
                      <a:gd name="T15" fmla="*/ 2147483647 h 58"/>
                      <a:gd name="T16" fmla="*/ 2147483647 w 52"/>
                      <a:gd name="T17" fmla="*/ 2147483647 h 58"/>
                      <a:gd name="T18" fmla="*/ 2147483647 w 52"/>
                      <a:gd name="T19" fmla="*/ 2147483647 h 58"/>
                      <a:gd name="T20" fmla="*/ 2147483647 w 52"/>
                      <a:gd name="T21" fmla="*/ 2147483647 h 58"/>
                      <a:gd name="T22" fmla="*/ 2147483647 w 52"/>
                      <a:gd name="T23" fmla="*/ 2147483647 h 58"/>
                      <a:gd name="T24" fmla="*/ 2147483647 w 52"/>
                      <a:gd name="T25" fmla="*/ 2147483647 h 58"/>
                      <a:gd name="T26" fmla="*/ 2147483647 w 52"/>
                      <a:gd name="T27" fmla="*/ 2147483647 h 58"/>
                      <a:gd name="T28" fmla="*/ 2147483647 w 52"/>
                      <a:gd name="T29" fmla="*/ 2147483647 h 58"/>
                      <a:gd name="T30" fmla="*/ 0 w 52"/>
                      <a:gd name="T31" fmla="*/ 2147483647 h 58"/>
                      <a:gd name="T32" fmla="*/ 2147483647 w 52"/>
                      <a:gd name="T33" fmla="*/ 2147483647 h 58"/>
                      <a:gd name="T34" fmla="*/ 2147483647 w 52"/>
                      <a:gd name="T35" fmla="*/ 2147483647 h 58"/>
                      <a:gd name="T36" fmla="*/ 2147483647 w 52"/>
                      <a:gd name="T37" fmla="*/ 2147483647 h 58"/>
                      <a:gd name="T38" fmla="*/ 2147483647 w 52"/>
                      <a:gd name="T39" fmla="*/ 2147483647 h 58"/>
                      <a:gd name="T40" fmla="*/ 2147483647 w 52"/>
                      <a:gd name="T41" fmla="*/ 2147483647 h 58"/>
                      <a:gd name="T42" fmla="*/ 0 w 52"/>
                      <a:gd name="T43" fmla="*/ 2147483647 h 58"/>
                      <a:gd name="T44" fmla="*/ 0 w 52"/>
                      <a:gd name="T45" fmla="*/ 2147483647 h 58"/>
                      <a:gd name="T46" fmla="*/ 2147483647 w 52"/>
                      <a:gd name="T47" fmla="*/ 2147483647 h 58"/>
                      <a:gd name="T48" fmla="*/ 2147483647 w 52"/>
                      <a:gd name="T49" fmla="*/ 2147483647 h 58"/>
                      <a:gd name="T50" fmla="*/ 2147483647 w 52"/>
                      <a:gd name="T51" fmla="*/ 2147483647 h 58"/>
                      <a:gd name="T52" fmla="*/ 2147483647 w 52"/>
                      <a:gd name="T53" fmla="*/ 2147483647 h 58"/>
                      <a:gd name="T54" fmla="*/ 2147483647 w 52"/>
                      <a:gd name="T55" fmla="*/ 2147483647 h 58"/>
                      <a:gd name="T56" fmla="*/ 2147483647 w 52"/>
                      <a:gd name="T57" fmla="*/ 2147483647 h 58"/>
                      <a:gd name="T58" fmla="*/ 2147483647 w 52"/>
                      <a:gd name="T59" fmla="*/ 2147483647 h 58"/>
                      <a:gd name="T60" fmla="*/ 2147483647 w 52"/>
                      <a:gd name="T61" fmla="*/ 2147483647 h 58"/>
                      <a:gd name="T62" fmla="*/ 2147483647 w 52"/>
                      <a:gd name="T63" fmla="*/ 2147483647 h 58"/>
                      <a:gd name="T64" fmla="*/ 2147483647 w 52"/>
                      <a:gd name="T65" fmla="*/ 2147483647 h 58"/>
                      <a:gd name="T66" fmla="*/ 2147483647 w 52"/>
                      <a:gd name="T67" fmla="*/ 2147483647 h 58"/>
                      <a:gd name="T68" fmla="*/ 2147483647 w 52"/>
                      <a:gd name="T69" fmla="*/ 2147483647 h 58"/>
                      <a:gd name="T70" fmla="*/ 2147483647 w 52"/>
                      <a:gd name="T71" fmla="*/ 2147483647 h 58"/>
                      <a:gd name="T72" fmla="*/ 2147483647 w 52"/>
                      <a:gd name="T73" fmla="*/ 2147483647 h 58"/>
                      <a:gd name="T74" fmla="*/ 2147483647 w 52"/>
                      <a:gd name="T75" fmla="*/ 2147483647 h 58"/>
                      <a:gd name="T76" fmla="*/ 2147483647 w 52"/>
                      <a:gd name="T77" fmla="*/ 2147483647 h 58"/>
                      <a:gd name="T78" fmla="*/ 2147483647 w 52"/>
                      <a:gd name="T79" fmla="*/ 2147483647 h 58"/>
                      <a:gd name="T80" fmla="*/ 2147483647 w 52"/>
                      <a:gd name="T81" fmla="*/ 2147483647 h 58"/>
                      <a:gd name="T82" fmla="*/ 2147483647 w 52"/>
                      <a:gd name="T83" fmla="*/ 2147483647 h 58"/>
                      <a:gd name="T84" fmla="*/ 2147483647 w 52"/>
                      <a:gd name="T85" fmla="*/ 2147483647 h 58"/>
                      <a:gd name="T86" fmla="*/ 2147483647 w 52"/>
                      <a:gd name="T87" fmla="*/ 2147483647 h 58"/>
                      <a:gd name="T88" fmla="*/ 2147483647 w 52"/>
                      <a:gd name="T89" fmla="*/ 2147483647 h 58"/>
                      <a:gd name="T90" fmla="*/ 2147483647 w 52"/>
                      <a:gd name="T91" fmla="*/ 2147483647 h 58"/>
                      <a:gd name="T92" fmla="*/ 2147483647 w 52"/>
                      <a:gd name="T93" fmla="*/ 2147483647 h 58"/>
                      <a:gd name="T94" fmla="*/ 2147483647 w 52"/>
                      <a:gd name="T95" fmla="*/ 2147483647 h 58"/>
                      <a:gd name="T96" fmla="*/ 2147483647 w 52"/>
                      <a:gd name="T97" fmla="*/ 2147483647 h 58"/>
                      <a:gd name="T98" fmla="*/ 2147483647 w 52"/>
                      <a:gd name="T99" fmla="*/ 2147483647 h 58"/>
                      <a:gd name="T100" fmla="*/ 2147483647 w 52"/>
                      <a:gd name="T101" fmla="*/ 2147483647 h 58"/>
                      <a:gd name="T102" fmla="*/ 2147483647 w 52"/>
                      <a:gd name="T103" fmla="*/ 2147483647 h 58"/>
                      <a:gd name="T104" fmla="*/ 2147483647 w 52"/>
                      <a:gd name="T105" fmla="*/ 2147483647 h 58"/>
                      <a:gd name="T106" fmla="*/ 2147483647 w 52"/>
                      <a:gd name="T107" fmla="*/ 2147483647 h 58"/>
                      <a:gd name="T108" fmla="*/ 2147483647 w 52"/>
                      <a:gd name="T109" fmla="*/ 0 h 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2" h="58">
                        <a:moveTo>
                          <a:pt x="39" y="0"/>
                        </a:moveTo>
                        <a:lnTo>
                          <a:pt x="36" y="1"/>
                        </a:lnTo>
                        <a:lnTo>
                          <a:pt x="34" y="3"/>
                        </a:lnTo>
                        <a:lnTo>
                          <a:pt x="31" y="5"/>
                        </a:lnTo>
                        <a:lnTo>
                          <a:pt x="29" y="4"/>
                        </a:lnTo>
                        <a:lnTo>
                          <a:pt x="28" y="4"/>
                        </a:lnTo>
                        <a:lnTo>
                          <a:pt x="27" y="4"/>
                        </a:lnTo>
                        <a:lnTo>
                          <a:pt x="25" y="4"/>
                        </a:lnTo>
                        <a:lnTo>
                          <a:pt x="25" y="6"/>
                        </a:lnTo>
                        <a:lnTo>
                          <a:pt x="25" y="9"/>
                        </a:lnTo>
                        <a:lnTo>
                          <a:pt x="16" y="9"/>
                        </a:lnTo>
                        <a:lnTo>
                          <a:pt x="16" y="11"/>
                        </a:lnTo>
                        <a:lnTo>
                          <a:pt x="16" y="13"/>
                        </a:lnTo>
                        <a:lnTo>
                          <a:pt x="16" y="15"/>
                        </a:lnTo>
                        <a:lnTo>
                          <a:pt x="16" y="16"/>
                        </a:lnTo>
                        <a:lnTo>
                          <a:pt x="14" y="16"/>
                        </a:lnTo>
                        <a:lnTo>
                          <a:pt x="13" y="15"/>
                        </a:lnTo>
                        <a:lnTo>
                          <a:pt x="13" y="13"/>
                        </a:lnTo>
                        <a:lnTo>
                          <a:pt x="9" y="20"/>
                        </a:lnTo>
                        <a:lnTo>
                          <a:pt x="9" y="18"/>
                        </a:lnTo>
                        <a:lnTo>
                          <a:pt x="8" y="18"/>
                        </a:lnTo>
                        <a:lnTo>
                          <a:pt x="7" y="19"/>
                        </a:lnTo>
                        <a:lnTo>
                          <a:pt x="6" y="20"/>
                        </a:lnTo>
                        <a:lnTo>
                          <a:pt x="6" y="19"/>
                        </a:lnTo>
                        <a:lnTo>
                          <a:pt x="6" y="16"/>
                        </a:lnTo>
                        <a:lnTo>
                          <a:pt x="6" y="14"/>
                        </a:lnTo>
                        <a:lnTo>
                          <a:pt x="6" y="13"/>
                        </a:lnTo>
                        <a:lnTo>
                          <a:pt x="4" y="13"/>
                        </a:lnTo>
                        <a:lnTo>
                          <a:pt x="1" y="15"/>
                        </a:lnTo>
                        <a:lnTo>
                          <a:pt x="0" y="16"/>
                        </a:lnTo>
                        <a:lnTo>
                          <a:pt x="1" y="17"/>
                        </a:lnTo>
                        <a:lnTo>
                          <a:pt x="1" y="18"/>
                        </a:lnTo>
                        <a:lnTo>
                          <a:pt x="1" y="19"/>
                        </a:lnTo>
                        <a:lnTo>
                          <a:pt x="3" y="20"/>
                        </a:lnTo>
                        <a:lnTo>
                          <a:pt x="6" y="23"/>
                        </a:lnTo>
                        <a:lnTo>
                          <a:pt x="6" y="25"/>
                        </a:lnTo>
                        <a:lnTo>
                          <a:pt x="6" y="26"/>
                        </a:lnTo>
                        <a:lnTo>
                          <a:pt x="2" y="28"/>
                        </a:lnTo>
                        <a:lnTo>
                          <a:pt x="0" y="28"/>
                        </a:lnTo>
                        <a:lnTo>
                          <a:pt x="0" y="30"/>
                        </a:lnTo>
                        <a:lnTo>
                          <a:pt x="0" y="32"/>
                        </a:lnTo>
                        <a:lnTo>
                          <a:pt x="0" y="33"/>
                        </a:lnTo>
                        <a:lnTo>
                          <a:pt x="1" y="34"/>
                        </a:lnTo>
                        <a:lnTo>
                          <a:pt x="2" y="35"/>
                        </a:lnTo>
                        <a:lnTo>
                          <a:pt x="3" y="35"/>
                        </a:lnTo>
                        <a:lnTo>
                          <a:pt x="5" y="35"/>
                        </a:lnTo>
                        <a:lnTo>
                          <a:pt x="6" y="35"/>
                        </a:lnTo>
                        <a:lnTo>
                          <a:pt x="9" y="35"/>
                        </a:lnTo>
                        <a:lnTo>
                          <a:pt x="11" y="36"/>
                        </a:lnTo>
                        <a:lnTo>
                          <a:pt x="14" y="39"/>
                        </a:lnTo>
                        <a:lnTo>
                          <a:pt x="16" y="42"/>
                        </a:lnTo>
                        <a:lnTo>
                          <a:pt x="14" y="42"/>
                        </a:lnTo>
                        <a:lnTo>
                          <a:pt x="13" y="44"/>
                        </a:lnTo>
                        <a:lnTo>
                          <a:pt x="13" y="47"/>
                        </a:lnTo>
                        <a:lnTo>
                          <a:pt x="13" y="48"/>
                        </a:lnTo>
                        <a:lnTo>
                          <a:pt x="11" y="48"/>
                        </a:lnTo>
                        <a:lnTo>
                          <a:pt x="9" y="48"/>
                        </a:lnTo>
                        <a:lnTo>
                          <a:pt x="8" y="48"/>
                        </a:lnTo>
                        <a:lnTo>
                          <a:pt x="6" y="48"/>
                        </a:lnTo>
                        <a:lnTo>
                          <a:pt x="6" y="52"/>
                        </a:lnTo>
                        <a:lnTo>
                          <a:pt x="5" y="54"/>
                        </a:lnTo>
                        <a:lnTo>
                          <a:pt x="6" y="56"/>
                        </a:lnTo>
                        <a:lnTo>
                          <a:pt x="9" y="58"/>
                        </a:lnTo>
                        <a:lnTo>
                          <a:pt x="11" y="57"/>
                        </a:lnTo>
                        <a:lnTo>
                          <a:pt x="13" y="56"/>
                        </a:lnTo>
                        <a:lnTo>
                          <a:pt x="14" y="54"/>
                        </a:lnTo>
                        <a:lnTo>
                          <a:pt x="16" y="51"/>
                        </a:lnTo>
                        <a:lnTo>
                          <a:pt x="17" y="42"/>
                        </a:lnTo>
                        <a:lnTo>
                          <a:pt x="18" y="37"/>
                        </a:lnTo>
                        <a:lnTo>
                          <a:pt x="20" y="32"/>
                        </a:lnTo>
                        <a:lnTo>
                          <a:pt x="24" y="32"/>
                        </a:lnTo>
                        <a:lnTo>
                          <a:pt x="25" y="31"/>
                        </a:lnTo>
                        <a:lnTo>
                          <a:pt x="28" y="31"/>
                        </a:lnTo>
                        <a:lnTo>
                          <a:pt x="32" y="32"/>
                        </a:lnTo>
                        <a:lnTo>
                          <a:pt x="32" y="30"/>
                        </a:lnTo>
                        <a:lnTo>
                          <a:pt x="34" y="30"/>
                        </a:lnTo>
                        <a:lnTo>
                          <a:pt x="35" y="30"/>
                        </a:lnTo>
                        <a:lnTo>
                          <a:pt x="37" y="27"/>
                        </a:lnTo>
                        <a:lnTo>
                          <a:pt x="37" y="25"/>
                        </a:lnTo>
                        <a:lnTo>
                          <a:pt x="37" y="24"/>
                        </a:lnTo>
                        <a:lnTo>
                          <a:pt x="39" y="23"/>
                        </a:lnTo>
                        <a:lnTo>
                          <a:pt x="40" y="23"/>
                        </a:lnTo>
                        <a:lnTo>
                          <a:pt x="42" y="23"/>
                        </a:lnTo>
                        <a:lnTo>
                          <a:pt x="45" y="22"/>
                        </a:lnTo>
                        <a:lnTo>
                          <a:pt x="47" y="21"/>
                        </a:lnTo>
                        <a:lnTo>
                          <a:pt x="52" y="16"/>
                        </a:lnTo>
                        <a:lnTo>
                          <a:pt x="51" y="15"/>
                        </a:lnTo>
                        <a:lnTo>
                          <a:pt x="51" y="13"/>
                        </a:lnTo>
                        <a:lnTo>
                          <a:pt x="52" y="13"/>
                        </a:lnTo>
                        <a:lnTo>
                          <a:pt x="50" y="12"/>
                        </a:lnTo>
                        <a:lnTo>
                          <a:pt x="48" y="11"/>
                        </a:lnTo>
                        <a:lnTo>
                          <a:pt x="46" y="10"/>
                        </a:lnTo>
                        <a:lnTo>
                          <a:pt x="45" y="9"/>
                        </a:lnTo>
                        <a:lnTo>
                          <a:pt x="44" y="7"/>
                        </a:lnTo>
                        <a:lnTo>
                          <a:pt x="43" y="5"/>
                        </a:lnTo>
                        <a:lnTo>
                          <a:pt x="42" y="3"/>
                        </a:lnTo>
                        <a:lnTo>
                          <a:pt x="3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1" name="Freeform 1641">
                    <a:extLst>
                      <a:ext uri="{FF2B5EF4-FFF2-40B4-BE49-F238E27FC236}">
                        <a16:creationId xmlns:a16="http://schemas.microsoft.com/office/drawing/2014/main" xmlns="" id="{A35EFBC3-8672-485C-ABC5-5BB154D7F4C5}"/>
                      </a:ext>
                    </a:extLst>
                  </p:cNvPr>
                  <p:cNvSpPr>
                    <a:spLocks/>
                  </p:cNvSpPr>
                  <p:nvPr/>
                </p:nvSpPr>
                <p:spPr bwMode="gray">
                  <a:xfrm>
                    <a:off x="5022743" y="2714871"/>
                    <a:ext cx="7787" cy="13350"/>
                  </a:xfrm>
                  <a:custGeom>
                    <a:avLst/>
                    <a:gdLst>
                      <a:gd name="T0" fmla="*/ 2147483647 w 7"/>
                      <a:gd name="T1" fmla="*/ 0 h 12"/>
                      <a:gd name="T2" fmla="*/ 2147483647 w 7"/>
                      <a:gd name="T3" fmla="*/ 2147483647 h 12"/>
                      <a:gd name="T4" fmla="*/ 2147483647 w 7"/>
                      <a:gd name="T5" fmla="*/ 2147483647 h 12"/>
                      <a:gd name="T6" fmla="*/ 0 w 7"/>
                      <a:gd name="T7" fmla="*/ 2147483647 h 12"/>
                      <a:gd name="T8" fmla="*/ 2147483647 w 7"/>
                      <a:gd name="T9" fmla="*/ 2147483647 h 12"/>
                      <a:gd name="T10" fmla="*/ 2147483647 w 7"/>
                      <a:gd name="T11" fmla="*/ 2147483647 h 12"/>
                      <a:gd name="T12" fmla="*/ 2147483647 w 7"/>
                      <a:gd name="T13" fmla="*/ 2147483647 h 12"/>
                      <a:gd name="T14" fmla="*/ 2147483647 w 7"/>
                      <a:gd name="T15" fmla="*/ 2147483647 h 12"/>
                      <a:gd name="T16" fmla="*/ 2147483647 w 7"/>
                      <a:gd name="T17" fmla="*/ 2147483647 h 12"/>
                      <a:gd name="T18" fmla="*/ 2147483647 w 7"/>
                      <a:gd name="T19" fmla="*/ 2147483647 h 12"/>
                      <a:gd name="T20" fmla="*/ 2147483647 w 7"/>
                      <a:gd name="T21" fmla="*/ 2147483647 h 12"/>
                      <a:gd name="T22" fmla="*/ 2147483647 w 7"/>
                      <a:gd name="T23" fmla="*/ 2147483647 h 12"/>
                      <a:gd name="T24" fmla="*/ 2147483647 w 7"/>
                      <a:gd name="T25" fmla="*/ 2147483647 h 12"/>
                      <a:gd name="T26" fmla="*/ 2147483647 w 7"/>
                      <a:gd name="T27" fmla="*/ 2147483647 h 12"/>
                      <a:gd name="T28" fmla="*/ 2147483647 w 7"/>
                      <a:gd name="T29" fmla="*/ 2147483647 h 12"/>
                      <a:gd name="T30" fmla="*/ 2147483647 w 7"/>
                      <a:gd name="T31" fmla="*/ 2147483647 h 12"/>
                      <a:gd name="T32" fmla="*/ 2147483647 w 7"/>
                      <a:gd name="T33" fmla="*/ 2147483647 h 12"/>
                      <a:gd name="T34" fmla="*/ 2147483647 w 7"/>
                      <a:gd name="T35" fmla="*/ 0 h 12"/>
                      <a:gd name="T36" fmla="*/ 2147483647 w 7"/>
                      <a:gd name="T37" fmla="*/ 0 h 12"/>
                      <a:gd name="T38" fmla="*/ 2147483647 w 7"/>
                      <a:gd name="T39" fmla="*/ 0 h 12"/>
                      <a:gd name="T40" fmla="*/ 2147483647 w 7"/>
                      <a:gd name="T41" fmla="*/ 0 h 12"/>
                      <a:gd name="T42" fmla="*/ 2147483647 w 7"/>
                      <a:gd name="T43" fmla="*/ 0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 h="12">
                        <a:moveTo>
                          <a:pt x="1" y="0"/>
                        </a:moveTo>
                        <a:lnTo>
                          <a:pt x="1" y="1"/>
                        </a:lnTo>
                        <a:lnTo>
                          <a:pt x="1" y="3"/>
                        </a:lnTo>
                        <a:lnTo>
                          <a:pt x="0" y="6"/>
                        </a:lnTo>
                        <a:lnTo>
                          <a:pt x="1" y="7"/>
                        </a:lnTo>
                        <a:lnTo>
                          <a:pt x="2" y="9"/>
                        </a:lnTo>
                        <a:lnTo>
                          <a:pt x="4" y="9"/>
                        </a:lnTo>
                        <a:lnTo>
                          <a:pt x="3" y="10"/>
                        </a:lnTo>
                        <a:lnTo>
                          <a:pt x="3" y="11"/>
                        </a:lnTo>
                        <a:lnTo>
                          <a:pt x="4" y="12"/>
                        </a:lnTo>
                        <a:lnTo>
                          <a:pt x="5" y="12"/>
                        </a:lnTo>
                        <a:lnTo>
                          <a:pt x="6" y="12"/>
                        </a:lnTo>
                        <a:lnTo>
                          <a:pt x="7" y="11"/>
                        </a:lnTo>
                        <a:lnTo>
                          <a:pt x="7" y="9"/>
                        </a:lnTo>
                        <a:lnTo>
                          <a:pt x="7" y="0"/>
                        </a:lnTo>
                        <a:lnTo>
                          <a:pt x="5" y="0"/>
                        </a:lnTo>
                        <a:lnTo>
                          <a:pt x="4" y="0"/>
                        </a:lnTo>
                        <a:lnTo>
                          <a:pt x="3"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2" name="Freeform 1644">
                    <a:extLst>
                      <a:ext uri="{FF2B5EF4-FFF2-40B4-BE49-F238E27FC236}">
                        <a16:creationId xmlns:a16="http://schemas.microsoft.com/office/drawing/2014/main" xmlns="" id="{75DF6891-1ACA-4F32-AC99-76F142968E0C}"/>
                      </a:ext>
                    </a:extLst>
                  </p:cNvPr>
                  <p:cNvSpPr>
                    <a:spLocks/>
                  </p:cNvSpPr>
                  <p:nvPr/>
                </p:nvSpPr>
                <p:spPr bwMode="gray">
                  <a:xfrm>
                    <a:off x="5016069" y="2700408"/>
                    <a:ext cx="1113" cy="3337"/>
                  </a:xfrm>
                  <a:custGeom>
                    <a:avLst/>
                    <a:gdLst>
                      <a:gd name="T0" fmla="*/ 2147483647 w 1"/>
                      <a:gd name="T1" fmla="*/ 0 h 3"/>
                      <a:gd name="T2" fmla="*/ 0 w 1"/>
                      <a:gd name="T3" fmla="*/ 0 h 3"/>
                      <a:gd name="T4" fmla="*/ 0 w 1"/>
                      <a:gd name="T5" fmla="*/ 0 h 3"/>
                      <a:gd name="T6" fmla="*/ 0 w 1"/>
                      <a:gd name="T7" fmla="*/ 2147483647 h 3"/>
                      <a:gd name="T8" fmla="*/ 2147483647 w 1"/>
                      <a:gd name="T9" fmla="*/ 2147483647 h 3"/>
                      <a:gd name="T10" fmla="*/ 2147483647 w 1"/>
                      <a:gd name="T11" fmla="*/ 2147483647 h 3"/>
                      <a:gd name="T12" fmla="*/ 2147483647 w 1"/>
                      <a:gd name="T13" fmla="*/ 0 h 3"/>
                      <a:gd name="T14" fmla="*/ 2147483647 w 1"/>
                      <a:gd name="T15" fmla="*/ 0 h 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 h="3">
                        <a:moveTo>
                          <a:pt x="1" y="0"/>
                        </a:moveTo>
                        <a:lnTo>
                          <a:pt x="0" y="0"/>
                        </a:lnTo>
                        <a:lnTo>
                          <a:pt x="0" y="1"/>
                        </a:lnTo>
                        <a:lnTo>
                          <a:pt x="1" y="3"/>
                        </a:lnTo>
                        <a:lnTo>
                          <a:pt x="1" y="1"/>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3" name="Freeform 1646">
                    <a:extLst>
                      <a:ext uri="{FF2B5EF4-FFF2-40B4-BE49-F238E27FC236}">
                        <a16:creationId xmlns:a16="http://schemas.microsoft.com/office/drawing/2014/main" xmlns="" id="{38BC00BB-2764-4D13-89A6-685126CC55DA}"/>
                      </a:ext>
                    </a:extLst>
                  </p:cNvPr>
                  <p:cNvSpPr>
                    <a:spLocks/>
                  </p:cNvSpPr>
                  <p:nvPr/>
                </p:nvSpPr>
                <p:spPr bwMode="gray">
                  <a:xfrm>
                    <a:off x="5019405" y="2682607"/>
                    <a:ext cx="11125" cy="10013"/>
                  </a:xfrm>
                  <a:custGeom>
                    <a:avLst/>
                    <a:gdLst>
                      <a:gd name="T0" fmla="*/ 2147483647 w 10"/>
                      <a:gd name="T1" fmla="*/ 0 h 9"/>
                      <a:gd name="T2" fmla="*/ 2147483647 w 10"/>
                      <a:gd name="T3" fmla="*/ 0 h 9"/>
                      <a:gd name="T4" fmla="*/ 2147483647 w 10"/>
                      <a:gd name="T5" fmla="*/ 2147483647 h 9"/>
                      <a:gd name="T6" fmla="*/ 2147483647 w 10"/>
                      <a:gd name="T7" fmla="*/ 2147483647 h 9"/>
                      <a:gd name="T8" fmla="*/ 2147483647 w 10"/>
                      <a:gd name="T9" fmla="*/ 2147483647 h 9"/>
                      <a:gd name="T10" fmla="*/ 2147483647 w 10"/>
                      <a:gd name="T11" fmla="*/ 2147483647 h 9"/>
                      <a:gd name="T12" fmla="*/ 0 w 10"/>
                      <a:gd name="T13" fmla="*/ 2147483647 h 9"/>
                      <a:gd name="T14" fmla="*/ 0 w 10"/>
                      <a:gd name="T15" fmla="*/ 2147483647 h 9"/>
                      <a:gd name="T16" fmla="*/ 2147483647 w 10"/>
                      <a:gd name="T17" fmla="*/ 2147483647 h 9"/>
                      <a:gd name="T18" fmla="*/ 2147483647 w 10"/>
                      <a:gd name="T19" fmla="*/ 2147483647 h 9"/>
                      <a:gd name="T20" fmla="*/ 2147483647 w 10"/>
                      <a:gd name="T21" fmla="*/ 2147483647 h 9"/>
                      <a:gd name="T22" fmla="*/ 2147483647 w 10"/>
                      <a:gd name="T23" fmla="*/ 2147483647 h 9"/>
                      <a:gd name="T24" fmla="*/ 2147483647 w 10"/>
                      <a:gd name="T25" fmla="*/ 2147483647 h 9"/>
                      <a:gd name="T26" fmla="*/ 2147483647 w 10"/>
                      <a:gd name="T27" fmla="*/ 2147483647 h 9"/>
                      <a:gd name="T28" fmla="*/ 2147483647 w 10"/>
                      <a:gd name="T29" fmla="*/ 2147483647 h 9"/>
                      <a:gd name="T30" fmla="*/ 2147483647 w 10"/>
                      <a:gd name="T31" fmla="*/ 2147483647 h 9"/>
                      <a:gd name="T32" fmla="*/ 2147483647 w 10"/>
                      <a:gd name="T33" fmla="*/ 2147483647 h 9"/>
                      <a:gd name="T34" fmla="*/ 2147483647 w 10"/>
                      <a:gd name="T35" fmla="*/ 2147483647 h 9"/>
                      <a:gd name="T36" fmla="*/ 2147483647 w 10"/>
                      <a:gd name="T37" fmla="*/ 2147483647 h 9"/>
                      <a:gd name="T38" fmla="*/ 2147483647 w 10"/>
                      <a:gd name="T39" fmla="*/ 2147483647 h 9"/>
                      <a:gd name="T40" fmla="*/ 2147483647 w 10"/>
                      <a:gd name="T41" fmla="*/ 2147483647 h 9"/>
                      <a:gd name="T42" fmla="*/ 2147483647 w 10"/>
                      <a:gd name="T43" fmla="*/ 2147483647 h 9"/>
                      <a:gd name="T44" fmla="*/ 2147483647 w 10"/>
                      <a:gd name="T45" fmla="*/ 2147483647 h 9"/>
                      <a:gd name="T46" fmla="*/ 2147483647 w 10"/>
                      <a:gd name="T47" fmla="*/ 2147483647 h 9"/>
                      <a:gd name="T48" fmla="*/ 2147483647 w 10"/>
                      <a:gd name="T49" fmla="*/ 2147483647 h 9"/>
                      <a:gd name="T50" fmla="*/ 2147483647 w 10"/>
                      <a:gd name="T51" fmla="*/ 0 h 9"/>
                      <a:gd name="T52" fmla="*/ 2147483647 w 10"/>
                      <a:gd name="T53" fmla="*/ 0 h 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 h="9">
                        <a:moveTo>
                          <a:pt x="7" y="0"/>
                        </a:moveTo>
                        <a:lnTo>
                          <a:pt x="6" y="0"/>
                        </a:lnTo>
                        <a:lnTo>
                          <a:pt x="4" y="2"/>
                        </a:lnTo>
                        <a:lnTo>
                          <a:pt x="3" y="3"/>
                        </a:lnTo>
                        <a:lnTo>
                          <a:pt x="1" y="3"/>
                        </a:lnTo>
                        <a:lnTo>
                          <a:pt x="1" y="4"/>
                        </a:lnTo>
                        <a:lnTo>
                          <a:pt x="0" y="4"/>
                        </a:lnTo>
                        <a:lnTo>
                          <a:pt x="0" y="5"/>
                        </a:lnTo>
                        <a:lnTo>
                          <a:pt x="1" y="5"/>
                        </a:lnTo>
                        <a:lnTo>
                          <a:pt x="1" y="9"/>
                        </a:lnTo>
                        <a:lnTo>
                          <a:pt x="3" y="9"/>
                        </a:lnTo>
                        <a:lnTo>
                          <a:pt x="4" y="9"/>
                        </a:lnTo>
                        <a:lnTo>
                          <a:pt x="5" y="9"/>
                        </a:lnTo>
                        <a:lnTo>
                          <a:pt x="7" y="9"/>
                        </a:lnTo>
                        <a:lnTo>
                          <a:pt x="5" y="9"/>
                        </a:lnTo>
                        <a:lnTo>
                          <a:pt x="4" y="9"/>
                        </a:lnTo>
                        <a:lnTo>
                          <a:pt x="6" y="9"/>
                        </a:lnTo>
                        <a:lnTo>
                          <a:pt x="7" y="8"/>
                        </a:lnTo>
                        <a:lnTo>
                          <a:pt x="8" y="7"/>
                        </a:lnTo>
                        <a:lnTo>
                          <a:pt x="10" y="5"/>
                        </a:lnTo>
                        <a:lnTo>
                          <a:pt x="10" y="4"/>
                        </a:lnTo>
                        <a:lnTo>
                          <a:pt x="10" y="3"/>
                        </a:lnTo>
                        <a:lnTo>
                          <a:pt x="10" y="2"/>
                        </a:lnTo>
                        <a:lnTo>
                          <a:pt x="10" y="0"/>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4" name="Freeform 1648">
                    <a:extLst>
                      <a:ext uri="{FF2B5EF4-FFF2-40B4-BE49-F238E27FC236}">
                        <a16:creationId xmlns:a16="http://schemas.microsoft.com/office/drawing/2014/main" xmlns="" id="{FFDBEEC9-F25E-4347-A6D4-8673C234DA64}"/>
                      </a:ext>
                    </a:extLst>
                  </p:cNvPr>
                  <p:cNvSpPr>
                    <a:spLocks/>
                  </p:cNvSpPr>
                  <p:nvPr/>
                </p:nvSpPr>
                <p:spPr bwMode="gray">
                  <a:xfrm>
                    <a:off x="4974907" y="2682607"/>
                    <a:ext cx="40049" cy="26701"/>
                  </a:xfrm>
                  <a:custGeom>
                    <a:avLst/>
                    <a:gdLst>
                      <a:gd name="T0" fmla="*/ 2147483647 w 36"/>
                      <a:gd name="T1" fmla="*/ 0 h 24"/>
                      <a:gd name="T2" fmla="*/ 2147483647 w 36"/>
                      <a:gd name="T3" fmla="*/ 2147483647 h 24"/>
                      <a:gd name="T4" fmla="*/ 2147483647 w 36"/>
                      <a:gd name="T5" fmla="*/ 2147483647 h 24"/>
                      <a:gd name="T6" fmla="*/ 2147483647 w 36"/>
                      <a:gd name="T7" fmla="*/ 2147483647 h 24"/>
                      <a:gd name="T8" fmla="*/ 2147483647 w 36"/>
                      <a:gd name="T9" fmla="*/ 2147483647 h 24"/>
                      <a:gd name="T10" fmla="*/ 2147483647 w 36"/>
                      <a:gd name="T11" fmla="*/ 2147483647 h 24"/>
                      <a:gd name="T12" fmla="*/ 2147483647 w 36"/>
                      <a:gd name="T13" fmla="*/ 2147483647 h 24"/>
                      <a:gd name="T14" fmla="*/ 2147483647 w 36"/>
                      <a:gd name="T15" fmla="*/ 2147483647 h 24"/>
                      <a:gd name="T16" fmla="*/ 2147483647 w 36"/>
                      <a:gd name="T17" fmla="*/ 2147483647 h 24"/>
                      <a:gd name="T18" fmla="*/ 0 w 36"/>
                      <a:gd name="T19" fmla="*/ 2147483647 h 24"/>
                      <a:gd name="T20" fmla="*/ 2147483647 w 36"/>
                      <a:gd name="T21" fmla="*/ 2147483647 h 24"/>
                      <a:gd name="T22" fmla="*/ 2147483647 w 36"/>
                      <a:gd name="T23" fmla="*/ 2147483647 h 24"/>
                      <a:gd name="T24" fmla="*/ 2147483647 w 36"/>
                      <a:gd name="T25" fmla="*/ 2147483647 h 24"/>
                      <a:gd name="T26" fmla="*/ 2147483647 w 36"/>
                      <a:gd name="T27" fmla="*/ 2147483647 h 24"/>
                      <a:gd name="T28" fmla="*/ 2147483647 w 36"/>
                      <a:gd name="T29" fmla="*/ 2147483647 h 24"/>
                      <a:gd name="T30" fmla="*/ 2147483647 w 36"/>
                      <a:gd name="T31" fmla="*/ 2147483647 h 24"/>
                      <a:gd name="T32" fmla="*/ 2147483647 w 36"/>
                      <a:gd name="T33" fmla="*/ 2147483647 h 24"/>
                      <a:gd name="T34" fmla="*/ 2147483647 w 36"/>
                      <a:gd name="T35" fmla="*/ 2147483647 h 24"/>
                      <a:gd name="T36" fmla="*/ 2147483647 w 36"/>
                      <a:gd name="T37" fmla="*/ 2147483647 h 24"/>
                      <a:gd name="T38" fmla="*/ 2147483647 w 36"/>
                      <a:gd name="T39" fmla="*/ 2147483647 h 24"/>
                      <a:gd name="T40" fmla="*/ 2147483647 w 36"/>
                      <a:gd name="T41" fmla="*/ 2147483647 h 24"/>
                      <a:gd name="T42" fmla="*/ 2147483647 w 36"/>
                      <a:gd name="T43" fmla="*/ 2147483647 h 24"/>
                      <a:gd name="T44" fmla="*/ 2147483647 w 36"/>
                      <a:gd name="T45" fmla="*/ 2147483647 h 24"/>
                      <a:gd name="T46" fmla="*/ 2147483647 w 36"/>
                      <a:gd name="T47" fmla="*/ 2147483647 h 24"/>
                      <a:gd name="T48" fmla="*/ 2147483647 w 36"/>
                      <a:gd name="T49" fmla="*/ 2147483647 h 24"/>
                      <a:gd name="T50" fmla="*/ 2147483647 w 36"/>
                      <a:gd name="T51" fmla="*/ 2147483647 h 24"/>
                      <a:gd name="T52" fmla="*/ 2147483647 w 36"/>
                      <a:gd name="T53" fmla="*/ 2147483647 h 24"/>
                      <a:gd name="T54" fmla="*/ 2147483647 w 36"/>
                      <a:gd name="T55" fmla="*/ 2147483647 h 24"/>
                      <a:gd name="T56" fmla="*/ 2147483647 w 36"/>
                      <a:gd name="T57" fmla="*/ 2147483647 h 24"/>
                      <a:gd name="T58" fmla="*/ 2147483647 w 36"/>
                      <a:gd name="T59" fmla="*/ 2147483647 h 24"/>
                      <a:gd name="T60" fmla="*/ 2147483647 w 36"/>
                      <a:gd name="T61" fmla="*/ 2147483647 h 24"/>
                      <a:gd name="T62" fmla="*/ 2147483647 w 36"/>
                      <a:gd name="T63" fmla="*/ 2147483647 h 24"/>
                      <a:gd name="T64" fmla="*/ 2147483647 w 36"/>
                      <a:gd name="T65" fmla="*/ 2147483647 h 24"/>
                      <a:gd name="T66" fmla="*/ 2147483647 w 36"/>
                      <a:gd name="T67" fmla="*/ 2147483647 h 24"/>
                      <a:gd name="T68" fmla="*/ 2147483647 w 36"/>
                      <a:gd name="T69" fmla="*/ 2147483647 h 24"/>
                      <a:gd name="T70" fmla="*/ 2147483647 w 36"/>
                      <a:gd name="T71" fmla="*/ 2147483647 h 24"/>
                      <a:gd name="T72" fmla="*/ 2147483647 w 36"/>
                      <a:gd name="T73" fmla="*/ 2147483647 h 24"/>
                      <a:gd name="T74" fmla="*/ 2147483647 w 36"/>
                      <a:gd name="T75" fmla="*/ 2147483647 h 24"/>
                      <a:gd name="T76" fmla="*/ 2147483647 w 36"/>
                      <a:gd name="T77" fmla="*/ 2147483647 h 24"/>
                      <a:gd name="T78" fmla="*/ 2147483647 w 36"/>
                      <a:gd name="T79" fmla="*/ 2147483647 h 24"/>
                      <a:gd name="T80" fmla="*/ 2147483647 w 36"/>
                      <a:gd name="T81" fmla="*/ 2147483647 h 24"/>
                      <a:gd name="T82" fmla="*/ 2147483647 w 36"/>
                      <a:gd name="T83" fmla="*/ 2147483647 h 24"/>
                      <a:gd name="T84" fmla="*/ 2147483647 w 36"/>
                      <a:gd name="T85" fmla="*/ 2147483647 h 24"/>
                      <a:gd name="T86" fmla="*/ 2147483647 w 36"/>
                      <a:gd name="T87" fmla="*/ 2147483647 h 24"/>
                      <a:gd name="T88" fmla="*/ 2147483647 w 36"/>
                      <a:gd name="T89" fmla="*/ 2147483647 h 24"/>
                      <a:gd name="T90" fmla="*/ 2147483647 w 36"/>
                      <a:gd name="T91" fmla="*/ 2147483647 h 24"/>
                      <a:gd name="T92" fmla="*/ 2147483647 w 36"/>
                      <a:gd name="T93" fmla="*/ 2147483647 h 24"/>
                      <a:gd name="T94" fmla="*/ 2147483647 w 36"/>
                      <a:gd name="T95" fmla="*/ 2147483647 h 24"/>
                      <a:gd name="T96" fmla="*/ 2147483647 w 36"/>
                      <a:gd name="T97" fmla="*/ 2147483647 h 24"/>
                      <a:gd name="T98" fmla="*/ 2147483647 w 36"/>
                      <a:gd name="T99" fmla="*/ 2147483647 h 24"/>
                      <a:gd name="T100" fmla="*/ 2147483647 w 36"/>
                      <a:gd name="T101" fmla="*/ 2147483647 h 24"/>
                      <a:gd name="T102" fmla="*/ 2147483647 w 36"/>
                      <a:gd name="T103" fmla="*/ 0 h 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6" h="24">
                        <a:moveTo>
                          <a:pt x="22" y="0"/>
                        </a:moveTo>
                        <a:lnTo>
                          <a:pt x="21" y="2"/>
                        </a:lnTo>
                        <a:lnTo>
                          <a:pt x="20" y="5"/>
                        </a:lnTo>
                        <a:lnTo>
                          <a:pt x="19" y="7"/>
                        </a:lnTo>
                        <a:lnTo>
                          <a:pt x="17" y="10"/>
                        </a:lnTo>
                        <a:lnTo>
                          <a:pt x="13" y="11"/>
                        </a:lnTo>
                        <a:lnTo>
                          <a:pt x="9" y="12"/>
                        </a:lnTo>
                        <a:lnTo>
                          <a:pt x="6" y="12"/>
                        </a:lnTo>
                        <a:lnTo>
                          <a:pt x="3" y="13"/>
                        </a:lnTo>
                        <a:lnTo>
                          <a:pt x="0" y="16"/>
                        </a:lnTo>
                        <a:lnTo>
                          <a:pt x="1" y="16"/>
                        </a:lnTo>
                        <a:lnTo>
                          <a:pt x="2" y="16"/>
                        </a:lnTo>
                        <a:lnTo>
                          <a:pt x="3" y="16"/>
                        </a:lnTo>
                        <a:lnTo>
                          <a:pt x="4" y="16"/>
                        </a:lnTo>
                        <a:lnTo>
                          <a:pt x="5" y="16"/>
                        </a:lnTo>
                        <a:lnTo>
                          <a:pt x="9" y="16"/>
                        </a:lnTo>
                        <a:lnTo>
                          <a:pt x="11" y="16"/>
                        </a:lnTo>
                        <a:lnTo>
                          <a:pt x="12" y="16"/>
                        </a:lnTo>
                        <a:lnTo>
                          <a:pt x="15" y="18"/>
                        </a:lnTo>
                        <a:lnTo>
                          <a:pt x="17" y="19"/>
                        </a:lnTo>
                        <a:lnTo>
                          <a:pt x="18" y="20"/>
                        </a:lnTo>
                        <a:lnTo>
                          <a:pt x="20" y="22"/>
                        </a:lnTo>
                        <a:lnTo>
                          <a:pt x="21" y="24"/>
                        </a:lnTo>
                        <a:lnTo>
                          <a:pt x="24" y="24"/>
                        </a:lnTo>
                        <a:lnTo>
                          <a:pt x="26" y="23"/>
                        </a:lnTo>
                        <a:lnTo>
                          <a:pt x="29" y="22"/>
                        </a:lnTo>
                        <a:lnTo>
                          <a:pt x="29" y="20"/>
                        </a:lnTo>
                        <a:lnTo>
                          <a:pt x="29" y="19"/>
                        </a:lnTo>
                        <a:lnTo>
                          <a:pt x="30" y="18"/>
                        </a:lnTo>
                        <a:lnTo>
                          <a:pt x="33" y="16"/>
                        </a:lnTo>
                        <a:lnTo>
                          <a:pt x="31" y="16"/>
                        </a:lnTo>
                        <a:lnTo>
                          <a:pt x="33" y="17"/>
                        </a:lnTo>
                        <a:lnTo>
                          <a:pt x="35" y="18"/>
                        </a:lnTo>
                        <a:lnTo>
                          <a:pt x="36" y="19"/>
                        </a:lnTo>
                        <a:lnTo>
                          <a:pt x="36" y="14"/>
                        </a:lnTo>
                        <a:lnTo>
                          <a:pt x="36" y="13"/>
                        </a:lnTo>
                        <a:lnTo>
                          <a:pt x="34" y="13"/>
                        </a:lnTo>
                        <a:lnTo>
                          <a:pt x="34" y="12"/>
                        </a:lnTo>
                        <a:lnTo>
                          <a:pt x="34" y="10"/>
                        </a:lnTo>
                        <a:lnTo>
                          <a:pt x="33" y="10"/>
                        </a:lnTo>
                        <a:lnTo>
                          <a:pt x="30" y="7"/>
                        </a:lnTo>
                        <a:lnTo>
                          <a:pt x="29" y="6"/>
                        </a:lnTo>
                        <a:lnTo>
                          <a:pt x="28" y="6"/>
                        </a:lnTo>
                        <a:lnTo>
                          <a:pt x="26" y="6"/>
                        </a:lnTo>
                        <a:lnTo>
                          <a:pt x="26" y="5"/>
                        </a:lnTo>
                        <a:lnTo>
                          <a:pt x="25" y="3"/>
                        </a:lnTo>
                        <a:lnTo>
                          <a:pt x="24" y="2"/>
                        </a:lnTo>
                        <a:lnTo>
                          <a:pt x="2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5" name="Freeform 1650">
                    <a:extLst>
                      <a:ext uri="{FF2B5EF4-FFF2-40B4-BE49-F238E27FC236}">
                        <a16:creationId xmlns:a16="http://schemas.microsoft.com/office/drawing/2014/main" xmlns="" id="{2FB62D7F-D1DD-438D-8D4F-DC75DF73CC2A}"/>
                      </a:ext>
                    </a:extLst>
                  </p:cNvPr>
                  <p:cNvSpPr>
                    <a:spLocks/>
                  </p:cNvSpPr>
                  <p:nvPr/>
                </p:nvSpPr>
                <p:spPr bwMode="gray">
                  <a:xfrm>
                    <a:off x="4475407" y="3360147"/>
                    <a:ext cx="359330" cy="200258"/>
                  </a:xfrm>
                  <a:custGeom>
                    <a:avLst/>
                    <a:gdLst>
                      <a:gd name="T0" fmla="*/ 2147483647 w 323"/>
                      <a:gd name="T1" fmla="*/ 2147483647 h 180"/>
                      <a:gd name="T2" fmla="*/ 2147483647 w 323"/>
                      <a:gd name="T3" fmla="*/ 2147483647 h 180"/>
                      <a:gd name="T4" fmla="*/ 2147483647 w 323"/>
                      <a:gd name="T5" fmla="*/ 2147483647 h 180"/>
                      <a:gd name="T6" fmla="*/ 2147483647 w 323"/>
                      <a:gd name="T7" fmla="*/ 2147483647 h 180"/>
                      <a:gd name="T8" fmla="*/ 2147483647 w 323"/>
                      <a:gd name="T9" fmla="*/ 2147483647 h 180"/>
                      <a:gd name="T10" fmla="*/ 2147483647 w 323"/>
                      <a:gd name="T11" fmla="*/ 2147483647 h 180"/>
                      <a:gd name="T12" fmla="*/ 2147483647 w 323"/>
                      <a:gd name="T13" fmla="*/ 2147483647 h 180"/>
                      <a:gd name="T14" fmla="*/ 2147483647 w 323"/>
                      <a:gd name="T15" fmla="*/ 2147483647 h 180"/>
                      <a:gd name="T16" fmla="*/ 2147483647 w 323"/>
                      <a:gd name="T17" fmla="*/ 2147483647 h 180"/>
                      <a:gd name="T18" fmla="*/ 2147483647 w 323"/>
                      <a:gd name="T19" fmla="*/ 2147483647 h 180"/>
                      <a:gd name="T20" fmla="*/ 2147483647 w 323"/>
                      <a:gd name="T21" fmla="*/ 2147483647 h 180"/>
                      <a:gd name="T22" fmla="*/ 2147483647 w 323"/>
                      <a:gd name="T23" fmla="*/ 2147483647 h 180"/>
                      <a:gd name="T24" fmla="*/ 2147483647 w 323"/>
                      <a:gd name="T25" fmla="*/ 2147483647 h 180"/>
                      <a:gd name="T26" fmla="*/ 2147483647 w 323"/>
                      <a:gd name="T27" fmla="*/ 2147483647 h 180"/>
                      <a:gd name="T28" fmla="*/ 2147483647 w 323"/>
                      <a:gd name="T29" fmla="*/ 2147483647 h 180"/>
                      <a:gd name="T30" fmla="*/ 2147483647 w 323"/>
                      <a:gd name="T31" fmla="*/ 2147483647 h 180"/>
                      <a:gd name="T32" fmla="*/ 2147483647 w 323"/>
                      <a:gd name="T33" fmla="*/ 2147483647 h 180"/>
                      <a:gd name="T34" fmla="*/ 2147483647 w 323"/>
                      <a:gd name="T35" fmla="*/ 2147483647 h 180"/>
                      <a:gd name="T36" fmla="*/ 2147483647 w 323"/>
                      <a:gd name="T37" fmla="*/ 2147483647 h 180"/>
                      <a:gd name="T38" fmla="*/ 2147483647 w 323"/>
                      <a:gd name="T39" fmla="*/ 2147483647 h 180"/>
                      <a:gd name="T40" fmla="*/ 2147483647 w 323"/>
                      <a:gd name="T41" fmla="*/ 2147483647 h 180"/>
                      <a:gd name="T42" fmla="*/ 2147483647 w 323"/>
                      <a:gd name="T43" fmla="*/ 0 h 180"/>
                      <a:gd name="T44" fmla="*/ 2147483647 w 323"/>
                      <a:gd name="T45" fmla="*/ 2147483647 h 180"/>
                      <a:gd name="T46" fmla="*/ 2147483647 w 323"/>
                      <a:gd name="T47" fmla="*/ 2147483647 h 180"/>
                      <a:gd name="T48" fmla="*/ 2147483647 w 323"/>
                      <a:gd name="T49" fmla="*/ 2147483647 h 180"/>
                      <a:gd name="T50" fmla="*/ 2147483647 w 323"/>
                      <a:gd name="T51" fmla="*/ 2147483647 h 180"/>
                      <a:gd name="T52" fmla="*/ 2147483647 w 323"/>
                      <a:gd name="T53" fmla="*/ 2147483647 h 180"/>
                      <a:gd name="T54" fmla="*/ 2147483647 w 323"/>
                      <a:gd name="T55" fmla="*/ 2147483647 h 180"/>
                      <a:gd name="T56" fmla="*/ 2147483647 w 323"/>
                      <a:gd name="T57" fmla="*/ 2147483647 h 180"/>
                      <a:gd name="T58" fmla="*/ 2147483647 w 323"/>
                      <a:gd name="T59" fmla="*/ 2147483647 h 180"/>
                      <a:gd name="T60" fmla="*/ 2147483647 w 323"/>
                      <a:gd name="T61" fmla="*/ 2147483647 h 180"/>
                      <a:gd name="T62" fmla="*/ 2147483647 w 323"/>
                      <a:gd name="T63" fmla="*/ 2147483647 h 180"/>
                      <a:gd name="T64" fmla="*/ 2147483647 w 323"/>
                      <a:gd name="T65" fmla="*/ 2147483647 h 180"/>
                      <a:gd name="T66" fmla="*/ 2147483647 w 323"/>
                      <a:gd name="T67" fmla="*/ 2147483647 h 180"/>
                      <a:gd name="T68" fmla="*/ 2147483647 w 323"/>
                      <a:gd name="T69" fmla="*/ 2147483647 h 180"/>
                      <a:gd name="T70" fmla="*/ 2147483647 w 323"/>
                      <a:gd name="T71" fmla="*/ 2147483647 h 180"/>
                      <a:gd name="T72" fmla="*/ 2147483647 w 323"/>
                      <a:gd name="T73" fmla="*/ 2147483647 h 180"/>
                      <a:gd name="T74" fmla="*/ 2147483647 w 323"/>
                      <a:gd name="T75" fmla="*/ 2147483647 h 180"/>
                      <a:gd name="T76" fmla="*/ 2147483647 w 323"/>
                      <a:gd name="T77" fmla="*/ 2147483647 h 180"/>
                      <a:gd name="T78" fmla="*/ 2147483647 w 323"/>
                      <a:gd name="T79" fmla="*/ 2147483647 h 180"/>
                      <a:gd name="T80" fmla="*/ 2147483647 w 323"/>
                      <a:gd name="T81" fmla="*/ 2147483647 h 180"/>
                      <a:gd name="T82" fmla="*/ 2147483647 w 323"/>
                      <a:gd name="T83" fmla="*/ 2147483647 h 180"/>
                      <a:gd name="T84" fmla="*/ 2147483647 w 323"/>
                      <a:gd name="T85" fmla="*/ 2147483647 h 180"/>
                      <a:gd name="T86" fmla="*/ 2147483647 w 323"/>
                      <a:gd name="T87" fmla="*/ 2147483647 h 180"/>
                      <a:gd name="T88" fmla="*/ 2147483647 w 323"/>
                      <a:gd name="T89" fmla="*/ 2147483647 h 180"/>
                      <a:gd name="T90" fmla="*/ 2147483647 w 323"/>
                      <a:gd name="T91" fmla="*/ 2147483647 h 180"/>
                      <a:gd name="T92" fmla="*/ 2147483647 w 323"/>
                      <a:gd name="T93" fmla="*/ 2147483647 h 180"/>
                      <a:gd name="T94" fmla="*/ 2147483647 w 323"/>
                      <a:gd name="T95" fmla="*/ 2147483647 h 180"/>
                      <a:gd name="T96" fmla="*/ 2147483647 w 323"/>
                      <a:gd name="T97" fmla="*/ 2147483647 h 180"/>
                      <a:gd name="T98" fmla="*/ 2147483647 w 323"/>
                      <a:gd name="T99" fmla="*/ 2147483647 h 180"/>
                      <a:gd name="T100" fmla="*/ 2147483647 w 323"/>
                      <a:gd name="T101" fmla="*/ 2147483647 h 180"/>
                      <a:gd name="T102" fmla="*/ 2147483647 w 323"/>
                      <a:gd name="T103" fmla="*/ 2147483647 h 180"/>
                      <a:gd name="T104" fmla="*/ 2147483647 w 323"/>
                      <a:gd name="T105" fmla="*/ 2147483647 h 180"/>
                      <a:gd name="T106" fmla="*/ 2147483647 w 323"/>
                      <a:gd name="T107" fmla="*/ 2147483647 h 180"/>
                      <a:gd name="T108" fmla="*/ 2147483647 w 323"/>
                      <a:gd name="T109" fmla="*/ 2147483647 h 180"/>
                      <a:gd name="T110" fmla="*/ 2147483647 w 323"/>
                      <a:gd name="T111" fmla="*/ 2147483647 h 180"/>
                      <a:gd name="T112" fmla="*/ 2147483647 w 323"/>
                      <a:gd name="T113" fmla="*/ 2147483647 h 180"/>
                      <a:gd name="T114" fmla="*/ 2147483647 w 323"/>
                      <a:gd name="T115" fmla="*/ 2147483647 h 180"/>
                      <a:gd name="T116" fmla="*/ 2147483647 w 323"/>
                      <a:gd name="T117" fmla="*/ 2147483647 h 180"/>
                      <a:gd name="T118" fmla="*/ 2147483647 w 323"/>
                      <a:gd name="T119" fmla="*/ 2147483647 h 18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23" h="180">
                        <a:moveTo>
                          <a:pt x="235" y="180"/>
                        </a:moveTo>
                        <a:lnTo>
                          <a:pt x="235" y="178"/>
                        </a:lnTo>
                        <a:lnTo>
                          <a:pt x="235" y="174"/>
                        </a:lnTo>
                        <a:lnTo>
                          <a:pt x="236" y="171"/>
                        </a:lnTo>
                        <a:lnTo>
                          <a:pt x="238" y="167"/>
                        </a:lnTo>
                        <a:lnTo>
                          <a:pt x="239" y="167"/>
                        </a:lnTo>
                        <a:lnTo>
                          <a:pt x="240" y="167"/>
                        </a:lnTo>
                        <a:lnTo>
                          <a:pt x="242" y="171"/>
                        </a:lnTo>
                        <a:lnTo>
                          <a:pt x="243" y="174"/>
                        </a:lnTo>
                        <a:lnTo>
                          <a:pt x="244" y="176"/>
                        </a:lnTo>
                        <a:lnTo>
                          <a:pt x="245" y="176"/>
                        </a:lnTo>
                        <a:lnTo>
                          <a:pt x="246" y="175"/>
                        </a:lnTo>
                        <a:lnTo>
                          <a:pt x="248" y="173"/>
                        </a:lnTo>
                        <a:lnTo>
                          <a:pt x="251" y="170"/>
                        </a:lnTo>
                        <a:lnTo>
                          <a:pt x="252" y="170"/>
                        </a:lnTo>
                        <a:lnTo>
                          <a:pt x="254" y="173"/>
                        </a:lnTo>
                        <a:lnTo>
                          <a:pt x="257" y="174"/>
                        </a:lnTo>
                        <a:lnTo>
                          <a:pt x="261" y="174"/>
                        </a:lnTo>
                        <a:lnTo>
                          <a:pt x="264" y="173"/>
                        </a:lnTo>
                        <a:lnTo>
                          <a:pt x="265" y="171"/>
                        </a:lnTo>
                        <a:lnTo>
                          <a:pt x="266" y="169"/>
                        </a:lnTo>
                        <a:lnTo>
                          <a:pt x="268" y="168"/>
                        </a:lnTo>
                        <a:lnTo>
                          <a:pt x="271" y="167"/>
                        </a:lnTo>
                        <a:lnTo>
                          <a:pt x="271" y="165"/>
                        </a:lnTo>
                        <a:lnTo>
                          <a:pt x="271" y="164"/>
                        </a:lnTo>
                        <a:lnTo>
                          <a:pt x="272" y="162"/>
                        </a:lnTo>
                        <a:lnTo>
                          <a:pt x="274" y="160"/>
                        </a:lnTo>
                        <a:lnTo>
                          <a:pt x="274" y="154"/>
                        </a:lnTo>
                        <a:lnTo>
                          <a:pt x="277" y="152"/>
                        </a:lnTo>
                        <a:lnTo>
                          <a:pt x="278" y="152"/>
                        </a:lnTo>
                        <a:lnTo>
                          <a:pt x="279" y="152"/>
                        </a:lnTo>
                        <a:lnTo>
                          <a:pt x="280" y="150"/>
                        </a:lnTo>
                        <a:lnTo>
                          <a:pt x="279" y="149"/>
                        </a:lnTo>
                        <a:lnTo>
                          <a:pt x="278" y="146"/>
                        </a:lnTo>
                        <a:lnTo>
                          <a:pt x="277" y="144"/>
                        </a:lnTo>
                        <a:lnTo>
                          <a:pt x="277" y="141"/>
                        </a:lnTo>
                        <a:lnTo>
                          <a:pt x="277" y="139"/>
                        </a:lnTo>
                        <a:lnTo>
                          <a:pt x="279" y="136"/>
                        </a:lnTo>
                        <a:lnTo>
                          <a:pt x="283" y="131"/>
                        </a:lnTo>
                        <a:lnTo>
                          <a:pt x="286" y="131"/>
                        </a:lnTo>
                        <a:lnTo>
                          <a:pt x="288" y="130"/>
                        </a:lnTo>
                        <a:lnTo>
                          <a:pt x="289" y="128"/>
                        </a:lnTo>
                        <a:lnTo>
                          <a:pt x="290" y="128"/>
                        </a:lnTo>
                        <a:lnTo>
                          <a:pt x="291" y="127"/>
                        </a:lnTo>
                        <a:lnTo>
                          <a:pt x="292" y="126"/>
                        </a:lnTo>
                        <a:lnTo>
                          <a:pt x="292" y="125"/>
                        </a:lnTo>
                        <a:lnTo>
                          <a:pt x="293" y="122"/>
                        </a:lnTo>
                        <a:lnTo>
                          <a:pt x="295" y="120"/>
                        </a:lnTo>
                        <a:lnTo>
                          <a:pt x="295" y="118"/>
                        </a:lnTo>
                        <a:lnTo>
                          <a:pt x="295" y="116"/>
                        </a:lnTo>
                        <a:lnTo>
                          <a:pt x="297" y="115"/>
                        </a:lnTo>
                        <a:lnTo>
                          <a:pt x="297" y="112"/>
                        </a:lnTo>
                        <a:lnTo>
                          <a:pt x="299" y="109"/>
                        </a:lnTo>
                        <a:lnTo>
                          <a:pt x="301" y="106"/>
                        </a:lnTo>
                        <a:lnTo>
                          <a:pt x="306" y="105"/>
                        </a:lnTo>
                        <a:lnTo>
                          <a:pt x="311" y="105"/>
                        </a:lnTo>
                        <a:lnTo>
                          <a:pt x="317" y="104"/>
                        </a:lnTo>
                        <a:lnTo>
                          <a:pt x="321" y="102"/>
                        </a:lnTo>
                        <a:lnTo>
                          <a:pt x="323" y="102"/>
                        </a:lnTo>
                        <a:lnTo>
                          <a:pt x="321" y="100"/>
                        </a:lnTo>
                        <a:lnTo>
                          <a:pt x="320" y="98"/>
                        </a:lnTo>
                        <a:lnTo>
                          <a:pt x="318" y="95"/>
                        </a:lnTo>
                        <a:lnTo>
                          <a:pt x="316" y="94"/>
                        </a:lnTo>
                        <a:lnTo>
                          <a:pt x="316" y="93"/>
                        </a:lnTo>
                        <a:lnTo>
                          <a:pt x="315" y="90"/>
                        </a:lnTo>
                        <a:lnTo>
                          <a:pt x="314" y="88"/>
                        </a:lnTo>
                        <a:lnTo>
                          <a:pt x="314" y="85"/>
                        </a:lnTo>
                        <a:lnTo>
                          <a:pt x="314" y="83"/>
                        </a:lnTo>
                        <a:lnTo>
                          <a:pt x="312" y="79"/>
                        </a:lnTo>
                        <a:lnTo>
                          <a:pt x="309" y="78"/>
                        </a:lnTo>
                        <a:lnTo>
                          <a:pt x="304" y="78"/>
                        </a:lnTo>
                        <a:lnTo>
                          <a:pt x="301" y="79"/>
                        </a:lnTo>
                        <a:lnTo>
                          <a:pt x="300" y="79"/>
                        </a:lnTo>
                        <a:lnTo>
                          <a:pt x="298" y="78"/>
                        </a:lnTo>
                        <a:lnTo>
                          <a:pt x="295" y="77"/>
                        </a:lnTo>
                        <a:lnTo>
                          <a:pt x="292" y="75"/>
                        </a:lnTo>
                        <a:lnTo>
                          <a:pt x="290" y="74"/>
                        </a:lnTo>
                        <a:lnTo>
                          <a:pt x="287" y="76"/>
                        </a:lnTo>
                        <a:lnTo>
                          <a:pt x="283" y="77"/>
                        </a:lnTo>
                        <a:lnTo>
                          <a:pt x="280" y="78"/>
                        </a:lnTo>
                        <a:lnTo>
                          <a:pt x="277" y="77"/>
                        </a:lnTo>
                        <a:lnTo>
                          <a:pt x="276" y="74"/>
                        </a:lnTo>
                        <a:lnTo>
                          <a:pt x="274" y="71"/>
                        </a:lnTo>
                        <a:lnTo>
                          <a:pt x="270" y="68"/>
                        </a:lnTo>
                        <a:lnTo>
                          <a:pt x="267" y="67"/>
                        </a:lnTo>
                        <a:lnTo>
                          <a:pt x="269" y="65"/>
                        </a:lnTo>
                        <a:lnTo>
                          <a:pt x="273" y="62"/>
                        </a:lnTo>
                        <a:lnTo>
                          <a:pt x="276" y="61"/>
                        </a:lnTo>
                        <a:lnTo>
                          <a:pt x="277" y="60"/>
                        </a:lnTo>
                        <a:lnTo>
                          <a:pt x="274" y="58"/>
                        </a:lnTo>
                        <a:lnTo>
                          <a:pt x="273" y="57"/>
                        </a:lnTo>
                        <a:lnTo>
                          <a:pt x="272" y="56"/>
                        </a:lnTo>
                        <a:lnTo>
                          <a:pt x="272" y="57"/>
                        </a:lnTo>
                        <a:lnTo>
                          <a:pt x="271" y="57"/>
                        </a:lnTo>
                        <a:lnTo>
                          <a:pt x="269" y="57"/>
                        </a:lnTo>
                        <a:lnTo>
                          <a:pt x="267" y="57"/>
                        </a:lnTo>
                        <a:lnTo>
                          <a:pt x="266" y="56"/>
                        </a:lnTo>
                        <a:lnTo>
                          <a:pt x="264" y="54"/>
                        </a:lnTo>
                        <a:lnTo>
                          <a:pt x="262" y="54"/>
                        </a:lnTo>
                        <a:lnTo>
                          <a:pt x="261" y="54"/>
                        </a:lnTo>
                        <a:lnTo>
                          <a:pt x="259" y="54"/>
                        </a:lnTo>
                        <a:lnTo>
                          <a:pt x="257" y="54"/>
                        </a:lnTo>
                        <a:lnTo>
                          <a:pt x="255" y="53"/>
                        </a:lnTo>
                        <a:lnTo>
                          <a:pt x="254" y="53"/>
                        </a:lnTo>
                        <a:lnTo>
                          <a:pt x="253" y="50"/>
                        </a:lnTo>
                        <a:lnTo>
                          <a:pt x="252" y="48"/>
                        </a:lnTo>
                        <a:lnTo>
                          <a:pt x="247" y="48"/>
                        </a:lnTo>
                        <a:lnTo>
                          <a:pt x="245" y="48"/>
                        </a:lnTo>
                        <a:lnTo>
                          <a:pt x="245" y="50"/>
                        </a:lnTo>
                        <a:lnTo>
                          <a:pt x="245" y="51"/>
                        </a:lnTo>
                        <a:lnTo>
                          <a:pt x="245" y="53"/>
                        </a:lnTo>
                        <a:lnTo>
                          <a:pt x="247" y="53"/>
                        </a:lnTo>
                        <a:lnTo>
                          <a:pt x="248" y="54"/>
                        </a:lnTo>
                        <a:lnTo>
                          <a:pt x="249" y="56"/>
                        </a:lnTo>
                        <a:lnTo>
                          <a:pt x="250" y="58"/>
                        </a:lnTo>
                        <a:lnTo>
                          <a:pt x="250" y="60"/>
                        </a:lnTo>
                        <a:lnTo>
                          <a:pt x="248" y="60"/>
                        </a:lnTo>
                        <a:lnTo>
                          <a:pt x="248" y="62"/>
                        </a:lnTo>
                        <a:lnTo>
                          <a:pt x="248" y="63"/>
                        </a:lnTo>
                        <a:lnTo>
                          <a:pt x="248" y="64"/>
                        </a:lnTo>
                        <a:lnTo>
                          <a:pt x="246" y="65"/>
                        </a:lnTo>
                        <a:lnTo>
                          <a:pt x="245" y="65"/>
                        </a:lnTo>
                        <a:lnTo>
                          <a:pt x="245" y="64"/>
                        </a:lnTo>
                        <a:lnTo>
                          <a:pt x="243" y="65"/>
                        </a:lnTo>
                        <a:lnTo>
                          <a:pt x="242" y="67"/>
                        </a:lnTo>
                        <a:lnTo>
                          <a:pt x="240" y="69"/>
                        </a:lnTo>
                        <a:lnTo>
                          <a:pt x="238" y="70"/>
                        </a:lnTo>
                        <a:lnTo>
                          <a:pt x="238" y="72"/>
                        </a:lnTo>
                        <a:lnTo>
                          <a:pt x="237" y="73"/>
                        </a:lnTo>
                        <a:lnTo>
                          <a:pt x="235" y="74"/>
                        </a:lnTo>
                        <a:lnTo>
                          <a:pt x="233" y="73"/>
                        </a:lnTo>
                        <a:lnTo>
                          <a:pt x="232" y="72"/>
                        </a:lnTo>
                        <a:lnTo>
                          <a:pt x="231" y="67"/>
                        </a:lnTo>
                        <a:lnTo>
                          <a:pt x="230" y="67"/>
                        </a:lnTo>
                        <a:lnTo>
                          <a:pt x="229" y="67"/>
                        </a:lnTo>
                        <a:lnTo>
                          <a:pt x="227" y="65"/>
                        </a:lnTo>
                        <a:lnTo>
                          <a:pt x="226" y="64"/>
                        </a:lnTo>
                        <a:lnTo>
                          <a:pt x="226" y="62"/>
                        </a:lnTo>
                        <a:lnTo>
                          <a:pt x="226" y="60"/>
                        </a:lnTo>
                        <a:lnTo>
                          <a:pt x="224" y="60"/>
                        </a:lnTo>
                        <a:lnTo>
                          <a:pt x="223" y="60"/>
                        </a:lnTo>
                        <a:lnTo>
                          <a:pt x="222" y="59"/>
                        </a:lnTo>
                        <a:lnTo>
                          <a:pt x="222" y="57"/>
                        </a:lnTo>
                        <a:lnTo>
                          <a:pt x="222" y="56"/>
                        </a:lnTo>
                        <a:lnTo>
                          <a:pt x="221" y="55"/>
                        </a:lnTo>
                        <a:lnTo>
                          <a:pt x="220" y="54"/>
                        </a:lnTo>
                        <a:lnTo>
                          <a:pt x="219" y="54"/>
                        </a:lnTo>
                        <a:lnTo>
                          <a:pt x="219" y="53"/>
                        </a:lnTo>
                        <a:lnTo>
                          <a:pt x="219" y="52"/>
                        </a:lnTo>
                        <a:lnTo>
                          <a:pt x="219" y="51"/>
                        </a:lnTo>
                        <a:lnTo>
                          <a:pt x="219" y="49"/>
                        </a:lnTo>
                        <a:lnTo>
                          <a:pt x="217" y="46"/>
                        </a:lnTo>
                        <a:lnTo>
                          <a:pt x="216" y="44"/>
                        </a:lnTo>
                        <a:lnTo>
                          <a:pt x="216" y="41"/>
                        </a:lnTo>
                        <a:lnTo>
                          <a:pt x="218" y="41"/>
                        </a:lnTo>
                        <a:lnTo>
                          <a:pt x="219" y="41"/>
                        </a:lnTo>
                        <a:lnTo>
                          <a:pt x="220" y="41"/>
                        </a:lnTo>
                        <a:lnTo>
                          <a:pt x="222" y="41"/>
                        </a:lnTo>
                        <a:lnTo>
                          <a:pt x="222" y="39"/>
                        </a:lnTo>
                        <a:lnTo>
                          <a:pt x="222" y="38"/>
                        </a:lnTo>
                        <a:lnTo>
                          <a:pt x="222" y="36"/>
                        </a:lnTo>
                        <a:lnTo>
                          <a:pt x="222" y="34"/>
                        </a:lnTo>
                        <a:lnTo>
                          <a:pt x="222" y="33"/>
                        </a:lnTo>
                        <a:lnTo>
                          <a:pt x="222" y="31"/>
                        </a:lnTo>
                        <a:lnTo>
                          <a:pt x="220" y="31"/>
                        </a:lnTo>
                        <a:lnTo>
                          <a:pt x="219" y="31"/>
                        </a:lnTo>
                        <a:lnTo>
                          <a:pt x="218" y="30"/>
                        </a:lnTo>
                        <a:lnTo>
                          <a:pt x="216" y="29"/>
                        </a:lnTo>
                        <a:lnTo>
                          <a:pt x="215" y="29"/>
                        </a:lnTo>
                        <a:lnTo>
                          <a:pt x="214" y="29"/>
                        </a:lnTo>
                        <a:lnTo>
                          <a:pt x="213" y="29"/>
                        </a:lnTo>
                        <a:lnTo>
                          <a:pt x="212" y="29"/>
                        </a:lnTo>
                        <a:lnTo>
                          <a:pt x="210" y="29"/>
                        </a:lnTo>
                        <a:lnTo>
                          <a:pt x="209" y="29"/>
                        </a:lnTo>
                        <a:lnTo>
                          <a:pt x="207" y="29"/>
                        </a:lnTo>
                        <a:lnTo>
                          <a:pt x="206" y="29"/>
                        </a:lnTo>
                        <a:lnTo>
                          <a:pt x="206" y="31"/>
                        </a:lnTo>
                        <a:lnTo>
                          <a:pt x="205" y="31"/>
                        </a:lnTo>
                        <a:lnTo>
                          <a:pt x="205" y="29"/>
                        </a:lnTo>
                        <a:lnTo>
                          <a:pt x="203" y="29"/>
                        </a:lnTo>
                        <a:lnTo>
                          <a:pt x="203" y="28"/>
                        </a:lnTo>
                        <a:lnTo>
                          <a:pt x="201" y="29"/>
                        </a:lnTo>
                        <a:lnTo>
                          <a:pt x="199" y="29"/>
                        </a:lnTo>
                        <a:lnTo>
                          <a:pt x="197" y="29"/>
                        </a:lnTo>
                        <a:lnTo>
                          <a:pt x="198" y="28"/>
                        </a:lnTo>
                        <a:lnTo>
                          <a:pt x="199" y="27"/>
                        </a:lnTo>
                        <a:lnTo>
                          <a:pt x="200" y="25"/>
                        </a:lnTo>
                        <a:lnTo>
                          <a:pt x="197" y="26"/>
                        </a:lnTo>
                        <a:lnTo>
                          <a:pt x="195" y="27"/>
                        </a:lnTo>
                        <a:lnTo>
                          <a:pt x="194" y="27"/>
                        </a:lnTo>
                        <a:lnTo>
                          <a:pt x="193" y="25"/>
                        </a:lnTo>
                        <a:lnTo>
                          <a:pt x="191" y="24"/>
                        </a:lnTo>
                        <a:lnTo>
                          <a:pt x="189" y="23"/>
                        </a:lnTo>
                        <a:lnTo>
                          <a:pt x="186" y="22"/>
                        </a:lnTo>
                        <a:lnTo>
                          <a:pt x="185" y="22"/>
                        </a:lnTo>
                        <a:lnTo>
                          <a:pt x="184" y="22"/>
                        </a:lnTo>
                        <a:lnTo>
                          <a:pt x="183" y="22"/>
                        </a:lnTo>
                        <a:lnTo>
                          <a:pt x="181" y="20"/>
                        </a:lnTo>
                        <a:lnTo>
                          <a:pt x="181" y="19"/>
                        </a:lnTo>
                        <a:lnTo>
                          <a:pt x="179" y="19"/>
                        </a:lnTo>
                        <a:lnTo>
                          <a:pt x="177" y="19"/>
                        </a:lnTo>
                        <a:lnTo>
                          <a:pt x="175" y="17"/>
                        </a:lnTo>
                        <a:lnTo>
                          <a:pt x="174" y="16"/>
                        </a:lnTo>
                        <a:lnTo>
                          <a:pt x="173" y="15"/>
                        </a:lnTo>
                        <a:lnTo>
                          <a:pt x="171" y="15"/>
                        </a:lnTo>
                        <a:lnTo>
                          <a:pt x="170" y="16"/>
                        </a:lnTo>
                        <a:lnTo>
                          <a:pt x="169" y="17"/>
                        </a:lnTo>
                        <a:lnTo>
                          <a:pt x="168" y="18"/>
                        </a:lnTo>
                        <a:lnTo>
                          <a:pt x="167" y="19"/>
                        </a:lnTo>
                        <a:lnTo>
                          <a:pt x="166" y="18"/>
                        </a:lnTo>
                        <a:lnTo>
                          <a:pt x="166" y="17"/>
                        </a:lnTo>
                        <a:lnTo>
                          <a:pt x="167" y="14"/>
                        </a:lnTo>
                        <a:lnTo>
                          <a:pt x="167" y="12"/>
                        </a:lnTo>
                        <a:lnTo>
                          <a:pt x="167" y="11"/>
                        </a:lnTo>
                        <a:lnTo>
                          <a:pt x="166" y="10"/>
                        </a:lnTo>
                        <a:lnTo>
                          <a:pt x="164" y="9"/>
                        </a:lnTo>
                        <a:lnTo>
                          <a:pt x="164" y="7"/>
                        </a:lnTo>
                        <a:lnTo>
                          <a:pt x="164" y="5"/>
                        </a:lnTo>
                        <a:lnTo>
                          <a:pt x="164" y="3"/>
                        </a:lnTo>
                        <a:lnTo>
                          <a:pt x="163" y="1"/>
                        </a:lnTo>
                        <a:lnTo>
                          <a:pt x="162" y="0"/>
                        </a:lnTo>
                        <a:lnTo>
                          <a:pt x="161" y="0"/>
                        </a:lnTo>
                        <a:lnTo>
                          <a:pt x="159" y="0"/>
                        </a:lnTo>
                        <a:lnTo>
                          <a:pt x="158" y="0"/>
                        </a:lnTo>
                        <a:lnTo>
                          <a:pt x="157" y="1"/>
                        </a:lnTo>
                        <a:lnTo>
                          <a:pt x="157" y="3"/>
                        </a:lnTo>
                        <a:lnTo>
                          <a:pt x="156" y="2"/>
                        </a:lnTo>
                        <a:lnTo>
                          <a:pt x="155" y="1"/>
                        </a:lnTo>
                        <a:lnTo>
                          <a:pt x="155" y="0"/>
                        </a:lnTo>
                        <a:lnTo>
                          <a:pt x="153" y="0"/>
                        </a:lnTo>
                        <a:lnTo>
                          <a:pt x="154" y="1"/>
                        </a:lnTo>
                        <a:lnTo>
                          <a:pt x="154" y="2"/>
                        </a:lnTo>
                        <a:lnTo>
                          <a:pt x="155" y="3"/>
                        </a:lnTo>
                        <a:lnTo>
                          <a:pt x="153" y="5"/>
                        </a:lnTo>
                        <a:lnTo>
                          <a:pt x="153" y="7"/>
                        </a:lnTo>
                        <a:lnTo>
                          <a:pt x="151" y="9"/>
                        </a:lnTo>
                        <a:lnTo>
                          <a:pt x="150" y="9"/>
                        </a:lnTo>
                        <a:lnTo>
                          <a:pt x="149" y="9"/>
                        </a:lnTo>
                        <a:lnTo>
                          <a:pt x="148" y="9"/>
                        </a:lnTo>
                        <a:lnTo>
                          <a:pt x="146" y="9"/>
                        </a:lnTo>
                        <a:lnTo>
                          <a:pt x="145" y="9"/>
                        </a:lnTo>
                        <a:lnTo>
                          <a:pt x="144" y="10"/>
                        </a:lnTo>
                        <a:lnTo>
                          <a:pt x="143" y="11"/>
                        </a:lnTo>
                        <a:lnTo>
                          <a:pt x="141" y="12"/>
                        </a:lnTo>
                        <a:lnTo>
                          <a:pt x="141" y="14"/>
                        </a:lnTo>
                        <a:lnTo>
                          <a:pt x="141" y="15"/>
                        </a:lnTo>
                        <a:lnTo>
                          <a:pt x="140" y="14"/>
                        </a:lnTo>
                        <a:lnTo>
                          <a:pt x="139" y="12"/>
                        </a:lnTo>
                        <a:lnTo>
                          <a:pt x="138" y="12"/>
                        </a:lnTo>
                        <a:lnTo>
                          <a:pt x="136" y="10"/>
                        </a:lnTo>
                        <a:lnTo>
                          <a:pt x="135" y="9"/>
                        </a:lnTo>
                        <a:lnTo>
                          <a:pt x="133" y="9"/>
                        </a:lnTo>
                        <a:lnTo>
                          <a:pt x="132" y="9"/>
                        </a:lnTo>
                        <a:lnTo>
                          <a:pt x="133" y="9"/>
                        </a:lnTo>
                        <a:lnTo>
                          <a:pt x="134" y="9"/>
                        </a:lnTo>
                        <a:lnTo>
                          <a:pt x="135" y="9"/>
                        </a:lnTo>
                        <a:lnTo>
                          <a:pt x="134" y="7"/>
                        </a:lnTo>
                        <a:lnTo>
                          <a:pt x="133" y="6"/>
                        </a:lnTo>
                        <a:lnTo>
                          <a:pt x="133" y="5"/>
                        </a:lnTo>
                        <a:lnTo>
                          <a:pt x="132" y="5"/>
                        </a:lnTo>
                        <a:lnTo>
                          <a:pt x="131" y="5"/>
                        </a:lnTo>
                        <a:lnTo>
                          <a:pt x="130" y="3"/>
                        </a:lnTo>
                        <a:lnTo>
                          <a:pt x="129" y="3"/>
                        </a:lnTo>
                        <a:lnTo>
                          <a:pt x="127" y="1"/>
                        </a:lnTo>
                        <a:lnTo>
                          <a:pt x="126" y="0"/>
                        </a:lnTo>
                        <a:lnTo>
                          <a:pt x="124" y="1"/>
                        </a:lnTo>
                        <a:lnTo>
                          <a:pt x="122" y="3"/>
                        </a:lnTo>
                        <a:lnTo>
                          <a:pt x="121" y="3"/>
                        </a:lnTo>
                        <a:lnTo>
                          <a:pt x="119" y="3"/>
                        </a:lnTo>
                        <a:lnTo>
                          <a:pt x="119" y="2"/>
                        </a:lnTo>
                        <a:lnTo>
                          <a:pt x="119" y="1"/>
                        </a:lnTo>
                        <a:lnTo>
                          <a:pt x="119" y="0"/>
                        </a:lnTo>
                        <a:lnTo>
                          <a:pt x="118" y="0"/>
                        </a:lnTo>
                        <a:lnTo>
                          <a:pt x="117" y="0"/>
                        </a:lnTo>
                        <a:lnTo>
                          <a:pt x="116" y="0"/>
                        </a:lnTo>
                        <a:lnTo>
                          <a:pt x="116" y="1"/>
                        </a:lnTo>
                        <a:lnTo>
                          <a:pt x="116" y="2"/>
                        </a:lnTo>
                        <a:lnTo>
                          <a:pt x="116" y="3"/>
                        </a:lnTo>
                        <a:lnTo>
                          <a:pt x="116" y="5"/>
                        </a:lnTo>
                        <a:lnTo>
                          <a:pt x="116" y="7"/>
                        </a:lnTo>
                        <a:lnTo>
                          <a:pt x="116" y="9"/>
                        </a:lnTo>
                        <a:lnTo>
                          <a:pt x="114" y="10"/>
                        </a:lnTo>
                        <a:lnTo>
                          <a:pt x="112" y="10"/>
                        </a:lnTo>
                        <a:lnTo>
                          <a:pt x="109" y="11"/>
                        </a:lnTo>
                        <a:lnTo>
                          <a:pt x="106" y="12"/>
                        </a:lnTo>
                        <a:lnTo>
                          <a:pt x="104" y="12"/>
                        </a:lnTo>
                        <a:lnTo>
                          <a:pt x="103" y="12"/>
                        </a:lnTo>
                        <a:lnTo>
                          <a:pt x="102" y="12"/>
                        </a:lnTo>
                        <a:lnTo>
                          <a:pt x="100" y="12"/>
                        </a:lnTo>
                        <a:lnTo>
                          <a:pt x="97" y="13"/>
                        </a:lnTo>
                        <a:lnTo>
                          <a:pt x="95" y="14"/>
                        </a:lnTo>
                        <a:lnTo>
                          <a:pt x="92" y="14"/>
                        </a:lnTo>
                        <a:lnTo>
                          <a:pt x="90" y="15"/>
                        </a:lnTo>
                        <a:lnTo>
                          <a:pt x="81" y="15"/>
                        </a:lnTo>
                        <a:lnTo>
                          <a:pt x="79" y="15"/>
                        </a:lnTo>
                        <a:lnTo>
                          <a:pt x="77" y="16"/>
                        </a:lnTo>
                        <a:lnTo>
                          <a:pt x="76" y="17"/>
                        </a:lnTo>
                        <a:lnTo>
                          <a:pt x="74" y="19"/>
                        </a:lnTo>
                        <a:lnTo>
                          <a:pt x="73" y="19"/>
                        </a:lnTo>
                        <a:lnTo>
                          <a:pt x="72" y="19"/>
                        </a:lnTo>
                        <a:lnTo>
                          <a:pt x="70" y="19"/>
                        </a:lnTo>
                        <a:lnTo>
                          <a:pt x="68" y="21"/>
                        </a:lnTo>
                        <a:lnTo>
                          <a:pt x="67" y="23"/>
                        </a:lnTo>
                        <a:lnTo>
                          <a:pt x="66" y="25"/>
                        </a:lnTo>
                        <a:lnTo>
                          <a:pt x="64" y="25"/>
                        </a:lnTo>
                        <a:lnTo>
                          <a:pt x="62" y="23"/>
                        </a:lnTo>
                        <a:lnTo>
                          <a:pt x="61" y="22"/>
                        </a:lnTo>
                        <a:lnTo>
                          <a:pt x="61" y="23"/>
                        </a:lnTo>
                        <a:lnTo>
                          <a:pt x="60" y="24"/>
                        </a:lnTo>
                        <a:lnTo>
                          <a:pt x="59" y="25"/>
                        </a:lnTo>
                        <a:lnTo>
                          <a:pt x="58" y="25"/>
                        </a:lnTo>
                        <a:lnTo>
                          <a:pt x="56" y="25"/>
                        </a:lnTo>
                        <a:lnTo>
                          <a:pt x="55" y="25"/>
                        </a:lnTo>
                        <a:lnTo>
                          <a:pt x="53" y="25"/>
                        </a:lnTo>
                        <a:lnTo>
                          <a:pt x="51" y="25"/>
                        </a:lnTo>
                        <a:lnTo>
                          <a:pt x="51" y="27"/>
                        </a:lnTo>
                        <a:lnTo>
                          <a:pt x="50" y="28"/>
                        </a:lnTo>
                        <a:lnTo>
                          <a:pt x="48" y="29"/>
                        </a:lnTo>
                        <a:lnTo>
                          <a:pt x="47" y="30"/>
                        </a:lnTo>
                        <a:lnTo>
                          <a:pt x="46" y="31"/>
                        </a:lnTo>
                        <a:lnTo>
                          <a:pt x="45" y="31"/>
                        </a:lnTo>
                        <a:lnTo>
                          <a:pt x="43" y="33"/>
                        </a:lnTo>
                        <a:lnTo>
                          <a:pt x="41" y="34"/>
                        </a:lnTo>
                        <a:lnTo>
                          <a:pt x="40" y="34"/>
                        </a:lnTo>
                        <a:lnTo>
                          <a:pt x="38" y="34"/>
                        </a:lnTo>
                        <a:lnTo>
                          <a:pt x="37" y="34"/>
                        </a:lnTo>
                        <a:lnTo>
                          <a:pt x="36" y="34"/>
                        </a:lnTo>
                        <a:lnTo>
                          <a:pt x="25" y="34"/>
                        </a:lnTo>
                        <a:lnTo>
                          <a:pt x="23" y="36"/>
                        </a:lnTo>
                        <a:lnTo>
                          <a:pt x="22" y="37"/>
                        </a:lnTo>
                        <a:lnTo>
                          <a:pt x="21" y="38"/>
                        </a:lnTo>
                        <a:lnTo>
                          <a:pt x="19" y="38"/>
                        </a:lnTo>
                        <a:lnTo>
                          <a:pt x="17" y="40"/>
                        </a:lnTo>
                        <a:lnTo>
                          <a:pt x="15" y="43"/>
                        </a:lnTo>
                        <a:lnTo>
                          <a:pt x="14" y="45"/>
                        </a:lnTo>
                        <a:lnTo>
                          <a:pt x="13" y="48"/>
                        </a:lnTo>
                        <a:lnTo>
                          <a:pt x="13" y="47"/>
                        </a:lnTo>
                        <a:lnTo>
                          <a:pt x="13" y="46"/>
                        </a:lnTo>
                        <a:lnTo>
                          <a:pt x="13" y="45"/>
                        </a:lnTo>
                        <a:lnTo>
                          <a:pt x="11" y="43"/>
                        </a:lnTo>
                        <a:lnTo>
                          <a:pt x="10" y="41"/>
                        </a:lnTo>
                        <a:lnTo>
                          <a:pt x="10" y="40"/>
                        </a:lnTo>
                        <a:lnTo>
                          <a:pt x="10" y="38"/>
                        </a:lnTo>
                        <a:lnTo>
                          <a:pt x="8" y="37"/>
                        </a:lnTo>
                        <a:lnTo>
                          <a:pt x="6" y="36"/>
                        </a:lnTo>
                        <a:lnTo>
                          <a:pt x="5" y="35"/>
                        </a:lnTo>
                        <a:lnTo>
                          <a:pt x="3" y="34"/>
                        </a:lnTo>
                        <a:lnTo>
                          <a:pt x="3" y="36"/>
                        </a:lnTo>
                        <a:lnTo>
                          <a:pt x="3" y="37"/>
                        </a:lnTo>
                        <a:lnTo>
                          <a:pt x="3" y="38"/>
                        </a:lnTo>
                        <a:lnTo>
                          <a:pt x="3" y="40"/>
                        </a:lnTo>
                        <a:lnTo>
                          <a:pt x="2" y="41"/>
                        </a:lnTo>
                        <a:lnTo>
                          <a:pt x="1" y="41"/>
                        </a:lnTo>
                        <a:lnTo>
                          <a:pt x="0" y="41"/>
                        </a:lnTo>
                        <a:lnTo>
                          <a:pt x="0" y="42"/>
                        </a:lnTo>
                        <a:lnTo>
                          <a:pt x="1" y="43"/>
                        </a:lnTo>
                        <a:lnTo>
                          <a:pt x="2" y="44"/>
                        </a:lnTo>
                        <a:lnTo>
                          <a:pt x="3" y="45"/>
                        </a:lnTo>
                        <a:lnTo>
                          <a:pt x="3" y="46"/>
                        </a:lnTo>
                        <a:lnTo>
                          <a:pt x="3" y="48"/>
                        </a:lnTo>
                        <a:lnTo>
                          <a:pt x="3" y="53"/>
                        </a:lnTo>
                        <a:lnTo>
                          <a:pt x="4" y="54"/>
                        </a:lnTo>
                        <a:lnTo>
                          <a:pt x="6" y="57"/>
                        </a:lnTo>
                        <a:lnTo>
                          <a:pt x="7" y="57"/>
                        </a:lnTo>
                        <a:lnTo>
                          <a:pt x="8" y="57"/>
                        </a:lnTo>
                        <a:lnTo>
                          <a:pt x="9" y="57"/>
                        </a:lnTo>
                        <a:lnTo>
                          <a:pt x="10" y="57"/>
                        </a:lnTo>
                        <a:lnTo>
                          <a:pt x="12" y="59"/>
                        </a:lnTo>
                        <a:lnTo>
                          <a:pt x="13" y="60"/>
                        </a:lnTo>
                        <a:lnTo>
                          <a:pt x="13" y="62"/>
                        </a:lnTo>
                        <a:lnTo>
                          <a:pt x="15" y="64"/>
                        </a:lnTo>
                        <a:lnTo>
                          <a:pt x="15" y="65"/>
                        </a:lnTo>
                        <a:lnTo>
                          <a:pt x="15" y="67"/>
                        </a:lnTo>
                        <a:lnTo>
                          <a:pt x="17" y="67"/>
                        </a:lnTo>
                        <a:lnTo>
                          <a:pt x="18" y="67"/>
                        </a:lnTo>
                        <a:lnTo>
                          <a:pt x="19" y="68"/>
                        </a:lnTo>
                        <a:lnTo>
                          <a:pt x="19" y="70"/>
                        </a:lnTo>
                        <a:lnTo>
                          <a:pt x="18" y="72"/>
                        </a:lnTo>
                        <a:lnTo>
                          <a:pt x="15" y="72"/>
                        </a:lnTo>
                        <a:lnTo>
                          <a:pt x="13" y="72"/>
                        </a:lnTo>
                        <a:lnTo>
                          <a:pt x="13" y="74"/>
                        </a:lnTo>
                        <a:lnTo>
                          <a:pt x="13" y="76"/>
                        </a:lnTo>
                        <a:lnTo>
                          <a:pt x="13" y="77"/>
                        </a:lnTo>
                        <a:lnTo>
                          <a:pt x="13" y="78"/>
                        </a:lnTo>
                        <a:lnTo>
                          <a:pt x="13" y="79"/>
                        </a:lnTo>
                        <a:lnTo>
                          <a:pt x="13" y="81"/>
                        </a:lnTo>
                        <a:lnTo>
                          <a:pt x="13" y="82"/>
                        </a:lnTo>
                        <a:lnTo>
                          <a:pt x="13" y="83"/>
                        </a:lnTo>
                        <a:lnTo>
                          <a:pt x="14" y="85"/>
                        </a:lnTo>
                        <a:lnTo>
                          <a:pt x="15" y="86"/>
                        </a:lnTo>
                        <a:lnTo>
                          <a:pt x="15" y="88"/>
                        </a:lnTo>
                        <a:lnTo>
                          <a:pt x="15" y="90"/>
                        </a:lnTo>
                        <a:lnTo>
                          <a:pt x="17" y="90"/>
                        </a:lnTo>
                        <a:lnTo>
                          <a:pt x="18" y="92"/>
                        </a:lnTo>
                        <a:lnTo>
                          <a:pt x="19" y="96"/>
                        </a:lnTo>
                        <a:lnTo>
                          <a:pt x="19" y="97"/>
                        </a:lnTo>
                        <a:lnTo>
                          <a:pt x="19" y="98"/>
                        </a:lnTo>
                        <a:lnTo>
                          <a:pt x="19" y="99"/>
                        </a:lnTo>
                        <a:lnTo>
                          <a:pt x="19" y="100"/>
                        </a:lnTo>
                        <a:lnTo>
                          <a:pt x="19" y="101"/>
                        </a:lnTo>
                        <a:lnTo>
                          <a:pt x="19" y="102"/>
                        </a:lnTo>
                        <a:lnTo>
                          <a:pt x="21" y="102"/>
                        </a:lnTo>
                        <a:lnTo>
                          <a:pt x="22" y="102"/>
                        </a:lnTo>
                        <a:lnTo>
                          <a:pt x="22" y="103"/>
                        </a:lnTo>
                        <a:lnTo>
                          <a:pt x="22" y="105"/>
                        </a:lnTo>
                        <a:lnTo>
                          <a:pt x="23" y="106"/>
                        </a:lnTo>
                        <a:lnTo>
                          <a:pt x="24" y="107"/>
                        </a:lnTo>
                        <a:lnTo>
                          <a:pt x="25" y="109"/>
                        </a:lnTo>
                        <a:lnTo>
                          <a:pt x="27" y="109"/>
                        </a:lnTo>
                        <a:lnTo>
                          <a:pt x="29" y="109"/>
                        </a:lnTo>
                        <a:lnTo>
                          <a:pt x="31" y="110"/>
                        </a:lnTo>
                        <a:lnTo>
                          <a:pt x="32" y="112"/>
                        </a:lnTo>
                        <a:lnTo>
                          <a:pt x="34" y="112"/>
                        </a:lnTo>
                        <a:lnTo>
                          <a:pt x="36" y="112"/>
                        </a:lnTo>
                        <a:lnTo>
                          <a:pt x="37" y="113"/>
                        </a:lnTo>
                        <a:lnTo>
                          <a:pt x="38" y="115"/>
                        </a:lnTo>
                        <a:lnTo>
                          <a:pt x="38" y="117"/>
                        </a:lnTo>
                        <a:lnTo>
                          <a:pt x="38" y="119"/>
                        </a:lnTo>
                        <a:lnTo>
                          <a:pt x="38" y="120"/>
                        </a:lnTo>
                        <a:lnTo>
                          <a:pt x="38" y="122"/>
                        </a:lnTo>
                        <a:lnTo>
                          <a:pt x="40" y="124"/>
                        </a:lnTo>
                        <a:lnTo>
                          <a:pt x="41" y="125"/>
                        </a:lnTo>
                        <a:lnTo>
                          <a:pt x="43" y="125"/>
                        </a:lnTo>
                        <a:lnTo>
                          <a:pt x="45" y="125"/>
                        </a:lnTo>
                        <a:lnTo>
                          <a:pt x="45" y="126"/>
                        </a:lnTo>
                        <a:lnTo>
                          <a:pt x="45" y="127"/>
                        </a:lnTo>
                        <a:lnTo>
                          <a:pt x="45" y="128"/>
                        </a:lnTo>
                        <a:lnTo>
                          <a:pt x="45" y="130"/>
                        </a:lnTo>
                        <a:lnTo>
                          <a:pt x="45" y="131"/>
                        </a:lnTo>
                        <a:lnTo>
                          <a:pt x="46" y="131"/>
                        </a:lnTo>
                        <a:lnTo>
                          <a:pt x="48" y="131"/>
                        </a:lnTo>
                        <a:lnTo>
                          <a:pt x="50" y="132"/>
                        </a:lnTo>
                        <a:lnTo>
                          <a:pt x="51" y="133"/>
                        </a:lnTo>
                        <a:lnTo>
                          <a:pt x="51" y="135"/>
                        </a:lnTo>
                        <a:lnTo>
                          <a:pt x="51" y="136"/>
                        </a:lnTo>
                        <a:lnTo>
                          <a:pt x="51" y="138"/>
                        </a:lnTo>
                        <a:lnTo>
                          <a:pt x="51" y="139"/>
                        </a:lnTo>
                        <a:lnTo>
                          <a:pt x="51" y="141"/>
                        </a:lnTo>
                        <a:lnTo>
                          <a:pt x="53" y="141"/>
                        </a:lnTo>
                        <a:lnTo>
                          <a:pt x="55" y="141"/>
                        </a:lnTo>
                        <a:lnTo>
                          <a:pt x="56" y="141"/>
                        </a:lnTo>
                        <a:lnTo>
                          <a:pt x="58" y="141"/>
                        </a:lnTo>
                        <a:lnTo>
                          <a:pt x="59" y="142"/>
                        </a:lnTo>
                        <a:lnTo>
                          <a:pt x="60" y="143"/>
                        </a:lnTo>
                        <a:lnTo>
                          <a:pt x="61" y="144"/>
                        </a:lnTo>
                        <a:lnTo>
                          <a:pt x="64" y="145"/>
                        </a:lnTo>
                        <a:lnTo>
                          <a:pt x="64" y="146"/>
                        </a:lnTo>
                        <a:lnTo>
                          <a:pt x="65" y="147"/>
                        </a:lnTo>
                        <a:lnTo>
                          <a:pt x="67" y="148"/>
                        </a:lnTo>
                        <a:lnTo>
                          <a:pt x="69" y="148"/>
                        </a:lnTo>
                        <a:lnTo>
                          <a:pt x="70" y="149"/>
                        </a:lnTo>
                        <a:lnTo>
                          <a:pt x="72" y="150"/>
                        </a:lnTo>
                        <a:lnTo>
                          <a:pt x="74" y="150"/>
                        </a:lnTo>
                        <a:lnTo>
                          <a:pt x="76" y="152"/>
                        </a:lnTo>
                        <a:lnTo>
                          <a:pt x="77" y="153"/>
                        </a:lnTo>
                        <a:lnTo>
                          <a:pt x="79" y="154"/>
                        </a:lnTo>
                        <a:lnTo>
                          <a:pt x="81" y="154"/>
                        </a:lnTo>
                        <a:lnTo>
                          <a:pt x="82" y="155"/>
                        </a:lnTo>
                        <a:lnTo>
                          <a:pt x="83" y="157"/>
                        </a:lnTo>
                        <a:lnTo>
                          <a:pt x="84" y="157"/>
                        </a:lnTo>
                        <a:lnTo>
                          <a:pt x="85" y="159"/>
                        </a:lnTo>
                        <a:lnTo>
                          <a:pt x="86" y="160"/>
                        </a:lnTo>
                        <a:lnTo>
                          <a:pt x="89" y="162"/>
                        </a:lnTo>
                        <a:lnTo>
                          <a:pt x="91" y="164"/>
                        </a:lnTo>
                        <a:lnTo>
                          <a:pt x="92" y="165"/>
                        </a:lnTo>
                        <a:lnTo>
                          <a:pt x="93" y="167"/>
                        </a:lnTo>
                        <a:lnTo>
                          <a:pt x="93" y="169"/>
                        </a:lnTo>
                        <a:lnTo>
                          <a:pt x="93" y="170"/>
                        </a:lnTo>
                        <a:lnTo>
                          <a:pt x="95" y="170"/>
                        </a:lnTo>
                        <a:lnTo>
                          <a:pt x="96" y="170"/>
                        </a:lnTo>
                        <a:lnTo>
                          <a:pt x="98" y="172"/>
                        </a:lnTo>
                        <a:lnTo>
                          <a:pt x="100" y="173"/>
                        </a:lnTo>
                        <a:lnTo>
                          <a:pt x="101" y="173"/>
                        </a:lnTo>
                        <a:lnTo>
                          <a:pt x="103" y="173"/>
                        </a:lnTo>
                        <a:lnTo>
                          <a:pt x="104" y="173"/>
                        </a:lnTo>
                        <a:lnTo>
                          <a:pt x="105" y="173"/>
                        </a:lnTo>
                        <a:lnTo>
                          <a:pt x="106" y="173"/>
                        </a:lnTo>
                        <a:lnTo>
                          <a:pt x="108" y="173"/>
                        </a:lnTo>
                        <a:lnTo>
                          <a:pt x="109" y="173"/>
                        </a:lnTo>
                        <a:lnTo>
                          <a:pt x="109" y="172"/>
                        </a:lnTo>
                        <a:lnTo>
                          <a:pt x="109" y="171"/>
                        </a:lnTo>
                        <a:lnTo>
                          <a:pt x="110" y="171"/>
                        </a:lnTo>
                        <a:lnTo>
                          <a:pt x="112" y="170"/>
                        </a:lnTo>
                        <a:lnTo>
                          <a:pt x="114" y="170"/>
                        </a:lnTo>
                        <a:lnTo>
                          <a:pt x="115" y="170"/>
                        </a:lnTo>
                        <a:lnTo>
                          <a:pt x="116" y="170"/>
                        </a:lnTo>
                        <a:lnTo>
                          <a:pt x="118" y="171"/>
                        </a:lnTo>
                        <a:lnTo>
                          <a:pt x="119" y="172"/>
                        </a:lnTo>
                        <a:lnTo>
                          <a:pt x="120" y="173"/>
                        </a:lnTo>
                        <a:lnTo>
                          <a:pt x="122" y="173"/>
                        </a:lnTo>
                        <a:lnTo>
                          <a:pt x="124" y="173"/>
                        </a:lnTo>
                        <a:lnTo>
                          <a:pt x="123" y="172"/>
                        </a:lnTo>
                        <a:lnTo>
                          <a:pt x="123" y="170"/>
                        </a:lnTo>
                        <a:lnTo>
                          <a:pt x="122" y="167"/>
                        </a:lnTo>
                        <a:lnTo>
                          <a:pt x="122" y="166"/>
                        </a:lnTo>
                        <a:lnTo>
                          <a:pt x="123" y="165"/>
                        </a:lnTo>
                        <a:lnTo>
                          <a:pt x="124" y="165"/>
                        </a:lnTo>
                        <a:lnTo>
                          <a:pt x="126" y="164"/>
                        </a:lnTo>
                        <a:lnTo>
                          <a:pt x="127" y="164"/>
                        </a:lnTo>
                        <a:lnTo>
                          <a:pt x="128" y="164"/>
                        </a:lnTo>
                        <a:lnTo>
                          <a:pt x="129" y="164"/>
                        </a:lnTo>
                        <a:lnTo>
                          <a:pt x="129" y="159"/>
                        </a:lnTo>
                        <a:lnTo>
                          <a:pt x="129" y="158"/>
                        </a:lnTo>
                        <a:lnTo>
                          <a:pt x="129" y="157"/>
                        </a:lnTo>
                        <a:lnTo>
                          <a:pt x="131" y="157"/>
                        </a:lnTo>
                        <a:lnTo>
                          <a:pt x="132" y="157"/>
                        </a:lnTo>
                        <a:lnTo>
                          <a:pt x="135" y="158"/>
                        </a:lnTo>
                        <a:lnTo>
                          <a:pt x="136" y="158"/>
                        </a:lnTo>
                        <a:lnTo>
                          <a:pt x="135" y="156"/>
                        </a:lnTo>
                        <a:lnTo>
                          <a:pt x="135" y="154"/>
                        </a:lnTo>
                        <a:lnTo>
                          <a:pt x="135" y="153"/>
                        </a:lnTo>
                        <a:lnTo>
                          <a:pt x="135" y="152"/>
                        </a:lnTo>
                        <a:lnTo>
                          <a:pt x="135" y="148"/>
                        </a:lnTo>
                        <a:lnTo>
                          <a:pt x="135" y="147"/>
                        </a:lnTo>
                        <a:lnTo>
                          <a:pt x="135" y="146"/>
                        </a:lnTo>
                        <a:lnTo>
                          <a:pt x="135" y="145"/>
                        </a:lnTo>
                        <a:lnTo>
                          <a:pt x="137" y="145"/>
                        </a:lnTo>
                        <a:lnTo>
                          <a:pt x="138" y="145"/>
                        </a:lnTo>
                        <a:lnTo>
                          <a:pt x="140" y="145"/>
                        </a:lnTo>
                        <a:lnTo>
                          <a:pt x="141" y="145"/>
                        </a:lnTo>
                        <a:lnTo>
                          <a:pt x="141" y="146"/>
                        </a:lnTo>
                        <a:lnTo>
                          <a:pt x="141" y="148"/>
                        </a:lnTo>
                        <a:lnTo>
                          <a:pt x="143" y="149"/>
                        </a:lnTo>
                        <a:lnTo>
                          <a:pt x="145" y="148"/>
                        </a:lnTo>
                        <a:lnTo>
                          <a:pt x="146" y="146"/>
                        </a:lnTo>
                        <a:lnTo>
                          <a:pt x="148" y="145"/>
                        </a:lnTo>
                        <a:lnTo>
                          <a:pt x="149" y="145"/>
                        </a:lnTo>
                        <a:lnTo>
                          <a:pt x="150" y="146"/>
                        </a:lnTo>
                        <a:lnTo>
                          <a:pt x="151" y="146"/>
                        </a:lnTo>
                        <a:lnTo>
                          <a:pt x="151" y="145"/>
                        </a:lnTo>
                        <a:lnTo>
                          <a:pt x="152" y="145"/>
                        </a:lnTo>
                        <a:lnTo>
                          <a:pt x="153" y="145"/>
                        </a:lnTo>
                        <a:lnTo>
                          <a:pt x="155" y="145"/>
                        </a:lnTo>
                        <a:lnTo>
                          <a:pt x="157" y="145"/>
                        </a:lnTo>
                        <a:lnTo>
                          <a:pt x="161" y="145"/>
                        </a:lnTo>
                        <a:lnTo>
                          <a:pt x="163" y="147"/>
                        </a:lnTo>
                        <a:lnTo>
                          <a:pt x="164" y="148"/>
                        </a:lnTo>
                        <a:lnTo>
                          <a:pt x="165" y="149"/>
                        </a:lnTo>
                        <a:lnTo>
                          <a:pt x="167" y="150"/>
                        </a:lnTo>
                        <a:lnTo>
                          <a:pt x="167" y="151"/>
                        </a:lnTo>
                        <a:lnTo>
                          <a:pt x="167" y="152"/>
                        </a:lnTo>
                        <a:lnTo>
                          <a:pt x="167" y="153"/>
                        </a:lnTo>
                        <a:lnTo>
                          <a:pt x="167" y="154"/>
                        </a:lnTo>
                        <a:lnTo>
                          <a:pt x="169" y="153"/>
                        </a:lnTo>
                        <a:lnTo>
                          <a:pt x="171" y="152"/>
                        </a:lnTo>
                        <a:lnTo>
                          <a:pt x="172" y="151"/>
                        </a:lnTo>
                        <a:lnTo>
                          <a:pt x="174" y="150"/>
                        </a:lnTo>
                        <a:lnTo>
                          <a:pt x="176" y="152"/>
                        </a:lnTo>
                        <a:lnTo>
                          <a:pt x="177" y="154"/>
                        </a:lnTo>
                        <a:lnTo>
                          <a:pt x="177" y="155"/>
                        </a:lnTo>
                        <a:lnTo>
                          <a:pt x="177" y="157"/>
                        </a:lnTo>
                        <a:lnTo>
                          <a:pt x="179" y="157"/>
                        </a:lnTo>
                        <a:lnTo>
                          <a:pt x="181" y="157"/>
                        </a:lnTo>
                        <a:lnTo>
                          <a:pt x="181" y="158"/>
                        </a:lnTo>
                        <a:lnTo>
                          <a:pt x="183" y="160"/>
                        </a:lnTo>
                        <a:lnTo>
                          <a:pt x="183" y="161"/>
                        </a:lnTo>
                        <a:lnTo>
                          <a:pt x="184" y="162"/>
                        </a:lnTo>
                        <a:lnTo>
                          <a:pt x="185" y="163"/>
                        </a:lnTo>
                        <a:lnTo>
                          <a:pt x="186" y="164"/>
                        </a:lnTo>
                        <a:lnTo>
                          <a:pt x="187" y="164"/>
                        </a:lnTo>
                        <a:lnTo>
                          <a:pt x="188" y="164"/>
                        </a:lnTo>
                        <a:lnTo>
                          <a:pt x="189" y="164"/>
                        </a:lnTo>
                        <a:lnTo>
                          <a:pt x="190" y="164"/>
                        </a:lnTo>
                        <a:lnTo>
                          <a:pt x="191" y="164"/>
                        </a:lnTo>
                        <a:lnTo>
                          <a:pt x="193" y="164"/>
                        </a:lnTo>
                        <a:lnTo>
                          <a:pt x="196" y="166"/>
                        </a:lnTo>
                        <a:lnTo>
                          <a:pt x="198" y="167"/>
                        </a:lnTo>
                        <a:lnTo>
                          <a:pt x="203" y="167"/>
                        </a:lnTo>
                        <a:lnTo>
                          <a:pt x="204" y="167"/>
                        </a:lnTo>
                        <a:lnTo>
                          <a:pt x="205" y="167"/>
                        </a:lnTo>
                        <a:lnTo>
                          <a:pt x="206" y="167"/>
                        </a:lnTo>
                        <a:lnTo>
                          <a:pt x="208" y="165"/>
                        </a:lnTo>
                        <a:lnTo>
                          <a:pt x="209" y="163"/>
                        </a:lnTo>
                        <a:lnTo>
                          <a:pt x="210" y="162"/>
                        </a:lnTo>
                        <a:lnTo>
                          <a:pt x="212" y="164"/>
                        </a:lnTo>
                        <a:lnTo>
                          <a:pt x="213" y="164"/>
                        </a:lnTo>
                        <a:lnTo>
                          <a:pt x="214" y="164"/>
                        </a:lnTo>
                        <a:lnTo>
                          <a:pt x="216" y="164"/>
                        </a:lnTo>
                        <a:lnTo>
                          <a:pt x="217" y="164"/>
                        </a:lnTo>
                        <a:lnTo>
                          <a:pt x="219" y="164"/>
                        </a:lnTo>
                        <a:lnTo>
                          <a:pt x="221" y="166"/>
                        </a:lnTo>
                        <a:lnTo>
                          <a:pt x="222" y="167"/>
                        </a:lnTo>
                        <a:lnTo>
                          <a:pt x="224" y="167"/>
                        </a:lnTo>
                        <a:lnTo>
                          <a:pt x="226" y="167"/>
                        </a:lnTo>
                        <a:lnTo>
                          <a:pt x="226" y="169"/>
                        </a:lnTo>
                        <a:lnTo>
                          <a:pt x="226" y="170"/>
                        </a:lnTo>
                        <a:lnTo>
                          <a:pt x="227" y="170"/>
                        </a:lnTo>
                        <a:lnTo>
                          <a:pt x="229" y="170"/>
                        </a:lnTo>
                        <a:lnTo>
                          <a:pt x="229" y="169"/>
                        </a:lnTo>
                        <a:lnTo>
                          <a:pt x="229" y="168"/>
                        </a:lnTo>
                        <a:lnTo>
                          <a:pt x="229" y="167"/>
                        </a:lnTo>
                        <a:lnTo>
                          <a:pt x="231" y="168"/>
                        </a:lnTo>
                        <a:lnTo>
                          <a:pt x="233" y="171"/>
                        </a:lnTo>
                        <a:lnTo>
                          <a:pt x="234" y="173"/>
                        </a:lnTo>
                        <a:lnTo>
                          <a:pt x="235" y="176"/>
                        </a:lnTo>
                        <a:lnTo>
                          <a:pt x="235" y="18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6" name="Freeform 1652">
                    <a:extLst>
                      <a:ext uri="{FF2B5EF4-FFF2-40B4-BE49-F238E27FC236}">
                        <a16:creationId xmlns:a16="http://schemas.microsoft.com/office/drawing/2014/main" xmlns="" id="{37CFB1A0-AAFD-4502-92D6-61915018455D}"/>
                      </a:ext>
                    </a:extLst>
                  </p:cNvPr>
                  <p:cNvSpPr>
                    <a:spLocks/>
                  </p:cNvSpPr>
                  <p:nvPr/>
                </p:nvSpPr>
                <p:spPr bwMode="gray">
                  <a:xfrm>
                    <a:off x="5751414" y="4549457"/>
                    <a:ext cx="112360" cy="70090"/>
                  </a:xfrm>
                  <a:custGeom>
                    <a:avLst/>
                    <a:gdLst>
                      <a:gd name="T0" fmla="*/ 2147483647 w 101"/>
                      <a:gd name="T1" fmla="*/ 2147483647 h 63"/>
                      <a:gd name="T2" fmla="*/ 2147483647 w 101"/>
                      <a:gd name="T3" fmla="*/ 2147483647 h 63"/>
                      <a:gd name="T4" fmla="*/ 2147483647 w 101"/>
                      <a:gd name="T5" fmla="*/ 2147483647 h 63"/>
                      <a:gd name="T6" fmla="*/ 2147483647 w 101"/>
                      <a:gd name="T7" fmla="*/ 2147483647 h 63"/>
                      <a:gd name="T8" fmla="*/ 2147483647 w 101"/>
                      <a:gd name="T9" fmla="*/ 2147483647 h 63"/>
                      <a:gd name="T10" fmla="*/ 2147483647 w 101"/>
                      <a:gd name="T11" fmla="*/ 0 h 63"/>
                      <a:gd name="T12" fmla="*/ 2147483647 w 101"/>
                      <a:gd name="T13" fmla="*/ 2147483647 h 63"/>
                      <a:gd name="T14" fmla="*/ 2147483647 w 101"/>
                      <a:gd name="T15" fmla="*/ 2147483647 h 63"/>
                      <a:gd name="T16" fmla="*/ 2147483647 w 101"/>
                      <a:gd name="T17" fmla="*/ 2147483647 h 63"/>
                      <a:gd name="T18" fmla="*/ 2147483647 w 101"/>
                      <a:gd name="T19" fmla="*/ 2147483647 h 63"/>
                      <a:gd name="T20" fmla="*/ 2147483647 w 101"/>
                      <a:gd name="T21" fmla="*/ 2147483647 h 63"/>
                      <a:gd name="T22" fmla="*/ 2147483647 w 101"/>
                      <a:gd name="T23" fmla="*/ 2147483647 h 63"/>
                      <a:gd name="T24" fmla="*/ 2147483647 w 101"/>
                      <a:gd name="T25" fmla="*/ 2147483647 h 63"/>
                      <a:gd name="T26" fmla="*/ 2147483647 w 101"/>
                      <a:gd name="T27" fmla="*/ 2147483647 h 63"/>
                      <a:gd name="T28" fmla="*/ 2147483647 w 101"/>
                      <a:gd name="T29" fmla="*/ 2147483647 h 63"/>
                      <a:gd name="T30" fmla="*/ 2147483647 w 101"/>
                      <a:gd name="T31" fmla="*/ 2147483647 h 63"/>
                      <a:gd name="T32" fmla="*/ 2147483647 w 101"/>
                      <a:gd name="T33" fmla="*/ 2147483647 h 63"/>
                      <a:gd name="T34" fmla="*/ 2147483647 w 101"/>
                      <a:gd name="T35" fmla="*/ 2147483647 h 63"/>
                      <a:gd name="T36" fmla="*/ 2147483647 w 101"/>
                      <a:gd name="T37" fmla="*/ 2147483647 h 63"/>
                      <a:gd name="T38" fmla="*/ 2147483647 w 101"/>
                      <a:gd name="T39" fmla="*/ 2147483647 h 63"/>
                      <a:gd name="T40" fmla="*/ 2147483647 w 101"/>
                      <a:gd name="T41" fmla="*/ 2147483647 h 63"/>
                      <a:gd name="T42" fmla="*/ 2147483647 w 101"/>
                      <a:gd name="T43" fmla="*/ 2147483647 h 63"/>
                      <a:gd name="T44" fmla="*/ 0 w 101"/>
                      <a:gd name="T45" fmla="*/ 2147483647 h 63"/>
                      <a:gd name="T46" fmla="*/ 2147483647 w 101"/>
                      <a:gd name="T47" fmla="*/ 2147483647 h 63"/>
                      <a:gd name="T48" fmla="*/ 2147483647 w 101"/>
                      <a:gd name="T49" fmla="*/ 2147483647 h 63"/>
                      <a:gd name="T50" fmla="*/ 2147483647 w 101"/>
                      <a:gd name="T51" fmla="*/ 2147483647 h 63"/>
                      <a:gd name="T52" fmla="*/ 2147483647 w 101"/>
                      <a:gd name="T53" fmla="*/ 2147483647 h 63"/>
                      <a:gd name="T54" fmla="*/ 2147483647 w 101"/>
                      <a:gd name="T55" fmla="*/ 2147483647 h 63"/>
                      <a:gd name="T56" fmla="*/ 2147483647 w 101"/>
                      <a:gd name="T57" fmla="*/ 2147483647 h 63"/>
                      <a:gd name="T58" fmla="*/ 2147483647 w 101"/>
                      <a:gd name="T59" fmla="*/ 2147483647 h 63"/>
                      <a:gd name="T60" fmla="*/ 2147483647 w 101"/>
                      <a:gd name="T61" fmla="*/ 2147483647 h 63"/>
                      <a:gd name="T62" fmla="*/ 2147483647 w 101"/>
                      <a:gd name="T63" fmla="*/ 2147483647 h 63"/>
                      <a:gd name="T64" fmla="*/ 2147483647 w 101"/>
                      <a:gd name="T65" fmla="*/ 2147483647 h 63"/>
                      <a:gd name="T66" fmla="*/ 2147483647 w 101"/>
                      <a:gd name="T67" fmla="*/ 2147483647 h 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1" h="63">
                        <a:moveTo>
                          <a:pt x="75" y="42"/>
                        </a:moveTo>
                        <a:lnTo>
                          <a:pt x="75" y="42"/>
                        </a:lnTo>
                        <a:lnTo>
                          <a:pt x="75" y="38"/>
                        </a:lnTo>
                        <a:lnTo>
                          <a:pt x="77" y="33"/>
                        </a:lnTo>
                        <a:lnTo>
                          <a:pt x="80" y="27"/>
                        </a:lnTo>
                        <a:lnTo>
                          <a:pt x="84" y="21"/>
                        </a:lnTo>
                        <a:lnTo>
                          <a:pt x="93" y="11"/>
                        </a:lnTo>
                        <a:lnTo>
                          <a:pt x="97" y="6"/>
                        </a:lnTo>
                        <a:lnTo>
                          <a:pt x="101" y="3"/>
                        </a:lnTo>
                        <a:lnTo>
                          <a:pt x="99" y="2"/>
                        </a:lnTo>
                        <a:lnTo>
                          <a:pt x="99" y="0"/>
                        </a:lnTo>
                        <a:lnTo>
                          <a:pt x="97" y="0"/>
                        </a:lnTo>
                        <a:lnTo>
                          <a:pt x="95" y="2"/>
                        </a:lnTo>
                        <a:lnTo>
                          <a:pt x="92" y="3"/>
                        </a:lnTo>
                        <a:lnTo>
                          <a:pt x="90" y="5"/>
                        </a:lnTo>
                        <a:lnTo>
                          <a:pt x="88" y="6"/>
                        </a:lnTo>
                        <a:lnTo>
                          <a:pt x="86" y="8"/>
                        </a:lnTo>
                        <a:lnTo>
                          <a:pt x="84" y="9"/>
                        </a:lnTo>
                        <a:lnTo>
                          <a:pt x="82" y="10"/>
                        </a:lnTo>
                        <a:lnTo>
                          <a:pt x="81" y="10"/>
                        </a:lnTo>
                        <a:lnTo>
                          <a:pt x="79" y="12"/>
                        </a:lnTo>
                        <a:lnTo>
                          <a:pt x="78" y="15"/>
                        </a:lnTo>
                        <a:lnTo>
                          <a:pt x="77" y="17"/>
                        </a:lnTo>
                        <a:lnTo>
                          <a:pt x="75" y="20"/>
                        </a:lnTo>
                        <a:lnTo>
                          <a:pt x="70" y="20"/>
                        </a:lnTo>
                        <a:lnTo>
                          <a:pt x="69" y="20"/>
                        </a:lnTo>
                        <a:lnTo>
                          <a:pt x="68" y="23"/>
                        </a:lnTo>
                        <a:lnTo>
                          <a:pt x="66" y="23"/>
                        </a:lnTo>
                        <a:lnTo>
                          <a:pt x="65" y="24"/>
                        </a:lnTo>
                        <a:lnTo>
                          <a:pt x="64" y="25"/>
                        </a:lnTo>
                        <a:lnTo>
                          <a:pt x="62" y="25"/>
                        </a:lnTo>
                        <a:lnTo>
                          <a:pt x="52" y="30"/>
                        </a:lnTo>
                        <a:lnTo>
                          <a:pt x="41" y="33"/>
                        </a:lnTo>
                        <a:lnTo>
                          <a:pt x="27" y="35"/>
                        </a:lnTo>
                        <a:lnTo>
                          <a:pt x="14" y="36"/>
                        </a:lnTo>
                        <a:lnTo>
                          <a:pt x="12" y="39"/>
                        </a:lnTo>
                        <a:lnTo>
                          <a:pt x="10" y="41"/>
                        </a:lnTo>
                        <a:lnTo>
                          <a:pt x="10" y="43"/>
                        </a:lnTo>
                        <a:lnTo>
                          <a:pt x="11" y="46"/>
                        </a:lnTo>
                        <a:lnTo>
                          <a:pt x="13" y="48"/>
                        </a:lnTo>
                        <a:lnTo>
                          <a:pt x="14" y="51"/>
                        </a:lnTo>
                        <a:lnTo>
                          <a:pt x="11" y="51"/>
                        </a:lnTo>
                        <a:lnTo>
                          <a:pt x="7" y="51"/>
                        </a:lnTo>
                        <a:lnTo>
                          <a:pt x="3" y="51"/>
                        </a:lnTo>
                        <a:lnTo>
                          <a:pt x="0" y="51"/>
                        </a:lnTo>
                        <a:lnTo>
                          <a:pt x="2" y="55"/>
                        </a:lnTo>
                        <a:lnTo>
                          <a:pt x="3" y="58"/>
                        </a:lnTo>
                        <a:lnTo>
                          <a:pt x="10" y="61"/>
                        </a:lnTo>
                        <a:lnTo>
                          <a:pt x="17" y="63"/>
                        </a:lnTo>
                        <a:lnTo>
                          <a:pt x="23" y="61"/>
                        </a:lnTo>
                        <a:lnTo>
                          <a:pt x="24" y="59"/>
                        </a:lnTo>
                        <a:lnTo>
                          <a:pt x="23" y="56"/>
                        </a:lnTo>
                        <a:lnTo>
                          <a:pt x="22" y="54"/>
                        </a:lnTo>
                        <a:lnTo>
                          <a:pt x="23" y="51"/>
                        </a:lnTo>
                        <a:lnTo>
                          <a:pt x="28" y="48"/>
                        </a:lnTo>
                        <a:lnTo>
                          <a:pt x="33" y="47"/>
                        </a:lnTo>
                        <a:lnTo>
                          <a:pt x="38" y="48"/>
                        </a:lnTo>
                        <a:lnTo>
                          <a:pt x="42" y="48"/>
                        </a:lnTo>
                        <a:lnTo>
                          <a:pt x="44" y="49"/>
                        </a:lnTo>
                        <a:lnTo>
                          <a:pt x="44" y="51"/>
                        </a:lnTo>
                        <a:lnTo>
                          <a:pt x="44" y="54"/>
                        </a:lnTo>
                        <a:lnTo>
                          <a:pt x="45" y="55"/>
                        </a:lnTo>
                        <a:lnTo>
                          <a:pt x="50" y="55"/>
                        </a:lnTo>
                        <a:lnTo>
                          <a:pt x="54" y="55"/>
                        </a:lnTo>
                        <a:lnTo>
                          <a:pt x="61" y="52"/>
                        </a:lnTo>
                        <a:lnTo>
                          <a:pt x="66" y="47"/>
                        </a:lnTo>
                        <a:lnTo>
                          <a:pt x="75" y="4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7" name="Freeform 1654">
                    <a:extLst>
                      <a:ext uri="{FF2B5EF4-FFF2-40B4-BE49-F238E27FC236}">
                        <a16:creationId xmlns:a16="http://schemas.microsoft.com/office/drawing/2014/main" xmlns="" id="{BABAD0B5-805E-4F60-BB35-07FEBB3E93F5}"/>
                      </a:ext>
                    </a:extLst>
                  </p:cNvPr>
                  <p:cNvSpPr>
                    <a:spLocks/>
                  </p:cNvSpPr>
                  <p:nvPr/>
                </p:nvSpPr>
                <p:spPr bwMode="gray">
                  <a:xfrm>
                    <a:off x="5720264" y="4596184"/>
                    <a:ext cx="125710" cy="65640"/>
                  </a:xfrm>
                  <a:custGeom>
                    <a:avLst/>
                    <a:gdLst>
                      <a:gd name="T0" fmla="*/ 2147483647 w 113"/>
                      <a:gd name="T1" fmla="*/ 2147483647 h 59"/>
                      <a:gd name="T2" fmla="*/ 2147483647 w 113"/>
                      <a:gd name="T3" fmla="*/ 2147483647 h 59"/>
                      <a:gd name="T4" fmla="*/ 2147483647 w 113"/>
                      <a:gd name="T5" fmla="*/ 2147483647 h 59"/>
                      <a:gd name="T6" fmla="*/ 2147483647 w 113"/>
                      <a:gd name="T7" fmla="*/ 2147483647 h 59"/>
                      <a:gd name="T8" fmla="*/ 2147483647 w 113"/>
                      <a:gd name="T9" fmla="*/ 2147483647 h 59"/>
                      <a:gd name="T10" fmla="*/ 2147483647 w 113"/>
                      <a:gd name="T11" fmla="*/ 2147483647 h 59"/>
                      <a:gd name="T12" fmla="*/ 2147483647 w 113"/>
                      <a:gd name="T13" fmla="*/ 2147483647 h 59"/>
                      <a:gd name="T14" fmla="*/ 2147483647 w 113"/>
                      <a:gd name="T15" fmla="*/ 2147483647 h 59"/>
                      <a:gd name="T16" fmla="*/ 2147483647 w 113"/>
                      <a:gd name="T17" fmla="*/ 2147483647 h 59"/>
                      <a:gd name="T18" fmla="*/ 2147483647 w 113"/>
                      <a:gd name="T19" fmla="*/ 2147483647 h 59"/>
                      <a:gd name="T20" fmla="*/ 2147483647 w 113"/>
                      <a:gd name="T21" fmla="*/ 2147483647 h 59"/>
                      <a:gd name="T22" fmla="*/ 2147483647 w 113"/>
                      <a:gd name="T23" fmla="*/ 2147483647 h 59"/>
                      <a:gd name="T24" fmla="*/ 2147483647 w 113"/>
                      <a:gd name="T25" fmla="*/ 2147483647 h 59"/>
                      <a:gd name="T26" fmla="*/ 0 w 113"/>
                      <a:gd name="T27" fmla="*/ 2147483647 h 59"/>
                      <a:gd name="T28" fmla="*/ 2147483647 w 113"/>
                      <a:gd name="T29" fmla="*/ 2147483647 h 59"/>
                      <a:gd name="T30" fmla="*/ 2147483647 w 113"/>
                      <a:gd name="T31" fmla="*/ 2147483647 h 59"/>
                      <a:gd name="T32" fmla="*/ 2147483647 w 113"/>
                      <a:gd name="T33" fmla="*/ 2147483647 h 59"/>
                      <a:gd name="T34" fmla="*/ 2147483647 w 113"/>
                      <a:gd name="T35" fmla="*/ 2147483647 h 59"/>
                      <a:gd name="T36" fmla="*/ 2147483647 w 113"/>
                      <a:gd name="T37" fmla="*/ 2147483647 h 59"/>
                      <a:gd name="T38" fmla="*/ 2147483647 w 113"/>
                      <a:gd name="T39" fmla="*/ 2147483647 h 59"/>
                      <a:gd name="T40" fmla="*/ 2147483647 w 113"/>
                      <a:gd name="T41" fmla="*/ 2147483647 h 59"/>
                      <a:gd name="T42" fmla="*/ 2147483647 w 113"/>
                      <a:gd name="T43" fmla="*/ 2147483647 h 59"/>
                      <a:gd name="T44" fmla="*/ 2147483647 w 113"/>
                      <a:gd name="T45" fmla="*/ 2147483647 h 59"/>
                      <a:gd name="T46" fmla="*/ 2147483647 w 113"/>
                      <a:gd name="T47" fmla="*/ 2147483647 h 59"/>
                      <a:gd name="T48" fmla="*/ 2147483647 w 113"/>
                      <a:gd name="T49" fmla="*/ 2147483647 h 59"/>
                      <a:gd name="T50" fmla="*/ 2147483647 w 113"/>
                      <a:gd name="T51" fmla="*/ 2147483647 h 59"/>
                      <a:gd name="T52" fmla="*/ 2147483647 w 113"/>
                      <a:gd name="T53" fmla="*/ 2147483647 h 59"/>
                      <a:gd name="T54" fmla="*/ 2147483647 w 113"/>
                      <a:gd name="T55" fmla="*/ 2147483647 h 59"/>
                      <a:gd name="T56" fmla="*/ 2147483647 w 113"/>
                      <a:gd name="T57" fmla="*/ 2147483647 h 59"/>
                      <a:gd name="T58" fmla="*/ 2147483647 w 113"/>
                      <a:gd name="T59" fmla="*/ 2147483647 h 59"/>
                      <a:gd name="T60" fmla="*/ 2147483647 w 113"/>
                      <a:gd name="T61" fmla="*/ 2147483647 h 59"/>
                      <a:gd name="T62" fmla="*/ 2147483647 w 113"/>
                      <a:gd name="T63" fmla="*/ 2147483647 h 59"/>
                      <a:gd name="T64" fmla="*/ 2147483647 w 113"/>
                      <a:gd name="T65" fmla="*/ 2147483647 h 59"/>
                      <a:gd name="T66" fmla="*/ 2147483647 w 113"/>
                      <a:gd name="T67" fmla="*/ 2147483647 h 59"/>
                      <a:gd name="T68" fmla="*/ 2147483647 w 113"/>
                      <a:gd name="T69" fmla="*/ 2147483647 h 59"/>
                      <a:gd name="T70" fmla="*/ 2147483647 w 113"/>
                      <a:gd name="T71" fmla="*/ 2147483647 h 59"/>
                      <a:gd name="T72" fmla="*/ 2147483647 w 113"/>
                      <a:gd name="T73" fmla="*/ 2147483647 h 59"/>
                      <a:gd name="T74" fmla="*/ 2147483647 w 113"/>
                      <a:gd name="T75" fmla="*/ 0 h 59"/>
                      <a:gd name="T76" fmla="*/ 2147483647 w 113"/>
                      <a:gd name="T77" fmla="*/ 2147483647 h 59"/>
                      <a:gd name="T78" fmla="*/ 2147483647 w 113"/>
                      <a:gd name="T79" fmla="*/ 2147483647 h 59"/>
                      <a:gd name="T80" fmla="*/ 2147483647 w 113"/>
                      <a:gd name="T81" fmla="*/ 2147483647 h 59"/>
                      <a:gd name="T82" fmla="*/ 2147483647 w 113"/>
                      <a:gd name="T83" fmla="*/ 2147483647 h 59"/>
                      <a:gd name="T84" fmla="*/ 2147483647 w 113"/>
                      <a:gd name="T85" fmla="*/ 2147483647 h 59"/>
                      <a:gd name="T86" fmla="*/ 2147483647 w 113"/>
                      <a:gd name="T87" fmla="*/ 2147483647 h 59"/>
                      <a:gd name="T88" fmla="*/ 2147483647 w 113"/>
                      <a:gd name="T89" fmla="*/ 2147483647 h 59"/>
                      <a:gd name="T90" fmla="*/ 2147483647 w 113"/>
                      <a:gd name="T91" fmla="*/ 2147483647 h 59"/>
                      <a:gd name="T92" fmla="*/ 2147483647 w 113"/>
                      <a:gd name="T93" fmla="*/ 2147483647 h 59"/>
                      <a:gd name="T94" fmla="*/ 2147483647 w 113"/>
                      <a:gd name="T95" fmla="*/ 2147483647 h 59"/>
                      <a:gd name="T96" fmla="*/ 2147483647 w 113"/>
                      <a:gd name="T97" fmla="*/ 2147483647 h 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3" h="59">
                        <a:moveTo>
                          <a:pt x="29" y="9"/>
                        </a:moveTo>
                        <a:lnTo>
                          <a:pt x="27" y="10"/>
                        </a:lnTo>
                        <a:lnTo>
                          <a:pt x="25" y="11"/>
                        </a:lnTo>
                        <a:lnTo>
                          <a:pt x="23" y="12"/>
                        </a:lnTo>
                        <a:lnTo>
                          <a:pt x="23" y="13"/>
                        </a:lnTo>
                        <a:lnTo>
                          <a:pt x="22" y="13"/>
                        </a:lnTo>
                        <a:lnTo>
                          <a:pt x="21" y="14"/>
                        </a:lnTo>
                        <a:lnTo>
                          <a:pt x="20" y="16"/>
                        </a:lnTo>
                        <a:lnTo>
                          <a:pt x="19" y="16"/>
                        </a:lnTo>
                        <a:lnTo>
                          <a:pt x="18" y="16"/>
                        </a:lnTo>
                        <a:lnTo>
                          <a:pt x="16" y="16"/>
                        </a:lnTo>
                        <a:lnTo>
                          <a:pt x="14" y="17"/>
                        </a:lnTo>
                        <a:lnTo>
                          <a:pt x="12" y="19"/>
                        </a:lnTo>
                        <a:lnTo>
                          <a:pt x="11" y="22"/>
                        </a:lnTo>
                        <a:lnTo>
                          <a:pt x="10" y="23"/>
                        </a:lnTo>
                        <a:lnTo>
                          <a:pt x="8" y="23"/>
                        </a:lnTo>
                        <a:lnTo>
                          <a:pt x="7" y="23"/>
                        </a:lnTo>
                        <a:lnTo>
                          <a:pt x="7" y="22"/>
                        </a:lnTo>
                        <a:lnTo>
                          <a:pt x="6" y="21"/>
                        </a:lnTo>
                        <a:lnTo>
                          <a:pt x="5" y="20"/>
                        </a:lnTo>
                        <a:lnTo>
                          <a:pt x="3" y="19"/>
                        </a:lnTo>
                        <a:lnTo>
                          <a:pt x="2" y="19"/>
                        </a:lnTo>
                        <a:lnTo>
                          <a:pt x="1" y="19"/>
                        </a:lnTo>
                        <a:lnTo>
                          <a:pt x="0" y="21"/>
                        </a:lnTo>
                        <a:lnTo>
                          <a:pt x="1" y="23"/>
                        </a:lnTo>
                        <a:lnTo>
                          <a:pt x="3" y="26"/>
                        </a:lnTo>
                        <a:lnTo>
                          <a:pt x="3" y="27"/>
                        </a:lnTo>
                        <a:lnTo>
                          <a:pt x="3" y="28"/>
                        </a:lnTo>
                        <a:lnTo>
                          <a:pt x="3" y="29"/>
                        </a:lnTo>
                        <a:lnTo>
                          <a:pt x="4" y="32"/>
                        </a:lnTo>
                        <a:lnTo>
                          <a:pt x="7" y="36"/>
                        </a:lnTo>
                        <a:lnTo>
                          <a:pt x="9" y="37"/>
                        </a:lnTo>
                        <a:lnTo>
                          <a:pt x="10" y="38"/>
                        </a:lnTo>
                        <a:lnTo>
                          <a:pt x="11" y="39"/>
                        </a:lnTo>
                        <a:lnTo>
                          <a:pt x="12" y="39"/>
                        </a:lnTo>
                        <a:lnTo>
                          <a:pt x="14" y="41"/>
                        </a:lnTo>
                        <a:lnTo>
                          <a:pt x="16" y="43"/>
                        </a:lnTo>
                        <a:lnTo>
                          <a:pt x="16" y="44"/>
                        </a:lnTo>
                        <a:lnTo>
                          <a:pt x="16" y="46"/>
                        </a:lnTo>
                        <a:lnTo>
                          <a:pt x="17" y="49"/>
                        </a:lnTo>
                        <a:lnTo>
                          <a:pt x="19" y="49"/>
                        </a:lnTo>
                        <a:lnTo>
                          <a:pt x="21" y="50"/>
                        </a:lnTo>
                        <a:lnTo>
                          <a:pt x="24" y="51"/>
                        </a:lnTo>
                        <a:lnTo>
                          <a:pt x="31" y="52"/>
                        </a:lnTo>
                        <a:lnTo>
                          <a:pt x="39" y="52"/>
                        </a:lnTo>
                        <a:lnTo>
                          <a:pt x="45" y="52"/>
                        </a:lnTo>
                        <a:lnTo>
                          <a:pt x="46" y="53"/>
                        </a:lnTo>
                        <a:lnTo>
                          <a:pt x="47" y="54"/>
                        </a:lnTo>
                        <a:lnTo>
                          <a:pt x="48" y="56"/>
                        </a:lnTo>
                        <a:lnTo>
                          <a:pt x="48" y="59"/>
                        </a:lnTo>
                        <a:lnTo>
                          <a:pt x="52" y="55"/>
                        </a:lnTo>
                        <a:lnTo>
                          <a:pt x="54" y="53"/>
                        </a:lnTo>
                        <a:lnTo>
                          <a:pt x="55" y="51"/>
                        </a:lnTo>
                        <a:lnTo>
                          <a:pt x="55" y="49"/>
                        </a:lnTo>
                        <a:lnTo>
                          <a:pt x="55" y="46"/>
                        </a:lnTo>
                        <a:lnTo>
                          <a:pt x="64" y="43"/>
                        </a:lnTo>
                        <a:lnTo>
                          <a:pt x="74" y="38"/>
                        </a:lnTo>
                        <a:lnTo>
                          <a:pt x="81" y="33"/>
                        </a:lnTo>
                        <a:lnTo>
                          <a:pt x="87" y="26"/>
                        </a:lnTo>
                        <a:lnTo>
                          <a:pt x="89" y="24"/>
                        </a:lnTo>
                        <a:lnTo>
                          <a:pt x="90" y="21"/>
                        </a:lnTo>
                        <a:lnTo>
                          <a:pt x="92" y="19"/>
                        </a:lnTo>
                        <a:lnTo>
                          <a:pt x="93" y="16"/>
                        </a:lnTo>
                        <a:lnTo>
                          <a:pt x="99" y="17"/>
                        </a:lnTo>
                        <a:lnTo>
                          <a:pt x="103" y="17"/>
                        </a:lnTo>
                        <a:lnTo>
                          <a:pt x="107" y="17"/>
                        </a:lnTo>
                        <a:lnTo>
                          <a:pt x="113" y="16"/>
                        </a:lnTo>
                        <a:lnTo>
                          <a:pt x="112" y="11"/>
                        </a:lnTo>
                        <a:lnTo>
                          <a:pt x="111" y="9"/>
                        </a:lnTo>
                        <a:lnTo>
                          <a:pt x="109" y="6"/>
                        </a:lnTo>
                        <a:lnTo>
                          <a:pt x="103" y="0"/>
                        </a:lnTo>
                        <a:lnTo>
                          <a:pt x="96" y="5"/>
                        </a:lnTo>
                        <a:lnTo>
                          <a:pt x="90" y="10"/>
                        </a:lnTo>
                        <a:lnTo>
                          <a:pt x="82" y="13"/>
                        </a:lnTo>
                        <a:lnTo>
                          <a:pt x="79" y="13"/>
                        </a:lnTo>
                        <a:lnTo>
                          <a:pt x="74" y="13"/>
                        </a:lnTo>
                        <a:lnTo>
                          <a:pt x="73" y="12"/>
                        </a:lnTo>
                        <a:lnTo>
                          <a:pt x="73" y="9"/>
                        </a:lnTo>
                        <a:lnTo>
                          <a:pt x="73" y="7"/>
                        </a:lnTo>
                        <a:lnTo>
                          <a:pt x="71" y="6"/>
                        </a:lnTo>
                        <a:lnTo>
                          <a:pt x="66" y="6"/>
                        </a:lnTo>
                        <a:lnTo>
                          <a:pt x="61" y="5"/>
                        </a:lnTo>
                        <a:lnTo>
                          <a:pt x="57" y="6"/>
                        </a:lnTo>
                        <a:lnTo>
                          <a:pt x="52" y="9"/>
                        </a:lnTo>
                        <a:lnTo>
                          <a:pt x="51" y="12"/>
                        </a:lnTo>
                        <a:lnTo>
                          <a:pt x="52" y="14"/>
                        </a:lnTo>
                        <a:lnTo>
                          <a:pt x="53" y="17"/>
                        </a:lnTo>
                        <a:lnTo>
                          <a:pt x="52" y="19"/>
                        </a:lnTo>
                        <a:lnTo>
                          <a:pt x="45" y="21"/>
                        </a:lnTo>
                        <a:lnTo>
                          <a:pt x="38" y="19"/>
                        </a:lnTo>
                        <a:lnTo>
                          <a:pt x="32" y="16"/>
                        </a:lnTo>
                        <a:lnTo>
                          <a:pt x="30" y="13"/>
                        </a:lnTo>
                        <a:lnTo>
                          <a:pt x="29" y="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8" name="Freeform 1656">
                    <a:extLst>
                      <a:ext uri="{FF2B5EF4-FFF2-40B4-BE49-F238E27FC236}">
                        <a16:creationId xmlns:a16="http://schemas.microsoft.com/office/drawing/2014/main" xmlns="" id="{06110DAC-A89D-42E9-9712-F038ABB4A385}"/>
                      </a:ext>
                    </a:extLst>
                  </p:cNvPr>
                  <p:cNvSpPr>
                    <a:spLocks/>
                  </p:cNvSpPr>
                  <p:nvPr/>
                </p:nvSpPr>
                <p:spPr bwMode="gray">
                  <a:xfrm>
                    <a:off x="4531029" y="3733962"/>
                    <a:ext cx="325955" cy="289262"/>
                  </a:xfrm>
                  <a:custGeom>
                    <a:avLst/>
                    <a:gdLst>
                      <a:gd name="T0" fmla="*/ 2147483647 w 293"/>
                      <a:gd name="T1" fmla="*/ 2147483647 h 260"/>
                      <a:gd name="T2" fmla="*/ 2147483647 w 293"/>
                      <a:gd name="T3" fmla="*/ 2147483647 h 260"/>
                      <a:gd name="T4" fmla="*/ 2147483647 w 293"/>
                      <a:gd name="T5" fmla="*/ 2147483647 h 260"/>
                      <a:gd name="T6" fmla="*/ 2147483647 w 293"/>
                      <a:gd name="T7" fmla="*/ 2147483647 h 260"/>
                      <a:gd name="T8" fmla="*/ 2147483647 w 293"/>
                      <a:gd name="T9" fmla="*/ 2147483647 h 260"/>
                      <a:gd name="T10" fmla="*/ 2147483647 w 293"/>
                      <a:gd name="T11" fmla="*/ 2147483647 h 260"/>
                      <a:gd name="T12" fmla="*/ 2147483647 w 293"/>
                      <a:gd name="T13" fmla="*/ 2147483647 h 260"/>
                      <a:gd name="T14" fmla="*/ 2147483647 w 293"/>
                      <a:gd name="T15" fmla="*/ 2147483647 h 260"/>
                      <a:gd name="T16" fmla="*/ 2147483647 w 293"/>
                      <a:gd name="T17" fmla="*/ 2147483647 h 260"/>
                      <a:gd name="T18" fmla="*/ 2147483647 w 293"/>
                      <a:gd name="T19" fmla="*/ 2147483647 h 260"/>
                      <a:gd name="T20" fmla="*/ 2147483647 w 293"/>
                      <a:gd name="T21" fmla="*/ 2147483647 h 260"/>
                      <a:gd name="T22" fmla="*/ 2147483647 w 293"/>
                      <a:gd name="T23" fmla="*/ 2147483647 h 260"/>
                      <a:gd name="T24" fmla="*/ 2147483647 w 293"/>
                      <a:gd name="T25" fmla="*/ 0 h 260"/>
                      <a:gd name="T26" fmla="*/ 2147483647 w 293"/>
                      <a:gd name="T27" fmla="*/ 2147483647 h 260"/>
                      <a:gd name="T28" fmla="*/ 2147483647 w 293"/>
                      <a:gd name="T29" fmla="*/ 2147483647 h 260"/>
                      <a:gd name="T30" fmla="*/ 2147483647 w 293"/>
                      <a:gd name="T31" fmla="*/ 2147483647 h 260"/>
                      <a:gd name="T32" fmla="*/ 2147483647 w 293"/>
                      <a:gd name="T33" fmla="*/ 2147483647 h 260"/>
                      <a:gd name="T34" fmla="*/ 2147483647 w 293"/>
                      <a:gd name="T35" fmla="*/ 2147483647 h 260"/>
                      <a:gd name="T36" fmla="*/ 2147483647 w 293"/>
                      <a:gd name="T37" fmla="*/ 2147483647 h 260"/>
                      <a:gd name="T38" fmla="*/ 2147483647 w 293"/>
                      <a:gd name="T39" fmla="*/ 2147483647 h 260"/>
                      <a:gd name="T40" fmla="*/ 2147483647 w 293"/>
                      <a:gd name="T41" fmla="*/ 2147483647 h 260"/>
                      <a:gd name="T42" fmla="*/ 2147483647 w 293"/>
                      <a:gd name="T43" fmla="*/ 2147483647 h 260"/>
                      <a:gd name="T44" fmla="*/ 2147483647 w 293"/>
                      <a:gd name="T45" fmla="*/ 2147483647 h 260"/>
                      <a:gd name="T46" fmla="*/ 2147483647 w 293"/>
                      <a:gd name="T47" fmla="*/ 2147483647 h 260"/>
                      <a:gd name="T48" fmla="*/ 2147483647 w 293"/>
                      <a:gd name="T49" fmla="*/ 2147483647 h 260"/>
                      <a:gd name="T50" fmla="*/ 2147483647 w 293"/>
                      <a:gd name="T51" fmla="*/ 2147483647 h 260"/>
                      <a:gd name="T52" fmla="*/ 2147483647 w 293"/>
                      <a:gd name="T53" fmla="*/ 2147483647 h 260"/>
                      <a:gd name="T54" fmla="*/ 2147483647 w 293"/>
                      <a:gd name="T55" fmla="*/ 2147483647 h 260"/>
                      <a:gd name="T56" fmla="*/ 2147483647 w 293"/>
                      <a:gd name="T57" fmla="*/ 2147483647 h 260"/>
                      <a:gd name="T58" fmla="*/ 2147483647 w 293"/>
                      <a:gd name="T59" fmla="*/ 2147483647 h 260"/>
                      <a:gd name="T60" fmla="*/ 2147483647 w 293"/>
                      <a:gd name="T61" fmla="*/ 2147483647 h 260"/>
                      <a:gd name="T62" fmla="*/ 2147483647 w 293"/>
                      <a:gd name="T63" fmla="*/ 2147483647 h 260"/>
                      <a:gd name="T64" fmla="*/ 2147483647 w 293"/>
                      <a:gd name="T65" fmla="*/ 2147483647 h 260"/>
                      <a:gd name="T66" fmla="*/ 2147483647 w 293"/>
                      <a:gd name="T67" fmla="*/ 2147483647 h 260"/>
                      <a:gd name="T68" fmla="*/ 2147483647 w 293"/>
                      <a:gd name="T69" fmla="*/ 2147483647 h 260"/>
                      <a:gd name="T70" fmla="*/ 2147483647 w 293"/>
                      <a:gd name="T71" fmla="*/ 2147483647 h 260"/>
                      <a:gd name="T72" fmla="*/ 2147483647 w 293"/>
                      <a:gd name="T73" fmla="*/ 2147483647 h 260"/>
                      <a:gd name="T74" fmla="*/ 2147483647 w 293"/>
                      <a:gd name="T75" fmla="*/ 2147483647 h 260"/>
                      <a:gd name="T76" fmla="*/ 2147483647 w 293"/>
                      <a:gd name="T77" fmla="*/ 2147483647 h 260"/>
                      <a:gd name="T78" fmla="*/ 2147483647 w 293"/>
                      <a:gd name="T79" fmla="*/ 2147483647 h 260"/>
                      <a:gd name="T80" fmla="*/ 2147483647 w 293"/>
                      <a:gd name="T81" fmla="*/ 2147483647 h 260"/>
                      <a:gd name="T82" fmla="*/ 2147483647 w 293"/>
                      <a:gd name="T83" fmla="*/ 2147483647 h 260"/>
                      <a:gd name="T84" fmla="*/ 2147483647 w 293"/>
                      <a:gd name="T85" fmla="*/ 2147483647 h 260"/>
                      <a:gd name="T86" fmla="*/ 2147483647 w 293"/>
                      <a:gd name="T87" fmla="*/ 2147483647 h 260"/>
                      <a:gd name="T88" fmla="*/ 2147483647 w 293"/>
                      <a:gd name="T89" fmla="*/ 2147483647 h 260"/>
                      <a:gd name="T90" fmla="*/ 2147483647 w 293"/>
                      <a:gd name="T91" fmla="*/ 2147483647 h 260"/>
                      <a:gd name="T92" fmla="*/ 2147483647 w 293"/>
                      <a:gd name="T93" fmla="*/ 2147483647 h 260"/>
                      <a:gd name="T94" fmla="*/ 2147483647 w 293"/>
                      <a:gd name="T95" fmla="*/ 2147483647 h 260"/>
                      <a:gd name="T96" fmla="*/ 2147483647 w 293"/>
                      <a:gd name="T97" fmla="*/ 2147483647 h 260"/>
                      <a:gd name="T98" fmla="*/ 2147483647 w 293"/>
                      <a:gd name="T99" fmla="*/ 2147483647 h 260"/>
                      <a:gd name="T100" fmla="*/ 2147483647 w 293"/>
                      <a:gd name="T101" fmla="*/ 2147483647 h 260"/>
                      <a:gd name="T102" fmla="*/ 2147483647 w 293"/>
                      <a:gd name="T103" fmla="*/ 2147483647 h 260"/>
                      <a:gd name="T104" fmla="*/ 2147483647 w 293"/>
                      <a:gd name="T105" fmla="*/ 2147483647 h 260"/>
                      <a:gd name="T106" fmla="*/ 2147483647 w 293"/>
                      <a:gd name="T107" fmla="*/ 2147483647 h 260"/>
                      <a:gd name="T108" fmla="*/ 2147483647 w 293"/>
                      <a:gd name="T109" fmla="*/ 2147483647 h 260"/>
                      <a:gd name="T110" fmla="*/ 2147483647 w 293"/>
                      <a:gd name="T111" fmla="*/ 2147483647 h 260"/>
                      <a:gd name="T112" fmla="*/ 2147483647 w 293"/>
                      <a:gd name="T113" fmla="*/ 2147483647 h 260"/>
                      <a:gd name="T114" fmla="*/ 2147483647 w 293"/>
                      <a:gd name="T115" fmla="*/ 2147483647 h 260"/>
                      <a:gd name="T116" fmla="*/ 2147483647 w 293"/>
                      <a:gd name="T117" fmla="*/ 2147483647 h 260"/>
                      <a:gd name="T118" fmla="*/ 2147483647 w 293"/>
                      <a:gd name="T119" fmla="*/ 2147483647 h 26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 h="260">
                        <a:moveTo>
                          <a:pt x="3" y="70"/>
                        </a:moveTo>
                        <a:lnTo>
                          <a:pt x="8" y="70"/>
                        </a:lnTo>
                        <a:lnTo>
                          <a:pt x="9" y="70"/>
                        </a:lnTo>
                        <a:lnTo>
                          <a:pt x="10" y="70"/>
                        </a:lnTo>
                        <a:lnTo>
                          <a:pt x="12" y="71"/>
                        </a:lnTo>
                        <a:lnTo>
                          <a:pt x="13" y="72"/>
                        </a:lnTo>
                        <a:lnTo>
                          <a:pt x="13" y="73"/>
                        </a:lnTo>
                        <a:lnTo>
                          <a:pt x="13" y="74"/>
                        </a:lnTo>
                        <a:lnTo>
                          <a:pt x="15" y="74"/>
                        </a:lnTo>
                        <a:lnTo>
                          <a:pt x="16" y="74"/>
                        </a:lnTo>
                        <a:lnTo>
                          <a:pt x="18" y="72"/>
                        </a:lnTo>
                        <a:lnTo>
                          <a:pt x="19" y="71"/>
                        </a:lnTo>
                        <a:lnTo>
                          <a:pt x="20" y="70"/>
                        </a:lnTo>
                        <a:lnTo>
                          <a:pt x="22" y="69"/>
                        </a:lnTo>
                        <a:lnTo>
                          <a:pt x="23" y="69"/>
                        </a:lnTo>
                        <a:lnTo>
                          <a:pt x="24" y="71"/>
                        </a:lnTo>
                        <a:lnTo>
                          <a:pt x="25" y="74"/>
                        </a:lnTo>
                        <a:lnTo>
                          <a:pt x="26" y="73"/>
                        </a:lnTo>
                        <a:lnTo>
                          <a:pt x="28" y="72"/>
                        </a:lnTo>
                        <a:lnTo>
                          <a:pt x="30" y="71"/>
                        </a:lnTo>
                        <a:lnTo>
                          <a:pt x="32" y="70"/>
                        </a:lnTo>
                        <a:lnTo>
                          <a:pt x="33" y="70"/>
                        </a:lnTo>
                        <a:lnTo>
                          <a:pt x="34" y="70"/>
                        </a:lnTo>
                        <a:lnTo>
                          <a:pt x="35" y="70"/>
                        </a:lnTo>
                        <a:lnTo>
                          <a:pt x="37" y="71"/>
                        </a:lnTo>
                        <a:lnTo>
                          <a:pt x="39" y="72"/>
                        </a:lnTo>
                        <a:lnTo>
                          <a:pt x="40" y="73"/>
                        </a:lnTo>
                        <a:lnTo>
                          <a:pt x="42" y="74"/>
                        </a:lnTo>
                        <a:lnTo>
                          <a:pt x="42" y="72"/>
                        </a:lnTo>
                        <a:lnTo>
                          <a:pt x="43" y="71"/>
                        </a:lnTo>
                        <a:lnTo>
                          <a:pt x="44" y="70"/>
                        </a:lnTo>
                        <a:lnTo>
                          <a:pt x="46" y="70"/>
                        </a:lnTo>
                        <a:lnTo>
                          <a:pt x="46" y="67"/>
                        </a:lnTo>
                        <a:lnTo>
                          <a:pt x="46" y="65"/>
                        </a:lnTo>
                        <a:lnTo>
                          <a:pt x="48" y="64"/>
                        </a:lnTo>
                        <a:lnTo>
                          <a:pt x="48" y="61"/>
                        </a:lnTo>
                        <a:lnTo>
                          <a:pt x="49" y="59"/>
                        </a:lnTo>
                        <a:lnTo>
                          <a:pt x="51" y="58"/>
                        </a:lnTo>
                        <a:lnTo>
                          <a:pt x="51" y="60"/>
                        </a:lnTo>
                        <a:lnTo>
                          <a:pt x="51" y="61"/>
                        </a:lnTo>
                        <a:lnTo>
                          <a:pt x="51" y="63"/>
                        </a:lnTo>
                        <a:lnTo>
                          <a:pt x="51" y="65"/>
                        </a:lnTo>
                        <a:lnTo>
                          <a:pt x="52" y="65"/>
                        </a:lnTo>
                        <a:lnTo>
                          <a:pt x="53" y="65"/>
                        </a:lnTo>
                        <a:lnTo>
                          <a:pt x="55" y="65"/>
                        </a:lnTo>
                        <a:lnTo>
                          <a:pt x="54" y="67"/>
                        </a:lnTo>
                        <a:lnTo>
                          <a:pt x="53" y="67"/>
                        </a:lnTo>
                        <a:lnTo>
                          <a:pt x="53" y="68"/>
                        </a:lnTo>
                        <a:lnTo>
                          <a:pt x="55" y="70"/>
                        </a:lnTo>
                        <a:lnTo>
                          <a:pt x="55" y="72"/>
                        </a:lnTo>
                        <a:lnTo>
                          <a:pt x="55" y="73"/>
                        </a:lnTo>
                        <a:lnTo>
                          <a:pt x="56" y="74"/>
                        </a:lnTo>
                        <a:lnTo>
                          <a:pt x="58" y="74"/>
                        </a:lnTo>
                        <a:lnTo>
                          <a:pt x="59" y="75"/>
                        </a:lnTo>
                        <a:lnTo>
                          <a:pt x="61" y="77"/>
                        </a:lnTo>
                        <a:lnTo>
                          <a:pt x="62" y="77"/>
                        </a:lnTo>
                        <a:lnTo>
                          <a:pt x="63" y="77"/>
                        </a:lnTo>
                        <a:lnTo>
                          <a:pt x="65" y="77"/>
                        </a:lnTo>
                        <a:lnTo>
                          <a:pt x="66" y="77"/>
                        </a:lnTo>
                        <a:lnTo>
                          <a:pt x="68" y="77"/>
                        </a:lnTo>
                        <a:lnTo>
                          <a:pt x="68" y="75"/>
                        </a:lnTo>
                        <a:lnTo>
                          <a:pt x="69" y="74"/>
                        </a:lnTo>
                        <a:lnTo>
                          <a:pt x="71" y="74"/>
                        </a:lnTo>
                        <a:lnTo>
                          <a:pt x="72" y="74"/>
                        </a:lnTo>
                        <a:lnTo>
                          <a:pt x="74" y="74"/>
                        </a:lnTo>
                        <a:lnTo>
                          <a:pt x="75" y="75"/>
                        </a:lnTo>
                        <a:lnTo>
                          <a:pt x="75" y="77"/>
                        </a:lnTo>
                        <a:lnTo>
                          <a:pt x="76" y="79"/>
                        </a:lnTo>
                        <a:lnTo>
                          <a:pt x="77" y="80"/>
                        </a:lnTo>
                        <a:lnTo>
                          <a:pt x="80" y="82"/>
                        </a:lnTo>
                        <a:lnTo>
                          <a:pt x="82" y="82"/>
                        </a:lnTo>
                        <a:lnTo>
                          <a:pt x="83" y="81"/>
                        </a:lnTo>
                        <a:lnTo>
                          <a:pt x="84" y="80"/>
                        </a:lnTo>
                        <a:lnTo>
                          <a:pt x="86" y="80"/>
                        </a:lnTo>
                        <a:lnTo>
                          <a:pt x="87" y="80"/>
                        </a:lnTo>
                        <a:lnTo>
                          <a:pt x="88" y="80"/>
                        </a:lnTo>
                        <a:lnTo>
                          <a:pt x="90" y="80"/>
                        </a:lnTo>
                        <a:lnTo>
                          <a:pt x="90" y="78"/>
                        </a:lnTo>
                        <a:lnTo>
                          <a:pt x="89" y="77"/>
                        </a:lnTo>
                        <a:lnTo>
                          <a:pt x="88" y="76"/>
                        </a:lnTo>
                        <a:lnTo>
                          <a:pt x="87" y="74"/>
                        </a:lnTo>
                        <a:lnTo>
                          <a:pt x="87" y="72"/>
                        </a:lnTo>
                        <a:lnTo>
                          <a:pt x="87" y="71"/>
                        </a:lnTo>
                        <a:lnTo>
                          <a:pt x="87" y="70"/>
                        </a:lnTo>
                        <a:lnTo>
                          <a:pt x="87" y="69"/>
                        </a:lnTo>
                        <a:lnTo>
                          <a:pt x="87" y="67"/>
                        </a:lnTo>
                        <a:lnTo>
                          <a:pt x="87" y="66"/>
                        </a:lnTo>
                        <a:lnTo>
                          <a:pt x="87" y="65"/>
                        </a:lnTo>
                        <a:lnTo>
                          <a:pt x="85" y="64"/>
                        </a:lnTo>
                        <a:lnTo>
                          <a:pt x="84" y="63"/>
                        </a:lnTo>
                        <a:lnTo>
                          <a:pt x="84" y="62"/>
                        </a:lnTo>
                        <a:lnTo>
                          <a:pt x="84" y="61"/>
                        </a:lnTo>
                        <a:lnTo>
                          <a:pt x="86" y="61"/>
                        </a:lnTo>
                        <a:lnTo>
                          <a:pt x="87" y="61"/>
                        </a:lnTo>
                        <a:lnTo>
                          <a:pt x="88" y="59"/>
                        </a:lnTo>
                        <a:lnTo>
                          <a:pt x="89" y="58"/>
                        </a:lnTo>
                        <a:lnTo>
                          <a:pt x="90" y="58"/>
                        </a:lnTo>
                        <a:lnTo>
                          <a:pt x="91" y="56"/>
                        </a:lnTo>
                        <a:lnTo>
                          <a:pt x="92" y="55"/>
                        </a:lnTo>
                        <a:lnTo>
                          <a:pt x="93" y="55"/>
                        </a:lnTo>
                        <a:lnTo>
                          <a:pt x="94" y="55"/>
                        </a:lnTo>
                        <a:lnTo>
                          <a:pt x="96" y="55"/>
                        </a:lnTo>
                        <a:lnTo>
                          <a:pt x="96" y="54"/>
                        </a:lnTo>
                        <a:lnTo>
                          <a:pt x="96" y="53"/>
                        </a:lnTo>
                        <a:lnTo>
                          <a:pt x="96" y="51"/>
                        </a:lnTo>
                        <a:lnTo>
                          <a:pt x="98" y="51"/>
                        </a:lnTo>
                        <a:lnTo>
                          <a:pt x="100" y="51"/>
                        </a:lnTo>
                        <a:lnTo>
                          <a:pt x="101" y="51"/>
                        </a:lnTo>
                        <a:lnTo>
                          <a:pt x="103" y="51"/>
                        </a:lnTo>
                        <a:lnTo>
                          <a:pt x="103" y="52"/>
                        </a:lnTo>
                        <a:lnTo>
                          <a:pt x="103" y="53"/>
                        </a:lnTo>
                        <a:lnTo>
                          <a:pt x="104" y="54"/>
                        </a:lnTo>
                        <a:lnTo>
                          <a:pt x="106" y="55"/>
                        </a:lnTo>
                        <a:lnTo>
                          <a:pt x="108" y="52"/>
                        </a:lnTo>
                        <a:lnTo>
                          <a:pt x="109" y="50"/>
                        </a:lnTo>
                        <a:lnTo>
                          <a:pt x="110" y="44"/>
                        </a:lnTo>
                        <a:lnTo>
                          <a:pt x="110" y="43"/>
                        </a:lnTo>
                        <a:lnTo>
                          <a:pt x="110" y="42"/>
                        </a:lnTo>
                        <a:lnTo>
                          <a:pt x="111" y="41"/>
                        </a:lnTo>
                        <a:lnTo>
                          <a:pt x="112" y="38"/>
                        </a:lnTo>
                        <a:lnTo>
                          <a:pt x="113" y="38"/>
                        </a:lnTo>
                        <a:lnTo>
                          <a:pt x="112" y="37"/>
                        </a:lnTo>
                        <a:lnTo>
                          <a:pt x="111" y="35"/>
                        </a:lnTo>
                        <a:lnTo>
                          <a:pt x="110" y="35"/>
                        </a:lnTo>
                        <a:lnTo>
                          <a:pt x="108" y="32"/>
                        </a:lnTo>
                        <a:lnTo>
                          <a:pt x="107" y="32"/>
                        </a:lnTo>
                        <a:lnTo>
                          <a:pt x="106" y="31"/>
                        </a:lnTo>
                        <a:lnTo>
                          <a:pt x="106" y="29"/>
                        </a:lnTo>
                        <a:lnTo>
                          <a:pt x="107" y="27"/>
                        </a:lnTo>
                        <a:lnTo>
                          <a:pt x="108" y="26"/>
                        </a:lnTo>
                        <a:lnTo>
                          <a:pt x="109" y="26"/>
                        </a:lnTo>
                        <a:lnTo>
                          <a:pt x="110" y="25"/>
                        </a:lnTo>
                        <a:lnTo>
                          <a:pt x="110" y="24"/>
                        </a:lnTo>
                        <a:lnTo>
                          <a:pt x="110" y="23"/>
                        </a:lnTo>
                        <a:lnTo>
                          <a:pt x="111" y="22"/>
                        </a:lnTo>
                        <a:lnTo>
                          <a:pt x="113" y="22"/>
                        </a:lnTo>
                        <a:lnTo>
                          <a:pt x="115" y="22"/>
                        </a:lnTo>
                        <a:lnTo>
                          <a:pt x="116" y="22"/>
                        </a:lnTo>
                        <a:lnTo>
                          <a:pt x="118" y="22"/>
                        </a:lnTo>
                        <a:lnTo>
                          <a:pt x="119" y="22"/>
                        </a:lnTo>
                        <a:lnTo>
                          <a:pt x="120" y="21"/>
                        </a:lnTo>
                        <a:lnTo>
                          <a:pt x="120" y="19"/>
                        </a:lnTo>
                        <a:lnTo>
                          <a:pt x="122" y="19"/>
                        </a:lnTo>
                        <a:lnTo>
                          <a:pt x="123" y="17"/>
                        </a:lnTo>
                        <a:lnTo>
                          <a:pt x="126" y="17"/>
                        </a:lnTo>
                        <a:lnTo>
                          <a:pt x="129" y="17"/>
                        </a:lnTo>
                        <a:lnTo>
                          <a:pt x="132" y="16"/>
                        </a:lnTo>
                        <a:lnTo>
                          <a:pt x="134" y="16"/>
                        </a:lnTo>
                        <a:lnTo>
                          <a:pt x="133" y="14"/>
                        </a:lnTo>
                        <a:lnTo>
                          <a:pt x="132" y="13"/>
                        </a:lnTo>
                        <a:lnTo>
                          <a:pt x="134" y="13"/>
                        </a:lnTo>
                        <a:lnTo>
                          <a:pt x="135" y="13"/>
                        </a:lnTo>
                        <a:lnTo>
                          <a:pt x="137" y="13"/>
                        </a:lnTo>
                        <a:lnTo>
                          <a:pt x="138" y="13"/>
                        </a:lnTo>
                        <a:lnTo>
                          <a:pt x="139" y="13"/>
                        </a:lnTo>
                        <a:lnTo>
                          <a:pt x="141" y="13"/>
                        </a:lnTo>
                        <a:lnTo>
                          <a:pt x="142" y="13"/>
                        </a:lnTo>
                        <a:lnTo>
                          <a:pt x="142" y="11"/>
                        </a:lnTo>
                        <a:lnTo>
                          <a:pt x="143" y="11"/>
                        </a:lnTo>
                        <a:lnTo>
                          <a:pt x="144" y="13"/>
                        </a:lnTo>
                        <a:lnTo>
                          <a:pt x="145" y="10"/>
                        </a:lnTo>
                        <a:lnTo>
                          <a:pt x="144" y="5"/>
                        </a:lnTo>
                        <a:lnTo>
                          <a:pt x="144" y="1"/>
                        </a:lnTo>
                        <a:lnTo>
                          <a:pt x="144" y="0"/>
                        </a:lnTo>
                        <a:lnTo>
                          <a:pt x="146" y="0"/>
                        </a:lnTo>
                        <a:lnTo>
                          <a:pt x="147" y="0"/>
                        </a:lnTo>
                        <a:lnTo>
                          <a:pt x="148" y="0"/>
                        </a:lnTo>
                        <a:lnTo>
                          <a:pt x="150" y="0"/>
                        </a:lnTo>
                        <a:lnTo>
                          <a:pt x="151" y="0"/>
                        </a:lnTo>
                        <a:lnTo>
                          <a:pt x="153" y="0"/>
                        </a:lnTo>
                        <a:lnTo>
                          <a:pt x="154" y="1"/>
                        </a:lnTo>
                        <a:lnTo>
                          <a:pt x="155" y="2"/>
                        </a:lnTo>
                        <a:lnTo>
                          <a:pt x="155" y="3"/>
                        </a:lnTo>
                        <a:lnTo>
                          <a:pt x="157" y="3"/>
                        </a:lnTo>
                        <a:lnTo>
                          <a:pt x="158" y="5"/>
                        </a:lnTo>
                        <a:lnTo>
                          <a:pt x="159" y="6"/>
                        </a:lnTo>
                        <a:lnTo>
                          <a:pt x="161" y="6"/>
                        </a:lnTo>
                        <a:lnTo>
                          <a:pt x="163" y="8"/>
                        </a:lnTo>
                        <a:lnTo>
                          <a:pt x="163" y="10"/>
                        </a:lnTo>
                        <a:lnTo>
                          <a:pt x="165" y="11"/>
                        </a:lnTo>
                        <a:lnTo>
                          <a:pt x="168" y="13"/>
                        </a:lnTo>
                        <a:lnTo>
                          <a:pt x="169" y="14"/>
                        </a:lnTo>
                        <a:lnTo>
                          <a:pt x="172" y="16"/>
                        </a:lnTo>
                        <a:lnTo>
                          <a:pt x="173" y="17"/>
                        </a:lnTo>
                        <a:lnTo>
                          <a:pt x="174" y="19"/>
                        </a:lnTo>
                        <a:lnTo>
                          <a:pt x="179" y="23"/>
                        </a:lnTo>
                        <a:lnTo>
                          <a:pt x="181" y="25"/>
                        </a:lnTo>
                        <a:lnTo>
                          <a:pt x="184" y="25"/>
                        </a:lnTo>
                        <a:lnTo>
                          <a:pt x="186" y="28"/>
                        </a:lnTo>
                        <a:lnTo>
                          <a:pt x="188" y="32"/>
                        </a:lnTo>
                        <a:lnTo>
                          <a:pt x="190" y="34"/>
                        </a:lnTo>
                        <a:lnTo>
                          <a:pt x="193" y="35"/>
                        </a:lnTo>
                        <a:lnTo>
                          <a:pt x="195" y="37"/>
                        </a:lnTo>
                        <a:lnTo>
                          <a:pt x="198" y="38"/>
                        </a:lnTo>
                        <a:lnTo>
                          <a:pt x="200" y="41"/>
                        </a:lnTo>
                        <a:lnTo>
                          <a:pt x="203" y="42"/>
                        </a:lnTo>
                        <a:lnTo>
                          <a:pt x="203" y="43"/>
                        </a:lnTo>
                        <a:lnTo>
                          <a:pt x="205" y="43"/>
                        </a:lnTo>
                        <a:lnTo>
                          <a:pt x="207" y="44"/>
                        </a:lnTo>
                        <a:lnTo>
                          <a:pt x="209" y="44"/>
                        </a:lnTo>
                        <a:lnTo>
                          <a:pt x="210" y="45"/>
                        </a:lnTo>
                        <a:lnTo>
                          <a:pt x="212" y="46"/>
                        </a:lnTo>
                        <a:lnTo>
                          <a:pt x="214" y="47"/>
                        </a:lnTo>
                        <a:lnTo>
                          <a:pt x="216" y="48"/>
                        </a:lnTo>
                        <a:lnTo>
                          <a:pt x="220" y="52"/>
                        </a:lnTo>
                        <a:lnTo>
                          <a:pt x="223" y="54"/>
                        </a:lnTo>
                        <a:lnTo>
                          <a:pt x="225" y="55"/>
                        </a:lnTo>
                        <a:lnTo>
                          <a:pt x="229" y="56"/>
                        </a:lnTo>
                        <a:lnTo>
                          <a:pt x="232" y="58"/>
                        </a:lnTo>
                        <a:lnTo>
                          <a:pt x="235" y="60"/>
                        </a:lnTo>
                        <a:lnTo>
                          <a:pt x="239" y="61"/>
                        </a:lnTo>
                        <a:lnTo>
                          <a:pt x="241" y="60"/>
                        </a:lnTo>
                        <a:lnTo>
                          <a:pt x="244" y="61"/>
                        </a:lnTo>
                        <a:lnTo>
                          <a:pt x="248" y="62"/>
                        </a:lnTo>
                        <a:lnTo>
                          <a:pt x="251" y="61"/>
                        </a:lnTo>
                        <a:lnTo>
                          <a:pt x="256" y="57"/>
                        </a:lnTo>
                        <a:lnTo>
                          <a:pt x="257" y="55"/>
                        </a:lnTo>
                        <a:lnTo>
                          <a:pt x="258" y="55"/>
                        </a:lnTo>
                        <a:lnTo>
                          <a:pt x="262" y="55"/>
                        </a:lnTo>
                        <a:lnTo>
                          <a:pt x="264" y="55"/>
                        </a:lnTo>
                        <a:lnTo>
                          <a:pt x="264" y="56"/>
                        </a:lnTo>
                        <a:lnTo>
                          <a:pt x="264" y="57"/>
                        </a:lnTo>
                        <a:lnTo>
                          <a:pt x="264" y="58"/>
                        </a:lnTo>
                        <a:lnTo>
                          <a:pt x="264" y="60"/>
                        </a:lnTo>
                        <a:lnTo>
                          <a:pt x="264" y="61"/>
                        </a:lnTo>
                        <a:lnTo>
                          <a:pt x="265" y="64"/>
                        </a:lnTo>
                        <a:lnTo>
                          <a:pt x="266" y="66"/>
                        </a:lnTo>
                        <a:lnTo>
                          <a:pt x="265" y="67"/>
                        </a:lnTo>
                        <a:lnTo>
                          <a:pt x="264" y="67"/>
                        </a:lnTo>
                        <a:lnTo>
                          <a:pt x="264" y="68"/>
                        </a:lnTo>
                        <a:lnTo>
                          <a:pt x="264" y="69"/>
                        </a:lnTo>
                        <a:lnTo>
                          <a:pt x="264" y="74"/>
                        </a:lnTo>
                        <a:lnTo>
                          <a:pt x="265" y="74"/>
                        </a:lnTo>
                        <a:lnTo>
                          <a:pt x="267" y="74"/>
                        </a:lnTo>
                        <a:lnTo>
                          <a:pt x="268" y="74"/>
                        </a:lnTo>
                        <a:lnTo>
                          <a:pt x="270" y="74"/>
                        </a:lnTo>
                        <a:lnTo>
                          <a:pt x="270" y="73"/>
                        </a:lnTo>
                        <a:lnTo>
                          <a:pt x="271" y="72"/>
                        </a:lnTo>
                        <a:lnTo>
                          <a:pt x="272" y="71"/>
                        </a:lnTo>
                        <a:lnTo>
                          <a:pt x="274" y="70"/>
                        </a:lnTo>
                        <a:lnTo>
                          <a:pt x="274" y="72"/>
                        </a:lnTo>
                        <a:lnTo>
                          <a:pt x="274" y="74"/>
                        </a:lnTo>
                        <a:lnTo>
                          <a:pt x="275" y="74"/>
                        </a:lnTo>
                        <a:lnTo>
                          <a:pt x="276" y="75"/>
                        </a:lnTo>
                        <a:lnTo>
                          <a:pt x="277" y="76"/>
                        </a:lnTo>
                        <a:lnTo>
                          <a:pt x="277" y="77"/>
                        </a:lnTo>
                        <a:lnTo>
                          <a:pt x="276" y="79"/>
                        </a:lnTo>
                        <a:lnTo>
                          <a:pt x="275" y="80"/>
                        </a:lnTo>
                        <a:lnTo>
                          <a:pt x="274" y="80"/>
                        </a:lnTo>
                        <a:lnTo>
                          <a:pt x="272" y="80"/>
                        </a:lnTo>
                        <a:lnTo>
                          <a:pt x="271" y="80"/>
                        </a:lnTo>
                        <a:lnTo>
                          <a:pt x="270" y="80"/>
                        </a:lnTo>
                        <a:lnTo>
                          <a:pt x="271" y="82"/>
                        </a:lnTo>
                        <a:lnTo>
                          <a:pt x="272" y="82"/>
                        </a:lnTo>
                        <a:lnTo>
                          <a:pt x="273" y="82"/>
                        </a:lnTo>
                        <a:lnTo>
                          <a:pt x="274" y="84"/>
                        </a:lnTo>
                        <a:lnTo>
                          <a:pt x="273" y="84"/>
                        </a:lnTo>
                        <a:lnTo>
                          <a:pt x="272" y="84"/>
                        </a:lnTo>
                        <a:lnTo>
                          <a:pt x="272" y="85"/>
                        </a:lnTo>
                        <a:lnTo>
                          <a:pt x="274" y="87"/>
                        </a:lnTo>
                        <a:lnTo>
                          <a:pt x="275" y="87"/>
                        </a:lnTo>
                        <a:lnTo>
                          <a:pt x="277" y="87"/>
                        </a:lnTo>
                        <a:lnTo>
                          <a:pt x="277" y="89"/>
                        </a:lnTo>
                        <a:lnTo>
                          <a:pt x="279" y="90"/>
                        </a:lnTo>
                        <a:lnTo>
                          <a:pt x="280" y="90"/>
                        </a:lnTo>
                        <a:lnTo>
                          <a:pt x="282" y="91"/>
                        </a:lnTo>
                        <a:lnTo>
                          <a:pt x="284" y="91"/>
                        </a:lnTo>
                        <a:lnTo>
                          <a:pt x="285" y="92"/>
                        </a:lnTo>
                        <a:lnTo>
                          <a:pt x="287" y="93"/>
                        </a:lnTo>
                        <a:lnTo>
                          <a:pt x="287" y="92"/>
                        </a:lnTo>
                        <a:lnTo>
                          <a:pt x="288" y="91"/>
                        </a:lnTo>
                        <a:lnTo>
                          <a:pt x="289" y="91"/>
                        </a:lnTo>
                        <a:lnTo>
                          <a:pt x="289" y="90"/>
                        </a:lnTo>
                        <a:lnTo>
                          <a:pt x="291" y="91"/>
                        </a:lnTo>
                        <a:lnTo>
                          <a:pt x="292" y="92"/>
                        </a:lnTo>
                        <a:lnTo>
                          <a:pt x="293" y="93"/>
                        </a:lnTo>
                        <a:lnTo>
                          <a:pt x="292" y="93"/>
                        </a:lnTo>
                        <a:lnTo>
                          <a:pt x="291" y="94"/>
                        </a:lnTo>
                        <a:lnTo>
                          <a:pt x="290" y="96"/>
                        </a:lnTo>
                        <a:lnTo>
                          <a:pt x="289" y="96"/>
                        </a:lnTo>
                        <a:lnTo>
                          <a:pt x="288" y="96"/>
                        </a:lnTo>
                        <a:lnTo>
                          <a:pt x="287" y="96"/>
                        </a:lnTo>
                        <a:lnTo>
                          <a:pt x="286" y="96"/>
                        </a:lnTo>
                        <a:lnTo>
                          <a:pt x="285" y="96"/>
                        </a:lnTo>
                        <a:lnTo>
                          <a:pt x="284" y="96"/>
                        </a:lnTo>
                        <a:lnTo>
                          <a:pt x="282" y="98"/>
                        </a:lnTo>
                        <a:lnTo>
                          <a:pt x="281" y="97"/>
                        </a:lnTo>
                        <a:lnTo>
                          <a:pt x="280" y="97"/>
                        </a:lnTo>
                        <a:lnTo>
                          <a:pt x="280" y="96"/>
                        </a:lnTo>
                        <a:lnTo>
                          <a:pt x="279" y="98"/>
                        </a:lnTo>
                        <a:lnTo>
                          <a:pt x="279" y="99"/>
                        </a:lnTo>
                        <a:lnTo>
                          <a:pt x="280" y="99"/>
                        </a:lnTo>
                        <a:lnTo>
                          <a:pt x="278" y="101"/>
                        </a:lnTo>
                        <a:lnTo>
                          <a:pt x="277" y="101"/>
                        </a:lnTo>
                        <a:lnTo>
                          <a:pt x="277" y="100"/>
                        </a:lnTo>
                        <a:lnTo>
                          <a:pt x="277" y="99"/>
                        </a:lnTo>
                        <a:lnTo>
                          <a:pt x="275" y="102"/>
                        </a:lnTo>
                        <a:lnTo>
                          <a:pt x="276" y="104"/>
                        </a:lnTo>
                        <a:lnTo>
                          <a:pt x="276" y="107"/>
                        </a:lnTo>
                        <a:lnTo>
                          <a:pt x="277" y="109"/>
                        </a:lnTo>
                        <a:lnTo>
                          <a:pt x="278" y="112"/>
                        </a:lnTo>
                        <a:lnTo>
                          <a:pt x="279" y="115"/>
                        </a:lnTo>
                        <a:lnTo>
                          <a:pt x="279" y="117"/>
                        </a:lnTo>
                        <a:lnTo>
                          <a:pt x="280" y="118"/>
                        </a:lnTo>
                        <a:lnTo>
                          <a:pt x="281" y="118"/>
                        </a:lnTo>
                        <a:lnTo>
                          <a:pt x="282" y="117"/>
                        </a:lnTo>
                        <a:lnTo>
                          <a:pt x="283" y="116"/>
                        </a:lnTo>
                        <a:lnTo>
                          <a:pt x="284" y="115"/>
                        </a:lnTo>
                        <a:lnTo>
                          <a:pt x="283" y="118"/>
                        </a:lnTo>
                        <a:lnTo>
                          <a:pt x="282" y="121"/>
                        </a:lnTo>
                        <a:lnTo>
                          <a:pt x="281" y="124"/>
                        </a:lnTo>
                        <a:lnTo>
                          <a:pt x="280" y="125"/>
                        </a:lnTo>
                        <a:lnTo>
                          <a:pt x="280" y="126"/>
                        </a:lnTo>
                        <a:lnTo>
                          <a:pt x="278" y="127"/>
                        </a:lnTo>
                        <a:lnTo>
                          <a:pt x="276" y="128"/>
                        </a:lnTo>
                        <a:lnTo>
                          <a:pt x="274" y="129"/>
                        </a:lnTo>
                        <a:lnTo>
                          <a:pt x="271" y="129"/>
                        </a:lnTo>
                        <a:lnTo>
                          <a:pt x="269" y="130"/>
                        </a:lnTo>
                        <a:lnTo>
                          <a:pt x="267" y="130"/>
                        </a:lnTo>
                        <a:lnTo>
                          <a:pt x="267" y="129"/>
                        </a:lnTo>
                        <a:lnTo>
                          <a:pt x="264" y="128"/>
                        </a:lnTo>
                        <a:lnTo>
                          <a:pt x="264" y="125"/>
                        </a:lnTo>
                        <a:lnTo>
                          <a:pt x="263" y="123"/>
                        </a:lnTo>
                        <a:lnTo>
                          <a:pt x="264" y="122"/>
                        </a:lnTo>
                        <a:lnTo>
                          <a:pt x="265" y="121"/>
                        </a:lnTo>
                        <a:lnTo>
                          <a:pt x="266" y="120"/>
                        </a:lnTo>
                        <a:lnTo>
                          <a:pt x="267" y="119"/>
                        </a:lnTo>
                        <a:lnTo>
                          <a:pt x="267" y="118"/>
                        </a:lnTo>
                        <a:lnTo>
                          <a:pt x="265" y="117"/>
                        </a:lnTo>
                        <a:lnTo>
                          <a:pt x="264" y="117"/>
                        </a:lnTo>
                        <a:lnTo>
                          <a:pt x="264" y="115"/>
                        </a:lnTo>
                        <a:lnTo>
                          <a:pt x="264" y="114"/>
                        </a:lnTo>
                        <a:lnTo>
                          <a:pt x="264" y="109"/>
                        </a:lnTo>
                        <a:lnTo>
                          <a:pt x="264" y="110"/>
                        </a:lnTo>
                        <a:lnTo>
                          <a:pt x="264" y="111"/>
                        </a:lnTo>
                        <a:lnTo>
                          <a:pt x="263" y="112"/>
                        </a:lnTo>
                        <a:lnTo>
                          <a:pt x="261" y="113"/>
                        </a:lnTo>
                        <a:lnTo>
                          <a:pt x="259" y="113"/>
                        </a:lnTo>
                        <a:lnTo>
                          <a:pt x="258" y="113"/>
                        </a:lnTo>
                        <a:lnTo>
                          <a:pt x="257" y="112"/>
                        </a:lnTo>
                        <a:lnTo>
                          <a:pt x="256" y="111"/>
                        </a:lnTo>
                        <a:lnTo>
                          <a:pt x="255" y="110"/>
                        </a:lnTo>
                        <a:lnTo>
                          <a:pt x="254" y="109"/>
                        </a:lnTo>
                        <a:lnTo>
                          <a:pt x="253" y="109"/>
                        </a:lnTo>
                        <a:lnTo>
                          <a:pt x="251" y="109"/>
                        </a:lnTo>
                        <a:lnTo>
                          <a:pt x="250" y="109"/>
                        </a:lnTo>
                        <a:lnTo>
                          <a:pt x="248" y="108"/>
                        </a:lnTo>
                        <a:lnTo>
                          <a:pt x="245" y="107"/>
                        </a:lnTo>
                        <a:lnTo>
                          <a:pt x="244" y="106"/>
                        </a:lnTo>
                        <a:lnTo>
                          <a:pt x="244" y="104"/>
                        </a:lnTo>
                        <a:lnTo>
                          <a:pt x="243" y="103"/>
                        </a:lnTo>
                        <a:lnTo>
                          <a:pt x="241" y="103"/>
                        </a:lnTo>
                        <a:lnTo>
                          <a:pt x="240" y="103"/>
                        </a:lnTo>
                        <a:lnTo>
                          <a:pt x="239" y="103"/>
                        </a:lnTo>
                        <a:lnTo>
                          <a:pt x="239" y="105"/>
                        </a:lnTo>
                        <a:lnTo>
                          <a:pt x="239" y="106"/>
                        </a:lnTo>
                        <a:lnTo>
                          <a:pt x="237" y="106"/>
                        </a:lnTo>
                        <a:lnTo>
                          <a:pt x="235" y="106"/>
                        </a:lnTo>
                        <a:lnTo>
                          <a:pt x="234" y="106"/>
                        </a:lnTo>
                        <a:lnTo>
                          <a:pt x="232" y="106"/>
                        </a:lnTo>
                        <a:lnTo>
                          <a:pt x="231" y="105"/>
                        </a:lnTo>
                        <a:lnTo>
                          <a:pt x="232" y="103"/>
                        </a:lnTo>
                        <a:lnTo>
                          <a:pt x="233" y="101"/>
                        </a:lnTo>
                        <a:lnTo>
                          <a:pt x="232" y="99"/>
                        </a:lnTo>
                        <a:lnTo>
                          <a:pt x="230" y="100"/>
                        </a:lnTo>
                        <a:lnTo>
                          <a:pt x="230" y="101"/>
                        </a:lnTo>
                        <a:lnTo>
                          <a:pt x="230" y="102"/>
                        </a:lnTo>
                        <a:lnTo>
                          <a:pt x="229" y="103"/>
                        </a:lnTo>
                        <a:lnTo>
                          <a:pt x="229" y="102"/>
                        </a:lnTo>
                        <a:lnTo>
                          <a:pt x="228" y="101"/>
                        </a:lnTo>
                        <a:lnTo>
                          <a:pt x="227" y="100"/>
                        </a:lnTo>
                        <a:lnTo>
                          <a:pt x="225" y="99"/>
                        </a:lnTo>
                        <a:lnTo>
                          <a:pt x="225" y="101"/>
                        </a:lnTo>
                        <a:lnTo>
                          <a:pt x="225" y="102"/>
                        </a:lnTo>
                        <a:lnTo>
                          <a:pt x="225" y="103"/>
                        </a:lnTo>
                        <a:lnTo>
                          <a:pt x="221" y="107"/>
                        </a:lnTo>
                        <a:lnTo>
                          <a:pt x="219" y="109"/>
                        </a:lnTo>
                        <a:lnTo>
                          <a:pt x="217" y="109"/>
                        </a:lnTo>
                        <a:lnTo>
                          <a:pt x="216" y="109"/>
                        </a:lnTo>
                        <a:lnTo>
                          <a:pt x="216" y="108"/>
                        </a:lnTo>
                        <a:lnTo>
                          <a:pt x="216" y="106"/>
                        </a:lnTo>
                        <a:lnTo>
                          <a:pt x="214" y="106"/>
                        </a:lnTo>
                        <a:lnTo>
                          <a:pt x="213" y="104"/>
                        </a:lnTo>
                        <a:lnTo>
                          <a:pt x="213" y="103"/>
                        </a:lnTo>
                        <a:lnTo>
                          <a:pt x="212" y="101"/>
                        </a:lnTo>
                        <a:lnTo>
                          <a:pt x="209" y="99"/>
                        </a:lnTo>
                        <a:lnTo>
                          <a:pt x="206" y="98"/>
                        </a:lnTo>
                        <a:lnTo>
                          <a:pt x="203" y="96"/>
                        </a:lnTo>
                        <a:lnTo>
                          <a:pt x="202" y="96"/>
                        </a:lnTo>
                        <a:lnTo>
                          <a:pt x="201" y="96"/>
                        </a:lnTo>
                        <a:lnTo>
                          <a:pt x="199" y="96"/>
                        </a:lnTo>
                        <a:lnTo>
                          <a:pt x="199" y="94"/>
                        </a:lnTo>
                        <a:lnTo>
                          <a:pt x="199" y="93"/>
                        </a:lnTo>
                        <a:lnTo>
                          <a:pt x="197" y="93"/>
                        </a:lnTo>
                        <a:lnTo>
                          <a:pt x="196" y="94"/>
                        </a:lnTo>
                        <a:lnTo>
                          <a:pt x="195" y="96"/>
                        </a:lnTo>
                        <a:lnTo>
                          <a:pt x="193" y="96"/>
                        </a:lnTo>
                        <a:lnTo>
                          <a:pt x="193" y="94"/>
                        </a:lnTo>
                        <a:lnTo>
                          <a:pt x="193" y="93"/>
                        </a:lnTo>
                        <a:lnTo>
                          <a:pt x="192" y="93"/>
                        </a:lnTo>
                        <a:lnTo>
                          <a:pt x="192" y="94"/>
                        </a:lnTo>
                        <a:lnTo>
                          <a:pt x="191" y="94"/>
                        </a:lnTo>
                        <a:lnTo>
                          <a:pt x="190" y="93"/>
                        </a:lnTo>
                        <a:lnTo>
                          <a:pt x="190" y="92"/>
                        </a:lnTo>
                        <a:lnTo>
                          <a:pt x="190" y="91"/>
                        </a:lnTo>
                        <a:lnTo>
                          <a:pt x="189" y="91"/>
                        </a:lnTo>
                        <a:lnTo>
                          <a:pt x="187" y="90"/>
                        </a:lnTo>
                        <a:lnTo>
                          <a:pt x="187" y="91"/>
                        </a:lnTo>
                        <a:lnTo>
                          <a:pt x="187" y="92"/>
                        </a:lnTo>
                        <a:lnTo>
                          <a:pt x="187" y="93"/>
                        </a:lnTo>
                        <a:lnTo>
                          <a:pt x="185" y="93"/>
                        </a:lnTo>
                        <a:lnTo>
                          <a:pt x="184" y="93"/>
                        </a:lnTo>
                        <a:lnTo>
                          <a:pt x="182" y="91"/>
                        </a:lnTo>
                        <a:lnTo>
                          <a:pt x="181" y="90"/>
                        </a:lnTo>
                        <a:lnTo>
                          <a:pt x="180" y="89"/>
                        </a:lnTo>
                        <a:lnTo>
                          <a:pt x="180" y="87"/>
                        </a:lnTo>
                        <a:lnTo>
                          <a:pt x="178" y="87"/>
                        </a:lnTo>
                        <a:lnTo>
                          <a:pt x="177" y="85"/>
                        </a:lnTo>
                        <a:lnTo>
                          <a:pt x="176" y="84"/>
                        </a:lnTo>
                        <a:lnTo>
                          <a:pt x="174" y="84"/>
                        </a:lnTo>
                        <a:lnTo>
                          <a:pt x="174" y="85"/>
                        </a:lnTo>
                        <a:lnTo>
                          <a:pt x="173" y="87"/>
                        </a:lnTo>
                        <a:lnTo>
                          <a:pt x="172" y="89"/>
                        </a:lnTo>
                        <a:lnTo>
                          <a:pt x="170" y="90"/>
                        </a:lnTo>
                        <a:lnTo>
                          <a:pt x="168" y="90"/>
                        </a:lnTo>
                        <a:lnTo>
                          <a:pt x="168" y="89"/>
                        </a:lnTo>
                        <a:lnTo>
                          <a:pt x="168" y="88"/>
                        </a:lnTo>
                        <a:lnTo>
                          <a:pt x="168" y="87"/>
                        </a:lnTo>
                        <a:lnTo>
                          <a:pt x="166" y="87"/>
                        </a:lnTo>
                        <a:lnTo>
                          <a:pt x="165" y="87"/>
                        </a:lnTo>
                        <a:lnTo>
                          <a:pt x="163" y="87"/>
                        </a:lnTo>
                        <a:lnTo>
                          <a:pt x="161" y="87"/>
                        </a:lnTo>
                        <a:lnTo>
                          <a:pt x="161" y="85"/>
                        </a:lnTo>
                        <a:lnTo>
                          <a:pt x="159" y="84"/>
                        </a:lnTo>
                        <a:lnTo>
                          <a:pt x="155" y="84"/>
                        </a:lnTo>
                        <a:lnTo>
                          <a:pt x="155" y="86"/>
                        </a:lnTo>
                        <a:lnTo>
                          <a:pt x="155" y="87"/>
                        </a:lnTo>
                        <a:lnTo>
                          <a:pt x="155" y="88"/>
                        </a:lnTo>
                        <a:lnTo>
                          <a:pt x="155" y="90"/>
                        </a:lnTo>
                        <a:lnTo>
                          <a:pt x="153" y="91"/>
                        </a:lnTo>
                        <a:lnTo>
                          <a:pt x="152" y="92"/>
                        </a:lnTo>
                        <a:lnTo>
                          <a:pt x="151" y="93"/>
                        </a:lnTo>
                        <a:lnTo>
                          <a:pt x="149" y="95"/>
                        </a:lnTo>
                        <a:lnTo>
                          <a:pt x="148" y="97"/>
                        </a:lnTo>
                        <a:lnTo>
                          <a:pt x="148" y="99"/>
                        </a:lnTo>
                        <a:lnTo>
                          <a:pt x="146" y="100"/>
                        </a:lnTo>
                        <a:lnTo>
                          <a:pt x="144" y="101"/>
                        </a:lnTo>
                        <a:lnTo>
                          <a:pt x="144" y="102"/>
                        </a:lnTo>
                        <a:lnTo>
                          <a:pt x="142" y="103"/>
                        </a:lnTo>
                        <a:lnTo>
                          <a:pt x="142" y="102"/>
                        </a:lnTo>
                        <a:lnTo>
                          <a:pt x="141" y="101"/>
                        </a:lnTo>
                        <a:lnTo>
                          <a:pt x="139" y="99"/>
                        </a:lnTo>
                        <a:lnTo>
                          <a:pt x="138" y="98"/>
                        </a:lnTo>
                        <a:lnTo>
                          <a:pt x="137" y="97"/>
                        </a:lnTo>
                        <a:lnTo>
                          <a:pt x="135" y="96"/>
                        </a:lnTo>
                        <a:lnTo>
                          <a:pt x="135" y="94"/>
                        </a:lnTo>
                        <a:lnTo>
                          <a:pt x="134" y="93"/>
                        </a:lnTo>
                        <a:lnTo>
                          <a:pt x="133" y="91"/>
                        </a:lnTo>
                        <a:lnTo>
                          <a:pt x="132" y="90"/>
                        </a:lnTo>
                        <a:lnTo>
                          <a:pt x="132" y="88"/>
                        </a:lnTo>
                        <a:lnTo>
                          <a:pt x="132" y="87"/>
                        </a:lnTo>
                        <a:lnTo>
                          <a:pt x="132" y="85"/>
                        </a:lnTo>
                        <a:lnTo>
                          <a:pt x="132" y="84"/>
                        </a:lnTo>
                        <a:lnTo>
                          <a:pt x="131" y="82"/>
                        </a:lnTo>
                        <a:lnTo>
                          <a:pt x="129" y="80"/>
                        </a:lnTo>
                        <a:lnTo>
                          <a:pt x="128" y="80"/>
                        </a:lnTo>
                        <a:lnTo>
                          <a:pt x="127" y="79"/>
                        </a:lnTo>
                        <a:lnTo>
                          <a:pt x="124" y="79"/>
                        </a:lnTo>
                        <a:lnTo>
                          <a:pt x="122" y="80"/>
                        </a:lnTo>
                        <a:lnTo>
                          <a:pt x="121" y="80"/>
                        </a:lnTo>
                        <a:lnTo>
                          <a:pt x="120" y="80"/>
                        </a:lnTo>
                        <a:lnTo>
                          <a:pt x="118" y="82"/>
                        </a:lnTo>
                        <a:lnTo>
                          <a:pt x="117" y="83"/>
                        </a:lnTo>
                        <a:lnTo>
                          <a:pt x="116" y="84"/>
                        </a:lnTo>
                        <a:lnTo>
                          <a:pt x="116" y="86"/>
                        </a:lnTo>
                        <a:lnTo>
                          <a:pt x="115" y="89"/>
                        </a:lnTo>
                        <a:lnTo>
                          <a:pt x="115" y="91"/>
                        </a:lnTo>
                        <a:lnTo>
                          <a:pt x="116" y="93"/>
                        </a:lnTo>
                        <a:lnTo>
                          <a:pt x="116" y="94"/>
                        </a:lnTo>
                        <a:lnTo>
                          <a:pt x="116" y="96"/>
                        </a:lnTo>
                        <a:lnTo>
                          <a:pt x="116" y="98"/>
                        </a:lnTo>
                        <a:lnTo>
                          <a:pt x="116" y="99"/>
                        </a:lnTo>
                        <a:lnTo>
                          <a:pt x="115" y="99"/>
                        </a:lnTo>
                        <a:lnTo>
                          <a:pt x="113" y="99"/>
                        </a:lnTo>
                        <a:lnTo>
                          <a:pt x="113" y="101"/>
                        </a:lnTo>
                        <a:lnTo>
                          <a:pt x="113" y="102"/>
                        </a:lnTo>
                        <a:lnTo>
                          <a:pt x="113" y="103"/>
                        </a:lnTo>
                        <a:lnTo>
                          <a:pt x="112" y="105"/>
                        </a:lnTo>
                        <a:lnTo>
                          <a:pt x="111" y="107"/>
                        </a:lnTo>
                        <a:lnTo>
                          <a:pt x="110" y="109"/>
                        </a:lnTo>
                        <a:lnTo>
                          <a:pt x="112" y="110"/>
                        </a:lnTo>
                        <a:lnTo>
                          <a:pt x="113" y="112"/>
                        </a:lnTo>
                        <a:lnTo>
                          <a:pt x="113" y="115"/>
                        </a:lnTo>
                        <a:lnTo>
                          <a:pt x="115" y="116"/>
                        </a:lnTo>
                        <a:lnTo>
                          <a:pt x="116" y="117"/>
                        </a:lnTo>
                        <a:lnTo>
                          <a:pt x="116" y="118"/>
                        </a:lnTo>
                        <a:lnTo>
                          <a:pt x="117" y="118"/>
                        </a:lnTo>
                        <a:lnTo>
                          <a:pt x="118" y="118"/>
                        </a:lnTo>
                        <a:lnTo>
                          <a:pt x="119" y="118"/>
                        </a:lnTo>
                        <a:lnTo>
                          <a:pt x="120" y="118"/>
                        </a:lnTo>
                        <a:lnTo>
                          <a:pt x="121" y="119"/>
                        </a:lnTo>
                        <a:lnTo>
                          <a:pt x="122" y="119"/>
                        </a:lnTo>
                        <a:lnTo>
                          <a:pt x="122" y="120"/>
                        </a:lnTo>
                        <a:lnTo>
                          <a:pt x="122" y="122"/>
                        </a:lnTo>
                        <a:lnTo>
                          <a:pt x="124" y="122"/>
                        </a:lnTo>
                        <a:lnTo>
                          <a:pt x="125" y="123"/>
                        </a:lnTo>
                        <a:lnTo>
                          <a:pt x="125" y="125"/>
                        </a:lnTo>
                        <a:lnTo>
                          <a:pt x="124" y="125"/>
                        </a:lnTo>
                        <a:lnTo>
                          <a:pt x="125" y="125"/>
                        </a:lnTo>
                        <a:lnTo>
                          <a:pt x="125" y="127"/>
                        </a:lnTo>
                        <a:lnTo>
                          <a:pt x="125" y="128"/>
                        </a:lnTo>
                        <a:lnTo>
                          <a:pt x="125" y="129"/>
                        </a:lnTo>
                        <a:lnTo>
                          <a:pt x="126" y="130"/>
                        </a:lnTo>
                        <a:lnTo>
                          <a:pt x="127" y="131"/>
                        </a:lnTo>
                        <a:lnTo>
                          <a:pt x="128" y="132"/>
                        </a:lnTo>
                        <a:lnTo>
                          <a:pt x="129" y="132"/>
                        </a:lnTo>
                        <a:lnTo>
                          <a:pt x="129" y="134"/>
                        </a:lnTo>
                        <a:lnTo>
                          <a:pt x="129" y="135"/>
                        </a:lnTo>
                        <a:lnTo>
                          <a:pt x="129" y="137"/>
                        </a:lnTo>
                        <a:lnTo>
                          <a:pt x="129" y="139"/>
                        </a:lnTo>
                        <a:lnTo>
                          <a:pt x="129" y="140"/>
                        </a:lnTo>
                        <a:lnTo>
                          <a:pt x="129" y="141"/>
                        </a:lnTo>
                        <a:lnTo>
                          <a:pt x="129" y="143"/>
                        </a:lnTo>
                        <a:lnTo>
                          <a:pt x="130" y="144"/>
                        </a:lnTo>
                        <a:lnTo>
                          <a:pt x="130" y="146"/>
                        </a:lnTo>
                        <a:lnTo>
                          <a:pt x="129" y="148"/>
                        </a:lnTo>
                        <a:lnTo>
                          <a:pt x="129" y="149"/>
                        </a:lnTo>
                        <a:lnTo>
                          <a:pt x="129" y="151"/>
                        </a:lnTo>
                        <a:lnTo>
                          <a:pt x="128" y="153"/>
                        </a:lnTo>
                        <a:lnTo>
                          <a:pt x="130" y="154"/>
                        </a:lnTo>
                        <a:lnTo>
                          <a:pt x="133" y="156"/>
                        </a:lnTo>
                        <a:lnTo>
                          <a:pt x="135" y="158"/>
                        </a:lnTo>
                        <a:lnTo>
                          <a:pt x="135" y="160"/>
                        </a:lnTo>
                        <a:lnTo>
                          <a:pt x="135" y="161"/>
                        </a:lnTo>
                        <a:lnTo>
                          <a:pt x="135" y="162"/>
                        </a:lnTo>
                        <a:lnTo>
                          <a:pt x="135" y="164"/>
                        </a:lnTo>
                        <a:lnTo>
                          <a:pt x="137" y="164"/>
                        </a:lnTo>
                        <a:lnTo>
                          <a:pt x="138" y="165"/>
                        </a:lnTo>
                        <a:lnTo>
                          <a:pt x="139" y="166"/>
                        </a:lnTo>
                        <a:lnTo>
                          <a:pt x="139" y="167"/>
                        </a:lnTo>
                        <a:lnTo>
                          <a:pt x="141" y="167"/>
                        </a:lnTo>
                        <a:lnTo>
                          <a:pt x="142" y="168"/>
                        </a:lnTo>
                        <a:lnTo>
                          <a:pt x="142" y="170"/>
                        </a:lnTo>
                        <a:lnTo>
                          <a:pt x="143" y="170"/>
                        </a:lnTo>
                        <a:lnTo>
                          <a:pt x="144" y="170"/>
                        </a:lnTo>
                        <a:lnTo>
                          <a:pt x="144" y="172"/>
                        </a:lnTo>
                        <a:lnTo>
                          <a:pt x="144" y="173"/>
                        </a:lnTo>
                        <a:lnTo>
                          <a:pt x="144" y="175"/>
                        </a:lnTo>
                        <a:lnTo>
                          <a:pt x="144" y="177"/>
                        </a:lnTo>
                        <a:lnTo>
                          <a:pt x="145" y="177"/>
                        </a:lnTo>
                        <a:lnTo>
                          <a:pt x="146" y="178"/>
                        </a:lnTo>
                        <a:lnTo>
                          <a:pt x="148" y="180"/>
                        </a:lnTo>
                        <a:lnTo>
                          <a:pt x="148" y="182"/>
                        </a:lnTo>
                        <a:lnTo>
                          <a:pt x="148" y="183"/>
                        </a:lnTo>
                        <a:lnTo>
                          <a:pt x="149" y="183"/>
                        </a:lnTo>
                        <a:lnTo>
                          <a:pt x="151" y="183"/>
                        </a:lnTo>
                        <a:lnTo>
                          <a:pt x="151" y="185"/>
                        </a:lnTo>
                        <a:lnTo>
                          <a:pt x="151" y="186"/>
                        </a:lnTo>
                        <a:lnTo>
                          <a:pt x="151" y="187"/>
                        </a:lnTo>
                        <a:lnTo>
                          <a:pt x="154" y="188"/>
                        </a:lnTo>
                        <a:lnTo>
                          <a:pt x="156" y="189"/>
                        </a:lnTo>
                        <a:lnTo>
                          <a:pt x="157" y="191"/>
                        </a:lnTo>
                        <a:lnTo>
                          <a:pt x="158" y="192"/>
                        </a:lnTo>
                        <a:lnTo>
                          <a:pt x="158" y="194"/>
                        </a:lnTo>
                        <a:lnTo>
                          <a:pt x="158" y="195"/>
                        </a:lnTo>
                        <a:lnTo>
                          <a:pt x="158" y="196"/>
                        </a:lnTo>
                        <a:lnTo>
                          <a:pt x="158" y="199"/>
                        </a:lnTo>
                        <a:lnTo>
                          <a:pt x="160" y="202"/>
                        </a:lnTo>
                        <a:lnTo>
                          <a:pt x="161" y="205"/>
                        </a:lnTo>
                        <a:lnTo>
                          <a:pt x="161" y="206"/>
                        </a:lnTo>
                        <a:lnTo>
                          <a:pt x="163" y="208"/>
                        </a:lnTo>
                        <a:lnTo>
                          <a:pt x="165" y="209"/>
                        </a:lnTo>
                        <a:lnTo>
                          <a:pt x="166" y="209"/>
                        </a:lnTo>
                        <a:lnTo>
                          <a:pt x="168" y="209"/>
                        </a:lnTo>
                        <a:lnTo>
                          <a:pt x="170" y="211"/>
                        </a:lnTo>
                        <a:lnTo>
                          <a:pt x="175" y="211"/>
                        </a:lnTo>
                        <a:lnTo>
                          <a:pt x="177" y="211"/>
                        </a:lnTo>
                        <a:lnTo>
                          <a:pt x="178" y="212"/>
                        </a:lnTo>
                        <a:lnTo>
                          <a:pt x="177" y="212"/>
                        </a:lnTo>
                        <a:lnTo>
                          <a:pt x="175" y="214"/>
                        </a:lnTo>
                        <a:lnTo>
                          <a:pt x="174" y="217"/>
                        </a:lnTo>
                        <a:lnTo>
                          <a:pt x="174" y="222"/>
                        </a:lnTo>
                        <a:lnTo>
                          <a:pt x="174" y="223"/>
                        </a:lnTo>
                        <a:lnTo>
                          <a:pt x="174" y="225"/>
                        </a:lnTo>
                        <a:lnTo>
                          <a:pt x="174" y="227"/>
                        </a:lnTo>
                        <a:lnTo>
                          <a:pt x="175" y="230"/>
                        </a:lnTo>
                        <a:lnTo>
                          <a:pt x="176" y="231"/>
                        </a:lnTo>
                        <a:lnTo>
                          <a:pt x="177" y="232"/>
                        </a:lnTo>
                        <a:lnTo>
                          <a:pt x="179" y="232"/>
                        </a:lnTo>
                        <a:lnTo>
                          <a:pt x="180" y="233"/>
                        </a:lnTo>
                        <a:lnTo>
                          <a:pt x="182" y="234"/>
                        </a:lnTo>
                        <a:lnTo>
                          <a:pt x="184" y="235"/>
                        </a:lnTo>
                        <a:lnTo>
                          <a:pt x="184" y="236"/>
                        </a:lnTo>
                        <a:lnTo>
                          <a:pt x="184" y="237"/>
                        </a:lnTo>
                        <a:lnTo>
                          <a:pt x="186" y="239"/>
                        </a:lnTo>
                        <a:lnTo>
                          <a:pt x="187" y="241"/>
                        </a:lnTo>
                        <a:lnTo>
                          <a:pt x="187" y="242"/>
                        </a:lnTo>
                        <a:lnTo>
                          <a:pt x="187" y="244"/>
                        </a:lnTo>
                        <a:lnTo>
                          <a:pt x="191" y="246"/>
                        </a:lnTo>
                        <a:lnTo>
                          <a:pt x="192" y="247"/>
                        </a:lnTo>
                        <a:lnTo>
                          <a:pt x="193" y="249"/>
                        </a:lnTo>
                        <a:lnTo>
                          <a:pt x="193" y="251"/>
                        </a:lnTo>
                        <a:lnTo>
                          <a:pt x="194" y="253"/>
                        </a:lnTo>
                        <a:lnTo>
                          <a:pt x="194" y="255"/>
                        </a:lnTo>
                        <a:lnTo>
                          <a:pt x="193" y="257"/>
                        </a:lnTo>
                        <a:lnTo>
                          <a:pt x="192" y="258"/>
                        </a:lnTo>
                        <a:lnTo>
                          <a:pt x="190" y="258"/>
                        </a:lnTo>
                        <a:lnTo>
                          <a:pt x="189" y="259"/>
                        </a:lnTo>
                        <a:lnTo>
                          <a:pt x="187" y="260"/>
                        </a:lnTo>
                        <a:lnTo>
                          <a:pt x="187" y="257"/>
                        </a:lnTo>
                        <a:lnTo>
                          <a:pt x="184" y="257"/>
                        </a:lnTo>
                        <a:lnTo>
                          <a:pt x="182" y="256"/>
                        </a:lnTo>
                        <a:lnTo>
                          <a:pt x="179" y="252"/>
                        </a:lnTo>
                        <a:lnTo>
                          <a:pt x="175" y="249"/>
                        </a:lnTo>
                        <a:lnTo>
                          <a:pt x="174" y="247"/>
                        </a:lnTo>
                        <a:lnTo>
                          <a:pt x="172" y="245"/>
                        </a:lnTo>
                        <a:lnTo>
                          <a:pt x="170" y="242"/>
                        </a:lnTo>
                        <a:lnTo>
                          <a:pt x="169" y="240"/>
                        </a:lnTo>
                        <a:lnTo>
                          <a:pt x="168" y="237"/>
                        </a:lnTo>
                        <a:lnTo>
                          <a:pt x="167" y="237"/>
                        </a:lnTo>
                        <a:lnTo>
                          <a:pt x="166" y="236"/>
                        </a:lnTo>
                        <a:lnTo>
                          <a:pt x="164" y="235"/>
                        </a:lnTo>
                        <a:lnTo>
                          <a:pt x="161" y="235"/>
                        </a:lnTo>
                        <a:lnTo>
                          <a:pt x="161" y="236"/>
                        </a:lnTo>
                        <a:lnTo>
                          <a:pt x="161" y="241"/>
                        </a:lnTo>
                        <a:lnTo>
                          <a:pt x="158" y="241"/>
                        </a:lnTo>
                        <a:lnTo>
                          <a:pt x="154" y="242"/>
                        </a:lnTo>
                        <a:lnTo>
                          <a:pt x="149" y="242"/>
                        </a:lnTo>
                        <a:lnTo>
                          <a:pt x="144" y="241"/>
                        </a:lnTo>
                        <a:lnTo>
                          <a:pt x="144" y="240"/>
                        </a:lnTo>
                        <a:lnTo>
                          <a:pt x="143" y="239"/>
                        </a:lnTo>
                        <a:lnTo>
                          <a:pt x="142" y="238"/>
                        </a:lnTo>
                        <a:lnTo>
                          <a:pt x="142" y="237"/>
                        </a:lnTo>
                        <a:lnTo>
                          <a:pt x="138" y="237"/>
                        </a:lnTo>
                        <a:lnTo>
                          <a:pt x="136" y="237"/>
                        </a:lnTo>
                        <a:lnTo>
                          <a:pt x="135" y="237"/>
                        </a:lnTo>
                        <a:lnTo>
                          <a:pt x="134" y="236"/>
                        </a:lnTo>
                        <a:lnTo>
                          <a:pt x="133" y="235"/>
                        </a:lnTo>
                        <a:lnTo>
                          <a:pt x="132" y="235"/>
                        </a:lnTo>
                        <a:lnTo>
                          <a:pt x="139" y="235"/>
                        </a:lnTo>
                        <a:lnTo>
                          <a:pt x="144" y="235"/>
                        </a:lnTo>
                        <a:lnTo>
                          <a:pt x="148" y="235"/>
                        </a:lnTo>
                        <a:lnTo>
                          <a:pt x="155" y="235"/>
                        </a:lnTo>
                        <a:lnTo>
                          <a:pt x="150" y="232"/>
                        </a:lnTo>
                        <a:lnTo>
                          <a:pt x="147" y="230"/>
                        </a:lnTo>
                        <a:lnTo>
                          <a:pt x="144" y="226"/>
                        </a:lnTo>
                        <a:lnTo>
                          <a:pt x="142" y="222"/>
                        </a:lnTo>
                        <a:lnTo>
                          <a:pt x="142" y="223"/>
                        </a:lnTo>
                        <a:lnTo>
                          <a:pt x="140" y="223"/>
                        </a:lnTo>
                        <a:lnTo>
                          <a:pt x="139" y="222"/>
                        </a:lnTo>
                        <a:lnTo>
                          <a:pt x="139" y="226"/>
                        </a:lnTo>
                        <a:lnTo>
                          <a:pt x="139" y="228"/>
                        </a:lnTo>
                        <a:lnTo>
                          <a:pt x="136" y="228"/>
                        </a:lnTo>
                        <a:lnTo>
                          <a:pt x="134" y="227"/>
                        </a:lnTo>
                        <a:lnTo>
                          <a:pt x="133" y="225"/>
                        </a:lnTo>
                        <a:lnTo>
                          <a:pt x="132" y="225"/>
                        </a:lnTo>
                        <a:lnTo>
                          <a:pt x="130" y="225"/>
                        </a:lnTo>
                        <a:lnTo>
                          <a:pt x="129" y="225"/>
                        </a:lnTo>
                        <a:lnTo>
                          <a:pt x="127" y="225"/>
                        </a:lnTo>
                        <a:lnTo>
                          <a:pt x="125" y="225"/>
                        </a:lnTo>
                        <a:lnTo>
                          <a:pt x="123" y="226"/>
                        </a:lnTo>
                        <a:lnTo>
                          <a:pt x="120" y="226"/>
                        </a:lnTo>
                        <a:lnTo>
                          <a:pt x="119" y="224"/>
                        </a:lnTo>
                        <a:lnTo>
                          <a:pt x="116" y="222"/>
                        </a:lnTo>
                        <a:lnTo>
                          <a:pt x="114" y="219"/>
                        </a:lnTo>
                        <a:lnTo>
                          <a:pt x="114" y="217"/>
                        </a:lnTo>
                        <a:lnTo>
                          <a:pt x="114" y="214"/>
                        </a:lnTo>
                        <a:lnTo>
                          <a:pt x="116" y="212"/>
                        </a:lnTo>
                        <a:lnTo>
                          <a:pt x="112" y="210"/>
                        </a:lnTo>
                        <a:lnTo>
                          <a:pt x="107" y="208"/>
                        </a:lnTo>
                        <a:lnTo>
                          <a:pt x="102" y="205"/>
                        </a:lnTo>
                        <a:lnTo>
                          <a:pt x="100" y="204"/>
                        </a:lnTo>
                        <a:lnTo>
                          <a:pt x="100" y="203"/>
                        </a:lnTo>
                        <a:lnTo>
                          <a:pt x="98" y="201"/>
                        </a:lnTo>
                        <a:lnTo>
                          <a:pt x="98" y="199"/>
                        </a:lnTo>
                        <a:lnTo>
                          <a:pt x="98" y="195"/>
                        </a:lnTo>
                        <a:lnTo>
                          <a:pt x="96" y="192"/>
                        </a:lnTo>
                        <a:lnTo>
                          <a:pt x="94" y="192"/>
                        </a:lnTo>
                        <a:lnTo>
                          <a:pt x="92" y="192"/>
                        </a:lnTo>
                        <a:lnTo>
                          <a:pt x="90" y="191"/>
                        </a:lnTo>
                        <a:lnTo>
                          <a:pt x="89" y="190"/>
                        </a:lnTo>
                        <a:lnTo>
                          <a:pt x="87" y="189"/>
                        </a:lnTo>
                        <a:lnTo>
                          <a:pt x="85" y="189"/>
                        </a:lnTo>
                        <a:lnTo>
                          <a:pt x="80" y="189"/>
                        </a:lnTo>
                        <a:lnTo>
                          <a:pt x="79" y="187"/>
                        </a:lnTo>
                        <a:lnTo>
                          <a:pt x="77" y="183"/>
                        </a:lnTo>
                        <a:lnTo>
                          <a:pt x="73" y="180"/>
                        </a:lnTo>
                        <a:lnTo>
                          <a:pt x="71" y="177"/>
                        </a:lnTo>
                        <a:lnTo>
                          <a:pt x="72" y="176"/>
                        </a:lnTo>
                        <a:lnTo>
                          <a:pt x="72" y="175"/>
                        </a:lnTo>
                        <a:lnTo>
                          <a:pt x="73" y="174"/>
                        </a:lnTo>
                        <a:lnTo>
                          <a:pt x="74" y="173"/>
                        </a:lnTo>
                        <a:lnTo>
                          <a:pt x="78" y="175"/>
                        </a:lnTo>
                        <a:lnTo>
                          <a:pt x="79" y="175"/>
                        </a:lnTo>
                        <a:lnTo>
                          <a:pt x="79" y="172"/>
                        </a:lnTo>
                        <a:lnTo>
                          <a:pt x="77" y="167"/>
                        </a:lnTo>
                        <a:lnTo>
                          <a:pt x="80" y="166"/>
                        </a:lnTo>
                        <a:lnTo>
                          <a:pt x="82" y="165"/>
                        </a:lnTo>
                        <a:lnTo>
                          <a:pt x="83" y="163"/>
                        </a:lnTo>
                        <a:lnTo>
                          <a:pt x="84" y="161"/>
                        </a:lnTo>
                        <a:lnTo>
                          <a:pt x="84" y="160"/>
                        </a:lnTo>
                        <a:lnTo>
                          <a:pt x="84" y="159"/>
                        </a:lnTo>
                        <a:lnTo>
                          <a:pt x="84" y="158"/>
                        </a:lnTo>
                        <a:lnTo>
                          <a:pt x="80" y="153"/>
                        </a:lnTo>
                        <a:lnTo>
                          <a:pt x="75" y="149"/>
                        </a:lnTo>
                        <a:lnTo>
                          <a:pt x="72" y="145"/>
                        </a:lnTo>
                        <a:lnTo>
                          <a:pt x="68" y="141"/>
                        </a:lnTo>
                        <a:lnTo>
                          <a:pt x="68" y="139"/>
                        </a:lnTo>
                        <a:lnTo>
                          <a:pt x="67" y="137"/>
                        </a:lnTo>
                        <a:lnTo>
                          <a:pt x="65" y="135"/>
                        </a:lnTo>
                        <a:lnTo>
                          <a:pt x="64" y="135"/>
                        </a:lnTo>
                        <a:lnTo>
                          <a:pt x="63" y="135"/>
                        </a:lnTo>
                        <a:lnTo>
                          <a:pt x="62" y="135"/>
                        </a:lnTo>
                        <a:lnTo>
                          <a:pt x="61" y="135"/>
                        </a:lnTo>
                        <a:lnTo>
                          <a:pt x="59" y="134"/>
                        </a:lnTo>
                        <a:lnTo>
                          <a:pt x="58" y="132"/>
                        </a:lnTo>
                        <a:lnTo>
                          <a:pt x="57" y="130"/>
                        </a:lnTo>
                        <a:lnTo>
                          <a:pt x="55" y="129"/>
                        </a:lnTo>
                        <a:lnTo>
                          <a:pt x="57" y="127"/>
                        </a:lnTo>
                        <a:lnTo>
                          <a:pt x="58" y="125"/>
                        </a:lnTo>
                        <a:lnTo>
                          <a:pt x="58" y="124"/>
                        </a:lnTo>
                        <a:lnTo>
                          <a:pt x="58" y="122"/>
                        </a:lnTo>
                        <a:lnTo>
                          <a:pt x="61" y="125"/>
                        </a:lnTo>
                        <a:lnTo>
                          <a:pt x="64" y="127"/>
                        </a:lnTo>
                        <a:lnTo>
                          <a:pt x="66" y="127"/>
                        </a:lnTo>
                        <a:lnTo>
                          <a:pt x="67" y="127"/>
                        </a:lnTo>
                        <a:lnTo>
                          <a:pt x="68" y="125"/>
                        </a:lnTo>
                        <a:lnTo>
                          <a:pt x="68" y="122"/>
                        </a:lnTo>
                        <a:lnTo>
                          <a:pt x="68" y="115"/>
                        </a:lnTo>
                        <a:lnTo>
                          <a:pt x="66" y="112"/>
                        </a:lnTo>
                        <a:lnTo>
                          <a:pt x="65" y="107"/>
                        </a:lnTo>
                        <a:lnTo>
                          <a:pt x="65" y="103"/>
                        </a:lnTo>
                        <a:lnTo>
                          <a:pt x="63" y="103"/>
                        </a:lnTo>
                        <a:lnTo>
                          <a:pt x="62" y="103"/>
                        </a:lnTo>
                        <a:lnTo>
                          <a:pt x="61" y="103"/>
                        </a:lnTo>
                        <a:lnTo>
                          <a:pt x="61" y="113"/>
                        </a:lnTo>
                        <a:lnTo>
                          <a:pt x="63" y="113"/>
                        </a:lnTo>
                        <a:lnTo>
                          <a:pt x="63" y="115"/>
                        </a:lnTo>
                        <a:lnTo>
                          <a:pt x="62" y="115"/>
                        </a:lnTo>
                        <a:lnTo>
                          <a:pt x="61" y="115"/>
                        </a:lnTo>
                        <a:lnTo>
                          <a:pt x="60" y="115"/>
                        </a:lnTo>
                        <a:lnTo>
                          <a:pt x="58" y="115"/>
                        </a:lnTo>
                        <a:lnTo>
                          <a:pt x="57" y="115"/>
                        </a:lnTo>
                        <a:lnTo>
                          <a:pt x="56" y="114"/>
                        </a:lnTo>
                        <a:lnTo>
                          <a:pt x="55" y="112"/>
                        </a:lnTo>
                        <a:lnTo>
                          <a:pt x="55" y="109"/>
                        </a:lnTo>
                        <a:lnTo>
                          <a:pt x="54" y="109"/>
                        </a:lnTo>
                        <a:lnTo>
                          <a:pt x="53" y="109"/>
                        </a:lnTo>
                        <a:lnTo>
                          <a:pt x="52" y="109"/>
                        </a:lnTo>
                        <a:lnTo>
                          <a:pt x="51" y="109"/>
                        </a:lnTo>
                        <a:lnTo>
                          <a:pt x="50" y="108"/>
                        </a:lnTo>
                        <a:lnTo>
                          <a:pt x="48" y="107"/>
                        </a:lnTo>
                        <a:lnTo>
                          <a:pt x="48" y="106"/>
                        </a:lnTo>
                        <a:lnTo>
                          <a:pt x="48" y="104"/>
                        </a:lnTo>
                        <a:lnTo>
                          <a:pt x="48" y="103"/>
                        </a:lnTo>
                        <a:lnTo>
                          <a:pt x="48" y="101"/>
                        </a:lnTo>
                        <a:lnTo>
                          <a:pt x="48" y="99"/>
                        </a:lnTo>
                        <a:lnTo>
                          <a:pt x="50" y="99"/>
                        </a:lnTo>
                        <a:lnTo>
                          <a:pt x="51" y="98"/>
                        </a:lnTo>
                        <a:lnTo>
                          <a:pt x="51" y="97"/>
                        </a:lnTo>
                        <a:lnTo>
                          <a:pt x="51" y="96"/>
                        </a:lnTo>
                        <a:lnTo>
                          <a:pt x="52" y="96"/>
                        </a:lnTo>
                        <a:lnTo>
                          <a:pt x="53" y="96"/>
                        </a:lnTo>
                        <a:lnTo>
                          <a:pt x="54" y="96"/>
                        </a:lnTo>
                        <a:lnTo>
                          <a:pt x="55" y="96"/>
                        </a:lnTo>
                        <a:lnTo>
                          <a:pt x="56" y="97"/>
                        </a:lnTo>
                        <a:lnTo>
                          <a:pt x="58" y="99"/>
                        </a:lnTo>
                        <a:lnTo>
                          <a:pt x="60" y="100"/>
                        </a:lnTo>
                        <a:lnTo>
                          <a:pt x="61" y="99"/>
                        </a:lnTo>
                        <a:lnTo>
                          <a:pt x="61" y="98"/>
                        </a:lnTo>
                        <a:lnTo>
                          <a:pt x="61" y="96"/>
                        </a:lnTo>
                        <a:lnTo>
                          <a:pt x="60" y="96"/>
                        </a:lnTo>
                        <a:lnTo>
                          <a:pt x="58" y="94"/>
                        </a:lnTo>
                        <a:lnTo>
                          <a:pt x="56" y="93"/>
                        </a:lnTo>
                        <a:lnTo>
                          <a:pt x="55" y="93"/>
                        </a:lnTo>
                        <a:lnTo>
                          <a:pt x="52" y="91"/>
                        </a:lnTo>
                        <a:lnTo>
                          <a:pt x="50" y="91"/>
                        </a:lnTo>
                        <a:lnTo>
                          <a:pt x="49" y="92"/>
                        </a:lnTo>
                        <a:lnTo>
                          <a:pt x="48" y="93"/>
                        </a:lnTo>
                        <a:lnTo>
                          <a:pt x="47" y="91"/>
                        </a:lnTo>
                        <a:lnTo>
                          <a:pt x="46" y="89"/>
                        </a:lnTo>
                        <a:lnTo>
                          <a:pt x="46" y="88"/>
                        </a:lnTo>
                        <a:lnTo>
                          <a:pt x="46" y="87"/>
                        </a:lnTo>
                        <a:lnTo>
                          <a:pt x="45" y="87"/>
                        </a:lnTo>
                        <a:lnTo>
                          <a:pt x="44" y="87"/>
                        </a:lnTo>
                        <a:lnTo>
                          <a:pt x="43" y="87"/>
                        </a:lnTo>
                        <a:lnTo>
                          <a:pt x="42" y="87"/>
                        </a:lnTo>
                        <a:lnTo>
                          <a:pt x="40" y="90"/>
                        </a:lnTo>
                        <a:lnTo>
                          <a:pt x="38" y="93"/>
                        </a:lnTo>
                        <a:lnTo>
                          <a:pt x="36" y="96"/>
                        </a:lnTo>
                        <a:lnTo>
                          <a:pt x="35" y="99"/>
                        </a:lnTo>
                        <a:lnTo>
                          <a:pt x="34" y="102"/>
                        </a:lnTo>
                        <a:lnTo>
                          <a:pt x="33" y="104"/>
                        </a:lnTo>
                        <a:lnTo>
                          <a:pt x="32" y="109"/>
                        </a:lnTo>
                        <a:lnTo>
                          <a:pt x="30" y="111"/>
                        </a:lnTo>
                        <a:lnTo>
                          <a:pt x="28" y="113"/>
                        </a:lnTo>
                        <a:lnTo>
                          <a:pt x="26" y="114"/>
                        </a:lnTo>
                        <a:lnTo>
                          <a:pt x="25" y="115"/>
                        </a:lnTo>
                        <a:lnTo>
                          <a:pt x="22" y="118"/>
                        </a:lnTo>
                        <a:lnTo>
                          <a:pt x="20" y="121"/>
                        </a:lnTo>
                        <a:lnTo>
                          <a:pt x="17" y="121"/>
                        </a:lnTo>
                        <a:lnTo>
                          <a:pt x="15" y="120"/>
                        </a:lnTo>
                        <a:lnTo>
                          <a:pt x="13" y="118"/>
                        </a:lnTo>
                        <a:lnTo>
                          <a:pt x="12" y="115"/>
                        </a:lnTo>
                        <a:lnTo>
                          <a:pt x="9" y="109"/>
                        </a:lnTo>
                        <a:lnTo>
                          <a:pt x="6" y="104"/>
                        </a:lnTo>
                        <a:lnTo>
                          <a:pt x="3" y="99"/>
                        </a:lnTo>
                        <a:lnTo>
                          <a:pt x="3" y="96"/>
                        </a:lnTo>
                        <a:lnTo>
                          <a:pt x="4" y="93"/>
                        </a:lnTo>
                        <a:lnTo>
                          <a:pt x="4" y="90"/>
                        </a:lnTo>
                        <a:lnTo>
                          <a:pt x="3" y="87"/>
                        </a:lnTo>
                        <a:lnTo>
                          <a:pt x="2" y="85"/>
                        </a:lnTo>
                        <a:lnTo>
                          <a:pt x="1" y="83"/>
                        </a:lnTo>
                        <a:lnTo>
                          <a:pt x="0" y="81"/>
                        </a:lnTo>
                        <a:lnTo>
                          <a:pt x="0" y="77"/>
                        </a:lnTo>
                        <a:lnTo>
                          <a:pt x="0" y="75"/>
                        </a:lnTo>
                        <a:lnTo>
                          <a:pt x="1" y="72"/>
                        </a:lnTo>
                        <a:lnTo>
                          <a:pt x="2" y="71"/>
                        </a:lnTo>
                        <a:lnTo>
                          <a:pt x="3" y="7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29" name="Freeform 1658">
                    <a:extLst>
                      <a:ext uri="{FF2B5EF4-FFF2-40B4-BE49-F238E27FC236}">
                        <a16:creationId xmlns:a16="http://schemas.microsoft.com/office/drawing/2014/main" xmlns="" id="{3DC5CD2D-B994-4FFD-81DC-DF2BAC5C9ACA}"/>
                      </a:ext>
                    </a:extLst>
                  </p:cNvPr>
                  <p:cNvSpPr>
                    <a:spLocks/>
                  </p:cNvSpPr>
                  <p:nvPr/>
                </p:nvSpPr>
                <p:spPr bwMode="gray">
                  <a:xfrm>
                    <a:off x="4729050" y="4023224"/>
                    <a:ext cx="76761" cy="50065"/>
                  </a:xfrm>
                  <a:custGeom>
                    <a:avLst/>
                    <a:gdLst>
                      <a:gd name="T0" fmla="*/ 2147483647 w 69"/>
                      <a:gd name="T1" fmla="*/ 2147483647 h 45"/>
                      <a:gd name="T2" fmla="*/ 2147483647 w 69"/>
                      <a:gd name="T3" fmla="*/ 2147483647 h 45"/>
                      <a:gd name="T4" fmla="*/ 2147483647 w 69"/>
                      <a:gd name="T5" fmla="*/ 2147483647 h 45"/>
                      <a:gd name="T6" fmla="*/ 2147483647 w 69"/>
                      <a:gd name="T7" fmla="*/ 0 h 45"/>
                      <a:gd name="T8" fmla="*/ 0 w 69"/>
                      <a:gd name="T9" fmla="*/ 2147483647 h 45"/>
                      <a:gd name="T10" fmla="*/ 2147483647 w 69"/>
                      <a:gd name="T11" fmla="*/ 2147483647 h 45"/>
                      <a:gd name="T12" fmla="*/ 2147483647 w 69"/>
                      <a:gd name="T13" fmla="*/ 2147483647 h 45"/>
                      <a:gd name="T14" fmla="*/ 2147483647 w 69"/>
                      <a:gd name="T15" fmla="*/ 2147483647 h 45"/>
                      <a:gd name="T16" fmla="*/ 2147483647 w 69"/>
                      <a:gd name="T17" fmla="*/ 2147483647 h 45"/>
                      <a:gd name="T18" fmla="*/ 2147483647 w 69"/>
                      <a:gd name="T19" fmla="*/ 2147483647 h 45"/>
                      <a:gd name="T20" fmla="*/ 2147483647 w 69"/>
                      <a:gd name="T21" fmla="*/ 2147483647 h 45"/>
                      <a:gd name="T22" fmla="*/ 2147483647 w 69"/>
                      <a:gd name="T23" fmla="*/ 2147483647 h 45"/>
                      <a:gd name="T24" fmla="*/ 2147483647 w 69"/>
                      <a:gd name="T25" fmla="*/ 2147483647 h 45"/>
                      <a:gd name="T26" fmla="*/ 2147483647 w 69"/>
                      <a:gd name="T27" fmla="*/ 2147483647 h 45"/>
                      <a:gd name="T28" fmla="*/ 2147483647 w 69"/>
                      <a:gd name="T29" fmla="*/ 2147483647 h 45"/>
                      <a:gd name="T30" fmla="*/ 2147483647 w 69"/>
                      <a:gd name="T31" fmla="*/ 2147483647 h 45"/>
                      <a:gd name="T32" fmla="*/ 2147483647 w 69"/>
                      <a:gd name="T33" fmla="*/ 2147483647 h 45"/>
                      <a:gd name="T34" fmla="*/ 2147483647 w 69"/>
                      <a:gd name="T35" fmla="*/ 2147483647 h 45"/>
                      <a:gd name="T36" fmla="*/ 2147483647 w 69"/>
                      <a:gd name="T37" fmla="*/ 2147483647 h 45"/>
                      <a:gd name="T38" fmla="*/ 2147483647 w 69"/>
                      <a:gd name="T39" fmla="*/ 2147483647 h 45"/>
                      <a:gd name="T40" fmla="*/ 2147483647 w 69"/>
                      <a:gd name="T41" fmla="*/ 2147483647 h 45"/>
                      <a:gd name="T42" fmla="*/ 2147483647 w 69"/>
                      <a:gd name="T43" fmla="*/ 2147483647 h 45"/>
                      <a:gd name="T44" fmla="*/ 2147483647 w 69"/>
                      <a:gd name="T45" fmla="*/ 2147483647 h 45"/>
                      <a:gd name="T46" fmla="*/ 2147483647 w 69"/>
                      <a:gd name="T47" fmla="*/ 2147483647 h 45"/>
                      <a:gd name="T48" fmla="*/ 2147483647 w 69"/>
                      <a:gd name="T49" fmla="*/ 2147483647 h 45"/>
                      <a:gd name="T50" fmla="*/ 2147483647 w 69"/>
                      <a:gd name="T51" fmla="*/ 2147483647 h 45"/>
                      <a:gd name="T52" fmla="*/ 2147483647 w 69"/>
                      <a:gd name="T53" fmla="*/ 2147483647 h 45"/>
                      <a:gd name="T54" fmla="*/ 2147483647 w 69"/>
                      <a:gd name="T55" fmla="*/ 2147483647 h 45"/>
                      <a:gd name="T56" fmla="*/ 2147483647 w 69"/>
                      <a:gd name="T57" fmla="*/ 2147483647 h 45"/>
                      <a:gd name="T58" fmla="*/ 2147483647 w 69"/>
                      <a:gd name="T59" fmla="*/ 2147483647 h 45"/>
                      <a:gd name="T60" fmla="*/ 2147483647 w 69"/>
                      <a:gd name="T61" fmla="*/ 2147483647 h 45"/>
                      <a:gd name="T62" fmla="*/ 2147483647 w 69"/>
                      <a:gd name="T63" fmla="*/ 2147483647 h 45"/>
                      <a:gd name="T64" fmla="*/ 2147483647 w 69"/>
                      <a:gd name="T65" fmla="*/ 2147483647 h 45"/>
                      <a:gd name="T66" fmla="*/ 2147483647 w 69"/>
                      <a:gd name="T67" fmla="*/ 2147483647 h 45"/>
                      <a:gd name="T68" fmla="*/ 2147483647 w 69"/>
                      <a:gd name="T69" fmla="*/ 2147483647 h 45"/>
                      <a:gd name="T70" fmla="*/ 2147483647 w 69"/>
                      <a:gd name="T71" fmla="*/ 2147483647 h 45"/>
                      <a:gd name="T72" fmla="*/ 2147483647 w 69"/>
                      <a:gd name="T73" fmla="*/ 2147483647 h 45"/>
                      <a:gd name="T74" fmla="*/ 2147483647 w 69"/>
                      <a:gd name="T75" fmla="*/ 2147483647 h 45"/>
                      <a:gd name="T76" fmla="*/ 2147483647 w 69"/>
                      <a:gd name="T77" fmla="*/ 2147483647 h 45"/>
                      <a:gd name="T78" fmla="*/ 2147483647 w 69"/>
                      <a:gd name="T79" fmla="*/ 2147483647 h 45"/>
                      <a:gd name="T80" fmla="*/ 2147483647 w 69"/>
                      <a:gd name="T81" fmla="*/ 2147483647 h 45"/>
                      <a:gd name="T82" fmla="*/ 2147483647 w 69"/>
                      <a:gd name="T83" fmla="*/ 2147483647 h 45"/>
                      <a:gd name="T84" fmla="*/ 2147483647 w 69"/>
                      <a:gd name="T85" fmla="*/ 2147483647 h 45"/>
                      <a:gd name="T86" fmla="*/ 2147483647 w 69"/>
                      <a:gd name="T87" fmla="*/ 2147483647 h 45"/>
                      <a:gd name="T88" fmla="*/ 2147483647 w 69"/>
                      <a:gd name="T89" fmla="*/ 2147483647 h 45"/>
                      <a:gd name="T90" fmla="*/ 2147483647 w 69"/>
                      <a:gd name="T91" fmla="*/ 2147483647 h 45"/>
                      <a:gd name="T92" fmla="*/ 2147483647 w 69"/>
                      <a:gd name="T93" fmla="*/ 2147483647 h 45"/>
                      <a:gd name="T94" fmla="*/ 2147483647 w 69"/>
                      <a:gd name="T95" fmla="*/ 2147483647 h 45"/>
                      <a:gd name="T96" fmla="*/ 2147483647 w 69"/>
                      <a:gd name="T97" fmla="*/ 2147483647 h 45"/>
                      <a:gd name="T98" fmla="*/ 2147483647 w 69"/>
                      <a:gd name="T99" fmla="*/ 2147483647 h 45"/>
                      <a:gd name="T100" fmla="*/ 2147483647 w 69"/>
                      <a:gd name="T101" fmla="*/ 2147483647 h 45"/>
                      <a:gd name="T102" fmla="*/ 2147483647 w 69"/>
                      <a:gd name="T103" fmla="*/ 2147483647 h 45"/>
                      <a:gd name="T104" fmla="*/ 2147483647 w 69"/>
                      <a:gd name="T105" fmla="*/ 2147483647 h 45"/>
                      <a:gd name="T106" fmla="*/ 2147483647 w 69"/>
                      <a:gd name="T107" fmla="*/ 2147483647 h 45"/>
                      <a:gd name="T108" fmla="*/ 2147483647 w 69"/>
                      <a:gd name="T109" fmla="*/ 2147483647 h 45"/>
                      <a:gd name="T110" fmla="*/ 2147483647 w 69"/>
                      <a:gd name="T111" fmla="*/ 2147483647 h 45"/>
                      <a:gd name="T112" fmla="*/ 2147483647 w 69"/>
                      <a:gd name="T113" fmla="*/ 2147483647 h 45"/>
                      <a:gd name="T114" fmla="*/ 2147483647 w 69"/>
                      <a:gd name="T115" fmla="*/ 2147483647 h 45"/>
                      <a:gd name="T116" fmla="*/ 2147483647 w 69"/>
                      <a:gd name="T117" fmla="*/ 2147483647 h 45"/>
                      <a:gd name="T118" fmla="*/ 2147483647 w 69"/>
                      <a:gd name="T119" fmla="*/ 0 h 45"/>
                      <a:gd name="T120" fmla="*/ 2147483647 w 69"/>
                      <a:gd name="T121" fmla="*/ 2147483647 h 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9" h="45">
                        <a:moveTo>
                          <a:pt x="10" y="3"/>
                        </a:moveTo>
                        <a:lnTo>
                          <a:pt x="12" y="3"/>
                        </a:lnTo>
                        <a:lnTo>
                          <a:pt x="13" y="3"/>
                        </a:lnTo>
                        <a:lnTo>
                          <a:pt x="14" y="3"/>
                        </a:lnTo>
                        <a:lnTo>
                          <a:pt x="11" y="3"/>
                        </a:lnTo>
                        <a:lnTo>
                          <a:pt x="9" y="1"/>
                        </a:lnTo>
                        <a:lnTo>
                          <a:pt x="6" y="0"/>
                        </a:lnTo>
                        <a:lnTo>
                          <a:pt x="4" y="0"/>
                        </a:lnTo>
                        <a:lnTo>
                          <a:pt x="1" y="0"/>
                        </a:lnTo>
                        <a:lnTo>
                          <a:pt x="0" y="1"/>
                        </a:lnTo>
                        <a:lnTo>
                          <a:pt x="1" y="3"/>
                        </a:lnTo>
                        <a:lnTo>
                          <a:pt x="2" y="5"/>
                        </a:lnTo>
                        <a:lnTo>
                          <a:pt x="7" y="8"/>
                        </a:lnTo>
                        <a:lnTo>
                          <a:pt x="10" y="9"/>
                        </a:lnTo>
                        <a:lnTo>
                          <a:pt x="10" y="10"/>
                        </a:lnTo>
                        <a:lnTo>
                          <a:pt x="12" y="12"/>
                        </a:lnTo>
                        <a:lnTo>
                          <a:pt x="14" y="14"/>
                        </a:lnTo>
                        <a:lnTo>
                          <a:pt x="15" y="16"/>
                        </a:lnTo>
                        <a:lnTo>
                          <a:pt x="17" y="16"/>
                        </a:lnTo>
                        <a:lnTo>
                          <a:pt x="18" y="16"/>
                        </a:lnTo>
                        <a:lnTo>
                          <a:pt x="19" y="16"/>
                        </a:lnTo>
                        <a:lnTo>
                          <a:pt x="20" y="16"/>
                        </a:lnTo>
                        <a:lnTo>
                          <a:pt x="22" y="17"/>
                        </a:lnTo>
                        <a:lnTo>
                          <a:pt x="23" y="18"/>
                        </a:lnTo>
                        <a:lnTo>
                          <a:pt x="24" y="18"/>
                        </a:lnTo>
                        <a:lnTo>
                          <a:pt x="24" y="20"/>
                        </a:lnTo>
                        <a:lnTo>
                          <a:pt x="18" y="20"/>
                        </a:lnTo>
                        <a:lnTo>
                          <a:pt x="15" y="20"/>
                        </a:lnTo>
                        <a:lnTo>
                          <a:pt x="10" y="20"/>
                        </a:lnTo>
                        <a:lnTo>
                          <a:pt x="10" y="21"/>
                        </a:lnTo>
                        <a:lnTo>
                          <a:pt x="10" y="22"/>
                        </a:lnTo>
                        <a:lnTo>
                          <a:pt x="11" y="24"/>
                        </a:lnTo>
                        <a:lnTo>
                          <a:pt x="12" y="24"/>
                        </a:lnTo>
                        <a:lnTo>
                          <a:pt x="15" y="25"/>
                        </a:lnTo>
                        <a:lnTo>
                          <a:pt x="17" y="26"/>
                        </a:lnTo>
                        <a:lnTo>
                          <a:pt x="26" y="26"/>
                        </a:lnTo>
                        <a:lnTo>
                          <a:pt x="26" y="25"/>
                        </a:lnTo>
                        <a:lnTo>
                          <a:pt x="26" y="24"/>
                        </a:lnTo>
                        <a:lnTo>
                          <a:pt x="26" y="22"/>
                        </a:lnTo>
                        <a:lnTo>
                          <a:pt x="25" y="22"/>
                        </a:lnTo>
                        <a:lnTo>
                          <a:pt x="24" y="21"/>
                        </a:lnTo>
                        <a:lnTo>
                          <a:pt x="24" y="20"/>
                        </a:lnTo>
                        <a:lnTo>
                          <a:pt x="26" y="20"/>
                        </a:lnTo>
                        <a:lnTo>
                          <a:pt x="30" y="20"/>
                        </a:lnTo>
                        <a:lnTo>
                          <a:pt x="33" y="21"/>
                        </a:lnTo>
                        <a:lnTo>
                          <a:pt x="36" y="22"/>
                        </a:lnTo>
                        <a:lnTo>
                          <a:pt x="36" y="24"/>
                        </a:lnTo>
                        <a:lnTo>
                          <a:pt x="37" y="24"/>
                        </a:lnTo>
                        <a:lnTo>
                          <a:pt x="38" y="26"/>
                        </a:lnTo>
                        <a:lnTo>
                          <a:pt x="40" y="29"/>
                        </a:lnTo>
                        <a:lnTo>
                          <a:pt x="42" y="29"/>
                        </a:lnTo>
                        <a:lnTo>
                          <a:pt x="46" y="29"/>
                        </a:lnTo>
                        <a:lnTo>
                          <a:pt x="46" y="31"/>
                        </a:lnTo>
                        <a:lnTo>
                          <a:pt x="46" y="32"/>
                        </a:lnTo>
                        <a:lnTo>
                          <a:pt x="48" y="32"/>
                        </a:lnTo>
                        <a:lnTo>
                          <a:pt x="49" y="32"/>
                        </a:lnTo>
                        <a:lnTo>
                          <a:pt x="51" y="33"/>
                        </a:lnTo>
                        <a:lnTo>
                          <a:pt x="52" y="34"/>
                        </a:lnTo>
                        <a:lnTo>
                          <a:pt x="52" y="35"/>
                        </a:lnTo>
                        <a:lnTo>
                          <a:pt x="54" y="35"/>
                        </a:lnTo>
                        <a:lnTo>
                          <a:pt x="55" y="35"/>
                        </a:lnTo>
                        <a:lnTo>
                          <a:pt x="57" y="35"/>
                        </a:lnTo>
                        <a:lnTo>
                          <a:pt x="59" y="35"/>
                        </a:lnTo>
                        <a:lnTo>
                          <a:pt x="61" y="37"/>
                        </a:lnTo>
                        <a:lnTo>
                          <a:pt x="62" y="40"/>
                        </a:lnTo>
                        <a:lnTo>
                          <a:pt x="63" y="42"/>
                        </a:lnTo>
                        <a:lnTo>
                          <a:pt x="65" y="45"/>
                        </a:lnTo>
                        <a:lnTo>
                          <a:pt x="66" y="45"/>
                        </a:lnTo>
                        <a:lnTo>
                          <a:pt x="67" y="45"/>
                        </a:lnTo>
                        <a:lnTo>
                          <a:pt x="68" y="45"/>
                        </a:lnTo>
                        <a:lnTo>
                          <a:pt x="69" y="45"/>
                        </a:lnTo>
                        <a:lnTo>
                          <a:pt x="69" y="38"/>
                        </a:lnTo>
                        <a:lnTo>
                          <a:pt x="65" y="35"/>
                        </a:lnTo>
                        <a:lnTo>
                          <a:pt x="62" y="32"/>
                        </a:lnTo>
                        <a:lnTo>
                          <a:pt x="61" y="30"/>
                        </a:lnTo>
                        <a:lnTo>
                          <a:pt x="59" y="29"/>
                        </a:lnTo>
                        <a:lnTo>
                          <a:pt x="57" y="29"/>
                        </a:lnTo>
                        <a:lnTo>
                          <a:pt x="55" y="29"/>
                        </a:lnTo>
                        <a:lnTo>
                          <a:pt x="54" y="29"/>
                        </a:lnTo>
                        <a:lnTo>
                          <a:pt x="52" y="29"/>
                        </a:lnTo>
                        <a:lnTo>
                          <a:pt x="51" y="29"/>
                        </a:lnTo>
                        <a:lnTo>
                          <a:pt x="50" y="29"/>
                        </a:lnTo>
                        <a:lnTo>
                          <a:pt x="49" y="29"/>
                        </a:lnTo>
                        <a:lnTo>
                          <a:pt x="49" y="27"/>
                        </a:lnTo>
                        <a:lnTo>
                          <a:pt x="48" y="26"/>
                        </a:lnTo>
                        <a:lnTo>
                          <a:pt x="47" y="26"/>
                        </a:lnTo>
                        <a:lnTo>
                          <a:pt x="46" y="26"/>
                        </a:lnTo>
                        <a:lnTo>
                          <a:pt x="44" y="24"/>
                        </a:lnTo>
                        <a:lnTo>
                          <a:pt x="43" y="22"/>
                        </a:lnTo>
                        <a:lnTo>
                          <a:pt x="42" y="21"/>
                        </a:lnTo>
                        <a:lnTo>
                          <a:pt x="40" y="20"/>
                        </a:lnTo>
                        <a:lnTo>
                          <a:pt x="39" y="20"/>
                        </a:lnTo>
                        <a:lnTo>
                          <a:pt x="38" y="18"/>
                        </a:lnTo>
                        <a:lnTo>
                          <a:pt x="37" y="18"/>
                        </a:lnTo>
                        <a:lnTo>
                          <a:pt x="36" y="16"/>
                        </a:lnTo>
                        <a:lnTo>
                          <a:pt x="34" y="16"/>
                        </a:lnTo>
                        <a:lnTo>
                          <a:pt x="33" y="14"/>
                        </a:lnTo>
                        <a:lnTo>
                          <a:pt x="31" y="12"/>
                        </a:lnTo>
                        <a:lnTo>
                          <a:pt x="29" y="10"/>
                        </a:lnTo>
                        <a:lnTo>
                          <a:pt x="29" y="9"/>
                        </a:lnTo>
                        <a:lnTo>
                          <a:pt x="29" y="8"/>
                        </a:lnTo>
                        <a:lnTo>
                          <a:pt x="28" y="6"/>
                        </a:lnTo>
                        <a:lnTo>
                          <a:pt x="26" y="3"/>
                        </a:lnTo>
                        <a:lnTo>
                          <a:pt x="25" y="3"/>
                        </a:lnTo>
                        <a:lnTo>
                          <a:pt x="24" y="3"/>
                        </a:lnTo>
                        <a:lnTo>
                          <a:pt x="22" y="2"/>
                        </a:lnTo>
                        <a:lnTo>
                          <a:pt x="20" y="0"/>
                        </a:lnTo>
                        <a:lnTo>
                          <a:pt x="15" y="0"/>
                        </a:lnTo>
                        <a:lnTo>
                          <a:pt x="13" y="1"/>
                        </a:lnTo>
                        <a:lnTo>
                          <a:pt x="10"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0" name="Freeform 1660">
                    <a:extLst>
                      <a:ext uri="{FF2B5EF4-FFF2-40B4-BE49-F238E27FC236}">
                        <a16:creationId xmlns:a16="http://schemas.microsoft.com/office/drawing/2014/main" xmlns="" id="{DEB2B2E1-B46E-4902-B179-5AE18DAEC72B}"/>
                      </a:ext>
                    </a:extLst>
                  </p:cNvPr>
                  <p:cNvSpPr>
                    <a:spLocks/>
                  </p:cNvSpPr>
                  <p:nvPr/>
                </p:nvSpPr>
                <p:spPr bwMode="gray">
                  <a:xfrm>
                    <a:off x="4700126" y="4025448"/>
                    <a:ext cx="26699" cy="7788"/>
                  </a:xfrm>
                  <a:custGeom>
                    <a:avLst/>
                    <a:gdLst>
                      <a:gd name="T0" fmla="*/ 2147483647 w 24"/>
                      <a:gd name="T1" fmla="*/ 2147483647 h 7"/>
                      <a:gd name="T2" fmla="*/ 0 w 24"/>
                      <a:gd name="T3" fmla="*/ 2147483647 h 7"/>
                      <a:gd name="T4" fmla="*/ 0 w 24"/>
                      <a:gd name="T5" fmla="*/ 2147483647 h 7"/>
                      <a:gd name="T6" fmla="*/ 2147483647 w 24"/>
                      <a:gd name="T7" fmla="*/ 2147483647 h 7"/>
                      <a:gd name="T8" fmla="*/ 2147483647 w 24"/>
                      <a:gd name="T9" fmla="*/ 2147483647 h 7"/>
                      <a:gd name="T10" fmla="*/ 2147483647 w 24"/>
                      <a:gd name="T11" fmla="*/ 2147483647 h 7"/>
                      <a:gd name="T12" fmla="*/ 2147483647 w 24"/>
                      <a:gd name="T13" fmla="*/ 2147483647 h 7"/>
                      <a:gd name="T14" fmla="*/ 2147483647 w 24"/>
                      <a:gd name="T15" fmla="*/ 2147483647 h 7"/>
                      <a:gd name="T16" fmla="*/ 2147483647 w 24"/>
                      <a:gd name="T17" fmla="*/ 2147483647 h 7"/>
                      <a:gd name="T18" fmla="*/ 2147483647 w 24"/>
                      <a:gd name="T19" fmla="*/ 2147483647 h 7"/>
                      <a:gd name="T20" fmla="*/ 2147483647 w 24"/>
                      <a:gd name="T21" fmla="*/ 2147483647 h 7"/>
                      <a:gd name="T22" fmla="*/ 2147483647 w 24"/>
                      <a:gd name="T23" fmla="*/ 2147483647 h 7"/>
                      <a:gd name="T24" fmla="*/ 2147483647 w 24"/>
                      <a:gd name="T25" fmla="*/ 2147483647 h 7"/>
                      <a:gd name="T26" fmla="*/ 2147483647 w 24"/>
                      <a:gd name="T27" fmla="*/ 0 h 7"/>
                      <a:gd name="T28" fmla="*/ 2147483647 w 24"/>
                      <a:gd name="T29" fmla="*/ 0 h 7"/>
                      <a:gd name="T30" fmla="*/ 2147483647 w 24"/>
                      <a:gd name="T31" fmla="*/ 0 h 7"/>
                      <a:gd name="T32" fmla="*/ 2147483647 w 24"/>
                      <a:gd name="T33" fmla="*/ 2147483647 h 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 h="7">
                        <a:moveTo>
                          <a:pt x="2" y="1"/>
                        </a:moveTo>
                        <a:lnTo>
                          <a:pt x="0" y="2"/>
                        </a:lnTo>
                        <a:lnTo>
                          <a:pt x="0" y="3"/>
                        </a:lnTo>
                        <a:lnTo>
                          <a:pt x="1" y="3"/>
                        </a:lnTo>
                        <a:lnTo>
                          <a:pt x="2" y="3"/>
                        </a:lnTo>
                        <a:lnTo>
                          <a:pt x="2" y="7"/>
                        </a:lnTo>
                        <a:lnTo>
                          <a:pt x="6" y="7"/>
                        </a:lnTo>
                        <a:lnTo>
                          <a:pt x="12" y="7"/>
                        </a:lnTo>
                        <a:lnTo>
                          <a:pt x="18" y="7"/>
                        </a:lnTo>
                        <a:lnTo>
                          <a:pt x="24" y="7"/>
                        </a:lnTo>
                        <a:lnTo>
                          <a:pt x="24" y="3"/>
                        </a:lnTo>
                        <a:lnTo>
                          <a:pt x="22" y="3"/>
                        </a:lnTo>
                        <a:lnTo>
                          <a:pt x="19" y="2"/>
                        </a:lnTo>
                        <a:lnTo>
                          <a:pt x="12" y="0"/>
                        </a:lnTo>
                        <a:lnTo>
                          <a:pt x="5" y="0"/>
                        </a:lnTo>
                        <a:lnTo>
                          <a:pt x="3" y="0"/>
                        </a:lnTo>
                        <a:lnTo>
                          <a:pt x="2"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1" name="Freeform 1662">
                    <a:extLst>
                      <a:ext uri="{FF2B5EF4-FFF2-40B4-BE49-F238E27FC236}">
                        <a16:creationId xmlns:a16="http://schemas.microsoft.com/office/drawing/2014/main" xmlns="" id="{8933A66A-CC9C-4947-AAC2-2613FA40DC4E}"/>
                      </a:ext>
                    </a:extLst>
                  </p:cNvPr>
                  <p:cNvSpPr>
                    <a:spLocks/>
                  </p:cNvSpPr>
                  <p:nvPr/>
                </p:nvSpPr>
                <p:spPr bwMode="gray">
                  <a:xfrm>
                    <a:off x="4665639" y="4013210"/>
                    <a:ext cx="7787" cy="5563"/>
                  </a:xfrm>
                  <a:custGeom>
                    <a:avLst/>
                    <a:gdLst>
                      <a:gd name="T0" fmla="*/ 2147483647 w 7"/>
                      <a:gd name="T1" fmla="*/ 2147483647 h 5"/>
                      <a:gd name="T2" fmla="*/ 2147483647 w 7"/>
                      <a:gd name="T3" fmla="*/ 2147483647 h 5"/>
                      <a:gd name="T4" fmla="*/ 2147483647 w 7"/>
                      <a:gd name="T5" fmla="*/ 2147483647 h 5"/>
                      <a:gd name="T6" fmla="*/ 2147483647 w 7"/>
                      <a:gd name="T7" fmla="*/ 2147483647 h 5"/>
                      <a:gd name="T8" fmla="*/ 0 w 7"/>
                      <a:gd name="T9" fmla="*/ 2147483647 h 5"/>
                      <a:gd name="T10" fmla="*/ 0 w 7"/>
                      <a:gd name="T11" fmla="*/ 2147483647 h 5"/>
                      <a:gd name="T12" fmla="*/ 2147483647 w 7"/>
                      <a:gd name="T13" fmla="*/ 2147483647 h 5"/>
                      <a:gd name="T14" fmla="*/ 2147483647 w 7"/>
                      <a:gd name="T15" fmla="*/ 2147483647 h 5"/>
                      <a:gd name="T16" fmla="*/ 2147483647 w 7"/>
                      <a:gd name="T17" fmla="*/ 2147483647 h 5"/>
                      <a:gd name="T18" fmla="*/ 2147483647 w 7"/>
                      <a:gd name="T19" fmla="*/ 2147483647 h 5"/>
                      <a:gd name="T20" fmla="*/ 2147483647 w 7"/>
                      <a:gd name="T21" fmla="*/ 2147483647 h 5"/>
                      <a:gd name="T22" fmla="*/ 2147483647 w 7"/>
                      <a:gd name="T23" fmla="*/ 2147483647 h 5"/>
                      <a:gd name="T24" fmla="*/ 2147483647 w 7"/>
                      <a:gd name="T25" fmla="*/ 2147483647 h 5"/>
                      <a:gd name="T26" fmla="*/ 2147483647 w 7"/>
                      <a:gd name="T27" fmla="*/ 0 h 5"/>
                      <a:gd name="T28" fmla="*/ 2147483647 w 7"/>
                      <a:gd name="T29" fmla="*/ 0 h 5"/>
                      <a:gd name="T30" fmla="*/ 2147483647 w 7"/>
                      <a:gd name="T31" fmla="*/ 2147483647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 h="5">
                        <a:moveTo>
                          <a:pt x="1" y="2"/>
                        </a:moveTo>
                        <a:lnTo>
                          <a:pt x="1" y="3"/>
                        </a:lnTo>
                        <a:lnTo>
                          <a:pt x="1" y="4"/>
                        </a:lnTo>
                        <a:lnTo>
                          <a:pt x="1" y="5"/>
                        </a:lnTo>
                        <a:lnTo>
                          <a:pt x="0" y="4"/>
                        </a:lnTo>
                        <a:lnTo>
                          <a:pt x="1" y="5"/>
                        </a:lnTo>
                        <a:lnTo>
                          <a:pt x="2" y="5"/>
                        </a:lnTo>
                        <a:lnTo>
                          <a:pt x="3" y="5"/>
                        </a:lnTo>
                        <a:lnTo>
                          <a:pt x="7" y="5"/>
                        </a:lnTo>
                        <a:lnTo>
                          <a:pt x="7" y="4"/>
                        </a:lnTo>
                        <a:lnTo>
                          <a:pt x="7" y="3"/>
                        </a:lnTo>
                        <a:lnTo>
                          <a:pt x="5" y="0"/>
                        </a:lnTo>
                        <a:lnTo>
                          <a:pt x="4" y="0"/>
                        </a:lnTo>
                        <a:lnTo>
                          <a:pt x="1" y="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2" name="Freeform 1664">
                    <a:extLst>
                      <a:ext uri="{FF2B5EF4-FFF2-40B4-BE49-F238E27FC236}">
                        <a16:creationId xmlns:a16="http://schemas.microsoft.com/office/drawing/2014/main" xmlns="" id="{7168DF6D-2418-4D44-AA6A-82D5448E956B}"/>
                      </a:ext>
                    </a:extLst>
                  </p:cNvPr>
                  <p:cNvSpPr>
                    <a:spLocks/>
                  </p:cNvSpPr>
                  <p:nvPr/>
                </p:nvSpPr>
                <p:spPr bwMode="gray">
                  <a:xfrm>
                    <a:off x="4686777" y="4004310"/>
                    <a:ext cx="28925" cy="10013"/>
                  </a:xfrm>
                  <a:custGeom>
                    <a:avLst/>
                    <a:gdLst>
                      <a:gd name="T0" fmla="*/ 2147483647 w 26"/>
                      <a:gd name="T1" fmla="*/ 0 h 9"/>
                      <a:gd name="T2" fmla="*/ 2147483647 w 26"/>
                      <a:gd name="T3" fmla="*/ 0 h 9"/>
                      <a:gd name="T4" fmla="*/ 2147483647 w 26"/>
                      <a:gd name="T5" fmla="*/ 0 h 9"/>
                      <a:gd name="T6" fmla="*/ 0 w 26"/>
                      <a:gd name="T7" fmla="*/ 0 h 9"/>
                      <a:gd name="T8" fmla="*/ 0 w 26"/>
                      <a:gd name="T9" fmla="*/ 2147483647 h 9"/>
                      <a:gd name="T10" fmla="*/ 0 w 26"/>
                      <a:gd name="T11" fmla="*/ 2147483647 h 9"/>
                      <a:gd name="T12" fmla="*/ 0 w 26"/>
                      <a:gd name="T13" fmla="*/ 2147483647 h 9"/>
                      <a:gd name="T14" fmla="*/ 0 w 26"/>
                      <a:gd name="T15" fmla="*/ 2147483647 h 9"/>
                      <a:gd name="T16" fmla="*/ 2147483647 w 26"/>
                      <a:gd name="T17" fmla="*/ 2147483647 h 9"/>
                      <a:gd name="T18" fmla="*/ 2147483647 w 26"/>
                      <a:gd name="T19" fmla="*/ 2147483647 h 9"/>
                      <a:gd name="T20" fmla="*/ 2147483647 w 26"/>
                      <a:gd name="T21" fmla="*/ 2147483647 h 9"/>
                      <a:gd name="T22" fmla="*/ 2147483647 w 26"/>
                      <a:gd name="T23" fmla="*/ 2147483647 h 9"/>
                      <a:gd name="T24" fmla="*/ 2147483647 w 26"/>
                      <a:gd name="T25" fmla="*/ 2147483647 h 9"/>
                      <a:gd name="T26" fmla="*/ 2147483647 w 26"/>
                      <a:gd name="T27" fmla="*/ 2147483647 h 9"/>
                      <a:gd name="T28" fmla="*/ 2147483647 w 26"/>
                      <a:gd name="T29" fmla="*/ 2147483647 h 9"/>
                      <a:gd name="T30" fmla="*/ 2147483647 w 26"/>
                      <a:gd name="T31" fmla="*/ 2147483647 h 9"/>
                      <a:gd name="T32" fmla="*/ 2147483647 w 26"/>
                      <a:gd name="T33" fmla="*/ 2147483647 h 9"/>
                      <a:gd name="T34" fmla="*/ 2147483647 w 26"/>
                      <a:gd name="T35" fmla="*/ 2147483647 h 9"/>
                      <a:gd name="T36" fmla="*/ 2147483647 w 26"/>
                      <a:gd name="T37" fmla="*/ 2147483647 h 9"/>
                      <a:gd name="T38" fmla="*/ 2147483647 w 26"/>
                      <a:gd name="T39" fmla="*/ 2147483647 h 9"/>
                      <a:gd name="T40" fmla="*/ 2147483647 w 26"/>
                      <a:gd name="T41" fmla="*/ 2147483647 h 9"/>
                      <a:gd name="T42" fmla="*/ 2147483647 w 26"/>
                      <a:gd name="T43" fmla="*/ 2147483647 h 9"/>
                      <a:gd name="T44" fmla="*/ 2147483647 w 26"/>
                      <a:gd name="T45" fmla="*/ 2147483647 h 9"/>
                      <a:gd name="T46" fmla="*/ 2147483647 w 26"/>
                      <a:gd name="T47" fmla="*/ 2147483647 h 9"/>
                      <a:gd name="T48" fmla="*/ 2147483647 w 26"/>
                      <a:gd name="T49" fmla="*/ 2147483647 h 9"/>
                      <a:gd name="T50" fmla="*/ 2147483647 w 26"/>
                      <a:gd name="T51" fmla="*/ 2147483647 h 9"/>
                      <a:gd name="T52" fmla="*/ 2147483647 w 26"/>
                      <a:gd name="T53" fmla="*/ 2147483647 h 9"/>
                      <a:gd name="T54" fmla="*/ 2147483647 w 26"/>
                      <a:gd name="T55" fmla="*/ 0 h 9"/>
                      <a:gd name="T56" fmla="*/ 2147483647 w 26"/>
                      <a:gd name="T57" fmla="*/ 0 h 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6" h="9">
                        <a:moveTo>
                          <a:pt x="7" y="0"/>
                        </a:moveTo>
                        <a:lnTo>
                          <a:pt x="2" y="0"/>
                        </a:lnTo>
                        <a:lnTo>
                          <a:pt x="1" y="0"/>
                        </a:lnTo>
                        <a:lnTo>
                          <a:pt x="0" y="0"/>
                        </a:lnTo>
                        <a:lnTo>
                          <a:pt x="0" y="2"/>
                        </a:lnTo>
                        <a:lnTo>
                          <a:pt x="0" y="3"/>
                        </a:lnTo>
                        <a:lnTo>
                          <a:pt x="0" y="4"/>
                        </a:lnTo>
                        <a:lnTo>
                          <a:pt x="0" y="6"/>
                        </a:lnTo>
                        <a:lnTo>
                          <a:pt x="1" y="6"/>
                        </a:lnTo>
                        <a:lnTo>
                          <a:pt x="2" y="6"/>
                        </a:lnTo>
                        <a:lnTo>
                          <a:pt x="3" y="6"/>
                        </a:lnTo>
                        <a:lnTo>
                          <a:pt x="9" y="8"/>
                        </a:lnTo>
                        <a:lnTo>
                          <a:pt x="14" y="9"/>
                        </a:lnTo>
                        <a:lnTo>
                          <a:pt x="19" y="9"/>
                        </a:lnTo>
                        <a:lnTo>
                          <a:pt x="26" y="9"/>
                        </a:lnTo>
                        <a:lnTo>
                          <a:pt x="25" y="9"/>
                        </a:lnTo>
                        <a:lnTo>
                          <a:pt x="26" y="9"/>
                        </a:lnTo>
                        <a:lnTo>
                          <a:pt x="26" y="8"/>
                        </a:lnTo>
                        <a:lnTo>
                          <a:pt x="26" y="6"/>
                        </a:lnTo>
                        <a:lnTo>
                          <a:pt x="24" y="4"/>
                        </a:lnTo>
                        <a:lnTo>
                          <a:pt x="21" y="3"/>
                        </a:lnTo>
                        <a:lnTo>
                          <a:pt x="15" y="2"/>
                        </a:lnTo>
                        <a:lnTo>
                          <a:pt x="10" y="1"/>
                        </a:lnTo>
                        <a:lnTo>
                          <a:pt x="8" y="0"/>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3" name="Freeform 1666">
                    <a:extLst>
                      <a:ext uri="{FF2B5EF4-FFF2-40B4-BE49-F238E27FC236}">
                        <a16:creationId xmlns:a16="http://schemas.microsoft.com/office/drawing/2014/main" xmlns="" id="{39642DD6-C31A-4BE4-AC05-846F3769765F}"/>
                      </a:ext>
                    </a:extLst>
                  </p:cNvPr>
                  <p:cNvSpPr>
                    <a:spLocks/>
                  </p:cNvSpPr>
                  <p:nvPr/>
                </p:nvSpPr>
                <p:spPr bwMode="gray">
                  <a:xfrm>
                    <a:off x="4606678" y="3935332"/>
                    <a:ext cx="15575" cy="20026"/>
                  </a:xfrm>
                  <a:custGeom>
                    <a:avLst/>
                    <a:gdLst>
                      <a:gd name="T0" fmla="*/ 2147483647 w 14"/>
                      <a:gd name="T1" fmla="*/ 0 h 18"/>
                      <a:gd name="T2" fmla="*/ 2147483647 w 14"/>
                      <a:gd name="T3" fmla="*/ 2147483647 h 18"/>
                      <a:gd name="T4" fmla="*/ 0 w 14"/>
                      <a:gd name="T5" fmla="*/ 2147483647 h 18"/>
                      <a:gd name="T6" fmla="*/ 0 w 14"/>
                      <a:gd name="T7" fmla="*/ 2147483647 h 18"/>
                      <a:gd name="T8" fmla="*/ 2147483647 w 14"/>
                      <a:gd name="T9" fmla="*/ 2147483647 h 18"/>
                      <a:gd name="T10" fmla="*/ 2147483647 w 14"/>
                      <a:gd name="T11" fmla="*/ 2147483647 h 18"/>
                      <a:gd name="T12" fmla="*/ 2147483647 w 14"/>
                      <a:gd name="T13" fmla="*/ 2147483647 h 18"/>
                      <a:gd name="T14" fmla="*/ 2147483647 w 14"/>
                      <a:gd name="T15" fmla="*/ 2147483647 h 18"/>
                      <a:gd name="T16" fmla="*/ 2147483647 w 14"/>
                      <a:gd name="T17" fmla="*/ 2147483647 h 18"/>
                      <a:gd name="T18" fmla="*/ 2147483647 w 14"/>
                      <a:gd name="T19" fmla="*/ 2147483647 h 18"/>
                      <a:gd name="T20" fmla="*/ 2147483647 w 14"/>
                      <a:gd name="T21" fmla="*/ 2147483647 h 18"/>
                      <a:gd name="T22" fmla="*/ 2147483647 w 14"/>
                      <a:gd name="T23" fmla="*/ 2147483647 h 18"/>
                      <a:gd name="T24" fmla="*/ 2147483647 w 14"/>
                      <a:gd name="T25" fmla="*/ 2147483647 h 18"/>
                      <a:gd name="T26" fmla="*/ 2147483647 w 14"/>
                      <a:gd name="T27" fmla="*/ 2147483647 h 18"/>
                      <a:gd name="T28" fmla="*/ 2147483647 w 14"/>
                      <a:gd name="T29" fmla="*/ 2147483647 h 18"/>
                      <a:gd name="T30" fmla="*/ 2147483647 w 14"/>
                      <a:gd name="T31" fmla="*/ 2147483647 h 18"/>
                      <a:gd name="T32" fmla="*/ 2147483647 w 14"/>
                      <a:gd name="T33" fmla="*/ 2147483647 h 18"/>
                      <a:gd name="T34" fmla="*/ 2147483647 w 14"/>
                      <a:gd name="T35" fmla="*/ 2147483647 h 18"/>
                      <a:gd name="T36" fmla="*/ 2147483647 w 14"/>
                      <a:gd name="T37" fmla="*/ 0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 h="18">
                        <a:moveTo>
                          <a:pt x="1" y="0"/>
                        </a:moveTo>
                        <a:lnTo>
                          <a:pt x="1" y="1"/>
                        </a:lnTo>
                        <a:lnTo>
                          <a:pt x="0" y="2"/>
                        </a:lnTo>
                        <a:lnTo>
                          <a:pt x="0" y="4"/>
                        </a:lnTo>
                        <a:lnTo>
                          <a:pt x="1" y="4"/>
                        </a:lnTo>
                        <a:lnTo>
                          <a:pt x="2" y="7"/>
                        </a:lnTo>
                        <a:lnTo>
                          <a:pt x="5" y="10"/>
                        </a:lnTo>
                        <a:lnTo>
                          <a:pt x="7" y="14"/>
                        </a:lnTo>
                        <a:lnTo>
                          <a:pt x="8" y="17"/>
                        </a:lnTo>
                        <a:lnTo>
                          <a:pt x="12" y="18"/>
                        </a:lnTo>
                        <a:lnTo>
                          <a:pt x="14" y="16"/>
                        </a:lnTo>
                        <a:lnTo>
                          <a:pt x="13" y="13"/>
                        </a:lnTo>
                        <a:lnTo>
                          <a:pt x="11" y="10"/>
                        </a:lnTo>
                        <a:lnTo>
                          <a:pt x="8" y="10"/>
                        </a:lnTo>
                        <a:lnTo>
                          <a:pt x="8" y="7"/>
                        </a:lnTo>
                        <a:lnTo>
                          <a:pt x="7" y="6"/>
                        </a:lnTo>
                        <a:lnTo>
                          <a:pt x="5" y="4"/>
                        </a:lnTo>
                        <a:lnTo>
                          <a:pt x="2" y="1"/>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4" name="Freeform 1668">
                    <a:extLst>
                      <a:ext uri="{FF2B5EF4-FFF2-40B4-BE49-F238E27FC236}">
                        <a16:creationId xmlns:a16="http://schemas.microsoft.com/office/drawing/2014/main" xmlns="" id="{C2B301E1-69E6-4090-8AB5-575D3067BB26}"/>
                      </a:ext>
                    </a:extLst>
                  </p:cNvPr>
                  <p:cNvSpPr>
                    <a:spLocks/>
                  </p:cNvSpPr>
                  <p:nvPr/>
                </p:nvSpPr>
                <p:spPr bwMode="gray">
                  <a:xfrm>
                    <a:off x="4602228" y="3894169"/>
                    <a:ext cx="11125" cy="13350"/>
                  </a:xfrm>
                  <a:custGeom>
                    <a:avLst/>
                    <a:gdLst>
                      <a:gd name="T0" fmla="*/ 0 w 10"/>
                      <a:gd name="T1" fmla="*/ 0 h 12"/>
                      <a:gd name="T2" fmla="*/ 0 w 10"/>
                      <a:gd name="T3" fmla="*/ 2147483647 h 12"/>
                      <a:gd name="T4" fmla="*/ 0 w 10"/>
                      <a:gd name="T5" fmla="*/ 2147483647 h 12"/>
                      <a:gd name="T6" fmla="*/ 0 w 10"/>
                      <a:gd name="T7" fmla="*/ 2147483647 h 12"/>
                      <a:gd name="T8" fmla="*/ 0 w 10"/>
                      <a:gd name="T9" fmla="*/ 2147483647 h 12"/>
                      <a:gd name="T10" fmla="*/ 2147483647 w 10"/>
                      <a:gd name="T11" fmla="*/ 2147483647 h 12"/>
                      <a:gd name="T12" fmla="*/ 2147483647 w 10"/>
                      <a:gd name="T13" fmla="*/ 2147483647 h 12"/>
                      <a:gd name="T14" fmla="*/ 2147483647 w 10"/>
                      <a:gd name="T15" fmla="*/ 2147483647 h 12"/>
                      <a:gd name="T16" fmla="*/ 2147483647 w 10"/>
                      <a:gd name="T17" fmla="*/ 2147483647 h 12"/>
                      <a:gd name="T18" fmla="*/ 2147483647 w 10"/>
                      <a:gd name="T19" fmla="*/ 2147483647 h 12"/>
                      <a:gd name="T20" fmla="*/ 2147483647 w 10"/>
                      <a:gd name="T21" fmla="*/ 2147483647 h 12"/>
                      <a:gd name="T22" fmla="*/ 2147483647 w 10"/>
                      <a:gd name="T23" fmla="*/ 2147483647 h 12"/>
                      <a:gd name="T24" fmla="*/ 2147483647 w 10"/>
                      <a:gd name="T25" fmla="*/ 2147483647 h 12"/>
                      <a:gd name="T26" fmla="*/ 2147483647 w 10"/>
                      <a:gd name="T27" fmla="*/ 2147483647 h 12"/>
                      <a:gd name="T28" fmla="*/ 2147483647 w 10"/>
                      <a:gd name="T29" fmla="*/ 2147483647 h 12"/>
                      <a:gd name="T30" fmla="*/ 2147483647 w 10"/>
                      <a:gd name="T31" fmla="*/ 2147483647 h 12"/>
                      <a:gd name="T32" fmla="*/ 2147483647 w 10"/>
                      <a:gd name="T33" fmla="*/ 2147483647 h 12"/>
                      <a:gd name="T34" fmla="*/ 2147483647 w 10"/>
                      <a:gd name="T35" fmla="*/ 2147483647 h 12"/>
                      <a:gd name="T36" fmla="*/ 2147483647 w 10"/>
                      <a:gd name="T37" fmla="*/ 2147483647 h 12"/>
                      <a:gd name="T38" fmla="*/ 2147483647 w 10"/>
                      <a:gd name="T39" fmla="*/ 2147483647 h 12"/>
                      <a:gd name="T40" fmla="*/ 0 w 10"/>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 h="12">
                        <a:moveTo>
                          <a:pt x="0" y="0"/>
                        </a:moveTo>
                        <a:lnTo>
                          <a:pt x="0" y="4"/>
                        </a:lnTo>
                        <a:lnTo>
                          <a:pt x="0" y="6"/>
                        </a:lnTo>
                        <a:lnTo>
                          <a:pt x="0" y="7"/>
                        </a:lnTo>
                        <a:lnTo>
                          <a:pt x="0" y="9"/>
                        </a:lnTo>
                        <a:lnTo>
                          <a:pt x="5" y="10"/>
                        </a:lnTo>
                        <a:lnTo>
                          <a:pt x="7" y="11"/>
                        </a:lnTo>
                        <a:lnTo>
                          <a:pt x="10" y="12"/>
                        </a:lnTo>
                        <a:lnTo>
                          <a:pt x="10" y="9"/>
                        </a:lnTo>
                        <a:lnTo>
                          <a:pt x="9" y="9"/>
                        </a:lnTo>
                        <a:lnTo>
                          <a:pt x="8" y="8"/>
                        </a:lnTo>
                        <a:lnTo>
                          <a:pt x="7" y="6"/>
                        </a:lnTo>
                        <a:lnTo>
                          <a:pt x="6" y="6"/>
                        </a:lnTo>
                        <a:lnTo>
                          <a:pt x="6" y="5"/>
                        </a:lnTo>
                        <a:lnTo>
                          <a:pt x="6" y="4"/>
                        </a:lnTo>
                        <a:lnTo>
                          <a:pt x="4" y="2"/>
                        </a:lnTo>
                        <a:lnTo>
                          <a:pt x="3" y="2"/>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5" name="Freeform 1670">
                    <a:extLst>
                      <a:ext uri="{FF2B5EF4-FFF2-40B4-BE49-F238E27FC236}">
                        <a16:creationId xmlns:a16="http://schemas.microsoft.com/office/drawing/2014/main" xmlns="" id="{5D050D77-49A5-41EC-8740-79E90BAEBDA9}"/>
                      </a:ext>
                    </a:extLst>
                  </p:cNvPr>
                  <p:cNvSpPr>
                    <a:spLocks/>
                  </p:cNvSpPr>
                  <p:nvPr/>
                </p:nvSpPr>
                <p:spPr bwMode="gray">
                  <a:xfrm>
                    <a:off x="4594440" y="3887493"/>
                    <a:ext cx="5563" cy="4450"/>
                  </a:xfrm>
                  <a:custGeom>
                    <a:avLst/>
                    <a:gdLst>
                      <a:gd name="T0" fmla="*/ 0 w 5"/>
                      <a:gd name="T1" fmla="*/ 0 h 4"/>
                      <a:gd name="T2" fmla="*/ 0 w 5"/>
                      <a:gd name="T3" fmla="*/ 0 h 4"/>
                      <a:gd name="T4" fmla="*/ 2147483647 w 5"/>
                      <a:gd name="T5" fmla="*/ 2147483647 h 4"/>
                      <a:gd name="T6" fmla="*/ 2147483647 w 5"/>
                      <a:gd name="T7" fmla="*/ 2147483647 h 4"/>
                      <a:gd name="T8" fmla="*/ 2147483647 w 5"/>
                      <a:gd name="T9" fmla="*/ 2147483647 h 4"/>
                      <a:gd name="T10" fmla="*/ 2147483647 w 5"/>
                      <a:gd name="T11" fmla="*/ 2147483647 h 4"/>
                      <a:gd name="T12" fmla="*/ 2147483647 w 5"/>
                      <a:gd name="T13" fmla="*/ 2147483647 h 4"/>
                      <a:gd name="T14" fmla="*/ 2147483647 w 5"/>
                      <a:gd name="T15" fmla="*/ 2147483647 h 4"/>
                      <a:gd name="T16" fmla="*/ 2147483647 w 5"/>
                      <a:gd name="T17" fmla="*/ 0 h 4"/>
                      <a:gd name="T18" fmla="*/ 2147483647 w 5"/>
                      <a:gd name="T19" fmla="*/ 0 h 4"/>
                      <a:gd name="T20" fmla="*/ 2147483647 w 5"/>
                      <a:gd name="T21" fmla="*/ 0 h 4"/>
                      <a:gd name="T22" fmla="*/ 0 w 5"/>
                      <a:gd name="T23" fmla="*/ 0 h 4"/>
                      <a:gd name="T24" fmla="*/ 0 w 5"/>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4">
                        <a:moveTo>
                          <a:pt x="0" y="0"/>
                        </a:moveTo>
                        <a:lnTo>
                          <a:pt x="0" y="0"/>
                        </a:lnTo>
                        <a:lnTo>
                          <a:pt x="2" y="1"/>
                        </a:lnTo>
                        <a:lnTo>
                          <a:pt x="3" y="2"/>
                        </a:lnTo>
                        <a:lnTo>
                          <a:pt x="3" y="3"/>
                        </a:lnTo>
                        <a:lnTo>
                          <a:pt x="5" y="4"/>
                        </a:lnTo>
                        <a:lnTo>
                          <a:pt x="5" y="3"/>
                        </a:lnTo>
                        <a:lnTo>
                          <a:pt x="4" y="1"/>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6" name="Freeform 1672">
                    <a:extLst>
                      <a:ext uri="{FF2B5EF4-FFF2-40B4-BE49-F238E27FC236}">
                        <a16:creationId xmlns:a16="http://schemas.microsoft.com/office/drawing/2014/main" xmlns="" id="{21F2137B-B0B9-4A9E-9307-F81017FBCBC4}"/>
                      </a:ext>
                    </a:extLst>
                  </p:cNvPr>
                  <p:cNvSpPr>
                    <a:spLocks/>
                  </p:cNvSpPr>
                  <p:nvPr/>
                </p:nvSpPr>
                <p:spPr bwMode="gray">
                  <a:xfrm>
                    <a:off x="4568854" y="3842991"/>
                    <a:ext cx="15575" cy="47839"/>
                  </a:xfrm>
                  <a:custGeom>
                    <a:avLst/>
                    <a:gdLst>
                      <a:gd name="T0" fmla="*/ 2147483647 w 14"/>
                      <a:gd name="T1" fmla="*/ 0 h 43"/>
                      <a:gd name="T2" fmla="*/ 2147483647 w 14"/>
                      <a:gd name="T3" fmla="*/ 2147483647 h 43"/>
                      <a:gd name="T4" fmla="*/ 2147483647 w 14"/>
                      <a:gd name="T5" fmla="*/ 2147483647 h 43"/>
                      <a:gd name="T6" fmla="*/ 2147483647 w 14"/>
                      <a:gd name="T7" fmla="*/ 2147483647 h 43"/>
                      <a:gd name="T8" fmla="*/ 2147483647 w 14"/>
                      <a:gd name="T9" fmla="*/ 2147483647 h 43"/>
                      <a:gd name="T10" fmla="*/ 2147483647 w 14"/>
                      <a:gd name="T11" fmla="*/ 2147483647 h 43"/>
                      <a:gd name="T12" fmla="*/ 2147483647 w 14"/>
                      <a:gd name="T13" fmla="*/ 2147483647 h 43"/>
                      <a:gd name="T14" fmla="*/ 2147483647 w 14"/>
                      <a:gd name="T15" fmla="*/ 2147483647 h 43"/>
                      <a:gd name="T16" fmla="*/ 2147483647 w 14"/>
                      <a:gd name="T17" fmla="*/ 2147483647 h 43"/>
                      <a:gd name="T18" fmla="*/ 2147483647 w 14"/>
                      <a:gd name="T19" fmla="*/ 2147483647 h 43"/>
                      <a:gd name="T20" fmla="*/ 0 w 14"/>
                      <a:gd name="T21" fmla="*/ 2147483647 h 43"/>
                      <a:gd name="T22" fmla="*/ 0 w 14"/>
                      <a:gd name="T23" fmla="*/ 2147483647 h 43"/>
                      <a:gd name="T24" fmla="*/ 2147483647 w 14"/>
                      <a:gd name="T25" fmla="*/ 2147483647 h 43"/>
                      <a:gd name="T26" fmla="*/ 2147483647 w 14"/>
                      <a:gd name="T27" fmla="*/ 2147483647 h 43"/>
                      <a:gd name="T28" fmla="*/ 2147483647 w 14"/>
                      <a:gd name="T29" fmla="*/ 2147483647 h 43"/>
                      <a:gd name="T30" fmla="*/ 2147483647 w 14"/>
                      <a:gd name="T31" fmla="*/ 2147483647 h 43"/>
                      <a:gd name="T32" fmla="*/ 2147483647 w 14"/>
                      <a:gd name="T33" fmla="*/ 2147483647 h 43"/>
                      <a:gd name="T34" fmla="*/ 2147483647 w 14"/>
                      <a:gd name="T35" fmla="*/ 2147483647 h 43"/>
                      <a:gd name="T36" fmla="*/ 2147483647 w 14"/>
                      <a:gd name="T37" fmla="*/ 2147483647 h 43"/>
                      <a:gd name="T38" fmla="*/ 2147483647 w 14"/>
                      <a:gd name="T39" fmla="*/ 2147483647 h 43"/>
                      <a:gd name="T40" fmla="*/ 2147483647 w 14"/>
                      <a:gd name="T41" fmla="*/ 2147483647 h 43"/>
                      <a:gd name="T42" fmla="*/ 2147483647 w 14"/>
                      <a:gd name="T43" fmla="*/ 2147483647 h 43"/>
                      <a:gd name="T44" fmla="*/ 2147483647 w 14"/>
                      <a:gd name="T45" fmla="*/ 2147483647 h 43"/>
                      <a:gd name="T46" fmla="*/ 2147483647 w 14"/>
                      <a:gd name="T47" fmla="*/ 2147483647 h 43"/>
                      <a:gd name="T48" fmla="*/ 2147483647 w 14"/>
                      <a:gd name="T49" fmla="*/ 2147483647 h 43"/>
                      <a:gd name="T50" fmla="*/ 2147483647 w 14"/>
                      <a:gd name="T51" fmla="*/ 2147483647 h 43"/>
                      <a:gd name="T52" fmla="*/ 2147483647 w 14"/>
                      <a:gd name="T53" fmla="*/ 2147483647 h 43"/>
                      <a:gd name="T54" fmla="*/ 2147483647 w 14"/>
                      <a:gd name="T55" fmla="*/ 2147483647 h 43"/>
                      <a:gd name="T56" fmla="*/ 2147483647 w 14"/>
                      <a:gd name="T57" fmla="*/ 2147483647 h 43"/>
                      <a:gd name="T58" fmla="*/ 2147483647 w 14"/>
                      <a:gd name="T59" fmla="*/ 2147483647 h 43"/>
                      <a:gd name="T60" fmla="*/ 2147483647 w 14"/>
                      <a:gd name="T61" fmla="*/ 2147483647 h 43"/>
                      <a:gd name="T62" fmla="*/ 2147483647 w 14"/>
                      <a:gd name="T63" fmla="*/ 2147483647 h 43"/>
                      <a:gd name="T64" fmla="*/ 2147483647 w 14"/>
                      <a:gd name="T65" fmla="*/ 2147483647 h 43"/>
                      <a:gd name="T66" fmla="*/ 2147483647 w 14"/>
                      <a:gd name="T67" fmla="*/ 2147483647 h 43"/>
                      <a:gd name="T68" fmla="*/ 2147483647 w 14"/>
                      <a:gd name="T69" fmla="*/ 2147483647 h 43"/>
                      <a:gd name="T70" fmla="*/ 2147483647 w 14"/>
                      <a:gd name="T71" fmla="*/ 2147483647 h 43"/>
                      <a:gd name="T72" fmla="*/ 2147483647 w 14"/>
                      <a:gd name="T73" fmla="*/ 2147483647 h 43"/>
                      <a:gd name="T74" fmla="*/ 2147483647 w 14"/>
                      <a:gd name="T75" fmla="*/ 0 h 43"/>
                      <a:gd name="T76" fmla="*/ 2147483647 w 14"/>
                      <a:gd name="T77" fmla="*/ 0 h 43"/>
                      <a:gd name="T78" fmla="*/ 2147483647 w 14"/>
                      <a:gd name="T79" fmla="*/ 0 h 43"/>
                      <a:gd name="T80" fmla="*/ 2147483647 w 14"/>
                      <a:gd name="T81" fmla="*/ 0 h 43"/>
                      <a:gd name="T82" fmla="*/ 2147483647 w 14"/>
                      <a:gd name="T83" fmla="*/ 0 h 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4" h="43">
                        <a:moveTo>
                          <a:pt x="4" y="0"/>
                        </a:moveTo>
                        <a:lnTo>
                          <a:pt x="4" y="2"/>
                        </a:lnTo>
                        <a:lnTo>
                          <a:pt x="4" y="4"/>
                        </a:lnTo>
                        <a:lnTo>
                          <a:pt x="4" y="6"/>
                        </a:lnTo>
                        <a:lnTo>
                          <a:pt x="4" y="7"/>
                        </a:lnTo>
                        <a:lnTo>
                          <a:pt x="4" y="8"/>
                        </a:lnTo>
                        <a:lnTo>
                          <a:pt x="4" y="9"/>
                        </a:lnTo>
                        <a:lnTo>
                          <a:pt x="4" y="14"/>
                        </a:lnTo>
                        <a:lnTo>
                          <a:pt x="3" y="14"/>
                        </a:lnTo>
                        <a:lnTo>
                          <a:pt x="1" y="16"/>
                        </a:lnTo>
                        <a:lnTo>
                          <a:pt x="0" y="17"/>
                        </a:lnTo>
                        <a:lnTo>
                          <a:pt x="0" y="19"/>
                        </a:lnTo>
                        <a:lnTo>
                          <a:pt x="3" y="21"/>
                        </a:lnTo>
                        <a:lnTo>
                          <a:pt x="5" y="26"/>
                        </a:lnTo>
                        <a:lnTo>
                          <a:pt x="5" y="31"/>
                        </a:lnTo>
                        <a:lnTo>
                          <a:pt x="4" y="36"/>
                        </a:lnTo>
                        <a:lnTo>
                          <a:pt x="4" y="37"/>
                        </a:lnTo>
                        <a:lnTo>
                          <a:pt x="4" y="39"/>
                        </a:lnTo>
                        <a:lnTo>
                          <a:pt x="4" y="41"/>
                        </a:lnTo>
                        <a:lnTo>
                          <a:pt x="6" y="41"/>
                        </a:lnTo>
                        <a:lnTo>
                          <a:pt x="7" y="42"/>
                        </a:lnTo>
                        <a:lnTo>
                          <a:pt x="7" y="43"/>
                        </a:lnTo>
                        <a:lnTo>
                          <a:pt x="8" y="41"/>
                        </a:lnTo>
                        <a:lnTo>
                          <a:pt x="9" y="41"/>
                        </a:lnTo>
                        <a:lnTo>
                          <a:pt x="14" y="41"/>
                        </a:lnTo>
                        <a:lnTo>
                          <a:pt x="14" y="35"/>
                        </a:lnTo>
                        <a:lnTo>
                          <a:pt x="13" y="30"/>
                        </a:lnTo>
                        <a:lnTo>
                          <a:pt x="11" y="27"/>
                        </a:lnTo>
                        <a:lnTo>
                          <a:pt x="11" y="24"/>
                        </a:lnTo>
                        <a:lnTo>
                          <a:pt x="11" y="21"/>
                        </a:lnTo>
                        <a:lnTo>
                          <a:pt x="11" y="16"/>
                        </a:lnTo>
                        <a:lnTo>
                          <a:pt x="11" y="14"/>
                        </a:lnTo>
                        <a:lnTo>
                          <a:pt x="11" y="10"/>
                        </a:lnTo>
                        <a:lnTo>
                          <a:pt x="10" y="8"/>
                        </a:lnTo>
                        <a:lnTo>
                          <a:pt x="9" y="5"/>
                        </a:lnTo>
                        <a:lnTo>
                          <a:pt x="8" y="3"/>
                        </a:lnTo>
                        <a:lnTo>
                          <a:pt x="7" y="0"/>
                        </a:lnTo>
                        <a:lnTo>
                          <a:pt x="6"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7" name="Freeform 1674">
                    <a:extLst>
                      <a:ext uri="{FF2B5EF4-FFF2-40B4-BE49-F238E27FC236}">
                        <a16:creationId xmlns:a16="http://schemas.microsoft.com/office/drawing/2014/main" xmlns="" id="{4756F1F0-8541-435C-9B41-ED542BF0C52E}"/>
                      </a:ext>
                    </a:extLst>
                  </p:cNvPr>
                  <p:cNvSpPr>
                    <a:spLocks/>
                  </p:cNvSpPr>
                  <p:nvPr/>
                </p:nvSpPr>
                <p:spPr bwMode="gray">
                  <a:xfrm>
                    <a:off x="5043881" y="3896393"/>
                    <a:ext cx="374904" cy="261448"/>
                  </a:xfrm>
                  <a:custGeom>
                    <a:avLst/>
                    <a:gdLst>
                      <a:gd name="T0" fmla="*/ 2147483647 w 337"/>
                      <a:gd name="T1" fmla="*/ 2147483647 h 235"/>
                      <a:gd name="T2" fmla="*/ 2147483647 w 337"/>
                      <a:gd name="T3" fmla="*/ 2147483647 h 235"/>
                      <a:gd name="T4" fmla="*/ 2147483647 w 337"/>
                      <a:gd name="T5" fmla="*/ 2147483647 h 235"/>
                      <a:gd name="T6" fmla="*/ 2147483647 w 337"/>
                      <a:gd name="T7" fmla="*/ 2147483647 h 235"/>
                      <a:gd name="T8" fmla="*/ 2147483647 w 337"/>
                      <a:gd name="T9" fmla="*/ 2147483647 h 235"/>
                      <a:gd name="T10" fmla="*/ 2147483647 w 337"/>
                      <a:gd name="T11" fmla="*/ 2147483647 h 235"/>
                      <a:gd name="T12" fmla="*/ 2147483647 w 337"/>
                      <a:gd name="T13" fmla="*/ 2147483647 h 235"/>
                      <a:gd name="T14" fmla="*/ 2147483647 w 337"/>
                      <a:gd name="T15" fmla="*/ 2147483647 h 235"/>
                      <a:gd name="T16" fmla="*/ 2147483647 w 337"/>
                      <a:gd name="T17" fmla="*/ 2147483647 h 235"/>
                      <a:gd name="T18" fmla="*/ 2147483647 w 337"/>
                      <a:gd name="T19" fmla="*/ 2147483647 h 235"/>
                      <a:gd name="T20" fmla="*/ 2147483647 w 337"/>
                      <a:gd name="T21" fmla="*/ 2147483647 h 235"/>
                      <a:gd name="T22" fmla="*/ 2147483647 w 337"/>
                      <a:gd name="T23" fmla="*/ 2147483647 h 235"/>
                      <a:gd name="T24" fmla="*/ 2147483647 w 337"/>
                      <a:gd name="T25" fmla="*/ 2147483647 h 235"/>
                      <a:gd name="T26" fmla="*/ 2147483647 w 337"/>
                      <a:gd name="T27" fmla="*/ 2147483647 h 235"/>
                      <a:gd name="T28" fmla="*/ 2147483647 w 337"/>
                      <a:gd name="T29" fmla="*/ 2147483647 h 235"/>
                      <a:gd name="T30" fmla="*/ 2147483647 w 337"/>
                      <a:gd name="T31" fmla="*/ 2147483647 h 235"/>
                      <a:gd name="T32" fmla="*/ 2147483647 w 337"/>
                      <a:gd name="T33" fmla="*/ 2147483647 h 235"/>
                      <a:gd name="T34" fmla="*/ 2147483647 w 337"/>
                      <a:gd name="T35" fmla="*/ 2147483647 h 235"/>
                      <a:gd name="T36" fmla="*/ 2147483647 w 337"/>
                      <a:gd name="T37" fmla="*/ 2147483647 h 235"/>
                      <a:gd name="T38" fmla="*/ 2147483647 w 337"/>
                      <a:gd name="T39" fmla="*/ 2147483647 h 235"/>
                      <a:gd name="T40" fmla="*/ 2147483647 w 337"/>
                      <a:gd name="T41" fmla="*/ 2147483647 h 235"/>
                      <a:gd name="T42" fmla="*/ 2147483647 w 337"/>
                      <a:gd name="T43" fmla="*/ 2147483647 h 235"/>
                      <a:gd name="T44" fmla="*/ 2147483647 w 337"/>
                      <a:gd name="T45" fmla="*/ 2147483647 h 235"/>
                      <a:gd name="T46" fmla="*/ 2147483647 w 337"/>
                      <a:gd name="T47" fmla="*/ 2147483647 h 235"/>
                      <a:gd name="T48" fmla="*/ 2147483647 w 337"/>
                      <a:gd name="T49" fmla="*/ 2147483647 h 235"/>
                      <a:gd name="T50" fmla="*/ 2147483647 w 337"/>
                      <a:gd name="T51" fmla="*/ 2147483647 h 235"/>
                      <a:gd name="T52" fmla="*/ 2147483647 w 337"/>
                      <a:gd name="T53" fmla="*/ 2147483647 h 235"/>
                      <a:gd name="T54" fmla="*/ 2147483647 w 337"/>
                      <a:gd name="T55" fmla="*/ 2147483647 h 235"/>
                      <a:gd name="T56" fmla="*/ 2147483647 w 337"/>
                      <a:gd name="T57" fmla="*/ 2147483647 h 235"/>
                      <a:gd name="T58" fmla="*/ 2147483647 w 337"/>
                      <a:gd name="T59" fmla="*/ 2147483647 h 235"/>
                      <a:gd name="T60" fmla="*/ 2147483647 w 337"/>
                      <a:gd name="T61" fmla="*/ 2147483647 h 235"/>
                      <a:gd name="T62" fmla="*/ 2147483647 w 337"/>
                      <a:gd name="T63" fmla="*/ 2147483647 h 235"/>
                      <a:gd name="T64" fmla="*/ 2147483647 w 337"/>
                      <a:gd name="T65" fmla="*/ 2147483647 h 235"/>
                      <a:gd name="T66" fmla="*/ 2147483647 w 337"/>
                      <a:gd name="T67" fmla="*/ 2147483647 h 235"/>
                      <a:gd name="T68" fmla="*/ 2147483647 w 337"/>
                      <a:gd name="T69" fmla="*/ 2147483647 h 235"/>
                      <a:gd name="T70" fmla="*/ 2147483647 w 337"/>
                      <a:gd name="T71" fmla="*/ 2147483647 h 235"/>
                      <a:gd name="T72" fmla="*/ 2147483647 w 337"/>
                      <a:gd name="T73" fmla="*/ 2147483647 h 235"/>
                      <a:gd name="T74" fmla="*/ 2147483647 w 337"/>
                      <a:gd name="T75" fmla="*/ 2147483647 h 235"/>
                      <a:gd name="T76" fmla="*/ 2147483647 w 337"/>
                      <a:gd name="T77" fmla="*/ 2147483647 h 235"/>
                      <a:gd name="T78" fmla="*/ 2147483647 w 337"/>
                      <a:gd name="T79" fmla="*/ 2147483647 h 235"/>
                      <a:gd name="T80" fmla="*/ 2147483647 w 337"/>
                      <a:gd name="T81" fmla="*/ 2147483647 h 235"/>
                      <a:gd name="T82" fmla="*/ 2147483647 w 337"/>
                      <a:gd name="T83" fmla="*/ 2147483647 h 235"/>
                      <a:gd name="T84" fmla="*/ 2147483647 w 337"/>
                      <a:gd name="T85" fmla="*/ 2147483647 h 235"/>
                      <a:gd name="T86" fmla="*/ 2147483647 w 337"/>
                      <a:gd name="T87" fmla="*/ 2147483647 h 235"/>
                      <a:gd name="T88" fmla="*/ 2147483647 w 337"/>
                      <a:gd name="T89" fmla="*/ 2147483647 h 235"/>
                      <a:gd name="T90" fmla="*/ 2147483647 w 337"/>
                      <a:gd name="T91" fmla="*/ 2147483647 h 235"/>
                      <a:gd name="T92" fmla="*/ 2147483647 w 337"/>
                      <a:gd name="T93" fmla="*/ 2147483647 h 235"/>
                      <a:gd name="T94" fmla="*/ 2147483647 w 337"/>
                      <a:gd name="T95" fmla="*/ 2147483647 h 235"/>
                      <a:gd name="T96" fmla="*/ 2147483647 w 337"/>
                      <a:gd name="T97" fmla="*/ 2147483647 h 235"/>
                      <a:gd name="T98" fmla="*/ 2147483647 w 337"/>
                      <a:gd name="T99" fmla="*/ 2147483647 h 235"/>
                      <a:gd name="T100" fmla="*/ 2147483647 w 337"/>
                      <a:gd name="T101" fmla="*/ 2147483647 h 235"/>
                      <a:gd name="T102" fmla="*/ 2147483647 w 337"/>
                      <a:gd name="T103" fmla="*/ 2147483647 h 235"/>
                      <a:gd name="T104" fmla="*/ 2147483647 w 337"/>
                      <a:gd name="T105" fmla="*/ 2147483647 h 235"/>
                      <a:gd name="T106" fmla="*/ 2147483647 w 337"/>
                      <a:gd name="T107" fmla="*/ 2147483647 h 235"/>
                      <a:gd name="T108" fmla="*/ 2147483647 w 337"/>
                      <a:gd name="T109" fmla="*/ 2147483647 h 235"/>
                      <a:gd name="T110" fmla="*/ 2147483647 w 337"/>
                      <a:gd name="T111" fmla="*/ 2147483647 h 235"/>
                      <a:gd name="T112" fmla="*/ 2147483647 w 337"/>
                      <a:gd name="T113" fmla="*/ 2147483647 h 235"/>
                      <a:gd name="T114" fmla="*/ 2147483647 w 337"/>
                      <a:gd name="T115" fmla="*/ 2147483647 h 235"/>
                      <a:gd name="T116" fmla="*/ 2147483647 w 337"/>
                      <a:gd name="T117" fmla="*/ 2147483647 h 2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37" h="235">
                        <a:moveTo>
                          <a:pt x="22" y="30"/>
                        </a:moveTo>
                        <a:lnTo>
                          <a:pt x="24" y="31"/>
                        </a:lnTo>
                        <a:lnTo>
                          <a:pt x="28" y="34"/>
                        </a:lnTo>
                        <a:lnTo>
                          <a:pt x="33" y="36"/>
                        </a:lnTo>
                        <a:lnTo>
                          <a:pt x="38" y="37"/>
                        </a:lnTo>
                        <a:lnTo>
                          <a:pt x="41" y="37"/>
                        </a:lnTo>
                        <a:lnTo>
                          <a:pt x="43" y="38"/>
                        </a:lnTo>
                        <a:lnTo>
                          <a:pt x="43" y="39"/>
                        </a:lnTo>
                        <a:lnTo>
                          <a:pt x="39" y="41"/>
                        </a:lnTo>
                        <a:lnTo>
                          <a:pt x="35" y="43"/>
                        </a:lnTo>
                        <a:lnTo>
                          <a:pt x="33" y="45"/>
                        </a:lnTo>
                        <a:lnTo>
                          <a:pt x="33" y="47"/>
                        </a:lnTo>
                        <a:lnTo>
                          <a:pt x="34" y="49"/>
                        </a:lnTo>
                        <a:lnTo>
                          <a:pt x="35" y="53"/>
                        </a:lnTo>
                        <a:lnTo>
                          <a:pt x="35" y="55"/>
                        </a:lnTo>
                        <a:lnTo>
                          <a:pt x="36" y="56"/>
                        </a:lnTo>
                        <a:lnTo>
                          <a:pt x="41" y="55"/>
                        </a:lnTo>
                        <a:lnTo>
                          <a:pt x="46" y="54"/>
                        </a:lnTo>
                        <a:lnTo>
                          <a:pt x="51" y="53"/>
                        </a:lnTo>
                        <a:lnTo>
                          <a:pt x="55" y="51"/>
                        </a:lnTo>
                        <a:lnTo>
                          <a:pt x="59" y="50"/>
                        </a:lnTo>
                        <a:lnTo>
                          <a:pt x="63" y="50"/>
                        </a:lnTo>
                        <a:lnTo>
                          <a:pt x="67" y="49"/>
                        </a:lnTo>
                        <a:lnTo>
                          <a:pt x="72" y="50"/>
                        </a:lnTo>
                        <a:lnTo>
                          <a:pt x="75" y="50"/>
                        </a:lnTo>
                        <a:lnTo>
                          <a:pt x="78" y="51"/>
                        </a:lnTo>
                        <a:lnTo>
                          <a:pt x="80" y="52"/>
                        </a:lnTo>
                        <a:lnTo>
                          <a:pt x="83" y="53"/>
                        </a:lnTo>
                        <a:lnTo>
                          <a:pt x="87" y="52"/>
                        </a:lnTo>
                        <a:lnTo>
                          <a:pt x="90" y="52"/>
                        </a:lnTo>
                        <a:lnTo>
                          <a:pt x="93" y="51"/>
                        </a:lnTo>
                        <a:lnTo>
                          <a:pt x="96" y="53"/>
                        </a:lnTo>
                        <a:lnTo>
                          <a:pt x="100" y="55"/>
                        </a:lnTo>
                        <a:lnTo>
                          <a:pt x="103" y="56"/>
                        </a:lnTo>
                        <a:lnTo>
                          <a:pt x="106" y="56"/>
                        </a:lnTo>
                        <a:lnTo>
                          <a:pt x="109" y="56"/>
                        </a:lnTo>
                        <a:lnTo>
                          <a:pt x="114" y="57"/>
                        </a:lnTo>
                        <a:lnTo>
                          <a:pt x="119" y="56"/>
                        </a:lnTo>
                        <a:lnTo>
                          <a:pt x="124" y="54"/>
                        </a:lnTo>
                        <a:lnTo>
                          <a:pt x="128" y="53"/>
                        </a:lnTo>
                        <a:lnTo>
                          <a:pt x="132" y="53"/>
                        </a:lnTo>
                        <a:lnTo>
                          <a:pt x="133" y="55"/>
                        </a:lnTo>
                        <a:lnTo>
                          <a:pt x="135" y="56"/>
                        </a:lnTo>
                        <a:lnTo>
                          <a:pt x="138" y="56"/>
                        </a:lnTo>
                        <a:lnTo>
                          <a:pt x="142" y="56"/>
                        </a:lnTo>
                        <a:lnTo>
                          <a:pt x="145" y="55"/>
                        </a:lnTo>
                        <a:lnTo>
                          <a:pt x="148" y="53"/>
                        </a:lnTo>
                        <a:lnTo>
                          <a:pt x="151" y="53"/>
                        </a:lnTo>
                        <a:lnTo>
                          <a:pt x="154" y="54"/>
                        </a:lnTo>
                        <a:lnTo>
                          <a:pt x="158" y="52"/>
                        </a:lnTo>
                        <a:lnTo>
                          <a:pt x="162" y="50"/>
                        </a:lnTo>
                        <a:lnTo>
                          <a:pt x="167" y="49"/>
                        </a:lnTo>
                        <a:lnTo>
                          <a:pt x="173" y="49"/>
                        </a:lnTo>
                        <a:lnTo>
                          <a:pt x="175" y="49"/>
                        </a:lnTo>
                        <a:lnTo>
                          <a:pt x="180" y="49"/>
                        </a:lnTo>
                        <a:lnTo>
                          <a:pt x="184" y="49"/>
                        </a:lnTo>
                        <a:lnTo>
                          <a:pt x="186" y="48"/>
                        </a:lnTo>
                        <a:lnTo>
                          <a:pt x="187" y="47"/>
                        </a:lnTo>
                        <a:lnTo>
                          <a:pt x="189" y="46"/>
                        </a:lnTo>
                        <a:lnTo>
                          <a:pt x="193" y="44"/>
                        </a:lnTo>
                        <a:lnTo>
                          <a:pt x="196" y="42"/>
                        </a:lnTo>
                        <a:lnTo>
                          <a:pt x="197" y="41"/>
                        </a:lnTo>
                        <a:lnTo>
                          <a:pt x="196" y="37"/>
                        </a:lnTo>
                        <a:lnTo>
                          <a:pt x="195" y="35"/>
                        </a:lnTo>
                        <a:lnTo>
                          <a:pt x="195" y="33"/>
                        </a:lnTo>
                        <a:lnTo>
                          <a:pt x="198" y="31"/>
                        </a:lnTo>
                        <a:lnTo>
                          <a:pt x="202" y="29"/>
                        </a:lnTo>
                        <a:lnTo>
                          <a:pt x="206" y="27"/>
                        </a:lnTo>
                        <a:lnTo>
                          <a:pt x="210" y="22"/>
                        </a:lnTo>
                        <a:lnTo>
                          <a:pt x="214" y="19"/>
                        </a:lnTo>
                        <a:lnTo>
                          <a:pt x="218" y="17"/>
                        </a:lnTo>
                        <a:lnTo>
                          <a:pt x="221" y="15"/>
                        </a:lnTo>
                        <a:lnTo>
                          <a:pt x="225" y="12"/>
                        </a:lnTo>
                        <a:lnTo>
                          <a:pt x="229" y="9"/>
                        </a:lnTo>
                        <a:lnTo>
                          <a:pt x="232" y="7"/>
                        </a:lnTo>
                        <a:lnTo>
                          <a:pt x="239" y="4"/>
                        </a:lnTo>
                        <a:lnTo>
                          <a:pt x="249" y="2"/>
                        </a:lnTo>
                        <a:lnTo>
                          <a:pt x="258" y="0"/>
                        </a:lnTo>
                        <a:lnTo>
                          <a:pt x="263" y="1"/>
                        </a:lnTo>
                        <a:lnTo>
                          <a:pt x="267" y="4"/>
                        </a:lnTo>
                        <a:lnTo>
                          <a:pt x="271" y="6"/>
                        </a:lnTo>
                        <a:lnTo>
                          <a:pt x="277" y="9"/>
                        </a:lnTo>
                        <a:lnTo>
                          <a:pt x="282" y="10"/>
                        </a:lnTo>
                        <a:lnTo>
                          <a:pt x="286" y="9"/>
                        </a:lnTo>
                        <a:lnTo>
                          <a:pt x="289" y="6"/>
                        </a:lnTo>
                        <a:lnTo>
                          <a:pt x="290" y="6"/>
                        </a:lnTo>
                        <a:lnTo>
                          <a:pt x="291" y="6"/>
                        </a:lnTo>
                        <a:lnTo>
                          <a:pt x="291" y="7"/>
                        </a:lnTo>
                        <a:lnTo>
                          <a:pt x="293" y="10"/>
                        </a:lnTo>
                        <a:lnTo>
                          <a:pt x="294" y="14"/>
                        </a:lnTo>
                        <a:lnTo>
                          <a:pt x="295" y="14"/>
                        </a:lnTo>
                        <a:lnTo>
                          <a:pt x="296" y="12"/>
                        </a:lnTo>
                        <a:lnTo>
                          <a:pt x="298" y="9"/>
                        </a:lnTo>
                        <a:lnTo>
                          <a:pt x="300" y="4"/>
                        </a:lnTo>
                        <a:lnTo>
                          <a:pt x="301" y="4"/>
                        </a:lnTo>
                        <a:lnTo>
                          <a:pt x="303" y="4"/>
                        </a:lnTo>
                        <a:lnTo>
                          <a:pt x="305" y="9"/>
                        </a:lnTo>
                        <a:lnTo>
                          <a:pt x="308" y="15"/>
                        </a:lnTo>
                        <a:lnTo>
                          <a:pt x="312" y="19"/>
                        </a:lnTo>
                        <a:lnTo>
                          <a:pt x="318" y="20"/>
                        </a:lnTo>
                        <a:lnTo>
                          <a:pt x="322" y="20"/>
                        </a:lnTo>
                        <a:lnTo>
                          <a:pt x="323" y="20"/>
                        </a:lnTo>
                        <a:lnTo>
                          <a:pt x="323" y="19"/>
                        </a:lnTo>
                        <a:lnTo>
                          <a:pt x="323" y="17"/>
                        </a:lnTo>
                        <a:lnTo>
                          <a:pt x="325" y="14"/>
                        </a:lnTo>
                        <a:lnTo>
                          <a:pt x="328" y="14"/>
                        </a:lnTo>
                        <a:lnTo>
                          <a:pt x="331" y="14"/>
                        </a:lnTo>
                        <a:lnTo>
                          <a:pt x="333" y="14"/>
                        </a:lnTo>
                        <a:lnTo>
                          <a:pt x="334" y="14"/>
                        </a:lnTo>
                        <a:lnTo>
                          <a:pt x="334" y="15"/>
                        </a:lnTo>
                        <a:lnTo>
                          <a:pt x="333" y="17"/>
                        </a:lnTo>
                        <a:lnTo>
                          <a:pt x="331" y="17"/>
                        </a:lnTo>
                        <a:lnTo>
                          <a:pt x="331" y="37"/>
                        </a:lnTo>
                        <a:lnTo>
                          <a:pt x="333" y="39"/>
                        </a:lnTo>
                        <a:lnTo>
                          <a:pt x="334" y="40"/>
                        </a:lnTo>
                        <a:lnTo>
                          <a:pt x="336" y="42"/>
                        </a:lnTo>
                        <a:lnTo>
                          <a:pt x="337" y="46"/>
                        </a:lnTo>
                        <a:lnTo>
                          <a:pt x="336" y="50"/>
                        </a:lnTo>
                        <a:lnTo>
                          <a:pt x="334" y="53"/>
                        </a:lnTo>
                        <a:lnTo>
                          <a:pt x="334" y="55"/>
                        </a:lnTo>
                        <a:lnTo>
                          <a:pt x="333" y="56"/>
                        </a:lnTo>
                        <a:lnTo>
                          <a:pt x="331" y="56"/>
                        </a:lnTo>
                        <a:lnTo>
                          <a:pt x="330" y="58"/>
                        </a:lnTo>
                        <a:lnTo>
                          <a:pt x="329" y="59"/>
                        </a:lnTo>
                        <a:lnTo>
                          <a:pt x="326" y="59"/>
                        </a:lnTo>
                        <a:lnTo>
                          <a:pt x="323" y="57"/>
                        </a:lnTo>
                        <a:lnTo>
                          <a:pt x="318" y="56"/>
                        </a:lnTo>
                        <a:lnTo>
                          <a:pt x="317" y="57"/>
                        </a:lnTo>
                        <a:lnTo>
                          <a:pt x="315" y="60"/>
                        </a:lnTo>
                        <a:lnTo>
                          <a:pt x="313" y="62"/>
                        </a:lnTo>
                        <a:lnTo>
                          <a:pt x="312" y="63"/>
                        </a:lnTo>
                        <a:lnTo>
                          <a:pt x="311" y="67"/>
                        </a:lnTo>
                        <a:lnTo>
                          <a:pt x="310" y="68"/>
                        </a:lnTo>
                        <a:lnTo>
                          <a:pt x="308" y="69"/>
                        </a:lnTo>
                        <a:lnTo>
                          <a:pt x="308" y="70"/>
                        </a:lnTo>
                        <a:lnTo>
                          <a:pt x="308" y="72"/>
                        </a:lnTo>
                        <a:lnTo>
                          <a:pt x="306" y="76"/>
                        </a:lnTo>
                        <a:lnTo>
                          <a:pt x="305" y="83"/>
                        </a:lnTo>
                        <a:lnTo>
                          <a:pt x="305" y="89"/>
                        </a:lnTo>
                        <a:lnTo>
                          <a:pt x="306" y="95"/>
                        </a:lnTo>
                        <a:lnTo>
                          <a:pt x="306" y="96"/>
                        </a:lnTo>
                        <a:lnTo>
                          <a:pt x="306" y="98"/>
                        </a:lnTo>
                        <a:lnTo>
                          <a:pt x="306" y="102"/>
                        </a:lnTo>
                        <a:lnTo>
                          <a:pt x="306" y="105"/>
                        </a:lnTo>
                        <a:lnTo>
                          <a:pt x="305" y="107"/>
                        </a:lnTo>
                        <a:lnTo>
                          <a:pt x="301" y="110"/>
                        </a:lnTo>
                        <a:lnTo>
                          <a:pt x="298" y="112"/>
                        </a:lnTo>
                        <a:lnTo>
                          <a:pt x="296" y="114"/>
                        </a:lnTo>
                        <a:lnTo>
                          <a:pt x="295" y="114"/>
                        </a:lnTo>
                        <a:lnTo>
                          <a:pt x="295" y="117"/>
                        </a:lnTo>
                        <a:lnTo>
                          <a:pt x="295" y="119"/>
                        </a:lnTo>
                        <a:lnTo>
                          <a:pt x="296" y="121"/>
                        </a:lnTo>
                        <a:lnTo>
                          <a:pt x="292" y="121"/>
                        </a:lnTo>
                        <a:lnTo>
                          <a:pt x="290" y="121"/>
                        </a:lnTo>
                        <a:lnTo>
                          <a:pt x="288" y="121"/>
                        </a:lnTo>
                        <a:lnTo>
                          <a:pt x="286" y="121"/>
                        </a:lnTo>
                        <a:lnTo>
                          <a:pt x="286" y="130"/>
                        </a:lnTo>
                        <a:lnTo>
                          <a:pt x="287" y="134"/>
                        </a:lnTo>
                        <a:lnTo>
                          <a:pt x="289" y="137"/>
                        </a:lnTo>
                        <a:lnTo>
                          <a:pt x="293" y="137"/>
                        </a:lnTo>
                        <a:lnTo>
                          <a:pt x="293" y="138"/>
                        </a:lnTo>
                        <a:lnTo>
                          <a:pt x="293" y="139"/>
                        </a:lnTo>
                        <a:lnTo>
                          <a:pt x="294" y="140"/>
                        </a:lnTo>
                        <a:lnTo>
                          <a:pt x="296" y="141"/>
                        </a:lnTo>
                        <a:lnTo>
                          <a:pt x="296" y="143"/>
                        </a:lnTo>
                        <a:lnTo>
                          <a:pt x="298" y="144"/>
                        </a:lnTo>
                        <a:lnTo>
                          <a:pt x="299" y="144"/>
                        </a:lnTo>
                        <a:lnTo>
                          <a:pt x="301" y="148"/>
                        </a:lnTo>
                        <a:lnTo>
                          <a:pt x="303" y="151"/>
                        </a:lnTo>
                        <a:lnTo>
                          <a:pt x="304" y="156"/>
                        </a:lnTo>
                        <a:lnTo>
                          <a:pt x="306" y="160"/>
                        </a:lnTo>
                        <a:lnTo>
                          <a:pt x="307" y="160"/>
                        </a:lnTo>
                        <a:lnTo>
                          <a:pt x="309" y="161"/>
                        </a:lnTo>
                        <a:lnTo>
                          <a:pt x="312" y="163"/>
                        </a:lnTo>
                        <a:lnTo>
                          <a:pt x="312" y="164"/>
                        </a:lnTo>
                        <a:lnTo>
                          <a:pt x="313" y="165"/>
                        </a:lnTo>
                        <a:lnTo>
                          <a:pt x="315" y="167"/>
                        </a:lnTo>
                        <a:lnTo>
                          <a:pt x="315" y="170"/>
                        </a:lnTo>
                        <a:lnTo>
                          <a:pt x="314" y="170"/>
                        </a:lnTo>
                        <a:lnTo>
                          <a:pt x="311" y="171"/>
                        </a:lnTo>
                        <a:lnTo>
                          <a:pt x="308" y="171"/>
                        </a:lnTo>
                        <a:lnTo>
                          <a:pt x="306" y="170"/>
                        </a:lnTo>
                        <a:lnTo>
                          <a:pt x="303" y="171"/>
                        </a:lnTo>
                        <a:lnTo>
                          <a:pt x="301" y="173"/>
                        </a:lnTo>
                        <a:lnTo>
                          <a:pt x="299" y="175"/>
                        </a:lnTo>
                        <a:lnTo>
                          <a:pt x="296" y="176"/>
                        </a:lnTo>
                        <a:lnTo>
                          <a:pt x="294" y="175"/>
                        </a:lnTo>
                        <a:lnTo>
                          <a:pt x="291" y="175"/>
                        </a:lnTo>
                        <a:lnTo>
                          <a:pt x="288" y="177"/>
                        </a:lnTo>
                        <a:lnTo>
                          <a:pt x="285" y="178"/>
                        </a:lnTo>
                        <a:lnTo>
                          <a:pt x="284" y="178"/>
                        </a:lnTo>
                        <a:lnTo>
                          <a:pt x="282" y="176"/>
                        </a:lnTo>
                        <a:lnTo>
                          <a:pt x="281" y="175"/>
                        </a:lnTo>
                        <a:lnTo>
                          <a:pt x="279" y="174"/>
                        </a:lnTo>
                        <a:lnTo>
                          <a:pt x="277" y="172"/>
                        </a:lnTo>
                        <a:lnTo>
                          <a:pt x="277" y="170"/>
                        </a:lnTo>
                        <a:lnTo>
                          <a:pt x="274" y="169"/>
                        </a:lnTo>
                        <a:lnTo>
                          <a:pt x="271" y="169"/>
                        </a:lnTo>
                        <a:lnTo>
                          <a:pt x="268" y="169"/>
                        </a:lnTo>
                        <a:lnTo>
                          <a:pt x="263" y="170"/>
                        </a:lnTo>
                        <a:lnTo>
                          <a:pt x="261" y="170"/>
                        </a:lnTo>
                        <a:lnTo>
                          <a:pt x="259" y="171"/>
                        </a:lnTo>
                        <a:lnTo>
                          <a:pt x="258" y="173"/>
                        </a:lnTo>
                        <a:lnTo>
                          <a:pt x="258" y="176"/>
                        </a:lnTo>
                        <a:lnTo>
                          <a:pt x="255" y="178"/>
                        </a:lnTo>
                        <a:lnTo>
                          <a:pt x="252" y="179"/>
                        </a:lnTo>
                        <a:lnTo>
                          <a:pt x="249" y="179"/>
                        </a:lnTo>
                        <a:lnTo>
                          <a:pt x="244" y="179"/>
                        </a:lnTo>
                        <a:lnTo>
                          <a:pt x="240" y="179"/>
                        </a:lnTo>
                        <a:lnTo>
                          <a:pt x="238" y="178"/>
                        </a:lnTo>
                        <a:lnTo>
                          <a:pt x="236" y="179"/>
                        </a:lnTo>
                        <a:lnTo>
                          <a:pt x="234" y="182"/>
                        </a:lnTo>
                        <a:lnTo>
                          <a:pt x="234" y="188"/>
                        </a:lnTo>
                        <a:lnTo>
                          <a:pt x="233" y="193"/>
                        </a:lnTo>
                        <a:lnTo>
                          <a:pt x="232" y="197"/>
                        </a:lnTo>
                        <a:lnTo>
                          <a:pt x="232" y="198"/>
                        </a:lnTo>
                        <a:lnTo>
                          <a:pt x="229" y="197"/>
                        </a:lnTo>
                        <a:lnTo>
                          <a:pt x="226" y="197"/>
                        </a:lnTo>
                        <a:lnTo>
                          <a:pt x="223" y="198"/>
                        </a:lnTo>
                        <a:lnTo>
                          <a:pt x="218" y="198"/>
                        </a:lnTo>
                        <a:lnTo>
                          <a:pt x="215" y="198"/>
                        </a:lnTo>
                        <a:lnTo>
                          <a:pt x="213" y="198"/>
                        </a:lnTo>
                        <a:lnTo>
                          <a:pt x="212" y="202"/>
                        </a:lnTo>
                        <a:lnTo>
                          <a:pt x="213" y="207"/>
                        </a:lnTo>
                        <a:lnTo>
                          <a:pt x="214" y="209"/>
                        </a:lnTo>
                        <a:lnTo>
                          <a:pt x="215" y="209"/>
                        </a:lnTo>
                        <a:lnTo>
                          <a:pt x="217" y="210"/>
                        </a:lnTo>
                        <a:lnTo>
                          <a:pt x="217" y="213"/>
                        </a:lnTo>
                        <a:lnTo>
                          <a:pt x="215" y="218"/>
                        </a:lnTo>
                        <a:lnTo>
                          <a:pt x="214" y="221"/>
                        </a:lnTo>
                        <a:lnTo>
                          <a:pt x="212" y="223"/>
                        </a:lnTo>
                        <a:lnTo>
                          <a:pt x="210" y="225"/>
                        </a:lnTo>
                        <a:lnTo>
                          <a:pt x="206" y="225"/>
                        </a:lnTo>
                        <a:lnTo>
                          <a:pt x="203" y="227"/>
                        </a:lnTo>
                        <a:lnTo>
                          <a:pt x="199" y="226"/>
                        </a:lnTo>
                        <a:lnTo>
                          <a:pt x="195" y="226"/>
                        </a:lnTo>
                        <a:lnTo>
                          <a:pt x="192" y="225"/>
                        </a:lnTo>
                        <a:lnTo>
                          <a:pt x="188" y="226"/>
                        </a:lnTo>
                        <a:lnTo>
                          <a:pt x="186" y="227"/>
                        </a:lnTo>
                        <a:lnTo>
                          <a:pt x="182" y="229"/>
                        </a:lnTo>
                        <a:lnTo>
                          <a:pt x="177" y="232"/>
                        </a:lnTo>
                        <a:lnTo>
                          <a:pt x="175" y="234"/>
                        </a:lnTo>
                        <a:lnTo>
                          <a:pt x="174" y="235"/>
                        </a:lnTo>
                        <a:lnTo>
                          <a:pt x="173" y="234"/>
                        </a:lnTo>
                        <a:lnTo>
                          <a:pt x="170" y="234"/>
                        </a:lnTo>
                        <a:lnTo>
                          <a:pt x="167" y="232"/>
                        </a:lnTo>
                        <a:lnTo>
                          <a:pt x="162" y="230"/>
                        </a:lnTo>
                        <a:lnTo>
                          <a:pt x="158" y="229"/>
                        </a:lnTo>
                        <a:lnTo>
                          <a:pt x="156" y="229"/>
                        </a:lnTo>
                        <a:lnTo>
                          <a:pt x="154" y="229"/>
                        </a:lnTo>
                        <a:lnTo>
                          <a:pt x="152" y="230"/>
                        </a:lnTo>
                        <a:lnTo>
                          <a:pt x="152" y="231"/>
                        </a:lnTo>
                        <a:lnTo>
                          <a:pt x="151" y="230"/>
                        </a:lnTo>
                        <a:lnTo>
                          <a:pt x="148" y="229"/>
                        </a:lnTo>
                        <a:lnTo>
                          <a:pt x="144" y="227"/>
                        </a:lnTo>
                        <a:lnTo>
                          <a:pt x="141" y="227"/>
                        </a:lnTo>
                        <a:lnTo>
                          <a:pt x="139" y="227"/>
                        </a:lnTo>
                        <a:lnTo>
                          <a:pt x="138" y="225"/>
                        </a:lnTo>
                        <a:lnTo>
                          <a:pt x="136" y="225"/>
                        </a:lnTo>
                        <a:lnTo>
                          <a:pt x="135" y="223"/>
                        </a:lnTo>
                        <a:lnTo>
                          <a:pt x="133" y="221"/>
                        </a:lnTo>
                        <a:lnTo>
                          <a:pt x="131" y="218"/>
                        </a:lnTo>
                        <a:lnTo>
                          <a:pt x="130" y="217"/>
                        </a:lnTo>
                        <a:lnTo>
                          <a:pt x="128" y="217"/>
                        </a:lnTo>
                        <a:lnTo>
                          <a:pt x="127" y="218"/>
                        </a:lnTo>
                        <a:lnTo>
                          <a:pt x="126" y="218"/>
                        </a:lnTo>
                        <a:lnTo>
                          <a:pt x="123" y="219"/>
                        </a:lnTo>
                        <a:lnTo>
                          <a:pt x="119" y="219"/>
                        </a:lnTo>
                        <a:lnTo>
                          <a:pt x="114" y="220"/>
                        </a:lnTo>
                        <a:lnTo>
                          <a:pt x="109" y="222"/>
                        </a:lnTo>
                        <a:lnTo>
                          <a:pt x="107" y="223"/>
                        </a:lnTo>
                        <a:lnTo>
                          <a:pt x="105" y="226"/>
                        </a:lnTo>
                        <a:lnTo>
                          <a:pt x="103" y="228"/>
                        </a:lnTo>
                        <a:lnTo>
                          <a:pt x="102" y="227"/>
                        </a:lnTo>
                        <a:lnTo>
                          <a:pt x="100" y="225"/>
                        </a:lnTo>
                        <a:lnTo>
                          <a:pt x="99" y="223"/>
                        </a:lnTo>
                        <a:lnTo>
                          <a:pt x="97" y="223"/>
                        </a:lnTo>
                        <a:lnTo>
                          <a:pt x="94" y="224"/>
                        </a:lnTo>
                        <a:lnTo>
                          <a:pt x="91" y="227"/>
                        </a:lnTo>
                        <a:lnTo>
                          <a:pt x="86" y="229"/>
                        </a:lnTo>
                        <a:lnTo>
                          <a:pt x="83" y="229"/>
                        </a:lnTo>
                        <a:lnTo>
                          <a:pt x="80" y="230"/>
                        </a:lnTo>
                        <a:lnTo>
                          <a:pt x="79" y="231"/>
                        </a:lnTo>
                        <a:lnTo>
                          <a:pt x="77" y="232"/>
                        </a:lnTo>
                        <a:lnTo>
                          <a:pt x="74" y="231"/>
                        </a:lnTo>
                        <a:lnTo>
                          <a:pt x="73" y="231"/>
                        </a:lnTo>
                        <a:lnTo>
                          <a:pt x="72" y="231"/>
                        </a:lnTo>
                        <a:lnTo>
                          <a:pt x="71" y="232"/>
                        </a:lnTo>
                        <a:lnTo>
                          <a:pt x="68" y="234"/>
                        </a:lnTo>
                        <a:lnTo>
                          <a:pt x="65" y="235"/>
                        </a:lnTo>
                        <a:lnTo>
                          <a:pt x="62" y="235"/>
                        </a:lnTo>
                        <a:lnTo>
                          <a:pt x="57" y="234"/>
                        </a:lnTo>
                        <a:lnTo>
                          <a:pt x="57" y="232"/>
                        </a:lnTo>
                        <a:lnTo>
                          <a:pt x="57" y="230"/>
                        </a:lnTo>
                        <a:lnTo>
                          <a:pt x="57" y="229"/>
                        </a:lnTo>
                        <a:lnTo>
                          <a:pt x="57" y="227"/>
                        </a:lnTo>
                        <a:lnTo>
                          <a:pt x="57" y="225"/>
                        </a:lnTo>
                        <a:lnTo>
                          <a:pt x="57" y="224"/>
                        </a:lnTo>
                        <a:lnTo>
                          <a:pt x="57" y="222"/>
                        </a:lnTo>
                        <a:lnTo>
                          <a:pt x="57" y="220"/>
                        </a:lnTo>
                        <a:lnTo>
                          <a:pt x="57" y="218"/>
                        </a:lnTo>
                        <a:lnTo>
                          <a:pt x="57" y="217"/>
                        </a:lnTo>
                        <a:lnTo>
                          <a:pt x="57" y="215"/>
                        </a:lnTo>
                        <a:lnTo>
                          <a:pt x="56" y="213"/>
                        </a:lnTo>
                        <a:lnTo>
                          <a:pt x="56" y="212"/>
                        </a:lnTo>
                        <a:lnTo>
                          <a:pt x="57" y="212"/>
                        </a:lnTo>
                        <a:lnTo>
                          <a:pt x="57" y="210"/>
                        </a:lnTo>
                        <a:lnTo>
                          <a:pt x="57" y="209"/>
                        </a:lnTo>
                        <a:lnTo>
                          <a:pt x="58" y="209"/>
                        </a:lnTo>
                        <a:lnTo>
                          <a:pt x="59" y="209"/>
                        </a:lnTo>
                        <a:lnTo>
                          <a:pt x="60" y="207"/>
                        </a:lnTo>
                        <a:lnTo>
                          <a:pt x="60" y="205"/>
                        </a:lnTo>
                        <a:lnTo>
                          <a:pt x="59" y="204"/>
                        </a:lnTo>
                        <a:lnTo>
                          <a:pt x="57" y="202"/>
                        </a:lnTo>
                        <a:lnTo>
                          <a:pt x="56" y="202"/>
                        </a:lnTo>
                        <a:lnTo>
                          <a:pt x="55" y="202"/>
                        </a:lnTo>
                        <a:lnTo>
                          <a:pt x="55" y="200"/>
                        </a:lnTo>
                        <a:lnTo>
                          <a:pt x="55" y="199"/>
                        </a:lnTo>
                        <a:lnTo>
                          <a:pt x="55" y="198"/>
                        </a:lnTo>
                        <a:lnTo>
                          <a:pt x="55" y="197"/>
                        </a:lnTo>
                        <a:lnTo>
                          <a:pt x="55" y="196"/>
                        </a:lnTo>
                        <a:lnTo>
                          <a:pt x="54" y="194"/>
                        </a:lnTo>
                        <a:lnTo>
                          <a:pt x="53" y="194"/>
                        </a:lnTo>
                        <a:lnTo>
                          <a:pt x="52" y="193"/>
                        </a:lnTo>
                        <a:lnTo>
                          <a:pt x="51" y="189"/>
                        </a:lnTo>
                        <a:lnTo>
                          <a:pt x="50" y="188"/>
                        </a:lnTo>
                        <a:lnTo>
                          <a:pt x="48" y="186"/>
                        </a:lnTo>
                        <a:lnTo>
                          <a:pt x="48" y="185"/>
                        </a:lnTo>
                        <a:lnTo>
                          <a:pt x="48" y="184"/>
                        </a:lnTo>
                        <a:lnTo>
                          <a:pt x="48" y="182"/>
                        </a:lnTo>
                        <a:lnTo>
                          <a:pt x="46" y="182"/>
                        </a:lnTo>
                        <a:lnTo>
                          <a:pt x="41" y="182"/>
                        </a:lnTo>
                        <a:lnTo>
                          <a:pt x="40" y="182"/>
                        </a:lnTo>
                        <a:lnTo>
                          <a:pt x="39" y="182"/>
                        </a:lnTo>
                        <a:lnTo>
                          <a:pt x="38" y="182"/>
                        </a:lnTo>
                        <a:lnTo>
                          <a:pt x="36" y="181"/>
                        </a:lnTo>
                        <a:lnTo>
                          <a:pt x="35" y="180"/>
                        </a:lnTo>
                        <a:lnTo>
                          <a:pt x="33" y="179"/>
                        </a:lnTo>
                        <a:lnTo>
                          <a:pt x="31" y="179"/>
                        </a:lnTo>
                        <a:lnTo>
                          <a:pt x="30" y="177"/>
                        </a:lnTo>
                        <a:lnTo>
                          <a:pt x="29" y="176"/>
                        </a:lnTo>
                        <a:lnTo>
                          <a:pt x="28" y="174"/>
                        </a:lnTo>
                        <a:lnTo>
                          <a:pt x="26" y="173"/>
                        </a:lnTo>
                        <a:lnTo>
                          <a:pt x="24" y="171"/>
                        </a:lnTo>
                        <a:lnTo>
                          <a:pt x="22" y="168"/>
                        </a:lnTo>
                        <a:lnTo>
                          <a:pt x="21" y="166"/>
                        </a:lnTo>
                        <a:lnTo>
                          <a:pt x="19" y="163"/>
                        </a:lnTo>
                        <a:lnTo>
                          <a:pt x="18" y="163"/>
                        </a:lnTo>
                        <a:lnTo>
                          <a:pt x="17" y="163"/>
                        </a:lnTo>
                        <a:lnTo>
                          <a:pt x="12" y="163"/>
                        </a:lnTo>
                        <a:lnTo>
                          <a:pt x="14" y="161"/>
                        </a:lnTo>
                        <a:lnTo>
                          <a:pt x="15" y="159"/>
                        </a:lnTo>
                        <a:lnTo>
                          <a:pt x="17" y="157"/>
                        </a:lnTo>
                        <a:lnTo>
                          <a:pt x="19" y="156"/>
                        </a:lnTo>
                        <a:lnTo>
                          <a:pt x="19" y="155"/>
                        </a:lnTo>
                        <a:lnTo>
                          <a:pt x="19" y="154"/>
                        </a:lnTo>
                        <a:lnTo>
                          <a:pt x="19" y="153"/>
                        </a:lnTo>
                        <a:lnTo>
                          <a:pt x="19" y="151"/>
                        </a:lnTo>
                        <a:lnTo>
                          <a:pt x="18" y="150"/>
                        </a:lnTo>
                        <a:lnTo>
                          <a:pt x="17" y="149"/>
                        </a:lnTo>
                        <a:lnTo>
                          <a:pt x="15" y="147"/>
                        </a:lnTo>
                        <a:lnTo>
                          <a:pt x="15" y="148"/>
                        </a:lnTo>
                        <a:lnTo>
                          <a:pt x="14" y="149"/>
                        </a:lnTo>
                        <a:lnTo>
                          <a:pt x="12" y="147"/>
                        </a:lnTo>
                        <a:lnTo>
                          <a:pt x="12" y="145"/>
                        </a:lnTo>
                        <a:lnTo>
                          <a:pt x="12" y="144"/>
                        </a:lnTo>
                        <a:lnTo>
                          <a:pt x="12" y="143"/>
                        </a:lnTo>
                        <a:lnTo>
                          <a:pt x="12" y="141"/>
                        </a:lnTo>
                        <a:lnTo>
                          <a:pt x="12" y="139"/>
                        </a:lnTo>
                        <a:lnTo>
                          <a:pt x="14" y="139"/>
                        </a:lnTo>
                        <a:lnTo>
                          <a:pt x="15" y="137"/>
                        </a:lnTo>
                        <a:lnTo>
                          <a:pt x="14" y="135"/>
                        </a:lnTo>
                        <a:lnTo>
                          <a:pt x="14" y="134"/>
                        </a:lnTo>
                        <a:lnTo>
                          <a:pt x="11" y="133"/>
                        </a:lnTo>
                        <a:lnTo>
                          <a:pt x="12" y="131"/>
                        </a:lnTo>
                        <a:lnTo>
                          <a:pt x="12" y="129"/>
                        </a:lnTo>
                        <a:lnTo>
                          <a:pt x="14" y="128"/>
                        </a:lnTo>
                        <a:lnTo>
                          <a:pt x="14" y="127"/>
                        </a:lnTo>
                        <a:lnTo>
                          <a:pt x="15" y="127"/>
                        </a:lnTo>
                        <a:lnTo>
                          <a:pt x="17" y="127"/>
                        </a:lnTo>
                        <a:lnTo>
                          <a:pt x="19" y="127"/>
                        </a:lnTo>
                        <a:lnTo>
                          <a:pt x="20" y="126"/>
                        </a:lnTo>
                        <a:lnTo>
                          <a:pt x="21" y="126"/>
                        </a:lnTo>
                        <a:lnTo>
                          <a:pt x="21" y="127"/>
                        </a:lnTo>
                        <a:lnTo>
                          <a:pt x="22" y="127"/>
                        </a:lnTo>
                        <a:lnTo>
                          <a:pt x="24" y="127"/>
                        </a:lnTo>
                        <a:lnTo>
                          <a:pt x="25" y="127"/>
                        </a:lnTo>
                        <a:lnTo>
                          <a:pt x="26" y="127"/>
                        </a:lnTo>
                        <a:lnTo>
                          <a:pt x="28" y="127"/>
                        </a:lnTo>
                        <a:lnTo>
                          <a:pt x="29" y="127"/>
                        </a:lnTo>
                        <a:lnTo>
                          <a:pt x="30" y="127"/>
                        </a:lnTo>
                        <a:lnTo>
                          <a:pt x="31" y="127"/>
                        </a:lnTo>
                        <a:lnTo>
                          <a:pt x="32" y="125"/>
                        </a:lnTo>
                        <a:lnTo>
                          <a:pt x="35" y="125"/>
                        </a:lnTo>
                        <a:lnTo>
                          <a:pt x="37" y="123"/>
                        </a:lnTo>
                        <a:lnTo>
                          <a:pt x="38" y="121"/>
                        </a:lnTo>
                        <a:lnTo>
                          <a:pt x="40" y="121"/>
                        </a:lnTo>
                        <a:lnTo>
                          <a:pt x="41" y="120"/>
                        </a:lnTo>
                        <a:lnTo>
                          <a:pt x="41" y="117"/>
                        </a:lnTo>
                        <a:lnTo>
                          <a:pt x="42" y="117"/>
                        </a:lnTo>
                        <a:lnTo>
                          <a:pt x="43" y="116"/>
                        </a:lnTo>
                        <a:lnTo>
                          <a:pt x="44" y="114"/>
                        </a:lnTo>
                        <a:lnTo>
                          <a:pt x="45" y="114"/>
                        </a:lnTo>
                        <a:lnTo>
                          <a:pt x="45" y="113"/>
                        </a:lnTo>
                        <a:lnTo>
                          <a:pt x="46" y="112"/>
                        </a:lnTo>
                        <a:lnTo>
                          <a:pt x="48" y="112"/>
                        </a:lnTo>
                        <a:lnTo>
                          <a:pt x="48" y="111"/>
                        </a:lnTo>
                        <a:lnTo>
                          <a:pt x="48" y="110"/>
                        </a:lnTo>
                        <a:lnTo>
                          <a:pt x="46" y="109"/>
                        </a:lnTo>
                        <a:lnTo>
                          <a:pt x="45" y="108"/>
                        </a:lnTo>
                        <a:lnTo>
                          <a:pt x="45" y="106"/>
                        </a:lnTo>
                        <a:lnTo>
                          <a:pt x="45" y="105"/>
                        </a:lnTo>
                        <a:lnTo>
                          <a:pt x="44" y="105"/>
                        </a:lnTo>
                        <a:lnTo>
                          <a:pt x="43" y="105"/>
                        </a:lnTo>
                        <a:lnTo>
                          <a:pt x="42" y="105"/>
                        </a:lnTo>
                        <a:lnTo>
                          <a:pt x="41" y="105"/>
                        </a:lnTo>
                        <a:lnTo>
                          <a:pt x="39" y="104"/>
                        </a:lnTo>
                        <a:lnTo>
                          <a:pt x="37" y="103"/>
                        </a:lnTo>
                        <a:lnTo>
                          <a:pt x="35" y="102"/>
                        </a:lnTo>
                        <a:lnTo>
                          <a:pt x="35" y="101"/>
                        </a:lnTo>
                        <a:lnTo>
                          <a:pt x="33" y="101"/>
                        </a:lnTo>
                        <a:lnTo>
                          <a:pt x="32" y="101"/>
                        </a:lnTo>
                        <a:lnTo>
                          <a:pt x="31" y="100"/>
                        </a:lnTo>
                        <a:lnTo>
                          <a:pt x="31" y="98"/>
                        </a:lnTo>
                        <a:lnTo>
                          <a:pt x="31" y="97"/>
                        </a:lnTo>
                        <a:lnTo>
                          <a:pt x="31" y="96"/>
                        </a:lnTo>
                        <a:lnTo>
                          <a:pt x="31" y="95"/>
                        </a:lnTo>
                        <a:lnTo>
                          <a:pt x="30" y="94"/>
                        </a:lnTo>
                        <a:lnTo>
                          <a:pt x="29" y="93"/>
                        </a:lnTo>
                        <a:lnTo>
                          <a:pt x="29" y="92"/>
                        </a:lnTo>
                        <a:lnTo>
                          <a:pt x="29" y="91"/>
                        </a:lnTo>
                        <a:lnTo>
                          <a:pt x="27" y="91"/>
                        </a:lnTo>
                        <a:lnTo>
                          <a:pt x="26" y="91"/>
                        </a:lnTo>
                        <a:lnTo>
                          <a:pt x="24" y="91"/>
                        </a:lnTo>
                        <a:lnTo>
                          <a:pt x="22" y="91"/>
                        </a:lnTo>
                        <a:lnTo>
                          <a:pt x="22" y="90"/>
                        </a:lnTo>
                        <a:lnTo>
                          <a:pt x="22" y="89"/>
                        </a:lnTo>
                        <a:lnTo>
                          <a:pt x="20" y="89"/>
                        </a:lnTo>
                        <a:lnTo>
                          <a:pt x="19" y="88"/>
                        </a:lnTo>
                        <a:lnTo>
                          <a:pt x="19" y="87"/>
                        </a:lnTo>
                        <a:lnTo>
                          <a:pt x="19" y="85"/>
                        </a:lnTo>
                        <a:lnTo>
                          <a:pt x="17" y="85"/>
                        </a:lnTo>
                        <a:lnTo>
                          <a:pt x="15" y="85"/>
                        </a:lnTo>
                        <a:lnTo>
                          <a:pt x="14" y="85"/>
                        </a:lnTo>
                        <a:lnTo>
                          <a:pt x="12" y="85"/>
                        </a:lnTo>
                        <a:lnTo>
                          <a:pt x="12" y="84"/>
                        </a:lnTo>
                        <a:lnTo>
                          <a:pt x="11" y="83"/>
                        </a:lnTo>
                        <a:lnTo>
                          <a:pt x="9" y="82"/>
                        </a:lnTo>
                        <a:lnTo>
                          <a:pt x="9" y="80"/>
                        </a:lnTo>
                        <a:lnTo>
                          <a:pt x="9" y="79"/>
                        </a:lnTo>
                        <a:lnTo>
                          <a:pt x="9" y="77"/>
                        </a:lnTo>
                        <a:lnTo>
                          <a:pt x="9" y="75"/>
                        </a:lnTo>
                        <a:lnTo>
                          <a:pt x="8" y="73"/>
                        </a:lnTo>
                        <a:lnTo>
                          <a:pt x="8" y="71"/>
                        </a:lnTo>
                        <a:lnTo>
                          <a:pt x="6" y="69"/>
                        </a:lnTo>
                        <a:lnTo>
                          <a:pt x="5" y="68"/>
                        </a:lnTo>
                        <a:lnTo>
                          <a:pt x="3" y="67"/>
                        </a:lnTo>
                        <a:lnTo>
                          <a:pt x="3" y="65"/>
                        </a:lnTo>
                        <a:lnTo>
                          <a:pt x="3" y="64"/>
                        </a:lnTo>
                        <a:lnTo>
                          <a:pt x="3" y="60"/>
                        </a:lnTo>
                        <a:lnTo>
                          <a:pt x="3" y="59"/>
                        </a:lnTo>
                        <a:lnTo>
                          <a:pt x="3" y="58"/>
                        </a:lnTo>
                        <a:lnTo>
                          <a:pt x="2" y="57"/>
                        </a:lnTo>
                        <a:lnTo>
                          <a:pt x="0" y="56"/>
                        </a:lnTo>
                        <a:lnTo>
                          <a:pt x="0" y="54"/>
                        </a:lnTo>
                        <a:lnTo>
                          <a:pt x="1" y="53"/>
                        </a:lnTo>
                        <a:lnTo>
                          <a:pt x="2" y="53"/>
                        </a:lnTo>
                        <a:lnTo>
                          <a:pt x="3" y="53"/>
                        </a:lnTo>
                        <a:lnTo>
                          <a:pt x="3" y="51"/>
                        </a:lnTo>
                        <a:lnTo>
                          <a:pt x="3" y="50"/>
                        </a:lnTo>
                        <a:lnTo>
                          <a:pt x="4" y="50"/>
                        </a:lnTo>
                        <a:lnTo>
                          <a:pt x="6" y="49"/>
                        </a:lnTo>
                        <a:lnTo>
                          <a:pt x="6" y="45"/>
                        </a:lnTo>
                        <a:lnTo>
                          <a:pt x="6" y="43"/>
                        </a:lnTo>
                        <a:lnTo>
                          <a:pt x="8" y="42"/>
                        </a:lnTo>
                        <a:lnTo>
                          <a:pt x="9" y="41"/>
                        </a:lnTo>
                        <a:lnTo>
                          <a:pt x="11" y="41"/>
                        </a:lnTo>
                        <a:lnTo>
                          <a:pt x="12" y="40"/>
                        </a:lnTo>
                        <a:lnTo>
                          <a:pt x="14" y="38"/>
                        </a:lnTo>
                        <a:lnTo>
                          <a:pt x="15" y="37"/>
                        </a:lnTo>
                        <a:lnTo>
                          <a:pt x="15" y="36"/>
                        </a:lnTo>
                        <a:lnTo>
                          <a:pt x="15" y="34"/>
                        </a:lnTo>
                        <a:lnTo>
                          <a:pt x="17" y="32"/>
                        </a:lnTo>
                        <a:lnTo>
                          <a:pt x="17" y="31"/>
                        </a:lnTo>
                        <a:lnTo>
                          <a:pt x="18" y="30"/>
                        </a:lnTo>
                        <a:lnTo>
                          <a:pt x="19" y="30"/>
                        </a:lnTo>
                        <a:lnTo>
                          <a:pt x="19" y="29"/>
                        </a:lnTo>
                        <a:lnTo>
                          <a:pt x="19" y="30"/>
                        </a:lnTo>
                        <a:lnTo>
                          <a:pt x="19" y="27"/>
                        </a:lnTo>
                        <a:lnTo>
                          <a:pt x="22" y="3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8" name="Freeform 1676">
                    <a:extLst>
                      <a:ext uri="{FF2B5EF4-FFF2-40B4-BE49-F238E27FC236}">
                        <a16:creationId xmlns:a16="http://schemas.microsoft.com/office/drawing/2014/main" xmlns="" id="{19298CAF-F085-4D9D-AE7F-0ED120B8321B}"/>
                      </a:ext>
                    </a:extLst>
                  </p:cNvPr>
                  <p:cNvSpPr>
                    <a:spLocks/>
                  </p:cNvSpPr>
                  <p:nvPr/>
                </p:nvSpPr>
                <p:spPr bwMode="gray">
                  <a:xfrm>
                    <a:off x="4651177" y="3821853"/>
                    <a:ext cx="211370" cy="236972"/>
                  </a:xfrm>
                  <a:custGeom>
                    <a:avLst/>
                    <a:gdLst>
                      <a:gd name="T0" fmla="*/ 2147483647 w 190"/>
                      <a:gd name="T1" fmla="*/ 2147483647 h 213"/>
                      <a:gd name="T2" fmla="*/ 2147483647 w 190"/>
                      <a:gd name="T3" fmla="*/ 2147483647 h 213"/>
                      <a:gd name="T4" fmla="*/ 2147483647 w 190"/>
                      <a:gd name="T5" fmla="*/ 2147483647 h 213"/>
                      <a:gd name="T6" fmla="*/ 2147483647 w 190"/>
                      <a:gd name="T7" fmla="*/ 2147483647 h 213"/>
                      <a:gd name="T8" fmla="*/ 2147483647 w 190"/>
                      <a:gd name="T9" fmla="*/ 2147483647 h 213"/>
                      <a:gd name="T10" fmla="*/ 2147483647 w 190"/>
                      <a:gd name="T11" fmla="*/ 2147483647 h 213"/>
                      <a:gd name="T12" fmla="*/ 2147483647 w 190"/>
                      <a:gd name="T13" fmla="*/ 2147483647 h 213"/>
                      <a:gd name="T14" fmla="*/ 2147483647 w 190"/>
                      <a:gd name="T15" fmla="*/ 2147483647 h 213"/>
                      <a:gd name="T16" fmla="*/ 2147483647 w 190"/>
                      <a:gd name="T17" fmla="*/ 2147483647 h 213"/>
                      <a:gd name="T18" fmla="*/ 2147483647 w 190"/>
                      <a:gd name="T19" fmla="*/ 2147483647 h 213"/>
                      <a:gd name="T20" fmla="*/ 2147483647 w 190"/>
                      <a:gd name="T21" fmla="*/ 2147483647 h 213"/>
                      <a:gd name="T22" fmla="*/ 2147483647 w 190"/>
                      <a:gd name="T23" fmla="*/ 2147483647 h 213"/>
                      <a:gd name="T24" fmla="*/ 2147483647 w 190"/>
                      <a:gd name="T25" fmla="*/ 2147483647 h 213"/>
                      <a:gd name="T26" fmla="*/ 2147483647 w 190"/>
                      <a:gd name="T27" fmla="*/ 2147483647 h 213"/>
                      <a:gd name="T28" fmla="*/ 2147483647 w 190"/>
                      <a:gd name="T29" fmla="*/ 2147483647 h 213"/>
                      <a:gd name="T30" fmla="*/ 2147483647 w 190"/>
                      <a:gd name="T31" fmla="*/ 2147483647 h 213"/>
                      <a:gd name="T32" fmla="*/ 2147483647 w 190"/>
                      <a:gd name="T33" fmla="*/ 2147483647 h 213"/>
                      <a:gd name="T34" fmla="*/ 2147483647 w 190"/>
                      <a:gd name="T35" fmla="*/ 2147483647 h 213"/>
                      <a:gd name="T36" fmla="*/ 2147483647 w 190"/>
                      <a:gd name="T37" fmla="*/ 2147483647 h 213"/>
                      <a:gd name="T38" fmla="*/ 2147483647 w 190"/>
                      <a:gd name="T39" fmla="*/ 2147483647 h 213"/>
                      <a:gd name="T40" fmla="*/ 2147483647 w 190"/>
                      <a:gd name="T41" fmla="*/ 2147483647 h 213"/>
                      <a:gd name="T42" fmla="*/ 2147483647 w 190"/>
                      <a:gd name="T43" fmla="*/ 2147483647 h 213"/>
                      <a:gd name="T44" fmla="*/ 2147483647 w 190"/>
                      <a:gd name="T45" fmla="*/ 2147483647 h 213"/>
                      <a:gd name="T46" fmla="*/ 2147483647 w 190"/>
                      <a:gd name="T47" fmla="*/ 2147483647 h 213"/>
                      <a:gd name="T48" fmla="*/ 2147483647 w 190"/>
                      <a:gd name="T49" fmla="*/ 2147483647 h 213"/>
                      <a:gd name="T50" fmla="*/ 2147483647 w 190"/>
                      <a:gd name="T51" fmla="*/ 2147483647 h 213"/>
                      <a:gd name="T52" fmla="*/ 2147483647 w 190"/>
                      <a:gd name="T53" fmla="*/ 2147483647 h 213"/>
                      <a:gd name="T54" fmla="*/ 2147483647 w 190"/>
                      <a:gd name="T55" fmla="*/ 2147483647 h 213"/>
                      <a:gd name="T56" fmla="*/ 2147483647 w 190"/>
                      <a:gd name="T57" fmla="*/ 2147483647 h 213"/>
                      <a:gd name="T58" fmla="*/ 2147483647 w 190"/>
                      <a:gd name="T59" fmla="*/ 2147483647 h 213"/>
                      <a:gd name="T60" fmla="*/ 2147483647 w 190"/>
                      <a:gd name="T61" fmla="*/ 2147483647 h 213"/>
                      <a:gd name="T62" fmla="*/ 2147483647 w 190"/>
                      <a:gd name="T63" fmla="*/ 2147483647 h 213"/>
                      <a:gd name="T64" fmla="*/ 2147483647 w 190"/>
                      <a:gd name="T65" fmla="*/ 2147483647 h 213"/>
                      <a:gd name="T66" fmla="*/ 2147483647 w 190"/>
                      <a:gd name="T67" fmla="*/ 2147483647 h 213"/>
                      <a:gd name="T68" fmla="*/ 2147483647 w 190"/>
                      <a:gd name="T69" fmla="*/ 2147483647 h 213"/>
                      <a:gd name="T70" fmla="*/ 2147483647 w 190"/>
                      <a:gd name="T71" fmla="*/ 2147483647 h 213"/>
                      <a:gd name="T72" fmla="*/ 2147483647 w 190"/>
                      <a:gd name="T73" fmla="*/ 2147483647 h 213"/>
                      <a:gd name="T74" fmla="*/ 2147483647 w 190"/>
                      <a:gd name="T75" fmla="*/ 2147483647 h 213"/>
                      <a:gd name="T76" fmla="*/ 2147483647 w 190"/>
                      <a:gd name="T77" fmla="*/ 2147483647 h 213"/>
                      <a:gd name="T78" fmla="*/ 2147483647 w 190"/>
                      <a:gd name="T79" fmla="*/ 2147483647 h 213"/>
                      <a:gd name="T80" fmla="*/ 2147483647 w 190"/>
                      <a:gd name="T81" fmla="*/ 2147483647 h 213"/>
                      <a:gd name="T82" fmla="*/ 2147483647 w 190"/>
                      <a:gd name="T83" fmla="*/ 2147483647 h 213"/>
                      <a:gd name="T84" fmla="*/ 2147483647 w 190"/>
                      <a:gd name="T85" fmla="*/ 2147483647 h 213"/>
                      <a:gd name="T86" fmla="*/ 2147483647 w 190"/>
                      <a:gd name="T87" fmla="*/ 2147483647 h 213"/>
                      <a:gd name="T88" fmla="*/ 2147483647 w 190"/>
                      <a:gd name="T89" fmla="*/ 2147483647 h 213"/>
                      <a:gd name="T90" fmla="*/ 2147483647 w 190"/>
                      <a:gd name="T91" fmla="*/ 2147483647 h 213"/>
                      <a:gd name="T92" fmla="*/ 2147483647 w 190"/>
                      <a:gd name="T93" fmla="*/ 2147483647 h 213"/>
                      <a:gd name="T94" fmla="*/ 2147483647 w 190"/>
                      <a:gd name="T95" fmla="*/ 2147483647 h 213"/>
                      <a:gd name="T96" fmla="*/ 2147483647 w 190"/>
                      <a:gd name="T97" fmla="*/ 2147483647 h 213"/>
                      <a:gd name="T98" fmla="*/ 2147483647 w 190"/>
                      <a:gd name="T99" fmla="*/ 2147483647 h 213"/>
                      <a:gd name="T100" fmla="*/ 2147483647 w 190"/>
                      <a:gd name="T101" fmla="*/ 2147483647 h 213"/>
                      <a:gd name="T102" fmla="*/ 2147483647 w 190"/>
                      <a:gd name="T103" fmla="*/ 2147483647 h 213"/>
                      <a:gd name="T104" fmla="*/ 2147483647 w 190"/>
                      <a:gd name="T105" fmla="*/ 2147483647 h 213"/>
                      <a:gd name="T106" fmla="*/ 2147483647 w 190"/>
                      <a:gd name="T107" fmla="*/ 2147483647 h 213"/>
                      <a:gd name="T108" fmla="*/ 2147483647 w 190"/>
                      <a:gd name="T109" fmla="*/ 2147483647 h 213"/>
                      <a:gd name="T110" fmla="*/ 2147483647 w 190"/>
                      <a:gd name="T111" fmla="*/ 2147483647 h 213"/>
                      <a:gd name="T112" fmla="*/ 2147483647 w 190"/>
                      <a:gd name="T113" fmla="*/ 2147483647 h 213"/>
                      <a:gd name="T114" fmla="*/ 2147483647 w 190"/>
                      <a:gd name="T115" fmla="*/ 2147483647 h 213"/>
                      <a:gd name="T116" fmla="*/ 2147483647 w 190"/>
                      <a:gd name="T117" fmla="*/ 2147483647 h 213"/>
                      <a:gd name="T118" fmla="*/ 2147483647 w 190"/>
                      <a:gd name="T119" fmla="*/ 2147483647 h 213"/>
                      <a:gd name="T120" fmla="*/ 2147483647 w 190"/>
                      <a:gd name="T121" fmla="*/ 2147483647 h 213"/>
                      <a:gd name="T122" fmla="*/ 2147483647 w 190"/>
                      <a:gd name="T123" fmla="*/ 2147483647 h 2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90" h="213">
                        <a:moveTo>
                          <a:pt x="78" y="180"/>
                        </a:moveTo>
                        <a:lnTo>
                          <a:pt x="78" y="180"/>
                        </a:lnTo>
                        <a:lnTo>
                          <a:pt x="79" y="181"/>
                        </a:lnTo>
                        <a:lnTo>
                          <a:pt x="80" y="182"/>
                        </a:lnTo>
                        <a:lnTo>
                          <a:pt x="81" y="184"/>
                        </a:lnTo>
                        <a:lnTo>
                          <a:pt x="81" y="180"/>
                        </a:lnTo>
                        <a:lnTo>
                          <a:pt x="90" y="180"/>
                        </a:lnTo>
                        <a:lnTo>
                          <a:pt x="92" y="182"/>
                        </a:lnTo>
                        <a:lnTo>
                          <a:pt x="93" y="183"/>
                        </a:lnTo>
                        <a:lnTo>
                          <a:pt x="95" y="184"/>
                        </a:lnTo>
                        <a:lnTo>
                          <a:pt x="97" y="184"/>
                        </a:lnTo>
                        <a:lnTo>
                          <a:pt x="99" y="186"/>
                        </a:lnTo>
                        <a:lnTo>
                          <a:pt x="100" y="188"/>
                        </a:lnTo>
                        <a:lnTo>
                          <a:pt x="100" y="190"/>
                        </a:lnTo>
                        <a:lnTo>
                          <a:pt x="102" y="192"/>
                        </a:lnTo>
                        <a:lnTo>
                          <a:pt x="104" y="194"/>
                        </a:lnTo>
                        <a:lnTo>
                          <a:pt x="105" y="195"/>
                        </a:lnTo>
                        <a:lnTo>
                          <a:pt x="107" y="196"/>
                        </a:lnTo>
                        <a:lnTo>
                          <a:pt x="107" y="198"/>
                        </a:lnTo>
                        <a:lnTo>
                          <a:pt x="108" y="199"/>
                        </a:lnTo>
                        <a:lnTo>
                          <a:pt x="109" y="199"/>
                        </a:lnTo>
                        <a:lnTo>
                          <a:pt x="111" y="201"/>
                        </a:lnTo>
                        <a:lnTo>
                          <a:pt x="113" y="203"/>
                        </a:lnTo>
                        <a:lnTo>
                          <a:pt x="114" y="204"/>
                        </a:lnTo>
                        <a:lnTo>
                          <a:pt x="116" y="206"/>
                        </a:lnTo>
                        <a:lnTo>
                          <a:pt x="117" y="206"/>
                        </a:lnTo>
                        <a:lnTo>
                          <a:pt x="118" y="206"/>
                        </a:lnTo>
                        <a:lnTo>
                          <a:pt x="119" y="207"/>
                        </a:lnTo>
                        <a:lnTo>
                          <a:pt x="119" y="209"/>
                        </a:lnTo>
                        <a:lnTo>
                          <a:pt x="121" y="209"/>
                        </a:lnTo>
                        <a:lnTo>
                          <a:pt x="122" y="209"/>
                        </a:lnTo>
                        <a:lnTo>
                          <a:pt x="125" y="209"/>
                        </a:lnTo>
                        <a:lnTo>
                          <a:pt x="128" y="209"/>
                        </a:lnTo>
                        <a:lnTo>
                          <a:pt x="129" y="209"/>
                        </a:lnTo>
                        <a:lnTo>
                          <a:pt x="129" y="210"/>
                        </a:lnTo>
                        <a:lnTo>
                          <a:pt x="129" y="211"/>
                        </a:lnTo>
                        <a:lnTo>
                          <a:pt x="131" y="212"/>
                        </a:lnTo>
                        <a:lnTo>
                          <a:pt x="132" y="213"/>
                        </a:lnTo>
                        <a:lnTo>
                          <a:pt x="132" y="211"/>
                        </a:lnTo>
                        <a:lnTo>
                          <a:pt x="132" y="209"/>
                        </a:lnTo>
                        <a:lnTo>
                          <a:pt x="132" y="208"/>
                        </a:lnTo>
                        <a:lnTo>
                          <a:pt x="132" y="206"/>
                        </a:lnTo>
                        <a:lnTo>
                          <a:pt x="131" y="203"/>
                        </a:lnTo>
                        <a:lnTo>
                          <a:pt x="131" y="201"/>
                        </a:lnTo>
                        <a:lnTo>
                          <a:pt x="129" y="200"/>
                        </a:lnTo>
                        <a:lnTo>
                          <a:pt x="129" y="199"/>
                        </a:lnTo>
                        <a:lnTo>
                          <a:pt x="128" y="197"/>
                        </a:lnTo>
                        <a:lnTo>
                          <a:pt x="125" y="196"/>
                        </a:lnTo>
                        <a:lnTo>
                          <a:pt x="122" y="196"/>
                        </a:lnTo>
                        <a:lnTo>
                          <a:pt x="122" y="187"/>
                        </a:lnTo>
                        <a:lnTo>
                          <a:pt x="122" y="186"/>
                        </a:lnTo>
                        <a:lnTo>
                          <a:pt x="122" y="184"/>
                        </a:lnTo>
                        <a:lnTo>
                          <a:pt x="122" y="181"/>
                        </a:lnTo>
                        <a:lnTo>
                          <a:pt x="122" y="180"/>
                        </a:lnTo>
                        <a:lnTo>
                          <a:pt x="122" y="176"/>
                        </a:lnTo>
                        <a:lnTo>
                          <a:pt x="124" y="174"/>
                        </a:lnTo>
                        <a:lnTo>
                          <a:pt x="125" y="174"/>
                        </a:lnTo>
                        <a:lnTo>
                          <a:pt x="126" y="174"/>
                        </a:lnTo>
                        <a:lnTo>
                          <a:pt x="128" y="174"/>
                        </a:lnTo>
                        <a:lnTo>
                          <a:pt x="129" y="174"/>
                        </a:lnTo>
                        <a:lnTo>
                          <a:pt x="131" y="173"/>
                        </a:lnTo>
                        <a:lnTo>
                          <a:pt x="132" y="172"/>
                        </a:lnTo>
                        <a:lnTo>
                          <a:pt x="132" y="171"/>
                        </a:lnTo>
                        <a:lnTo>
                          <a:pt x="132" y="170"/>
                        </a:lnTo>
                        <a:lnTo>
                          <a:pt x="132" y="168"/>
                        </a:lnTo>
                        <a:lnTo>
                          <a:pt x="133" y="166"/>
                        </a:lnTo>
                        <a:lnTo>
                          <a:pt x="133" y="164"/>
                        </a:lnTo>
                        <a:lnTo>
                          <a:pt x="132" y="161"/>
                        </a:lnTo>
                        <a:lnTo>
                          <a:pt x="132" y="160"/>
                        </a:lnTo>
                        <a:lnTo>
                          <a:pt x="132" y="158"/>
                        </a:lnTo>
                        <a:lnTo>
                          <a:pt x="134" y="158"/>
                        </a:lnTo>
                        <a:lnTo>
                          <a:pt x="135" y="158"/>
                        </a:lnTo>
                        <a:lnTo>
                          <a:pt x="137" y="158"/>
                        </a:lnTo>
                        <a:lnTo>
                          <a:pt x="139" y="158"/>
                        </a:lnTo>
                        <a:lnTo>
                          <a:pt x="141" y="155"/>
                        </a:lnTo>
                        <a:lnTo>
                          <a:pt x="142" y="154"/>
                        </a:lnTo>
                        <a:lnTo>
                          <a:pt x="143" y="154"/>
                        </a:lnTo>
                        <a:lnTo>
                          <a:pt x="144" y="154"/>
                        </a:lnTo>
                        <a:lnTo>
                          <a:pt x="146" y="155"/>
                        </a:lnTo>
                        <a:lnTo>
                          <a:pt x="148" y="155"/>
                        </a:lnTo>
                        <a:lnTo>
                          <a:pt x="149" y="156"/>
                        </a:lnTo>
                        <a:lnTo>
                          <a:pt x="151" y="158"/>
                        </a:lnTo>
                        <a:lnTo>
                          <a:pt x="152" y="158"/>
                        </a:lnTo>
                        <a:lnTo>
                          <a:pt x="153" y="158"/>
                        </a:lnTo>
                        <a:lnTo>
                          <a:pt x="154" y="159"/>
                        </a:lnTo>
                        <a:lnTo>
                          <a:pt x="155" y="161"/>
                        </a:lnTo>
                        <a:lnTo>
                          <a:pt x="157" y="161"/>
                        </a:lnTo>
                        <a:lnTo>
                          <a:pt x="159" y="159"/>
                        </a:lnTo>
                        <a:lnTo>
                          <a:pt x="161" y="157"/>
                        </a:lnTo>
                        <a:lnTo>
                          <a:pt x="161" y="154"/>
                        </a:lnTo>
                        <a:lnTo>
                          <a:pt x="160" y="152"/>
                        </a:lnTo>
                        <a:lnTo>
                          <a:pt x="158" y="151"/>
                        </a:lnTo>
                        <a:lnTo>
                          <a:pt x="157" y="149"/>
                        </a:lnTo>
                        <a:lnTo>
                          <a:pt x="156" y="148"/>
                        </a:lnTo>
                        <a:lnTo>
                          <a:pt x="154" y="145"/>
                        </a:lnTo>
                        <a:lnTo>
                          <a:pt x="151" y="145"/>
                        </a:lnTo>
                        <a:lnTo>
                          <a:pt x="150" y="143"/>
                        </a:lnTo>
                        <a:lnTo>
                          <a:pt x="150" y="142"/>
                        </a:lnTo>
                        <a:lnTo>
                          <a:pt x="152" y="141"/>
                        </a:lnTo>
                        <a:lnTo>
                          <a:pt x="155" y="139"/>
                        </a:lnTo>
                        <a:lnTo>
                          <a:pt x="156" y="139"/>
                        </a:lnTo>
                        <a:lnTo>
                          <a:pt x="156" y="140"/>
                        </a:lnTo>
                        <a:lnTo>
                          <a:pt x="156" y="142"/>
                        </a:lnTo>
                        <a:lnTo>
                          <a:pt x="158" y="142"/>
                        </a:lnTo>
                        <a:lnTo>
                          <a:pt x="160" y="142"/>
                        </a:lnTo>
                        <a:lnTo>
                          <a:pt x="161" y="140"/>
                        </a:lnTo>
                        <a:lnTo>
                          <a:pt x="161" y="139"/>
                        </a:lnTo>
                        <a:lnTo>
                          <a:pt x="170" y="139"/>
                        </a:lnTo>
                        <a:lnTo>
                          <a:pt x="170" y="136"/>
                        </a:lnTo>
                        <a:lnTo>
                          <a:pt x="169" y="134"/>
                        </a:lnTo>
                        <a:lnTo>
                          <a:pt x="168" y="133"/>
                        </a:lnTo>
                        <a:lnTo>
                          <a:pt x="167" y="132"/>
                        </a:lnTo>
                        <a:lnTo>
                          <a:pt x="172" y="130"/>
                        </a:lnTo>
                        <a:lnTo>
                          <a:pt x="175" y="129"/>
                        </a:lnTo>
                        <a:lnTo>
                          <a:pt x="177" y="127"/>
                        </a:lnTo>
                        <a:lnTo>
                          <a:pt x="177" y="130"/>
                        </a:lnTo>
                        <a:lnTo>
                          <a:pt x="178" y="132"/>
                        </a:lnTo>
                        <a:lnTo>
                          <a:pt x="179" y="132"/>
                        </a:lnTo>
                        <a:lnTo>
                          <a:pt x="180" y="132"/>
                        </a:lnTo>
                        <a:lnTo>
                          <a:pt x="181" y="132"/>
                        </a:lnTo>
                        <a:lnTo>
                          <a:pt x="183" y="134"/>
                        </a:lnTo>
                        <a:lnTo>
                          <a:pt x="185" y="133"/>
                        </a:lnTo>
                        <a:lnTo>
                          <a:pt x="187" y="133"/>
                        </a:lnTo>
                        <a:lnTo>
                          <a:pt x="187" y="132"/>
                        </a:lnTo>
                        <a:lnTo>
                          <a:pt x="189" y="132"/>
                        </a:lnTo>
                        <a:lnTo>
                          <a:pt x="190" y="130"/>
                        </a:lnTo>
                        <a:lnTo>
                          <a:pt x="189" y="127"/>
                        </a:lnTo>
                        <a:lnTo>
                          <a:pt x="187" y="126"/>
                        </a:lnTo>
                        <a:lnTo>
                          <a:pt x="187" y="124"/>
                        </a:lnTo>
                        <a:lnTo>
                          <a:pt x="187" y="123"/>
                        </a:lnTo>
                        <a:lnTo>
                          <a:pt x="185" y="121"/>
                        </a:lnTo>
                        <a:lnTo>
                          <a:pt x="184" y="121"/>
                        </a:lnTo>
                        <a:lnTo>
                          <a:pt x="183" y="121"/>
                        </a:lnTo>
                        <a:lnTo>
                          <a:pt x="181" y="120"/>
                        </a:lnTo>
                        <a:lnTo>
                          <a:pt x="179" y="120"/>
                        </a:lnTo>
                        <a:lnTo>
                          <a:pt x="177" y="119"/>
                        </a:lnTo>
                        <a:lnTo>
                          <a:pt x="176" y="118"/>
                        </a:lnTo>
                        <a:lnTo>
                          <a:pt x="174" y="116"/>
                        </a:lnTo>
                        <a:lnTo>
                          <a:pt x="174" y="114"/>
                        </a:lnTo>
                        <a:lnTo>
                          <a:pt x="173" y="113"/>
                        </a:lnTo>
                        <a:lnTo>
                          <a:pt x="172" y="112"/>
                        </a:lnTo>
                        <a:lnTo>
                          <a:pt x="170" y="110"/>
                        </a:lnTo>
                        <a:lnTo>
                          <a:pt x="169" y="108"/>
                        </a:lnTo>
                        <a:lnTo>
                          <a:pt x="167" y="106"/>
                        </a:lnTo>
                        <a:lnTo>
                          <a:pt x="166" y="103"/>
                        </a:lnTo>
                        <a:lnTo>
                          <a:pt x="165" y="101"/>
                        </a:lnTo>
                        <a:lnTo>
                          <a:pt x="166" y="100"/>
                        </a:lnTo>
                        <a:lnTo>
                          <a:pt x="168" y="101"/>
                        </a:lnTo>
                        <a:lnTo>
                          <a:pt x="171" y="103"/>
                        </a:lnTo>
                        <a:lnTo>
                          <a:pt x="174" y="104"/>
                        </a:lnTo>
                        <a:lnTo>
                          <a:pt x="175" y="104"/>
                        </a:lnTo>
                        <a:lnTo>
                          <a:pt x="177" y="104"/>
                        </a:lnTo>
                        <a:lnTo>
                          <a:pt x="178" y="104"/>
                        </a:lnTo>
                        <a:lnTo>
                          <a:pt x="179" y="106"/>
                        </a:lnTo>
                        <a:lnTo>
                          <a:pt x="180" y="107"/>
                        </a:lnTo>
                        <a:lnTo>
                          <a:pt x="181" y="107"/>
                        </a:lnTo>
                        <a:lnTo>
                          <a:pt x="182" y="106"/>
                        </a:lnTo>
                        <a:lnTo>
                          <a:pt x="183" y="104"/>
                        </a:lnTo>
                        <a:lnTo>
                          <a:pt x="184" y="104"/>
                        </a:lnTo>
                        <a:lnTo>
                          <a:pt x="184" y="103"/>
                        </a:lnTo>
                        <a:lnTo>
                          <a:pt x="186" y="102"/>
                        </a:lnTo>
                        <a:lnTo>
                          <a:pt x="187" y="100"/>
                        </a:lnTo>
                        <a:lnTo>
                          <a:pt x="187" y="97"/>
                        </a:lnTo>
                        <a:lnTo>
                          <a:pt x="187" y="96"/>
                        </a:lnTo>
                        <a:lnTo>
                          <a:pt x="187" y="94"/>
                        </a:lnTo>
                        <a:lnTo>
                          <a:pt x="185" y="94"/>
                        </a:lnTo>
                        <a:lnTo>
                          <a:pt x="184" y="94"/>
                        </a:lnTo>
                        <a:lnTo>
                          <a:pt x="184" y="93"/>
                        </a:lnTo>
                        <a:lnTo>
                          <a:pt x="184" y="91"/>
                        </a:lnTo>
                        <a:lnTo>
                          <a:pt x="182" y="90"/>
                        </a:lnTo>
                        <a:lnTo>
                          <a:pt x="182" y="89"/>
                        </a:lnTo>
                        <a:lnTo>
                          <a:pt x="182" y="88"/>
                        </a:lnTo>
                        <a:lnTo>
                          <a:pt x="181" y="87"/>
                        </a:lnTo>
                        <a:lnTo>
                          <a:pt x="181" y="84"/>
                        </a:lnTo>
                        <a:lnTo>
                          <a:pt x="181" y="82"/>
                        </a:lnTo>
                        <a:lnTo>
                          <a:pt x="179" y="79"/>
                        </a:lnTo>
                        <a:lnTo>
                          <a:pt x="178" y="77"/>
                        </a:lnTo>
                        <a:lnTo>
                          <a:pt x="177" y="75"/>
                        </a:lnTo>
                        <a:lnTo>
                          <a:pt x="176" y="74"/>
                        </a:lnTo>
                        <a:lnTo>
                          <a:pt x="176" y="73"/>
                        </a:lnTo>
                        <a:lnTo>
                          <a:pt x="177" y="71"/>
                        </a:lnTo>
                        <a:lnTo>
                          <a:pt x="177" y="68"/>
                        </a:lnTo>
                        <a:lnTo>
                          <a:pt x="177" y="66"/>
                        </a:lnTo>
                        <a:lnTo>
                          <a:pt x="177" y="65"/>
                        </a:lnTo>
                        <a:lnTo>
                          <a:pt x="177" y="63"/>
                        </a:lnTo>
                        <a:lnTo>
                          <a:pt x="177" y="61"/>
                        </a:lnTo>
                        <a:lnTo>
                          <a:pt x="177" y="60"/>
                        </a:lnTo>
                        <a:lnTo>
                          <a:pt x="178" y="59"/>
                        </a:lnTo>
                        <a:lnTo>
                          <a:pt x="179" y="58"/>
                        </a:lnTo>
                        <a:lnTo>
                          <a:pt x="181" y="56"/>
                        </a:lnTo>
                        <a:lnTo>
                          <a:pt x="181" y="55"/>
                        </a:lnTo>
                        <a:lnTo>
                          <a:pt x="182" y="54"/>
                        </a:lnTo>
                        <a:lnTo>
                          <a:pt x="183" y="53"/>
                        </a:lnTo>
                        <a:lnTo>
                          <a:pt x="184" y="52"/>
                        </a:lnTo>
                        <a:lnTo>
                          <a:pt x="186" y="50"/>
                        </a:lnTo>
                        <a:lnTo>
                          <a:pt x="187" y="47"/>
                        </a:lnTo>
                        <a:lnTo>
                          <a:pt x="187" y="42"/>
                        </a:lnTo>
                        <a:lnTo>
                          <a:pt x="186" y="41"/>
                        </a:lnTo>
                        <a:lnTo>
                          <a:pt x="183" y="41"/>
                        </a:lnTo>
                        <a:lnTo>
                          <a:pt x="180" y="41"/>
                        </a:lnTo>
                        <a:lnTo>
                          <a:pt x="177" y="39"/>
                        </a:lnTo>
                        <a:lnTo>
                          <a:pt x="175" y="40"/>
                        </a:lnTo>
                        <a:lnTo>
                          <a:pt x="174" y="42"/>
                        </a:lnTo>
                        <a:lnTo>
                          <a:pt x="172" y="45"/>
                        </a:lnTo>
                        <a:lnTo>
                          <a:pt x="170" y="46"/>
                        </a:lnTo>
                        <a:lnTo>
                          <a:pt x="168" y="47"/>
                        </a:lnTo>
                        <a:lnTo>
                          <a:pt x="167" y="49"/>
                        </a:lnTo>
                        <a:lnTo>
                          <a:pt x="165" y="49"/>
                        </a:lnTo>
                        <a:lnTo>
                          <a:pt x="162" y="50"/>
                        </a:lnTo>
                        <a:lnTo>
                          <a:pt x="160" y="50"/>
                        </a:lnTo>
                        <a:lnTo>
                          <a:pt x="159" y="51"/>
                        </a:lnTo>
                        <a:lnTo>
                          <a:pt x="158" y="49"/>
                        </a:lnTo>
                        <a:lnTo>
                          <a:pt x="156" y="48"/>
                        </a:lnTo>
                        <a:lnTo>
                          <a:pt x="154" y="46"/>
                        </a:lnTo>
                        <a:lnTo>
                          <a:pt x="153" y="44"/>
                        </a:lnTo>
                        <a:lnTo>
                          <a:pt x="155" y="42"/>
                        </a:lnTo>
                        <a:lnTo>
                          <a:pt x="157" y="42"/>
                        </a:lnTo>
                        <a:lnTo>
                          <a:pt x="158" y="41"/>
                        </a:lnTo>
                        <a:lnTo>
                          <a:pt x="158" y="40"/>
                        </a:lnTo>
                        <a:lnTo>
                          <a:pt x="158" y="39"/>
                        </a:lnTo>
                        <a:lnTo>
                          <a:pt x="156" y="38"/>
                        </a:lnTo>
                        <a:lnTo>
                          <a:pt x="155" y="37"/>
                        </a:lnTo>
                        <a:lnTo>
                          <a:pt x="155" y="36"/>
                        </a:lnTo>
                        <a:lnTo>
                          <a:pt x="155" y="35"/>
                        </a:lnTo>
                        <a:lnTo>
                          <a:pt x="155" y="30"/>
                        </a:lnTo>
                        <a:lnTo>
                          <a:pt x="155" y="31"/>
                        </a:lnTo>
                        <a:lnTo>
                          <a:pt x="154" y="32"/>
                        </a:lnTo>
                        <a:lnTo>
                          <a:pt x="153" y="33"/>
                        </a:lnTo>
                        <a:lnTo>
                          <a:pt x="151" y="33"/>
                        </a:lnTo>
                        <a:lnTo>
                          <a:pt x="150" y="33"/>
                        </a:lnTo>
                        <a:lnTo>
                          <a:pt x="148" y="33"/>
                        </a:lnTo>
                        <a:lnTo>
                          <a:pt x="147" y="33"/>
                        </a:lnTo>
                        <a:lnTo>
                          <a:pt x="146" y="32"/>
                        </a:lnTo>
                        <a:lnTo>
                          <a:pt x="145" y="31"/>
                        </a:lnTo>
                        <a:lnTo>
                          <a:pt x="144" y="30"/>
                        </a:lnTo>
                        <a:lnTo>
                          <a:pt x="143" y="30"/>
                        </a:lnTo>
                        <a:lnTo>
                          <a:pt x="142" y="30"/>
                        </a:lnTo>
                        <a:lnTo>
                          <a:pt x="141" y="30"/>
                        </a:lnTo>
                        <a:lnTo>
                          <a:pt x="139" y="28"/>
                        </a:lnTo>
                        <a:lnTo>
                          <a:pt x="136" y="27"/>
                        </a:lnTo>
                        <a:lnTo>
                          <a:pt x="135" y="27"/>
                        </a:lnTo>
                        <a:lnTo>
                          <a:pt x="135" y="26"/>
                        </a:lnTo>
                        <a:lnTo>
                          <a:pt x="135" y="25"/>
                        </a:lnTo>
                        <a:lnTo>
                          <a:pt x="134" y="24"/>
                        </a:lnTo>
                        <a:lnTo>
                          <a:pt x="132" y="23"/>
                        </a:lnTo>
                        <a:lnTo>
                          <a:pt x="131" y="23"/>
                        </a:lnTo>
                        <a:lnTo>
                          <a:pt x="129" y="23"/>
                        </a:lnTo>
                        <a:lnTo>
                          <a:pt x="128" y="27"/>
                        </a:lnTo>
                        <a:lnTo>
                          <a:pt x="128" y="28"/>
                        </a:lnTo>
                        <a:lnTo>
                          <a:pt x="128" y="27"/>
                        </a:lnTo>
                        <a:lnTo>
                          <a:pt x="129" y="27"/>
                        </a:lnTo>
                        <a:lnTo>
                          <a:pt x="128" y="27"/>
                        </a:lnTo>
                        <a:lnTo>
                          <a:pt x="125" y="27"/>
                        </a:lnTo>
                        <a:lnTo>
                          <a:pt x="122" y="27"/>
                        </a:lnTo>
                        <a:lnTo>
                          <a:pt x="122" y="26"/>
                        </a:lnTo>
                        <a:lnTo>
                          <a:pt x="122" y="23"/>
                        </a:lnTo>
                        <a:lnTo>
                          <a:pt x="124" y="21"/>
                        </a:lnTo>
                        <a:lnTo>
                          <a:pt x="122" y="20"/>
                        </a:lnTo>
                        <a:lnTo>
                          <a:pt x="121" y="21"/>
                        </a:lnTo>
                        <a:lnTo>
                          <a:pt x="121" y="22"/>
                        </a:lnTo>
                        <a:lnTo>
                          <a:pt x="121" y="23"/>
                        </a:lnTo>
                        <a:lnTo>
                          <a:pt x="119" y="23"/>
                        </a:lnTo>
                        <a:lnTo>
                          <a:pt x="119" y="22"/>
                        </a:lnTo>
                        <a:lnTo>
                          <a:pt x="118" y="21"/>
                        </a:lnTo>
                        <a:lnTo>
                          <a:pt x="116" y="20"/>
                        </a:lnTo>
                        <a:lnTo>
                          <a:pt x="116" y="22"/>
                        </a:lnTo>
                        <a:lnTo>
                          <a:pt x="116" y="23"/>
                        </a:lnTo>
                        <a:lnTo>
                          <a:pt x="111" y="28"/>
                        </a:lnTo>
                        <a:lnTo>
                          <a:pt x="110" y="30"/>
                        </a:lnTo>
                        <a:lnTo>
                          <a:pt x="109" y="30"/>
                        </a:lnTo>
                        <a:lnTo>
                          <a:pt x="107" y="30"/>
                        </a:lnTo>
                        <a:lnTo>
                          <a:pt x="107" y="29"/>
                        </a:lnTo>
                        <a:lnTo>
                          <a:pt x="107" y="27"/>
                        </a:lnTo>
                        <a:lnTo>
                          <a:pt x="105" y="26"/>
                        </a:lnTo>
                        <a:lnTo>
                          <a:pt x="104" y="25"/>
                        </a:lnTo>
                        <a:lnTo>
                          <a:pt x="104" y="24"/>
                        </a:lnTo>
                        <a:lnTo>
                          <a:pt x="104" y="23"/>
                        </a:lnTo>
                        <a:lnTo>
                          <a:pt x="102" y="21"/>
                        </a:lnTo>
                        <a:lnTo>
                          <a:pt x="100" y="20"/>
                        </a:lnTo>
                        <a:lnTo>
                          <a:pt x="96" y="19"/>
                        </a:lnTo>
                        <a:lnTo>
                          <a:pt x="93" y="17"/>
                        </a:lnTo>
                        <a:lnTo>
                          <a:pt x="92" y="17"/>
                        </a:lnTo>
                        <a:lnTo>
                          <a:pt x="90" y="17"/>
                        </a:lnTo>
                        <a:lnTo>
                          <a:pt x="90" y="15"/>
                        </a:lnTo>
                        <a:lnTo>
                          <a:pt x="90" y="14"/>
                        </a:lnTo>
                        <a:lnTo>
                          <a:pt x="90" y="13"/>
                        </a:lnTo>
                        <a:lnTo>
                          <a:pt x="88" y="14"/>
                        </a:lnTo>
                        <a:lnTo>
                          <a:pt x="87" y="15"/>
                        </a:lnTo>
                        <a:lnTo>
                          <a:pt x="85" y="16"/>
                        </a:lnTo>
                        <a:lnTo>
                          <a:pt x="83" y="17"/>
                        </a:lnTo>
                        <a:lnTo>
                          <a:pt x="83" y="16"/>
                        </a:lnTo>
                        <a:lnTo>
                          <a:pt x="83" y="15"/>
                        </a:lnTo>
                        <a:lnTo>
                          <a:pt x="83" y="14"/>
                        </a:lnTo>
                        <a:lnTo>
                          <a:pt x="83" y="13"/>
                        </a:lnTo>
                        <a:lnTo>
                          <a:pt x="83" y="14"/>
                        </a:lnTo>
                        <a:lnTo>
                          <a:pt x="83" y="15"/>
                        </a:lnTo>
                        <a:lnTo>
                          <a:pt x="81" y="15"/>
                        </a:lnTo>
                        <a:lnTo>
                          <a:pt x="81" y="13"/>
                        </a:lnTo>
                        <a:lnTo>
                          <a:pt x="81" y="12"/>
                        </a:lnTo>
                        <a:lnTo>
                          <a:pt x="80" y="11"/>
                        </a:lnTo>
                        <a:lnTo>
                          <a:pt x="78" y="11"/>
                        </a:lnTo>
                        <a:lnTo>
                          <a:pt x="78" y="12"/>
                        </a:lnTo>
                        <a:lnTo>
                          <a:pt x="78" y="13"/>
                        </a:lnTo>
                        <a:lnTo>
                          <a:pt x="76" y="13"/>
                        </a:lnTo>
                        <a:lnTo>
                          <a:pt x="75" y="13"/>
                        </a:lnTo>
                        <a:lnTo>
                          <a:pt x="74" y="13"/>
                        </a:lnTo>
                        <a:lnTo>
                          <a:pt x="72" y="11"/>
                        </a:lnTo>
                        <a:lnTo>
                          <a:pt x="71" y="11"/>
                        </a:lnTo>
                        <a:lnTo>
                          <a:pt x="71" y="10"/>
                        </a:lnTo>
                        <a:lnTo>
                          <a:pt x="71" y="8"/>
                        </a:lnTo>
                        <a:lnTo>
                          <a:pt x="69" y="7"/>
                        </a:lnTo>
                        <a:lnTo>
                          <a:pt x="67" y="6"/>
                        </a:lnTo>
                        <a:lnTo>
                          <a:pt x="66" y="5"/>
                        </a:lnTo>
                        <a:lnTo>
                          <a:pt x="64" y="4"/>
                        </a:lnTo>
                        <a:lnTo>
                          <a:pt x="64" y="5"/>
                        </a:lnTo>
                        <a:lnTo>
                          <a:pt x="64" y="8"/>
                        </a:lnTo>
                        <a:lnTo>
                          <a:pt x="63" y="10"/>
                        </a:lnTo>
                        <a:lnTo>
                          <a:pt x="61" y="11"/>
                        </a:lnTo>
                        <a:lnTo>
                          <a:pt x="59" y="10"/>
                        </a:lnTo>
                        <a:lnTo>
                          <a:pt x="59" y="9"/>
                        </a:lnTo>
                        <a:lnTo>
                          <a:pt x="58" y="8"/>
                        </a:lnTo>
                        <a:lnTo>
                          <a:pt x="56" y="8"/>
                        </a:lnTo>
                        <a:lnTo>
                          <a:pt x="55" y="8"/>
                        </a:lnTo>
                        <a:lnTo>
                          <a:pt x="54" y="8"/>
                        </a:lnTo>
                        <a:lnTo>
                          <a:pt x="52" y="8"/>
                        </a:lnTo>
                        <a:lnTo>
                          <a:pt x="51" y="6"/>
                        </a:lnTo>
                        <a:lnTo>
                          <a:pt x="49" y="5"/>
                        </a:lnTo>
                        <a:lnTo>
                          <a:pt x="45" y="4"/>
                        </a:lnTo>
                        <a:lnTo>
                          <a:pt x="45" y="6"/>
                        </a:lnTo>
                        <a:lnTo>
                          <a:pt x="45" y="8"/>
                        </a:lnTo>
                        <a:lnTo>
                          <a:pt x="45" y="9"/>
                        </a:lnTo>
                        <a:lnTo>
                          <a:pt x="45" y="11"/>
                        </a:lnTo>
                        <a:lnTo>
                          <a:pt x="43" y="12"/>
                        </a:lnTo>
                        <a:lnTo>
                          <a:pt x="42" y="13"/>
                        </a:lnTo>
                        <a:lnTo>
                          <a:pt x="41" y="13"/>
                        </a:lnTo>
                        <a:lnTo>
                          <a:pt x="40" y="16"/>
                        </a:lnTo>
                        <a:lnTo>
                          <a:pt x="39" y="18"/>
                        </a:lnTo>
                        <a:lnTo>
                          <a:pt x="38" y="20"/>
                        </a:lnTo>
                        <a:lnTo>
                          <a:pt x="36" y="21"/>
                        </a:lnTo>
                        <a:lnTo>
                          <a:pt x="35" y="22"/>
                        </a:lnTo>
                        <a:lnTo>
                          <a:pt x="34" y="23"/>
                        </a:lnTo>
                        <a:lnTo>
                          <a:pt x="32" y="23"/>
                        </a:lnTo>
                        <a:lnTo>
                          <a:pt x="31" y="22"/>
                        </a:lnTo>
                        <a:lnTo>
                          <a:pt x="29" y="20"/>
                        </a:lnTo>
                        <a:lnTo>
                          <a:pt x="29" y="18"/>
                        </a:lnTo>
                        <a:lnTo>
                          <a:pt x="28" y="17"/>
                        </a:lnTo>
                        <a:lnTo>
                          <a:pt x="26" y="17"/>
                        </a:lnTo>
                        <a:lnTo>
                          <a:pt x="25" y="15"/>
                        </a:lnTo>
                        <a:lnTo>
                          <a:pt x="24" y="13"/>
                        </a:lnTo>
                        <a:lnTo>
                          <a:pt x="23" y="12"/>
                        </a:lnTo>
                        <a:lnTo>
                          <a:pt x="22" y="11"/>
                        </a:lnTo>
                        <a:lnTo>
                          <a:pt x="22" y="9"/>
                        </a:lnTo>
                        <a:lnTo>
                          <a:pt x="22" y="8"/>
                        </a:lnTo>
                        <a:lnTo>
                          <a:pt x="22" y="6"/>
                        </a:lnTo>
                        <a:lnTo>
                          <a:pt x="22" y="4"/>
                        </a:lnTo>
                        <a:lnTo>
                          <a:pt x="21" y="3"/>
                        </a:lnTo>
                        <a:lnTo>
                          <a:pt x="19" y="1"/>
                        </a:lnTo>
                        <a:lnTo>
                          <a:pt x="18" y="0"/>
                        </a:lnTo>
                        <a:lnTo>
                          <a:pt x="17" y="0"/>
                        </a:lnTo>
                        <a:lnTo>
                          <a:pt x="15" y="0"/>
                        </a:lnTo>
                        <a:lnTo>
                          <a:pt x="12" y="1"/>
                        </a:lnTo>
                        <a:lnTo>
                          <a:pt x="11" y="1"/>
                        </a:lnTo>
                        <a:lnTo>
                          <a:pt x="10" y="1"/>
                        </a:lnTo>
                        <a:lnTo>
                          <a:pt x="8" y="3"/>
                        </a:lnTo>
                        <a:lnTo>
                          <a:pt x="7" y="4"/>
                        </a:lnTo>
                        <a:lnTo>
                          <a:pt x="6" y="4"/>
                        </a:lnTo>
                        <a:lnTo>
                          <a:pt x="6" y="7"/>
                        </a:lnTo>
                        <a:lnTo>
                          <a:pt x="5" y="9"/>
                        </a:lnTo>
                        <a:lnTo>
                          <a:pt x="5" y="11"/>
                        </a:lnTo>
                        <a:lnTo>
                          <a:pt x="6" y="13"/>
                        </a:lnTo>
                        <a:lnTo>
                          <a:pt x="6" y="14"/>
                        </a:lnTo>
                        <a:lnTo>
                          <a:pt x="6" y="15"/>
                        </a:lnTo>
                        <a:lnTo>
                          <a:pt x="6" y="17"/>
                        </a:lnTo>
                        <a:lnTo>
                          <a:pt x="6" y="19"/>
                        </a:lnTo>
                        <a:lnTo>
                          <a:pt x="6" y="20"/>
                        </a:lnTo>
                        <a:lnTo>
                          <a:pt x="5" y="20"/>
                        </a:lnTo>
                        <a:lnTo>
                          <a:pt x="3" y="20"/>
                        </a:lnTo>
                        <a:lnTo>
                          <a:pt x="3" y="22"/>
                        </a:lnTo>
                        <a:lnTo>
                          <a:pt x="3" y="23"/>
                        </a:lnTo>
                        <a:lnTo>
                          <a:pt x="2" y="26"/>
                        </a:lnTo>
                        <a:lnTo>
                          <a:pt x="1" y="28"/>
                        </a:lnTo>
                        <a:lnTo>
                          <a:pt x="0" y="30"/>
                        </a:lnTo>
                        <a:lnTo>
                          <a:pt x="2" y="31"/>
                        </a:lnTo>
                        <a:lnTo>
                          <a:pt x="3" y="32"/>
                        </a:lnTo>
                        <a:lnTo>
                          <a:pt x="3" y="36"/>
                        </a:lnTo>
                        <a:lnTo>
                          <a:pt x="5" y="36"/>
                        </a:lnTo>
                        <a:lnTo>
                          <a:pt x="6" y="37"/>
                        </a:lnTo>
                        <a:lnTo>
                          <a:pt x="6" y="39"/>
                        </a:lnTo>
                        <a:lnTo>
                          <a:pt x="7" y="39"/>
                        </a:lnTo>
                        <a:lnTo>
                          <a:pt x="8" y="39"/>
                        </a:lnTo>
                        <a:lnTo>
                          <a:pt x="9" y="39"/>
                        </a:lnTo>
                        <a:lnTo>
                          <a:pt x="10" y="39"/>
                        </a:lnTo>
                        <a:lnTo>
                          <a:pt x="11" y="39"/>
                        </a:lnTo>
                        <a:lnTo>
                          <a:pt x="12" y="40"/>
                        </a:lnTo>
                        <a:lnTo>
                          <a:pt x="12" y="41"/>
                        </a:lnTo>
                        <a:lnTo>
                          <a:pt x="12" y="42"/>
                        </a:lnTo>
                        <a:lnTo>
                          <a:pt x="13" y="43"/>
                        </a:lnTo>
                        <a:lnTo>
                          <a:pt x="14" y="43"/>
                        </a:lnTo>
                        <a:lnTo>
                          <a:pt x="15" y="44"/>
                        </a:lnTo>
                        <a:lnTo>
                          <a:pt x="15" y="46"/>
                        </a:lnTo>
                        <a:lnTo>
                          <a:pt x="14" y="46"/>
                        </a:lnTo>
                        <a:lnTo>
                          <a:pt x="15" y="46"/>
                        </a:lnTo>
                        <a:lnTo>
                          <a:pt x="15" y="48"/>
                        </a:lnTo>
                        <a:lnTo>
                          <a:pt x="15" y="49"/>
                        </a:lnTo>
                        <a:lnTo>
                          <a:pt x="16" y="51"/>
                        </a:lnTo>
                        <a:lnTo>
                          <a:pt x="17" y="52"/>
                        </a:lnTo>
                        <a:lnTo>
                          <a:pt x="18" y="52"/>
                        </a:lnTo>
                        <a:lnTo>
                          <a:pt x="19" y="52"/>
                        </a:lnTo>
                        <a:lnTo>
                          <a:pt x="19" y="54"/>
                        </a:lnTo>
                        <a:lnTo>
                          <a:pt x="19" y="56"/>
                        </a:lnTo>
                        <a:lnTo>
                          <a:pt x="19" y="57"/>
                        </a:lnTo>
                        <a:lnTo>
                          <a:pt x="19" y="59"/>
                        </a:lnTo>
                        <a:lnTo>
                          <a:pt x="19" y="60"/>
                        </a:lnTo>
                        <a:lnTo>
                          <a:pt x="19" y="61"/>
                        </a:lnTo>
                        <a:lnTo>
                          <a:pt x="19" y="63"/>
                        </a:lnTo>
                        <a:lnTo>
                          <a:pt x="20" y="65"/>
                        </a:lnTo>
                        <a:lnTo>
                          <a:pt x="20" y="66"/>
                        </a:lnTo>
                        <a:lnTo>
                          <a:pt x="19" y="68"/>
                        </a:lnTo>
                        <a:lnTo>
                          <a:pt x="19" y="69"/>
                        </a:lnTo>
                        <a:lnTo>
                          <a:pt x="19" y="70"/>
                        </a:lnTo>
                        <a:lnTo>
                          <a:pt x="19" y="72"/>
                        </a:lnTo>
                        <a:lnTo>
                          <a:pt x="18" y="74"/>
                        </a:lnTo>
                        <a:lnTo>
                          <a:pt x="20" y="75"/>
                        </a:lnTo>
                        <a:lnTo>
                          <a:pt x="23" y="76"/>
                        </a:lnTo>
                        <a:lnTo>
                          <a:pt x="26" y="78"/>
                        </a:lnTo>
                        <a:lnTo>
                          <a:pt x="26" y="80"/>
                        </a:lnTo>
                        <a:lnTo>
                          <a:pt x="26" y="82"/>
                        </a:lnTo>
                        <a:lnTo>
                          <a:pt x="26" y="83"/>
                        </a:lnTo>
                        <a:lnTo>
                          <a:pt x="26" y="84"/>
                        </a:lnTo>
                        <a:lnTo>
                          <a:pt x="28" y="84"/>
                        </a:lnTo>
                        <a:lnTo>
                          <a:pt x="29" y="86"/>
                        </a:lnTo>
                        <a:lnTo>
                          <a:pt x="29" y="87"/>
                        </a:lnTo>
                        <a:lnTo>
                          <a:pt x="31" y="88"/>
                        </a:lnTo>
                        <a:lnTo>
                          <a:pt x="32" y="89"/>
                        </a:lnTo>
                        <a:lnTo>
                          <a:pt x="32" y="90"/>
                        </a:lnTo>
                        <a:lnTo>
                          <a:pt x="32" y="91"/>
                        </a:lnTo>
                        <a:lnTo>
                          <a:pt x="33" y="91"/>
                        </a:lnTo>
                        <a:lnTo>
                          <a:pt x="34" y="91"/>
                        </a:lnTo>
                        <a:lnTo>
                          <a:pt x="35" y="91"/>
                        </a:lnTo>
                        <a:lnTo>
                          <a:pt x="35" y="93"/>
                        </a:lnTo>
                        <a:lnTo>
                          <a:pt x="35" y="94"/>
                        </a:lnTo>
                        <a:lnTo>
                          <a:pt x="35" y="95"/>
                        </a:lnTo>
                        <a:lnTo>
                          <a:pt x="35" y="97"/>
                        </a:lnTo>
                        <a:lnTo>
                          <a:pt x="35" y="98"/>
                        </a:lnTo>
                        <a:lnTo>
                          <a:pt x="36" y="99"/>
                        </a:lnTo>
                        <a:lnTo>
                          <a:pt x="38" y="101"/>
                        </a:lnTo>
                        <a:lnTo>
                          <a:pt x="38" y="103"/>
                        </a:lnTo>
                        <a:lnTo>
                          <a:pt x="39" y="104"/>
                        </a:lnTo>
                        <a:lnTo>
                          <a:pt x="40" y="104"/>
                        </a:lnTo>
                        <a:lnTo>
                          <a:pt x="41" y="104"/>
                        </a:lnTo>
                        <a:lnTo>
                          <a:pt x="41" y="106"/>
                        </a:lnTo>
                        <a:lnTo>
                          <a:pt x="41" y="107"/>
                        </a:lnTo>
                        <a:lnTo>
                          <a:pt x="44" y="108"/>
                        </a:lnTo>
                        <a:lnTo>
                          <a:pt x="46" y="110"/>
                        </a:lnTo>
                        <a:lnTo>
                          <a:pt x="48" y="112"/>
                        </a:lnTo>
                        <a:lnTo>
                          <a:pt x="48" y="113"/>
                        </a:lnTo>
                        <a:lnTo>
                          <a:pt x="48" y="115"/>
                        </a:lnTo>
                        <a:lnTo>
                          <a:pt x="48" y="116"/>
                        </a:lnTo>
                        <a:lnTo>
                          <a:pt x="49" y="119"/>
                        </a:lnTo>
                        <a:lnTo>
                          <a:pt x="50" y="123"/>
                        </a:lnTo>
                        <a:lnTo>
                          <a:pt x="51" y="124"/>
                        </a:lnTo>
                        <a:lnTo>
                          <a:pt x="52" y="126"/>
                        </a:lnTo>
                        <a:lnTo>
                          <a:pt x="54" y="127"/>
                        </a:lnTo>
                        <a:lnTo>
                          <a:pt x="55" y="129"/>
                        </a:lnTo>
                        <a:lnTo>
                          <a:pt x="56" y="130"/>
                        </a:lnTo>
                        <a:lnTo>
                          <a:pt x="58" y="130"/>
                        </a:lnTo>
                        <a:lnTo>
                          <a:pt x="61" y="130"/>
                        </a:lnTo>
                        <a:lnTo>
                          <a:pt x="65" y="130"/>
                        </a:lnTo>
                        <a:lnTo>
                          <a:pt x="68" y="132"/>
                        </a:lnTo>
                        <a:lnTo>
                          <a:pt x="67" y="132"/>
                        </a:lnTo>
                        <a:lnTo>
                          <a:pt x="66" y="135"/>
                        </a:lnTo>
                        <a:lnTo>
                          <a:pt x="65" y="137"/>
                        </a:lnTo>
                        <a:lnTo>
                          <a:pt x="64" y="142"/>
                        </a:lnTo>
                        <a:lnTo>
                          <a:pt x="64" y="143"/>
                        </a:lnTo>
                        <a:lnTo>
                          <a:pt x="64" y="145"/>
                        </a:lnTo>
                        <a:lnTo>
                          <a:pt x="65" y="148"/>
                        </a:lnTo>
                        <a:lnTo>
                          <a:pt x="66" y="149"/>
                        </a:lnTo>
                        <a:lnTo>
                          <a:pt x="67" y="151"/>
                        </a:lnTo>
                        <a:lnTo>
                          <a:pt x="69" y="152"/>
                        </a:lnTo>
                        <a:lnTo>
                          <a:pt x="71" y="154"/>
                        </a:lnTo>
                        <a:lnTo>
                          <a:pt x="72" y="154"/>
                        </a:lnTo>
                        <a:lnTo>
                          <a:pt x="74" y="154"/>
                        </a:lnTo>
                        <a:lnTo>
                          <a:pt x="74" y="156"/>
                        </a:lnTo>
                        <a:lnTo>
                          <a:pt x="74" y="157"/>
                        </a:lnTo>
                        <a:lnTo>
                          <a:pt x="74" y="158"/>
                        </a:lnTo>
                        <a:lnTo>
                          <a:pt x="76" y="160"/>
                        </a:lnTo>
                        <a:lnTo>
                          <a:pt x="77" y="161"/>
                        </a:lnTo>
                        <a:lnTo>
                          <a:pt x="78" y="163"/>
                        </a:lnTo>
                        <a:lnTo>
                          <a:pt x="78" y="164"/>
                        </a:lnTo>
                        <a:lnTo>
                          <a:pt x="81" y="166"/>
                        </a:lnTo>
                        <a:lnTo>
                          <a:pt x="83" y="167"/>
                        </a:lnTo>
                        <a:lnTo>
                          <a:pt x="83" y="168"/>
                        </a:lnTo>
                        <a:lnTo>
                          <a:pt x="83" y="170"/>
                        </a:lnTo>
                        <a:lnTo>
                          <a:pt x="85" y="173"/>
                        </a:lnTo>
                        <a:lnTo>
                          <a:pt x="85" y="175"/>
                        </a:lnTo>
                        <a:lnTo>
                          <a:pt x="84" y="176"/>
                        </a:lnTo>
                        <a:lnTo>
                          <a:pt x="83" y="177"/>
                        </a:lnTo>
                        <a:lnTo>
                          <a:pt x="82" y="177"/>
                        </a:lnTo>
                        <a:lnTo>
                          <a:pt x="81" y="177"/>
                        </a:lnTo>
                        <a:lnTo>
                          <a:pt x="81" y="178"/>
                        </a:lnTo>
                        <a:lnTo>
                          <a:pt x="81" y="180"/>
                        </a:lnTo>
                        <a:lnTo>
                          <a:pt x="78" y="18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39" name="Freeform 1678">
                    <a:extLst>
                      <a:ext uri="{FF2B5EF4-FFF2-40B4-BE49-F238E27FC236}">
                        <a16:creationId xmlns:a16="http://schemas.microsoft.com/office/drawing/2014/main" xmlns="" id="{C9655F96-B22E-4F68-8B18-64FF0F37E6C7}"/>
                      </a:ext>
                    </a:extLst>
                  </p:cNvPr>
                  <p:cNvSpPr>
                    <a:spLocks/>
                  </p:cNvSpPr>
                  <p:nvPr/>
                </p:nvSpPr>
                <p:spPr bwMode="gray">
                  <a:xfrm>
                    <a:off x="5057231" y="2898441"/>
                    <a:ext cx="459452" cy="408304"/>
                  </a:xfrm>
                  <a:custGeom>
                    <a:avLst/>
                    <a:gdLst>
                      <a:gd name="T0" fmla="*/ 2147483647 w 413"/>
                      <a:gd name="T1" fmla="*/ 2147483647 h 367"/>
                      <a:gd name="T2" fmla="*/ 2147483647 w 413"/>
                      <a:gd name="T3" fmla="*/ 2147483647 h 367"/>
                      <a:gd name="T4" fmla="*/ 2147483647 w 413"/>
                      <a:gd name="T5" fmla="*/ 2147483647 h 367"/>
                      <a:gd name="T6" fmla="*/ 2147483647 w 413"/>
                      <a:gd name="T7" fmla="*/ 2147483647 h 367"/>
                      <a:gd name="T8" fmla="*/ 2147483647 w 413"/>
                      <a:gd name="T9" fmla="*/ 2147483647 h 367"/>
                      <a:gd name="T10" fmla="*/ 2147483647 w 413"/>
                      <a:gd name="T11" fmla="*/ 2147483647 h 367"/>
                      <a:gd name="T12" fmla="*/ 2147483647 w 413"/>
                      <a:gd name="T13" fmla="*/ 2147483647 h 367"/>
                      <a:gd name="T14" fmla="*/ 2147483647 w 413"/>
                      <a:gd name="T15" fmla="*/ 2147483647 h 367"/>
                      <a:gd name="T16" fmla="*/ 2147483647 w 413"/>
                      <a:gd name="T17" fmla="*/ 2147483647 h 367"/>
                      <a:gd name="T18" fmla="*/ 2147483647 w 413"/>
                      <a:gd name="T19" fmla="*/ 2147483647 h 367"/>
                      <a:gd name="T20" fmla="*/ 2147483647 w 413"/>
                      <a:gd name="T21" fmla="*/ 2147483647 h 367"/>
                      <a:gd name="T22" fmla="*/ 2147483647 w 413"/>
                      <a:gd name="T23" fmla="*/ 2147483647 h 367"/>
                      <a:gd name="T24" fmla="*/ 2147483647 w 413"/>
                      <a:gd name="T25" fmla="*/ 2147483647 h 367"/>
                      <a:gd name="T26" fmla="*/ 2147483647 w 413"/>
                      <a:gd name="T27" fmla="*/ 2147483647 h 367"/>
                      <a:gd name="T28" fmla="*/ 2147483647 w 413"/>
                      <a:gd name="T29" fmla="*/ 2147483647 h 367"/>
                      <a:gd name="T30" fmla="*/ 2147483647 w 413"/>
                      <a:gd name="T31" fmla="*/ 2147483647 h 367"/>
                      <a:gd name="T32" fmla="*/ 2147483647 w 413"/>
                      <a:gd name="T33" fmla="*/ 2147483647 h 367"/>
                      <a:gd name="T34" fmla="*/ 2147483647 w 413"/>
                      <a:gd name="T35" fmla="*/ 2147483647 h 367"/>
                      <a:gd name="T36" fmla="*/ 2147483647 w 413"/>
                      <a:gd name="T37" fmla="*/ 2147483647 h 367"/>
                      <a:gd name="T38" fmla="*/ 2147483647 w 413"/>
                      <a:gd name="T39" fmla="*/ 2147483647 h 367"/>
                      <a:gd name="T40" fmla="*/ 2147483647 w 413"/>
                      <a:gd name="T41" fmla="*/ 2147483647 h 367"/>
                      <a:gd name="T42" fmla="*/ 2147483647 w 413"/>
                      <a:gd name="T43" fmla="*/ 0 h 367"/>
                      <a:gd name="T44" fmla="*/ 2147483647 w 413"/>
                      <a:gd name="T45" fmla="*/ 2147483647 h 367"/>
                      <a:gd name="T46" fmla="*/ 2147483647 w 413"/>
                      <a:gd name="T47" fmla="*/ 2147483647 h 367"/>
                      <a:gd name="T48" fmla="*/ 2147483647 w 413"/>
                      <a:gd name="T49" fmla="*/ 2147483647 h 367"/>
                      <a:gd name="T50" fmla="*/ 2147483647 w 413"/>
                      <a:gd name="T51" fmla="*/ 2147483647 h 367"/>
                      <a:gd name="T52" fmla="*/ 2147483647 w 413"/>
                      <a:gd name="T53" fmla="*/ 2147483647 h 367"/>
                      <a:gd name="T54" fmla="*/ 2147483647 w 413"/>
                      <a:gd name="T55" fmla="*/ 2147483647 h 367"/>
                      <a:gd name="T56" fmla="*/ 2147483647 w 413"/>
                      <a:gd name="T57" fmla="*/ 2147483647 h 367"/>
                      <a:gd name="T58" fmla="*/ 2147483647 w 413"/>
                      <a:gd name="T59" fmla="*/ 2147483647 h 367"/>
                      <a:gd name="T60" fmla="*/ 2147483647 w 413"/>
                      <a:gd name="T61" fmla="*/ 2147483647 h 367"/>
                      <a:gd name="T62" fmla="*/ 2147483647 w 413"/>
                      <a:gd name="T63" fmla="*/ 2147483647 h 367"/>
                      <a:gd name="T64" fmla="*/ 2147483647 w 413"/>
                      <a:gd name="T65" fmla="*/ 2147483647 h 367"/>
                      <a:gd name="T66" fmla="*/ 2147483647 w 413"/>
                      <a:gd name="T67" fmla="*/ 2147483647 h 367"/>
                      <a:gd name="T68" fmla="*/ 2147483647 w 413"/>
                      <a:gd name="T69" fmla="*/ 2147483647 h 367"/>
                      <a:gd name="T70" fmla="*/ 2147483647 w 413"/>
                      <a:gd name="T71" fmla="*/ 2147483647 h 367"/>
                      <a:gd name="T72" fmla="*/ 2147483647 w 413"/>
                      <a:gd name="T73" fmla="*/ 2147483647 h 367"/>
                      <a:gd name="T74" fmla="*/ 2147483647 w 413"/>
                      <a:gd name="T75" fmla="*/ 2147483647 h 367"/>
                      <a:gd name="T76" fmla="*/ 2147483647 w 413"/>
                      <a:gd name="T77" fmla="*/ 2147483647 h 367"/>
                      <a:gd name="T78" fmla="*/ 2147483647 w 413"/>
                      <a:gd name="T79" fmla="*/ 2147483647 h 367"/>
                      <a:gd name="T80" fmla="*/ 2147483647 w 413"/>
                      <a:gd name="T81" fmla="*/ 2147483647 h 367"/>
                      <a:gd name="T82" fmla="*/ 2147483647 w 413"/>
                      <a:gd name="T83" fmla="*/ 2147483647 h 367"/>
                      <a:gd name="T84" fmla="*/ 0 w 413"/>
                      <a:gd name="T85" fmla="*/ 2147483647 h 367"/>
                      <a:gd name="T86" fmla="*/ 2147483647 w 413"/>
                      <a:gd name="T87" fmla="*/ 2147483647 h 367"/>
                      <a:gd name="T88" fmla="*/ 2147483647 w 413"/>
                      <a:gd name="T89" fmla="*/ 2147483647 h 367"/>
                      <a:gd name="T90" fmla="*/ 2147483647 w 413"/>
                      <a:gd name="T91" fmla="*/ 2147483647 h 367"/>
                      <a:gd name="T92" fmla="*/ 2147483647 w 413"/>
                      <a:gd name="T93" fmla="*/ 2147483647 h 367"/>
                      <a:gd name="T94" fmla="*/ 2147483647 w 413"/>
                      <a:gd name="T95" fmla="*/ 2147483647 h 367"/>
                      <a:gd name="T96" fmla="*/ 2147483647 w 413"/>
                      <a:gd name="T97" fmla="*/ 2147483647 h 367"/>
                      <a:gd name="T98" fmla="*/ 2147483647 w 413"/>
                      <a:gd name="T99" fmla="*/ 2147483647 h 367"/>
                      <a:gd name="T100" fmla="*/ 2147483647 w 413"/>
                      <a:gd name="T101" fmla="*/ 2147483647 h 367"/>
                      <a:gd name="T102" fmla="*/ 2147483647 w 413"/>
                      <a:gd name="T103" fmla="*/ 2147483647 h 367"/>
                      <a:gd name="T104" fmla="*/ 2147483647 w 413"/>
                      <a:gd name="T105" fmla="*/ 2147483647 h 367"/>
                      <a:gd name="T106" fmla="*/ 2147483647 w 413"/>
                      <a:gd name="T107" fmla="*/ 2147483647 h 367"/>
                      <a:gd name="T108" fmla="*/ 2147483647 w 413"/>
                      <a:gd name="T109" fmla="*/ 2147483647 h 367"/>
                      <a:gd name="T110" fmla="*/ 2147483647 w 413"/>
                      <a:gd name="T111" fmla="*/ 2147483647 h 367"/>
                      <a:gd name="T112" fmla="*/ 2147483647 w 413"/>
                      <a:gd name="T113" fmla="*/ 2147483647 h 367"/>
                      <a:gd name="T114" fmla="*/ 2147483647 w 413"/>
                      <a:gd name="T115" fmla="*/ 2147483647 h 3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3" h="367">
                        <a:moveTo>
                          <a:pt x="387" y="292"/>
                        </a:moveTo>
                        <a:lnTo>
                          <a:pt x="384" y="291"/>
                        </a:lnTo>
                        <a:lnTo>
                          <a:pt x="381" y="288"/>
                        </a:lnTo>
                        <a:lnTo>
                          <a:pt x="378" y="283"/>
                        </a:lnTo>
                        <a:lnTo>
                          <a:pt x="378" y="280"/>
                        </a:lnTo>
                        <a:lnTo>
                          <a:pt x="376" y="276"/>
                        </a:lnTo>
                        <a:lnTo>
                          <a:pt x="375" y="273"/>
                        </a:lnTo>
                        <a:lnTo>
                          <a:pt x="374" y="269"/>
                        </a:lnTo>
                        <a:lnTo>
                          <a:pt x="374" y="264"/>
                        </a:lnTo>
                        <a:lnTo>
                          <a:pt x="373" y="262"/>
                        </a:lnTo>
                        <a:lnTo>
                          <a:pt x="371" y="261"/>
                        </a:lnTo>
                        <a:lnTo>
                          <a:pt x="369" y="259"/>
                        </a:lnTo>
                        <a:lnTo>
                          <a:pt x="368" y="257"/>
                        </a:lnTo>
                        <a:lnTo>
                          <a:pt x="366" y="255"/>
                        </a:lnTo>
                        <a:lnTo>
                          <a:pt x="365" y="252"/>
                        </a:lnTo>
                        <a:lnTo>
                          <a:pt x="364" y="247"/>
                        </a:lnTo>
                        <a:lnTo>
                          <a:pt x="362" y="245"/>
                        </a:lnTo>
                        <a:lnTo>
                          <a:pt x="361" y="242"/>
                        </a:lnTo>
                        <a:lnTo>
                          <a:pt x="360" y="240"/>
                        </a:lnTo>
                        <a:lnTo>
                          <a:pt x="358" y="238"/>
                        </a:lnTo>
                        <a:lnTo>
                          <a:pt x="356" y="234"/>
                        </a:lnTo>
                        <a:lnTo>
                          <a:pt x="355" y="230"/>
                        </a:lnTo>
                        <a:lnTo>
                          <a:pt x="354" y="225"/>
                        </a:lnTo>
                        <a:lnTo>
                          <a:pt x="352" y="222"/>
                        </a:lnTo>
                        <a:lnTo>
                          <a:pt x="349" y="219"/>
                        </a:lnTo>
                        <a:lnTo>
                          <a:pt x="348" y="216"/>
                        </a:lnTo>
                        <a:lnTo>
                          <a:pt x="348" y="212"/>
                        </a:lnTo>
                        <a:lnTo>
                          <a:pt x="349" y="212"/>
                        </a:lnTo>
                        <a:lnTo>
                          <a:pt x="350" y="212"/>
                        </a:lnTo>
                        <a:lnTo>
                          <a:pt x="351" y="211"/>
                        </a:lnTo>
                        <a:lnTo>
                          <a:pt x="352" y="209"/>
                        </a:lnTo>
                        <a:lnTo>
                          <a:pt x="354" y="207"/>
                        </a:lnTo>
                        <a:lnTo>
                          <a:pt x="354" y="204"/>
                        </a:lnTo>
                        <a:lnTo>
                          <a:pt x="356" y="203"/>
                        </a:lnTo>
                        <a:lnTo>
                          <a:pt x="358" y="202"/>
                        </a:lnTo>
                        <a:lnTo>
                          <a:pt x="360" y="202"/>
                        </a:lnTo>
                        <a:lnTo>
                          <a:pt x="361" y="203"/>
                        </a:lnTo>
                        <a:lnTo>
                          <a:pt x="362" y="204"/>
                        </a:lnTo>
                        <a:lnTo>
                          <a:pt x="364" y="206"/>
                        </a:lnTo>
                        <a:lnTo>
                          <a:pt x="368" y="205"/>
                        </a:lnTo>
                        <a:lnTo>
                          <a:pt x="371" y="204"/>
                        </a:lnTo>
                        <a:lnTo>
                          <a:pt x="374" y="204"/>
                        </a:lnTo>
                        <a:lnTo>
                          <a:pt x="378" y="206"/>
                        </a:lnTo>
                        <a:lnTo>
                          <a:pt x="379" y="206"/>
                        </a:lnTo>
                        <a:lnTo>
                          <a:pt x="380" y="206"/>
                        </a:lnTo>
                        <a:lnTo>
                          <a:pt x="383" y="206"/>
                        </a:lnTo>
                        <a:lnTo>
                          <a:pt x="386" y="207"/>
                        </a:lnTo>
                        <a:lnTo>
                          <a:pt x="388" y="208"/>
                        </a:lnTo>
                        <a:lnTo>
                          <a:pt x="391" y="206"/>
                        </a:lnTo>
                        <a:lnTo>
                          <a:pt x="393" y="202"/>
                        </a:lnTo>
                        <a:lnTo>
                          <a:pt x="394" y="202"/>
                        </a:lnTo>
                        <a:lnTo>
                          <a:pt x="396" y="202"/>
                        </a:lnTo>
                        <a:lnTo>
                          <a:pt x="398" y="201"/>
                        </a:lnTo>
                        <a:lnTo>
                          <a:pt x="400" y="199"/>
                        </a:lnTo>
                        <a:lnTo>
                          <a:pt x="400" y="198"/>
                        </a:lnTo>
                        <a:lnTo>
                          <a:pt x="400" y="197"/>
                        </a:lnTo>
                        <a:lnTo>
                          <a:pt x="400" y="196"/>
                        </a:lnTo>
                        <a:lnTo>
                          <a:pt x="402" y="193"/>
                        </a:lnTo>
                        <a:lnTo>
                          <a:pt x="403" y="192"/>
                        </a:lnTo>
                        <a:lnTo>
                          <a:pt x="404" y="190"/>
                        </a:lnTo>
                        <a:lnTo>
                          <a:pt x="406" y="190"/>
                        </a:lnTo>
                        <a:lnTo>
                          <a:pt x="408" y="190"/>
                        </a:lnTo>
                        <a:lnTo>
                          <a:pt x="409" y="191"/>
                        </a:lnTo>
                        <a:lnTo>
                          <a:pt x="411" y="191"/>
                        </a:lnTo>
                        <a:lnTo>
                          <a:pt x="413" y="190"/>
                        </a:lnTo>
                        <a:lnTo>
                          <a:pt x="413" y="188"/>
                        </a:lnTo>
                        <a:lnTo>
                          <a:pt x="413" y="186"/>
                        </a:lnTo>
                        <a:lnTo>
                          <a:pt x="413" y="185"/>
                        </a:lnTo>
                        <a:lnTo>
                          <a:pt x="413" y="183"/>
                        </a:lnTo>
                        <a:lnTo>
                          <a:pt x="412" y="181"/>
                        </a:lnTo>
                        <a:lnTo>
                          <a:pt x="410" y="180"/>
                        </a:lnTo>
                        <a:lnTo>
                          <a:pt x="404" y="178"/>
                        </a:lnTo>
                        <a:lnTo>
                          <a:pt x="399" y="177"/>
                        </a:lnTo>
                        <a:lnTo>
                          <a:pt x="398" y="175"/>
                        </a:lnTo>
                        <a:lnTo>
                          <a:pt x="397" y="173"/>
                        </a:lnTo>
                        <a:lnTo>
                          <a:pt x="397" y="171"/>
                        </a:lnTo>
                        <a:lnTo>
                          <a:pt x="399" y="168"/>
                        </a:lnTo>
                        <a:lnTo>
                          <a:pt x="400" y="167"/>
                        </a:lnTo>
                        <a:lnTo>
                          <a:pt x="400" y="164"/>
                        </a:lnTo>
                        <a:lnTo>
                          <a:pt x="398" y="163"/>
                        </a:lnTo>
                        <a:lnTo>
                          <a:pt x="395" y="164"/>
                        </a:lnTo>
                        <a:lnTo>
                          <a:pt x="393" y="165"/>
                        </a:lnTo>
                        <a:lnTo>
                          <a:pt x="390" y="164"/>
                        </a:lnTo>
                        <a:lnTo>
                          <a:pt x="388" y="160"/>
                        </a:lnTo>
                        <a:lnTo>
                          <a:pt x="385" y="158"/>
                        </a:lnTo>
                        <a:lnTo>
                          <a:pt x="383" y="156"/>
                        </a:lnTo>
                        <a:lnTo>
                          <a:pt x="380" y="154"/>
                        </a:lnTo>
                        <a:lnTo>
                          <a:pt x="376" y="153"/>
                        </a:lnTo>
                        <a:lnTo>
                          <a:pt x="370" y="154"/>
                        </a:lnTo>
                        <a:lnTo>
                          <a:pt x="364" y="156"/>
                        </a:lnTo>
                        <a:lnTo>
                          <a:pt x="361" y="157"/>
                        </a:lnTo>
                        <a:lnTo>
                          <a:pt x="359" y="155"/>
                        </a:lnTo>
                        <a:lnTo>
                          <a:pt x="360" y="152"/>
                        </a:lnTo>
                        <a:lnTo>
                          <a:pt x="360" y="150"/>
                        </a:lnTo>
                        <a:lnTo>
                          <a:pt x="361" y="147"/>
                        </a:lnTo>
                        <a:lnTo>
                          <a:pt x="360" y="145"/>
                        </a:lnTo>
                        <a:lnTo>
                          <a:pt x="359" y="143"/>
                        </a:lnTo>
                        <a:lnTo>
                          <a:pt x="354" y="138"/>
                        </a:lnTo>
                        <a:lnTo>
                          <a:pt x="353" y="138"/>
                        </a:lnTo>
                        <a:lnTo>
                          <a:pt x="352" y="136"/>
                        </a:lnTo>
                        <a:lnTo>
                          <a:pt x="350" y="134"/>
                        </a:lnTo>
                        <a:lnTo>
                          <a:pt x="348" y="131"/>
                        </a:lnTo>
                        <a:lnTo>
                          <a:pt x="343" y="131"/>
                        </a:lnTo>
                        <a:lnTo>
                          <a:pt x="341" y="131"/>
                        </a:lnTo>
                        <a:lnTo>
                          <a:pt x="338" y="128"/>
                        </a:lnTo>
                        <a:lnTo>
                          <a:pt x="336" y="126"/>
                        </a:lnTo>
                        <a:lnTo>
                          <a:pt x="335" y="123"/>
                        </a:lnTo>
                        <a:lnTo>
                          <a:pt x="335" y="119"/>
                        </a:lnTo>
                        <a:lnTo>
                          <a:pt x="333" y="115"/>
                        </a:lnTo>
                        <a:lnTo>
                          <a:pt x="330" y="113"/>
                        </a:lnTo>
                        <a:lnTo>
                          <a:pt x="330" y="111"/>
                        </a:lnTo>
                        <a:lnTo>
                          <a:pt x="329" y="109"/>
                        </a:lnTo>
                        <a:lnTo>
                          <a:pt x="329" y="107"/>
                        </a:lnTo>
                        <a:lnTo>
                          <a:pt x="329" y="106"/>
                        </a:lnTo>
                        <a:lnTo>
                          <a:pt x="329" y="104"/>
                        </a:lnTo>
                        <a:lnTo>
                          <a:pt x="329" y="103"/>
                        </a:lnTo>
                        <a:lnTo>
                          <a:pt x="330" y="101"/>
                        </a:lnTo>
                        <a:lnTo>
                          <a:pt x="330" y="100"/>
                        </a:lnTo>
                        <a:lnTo>
                          <a:pt x="331" y="100"/>
                        </a:lnTo>
                        <a:lnTo>
                          <a:pt x="332" y="100"/>
                        </a:lnTo>
                        <a:lnTo>
                          <a:pt x="331" y="96"/>
                        </a:lnTo>
                        <a:lnTo>
                          <a:pt x="329" y="94"/>
                        </a:lnTo>
                        <a:lnTo>
                          <a:pt x="327" y="93"/>
                        </a:lnTo>
                        <a:lnTo>
                          <a:pt x="326" y="93"/>
                        </a:lnTo>
                        <a:lnTo>
                          <a:pt x="323" y="89"/>
                        </a:lnTo>
                        <a:lnTo>
                          <a:pt x="321" y="85"/>
                        </a:lnTo>
                        <a:lnTo>
                          <a:pt x="318" y="79"/>
                        </a:lnTo>
                        <a:lnTo>
                          <a:pt x="317" y="70"/>
                        </a:lnTo>
                        <a:lnTo>
                          <a:pt x="316" y="61"/>
                        </a:lnTo>
                        <a:lnTo>
                          <a:pt x="314" y="61"/>
                        </a:lnTo>
                        <a:lnTo>
                          <a:pt x="313" y="60"/>
                        </a:lnTo>
                        <a:lnTo>
                          <a:pt x="313" y="59"/>
                        </a:lnTo>
                        <a:lnTo>
                          <a:pt x="312" y="58"/>
                        </a:lnTo>
                        <a:lnTo>
                          <a:pt x="313" y="56"/>
                        </a:lnTo>
                        <a:lnTo>
                          <a:pt x="314" y="55"/>
                        </a:lnTo>
                        <a:lnTo>
                          <a:pt x="315" y="55"/>
                        </a:lnTo>
                        <a:lnTo>
                          <a:pt x="316" y="55"/>
                        </a:lnTo>
                        <a:lnTo>
                          <a:pt x="318" y="52"/>
                        </a:lnTo>
                        <a:lnTo>
                          <a:pt x="319" y="49"/>
                        </a:lnTo>
                        <a:lnTo>
                          <a:pt x="319" y="46"/>
                        </a:lnTo>
                        <a:lnTo>
                          <a:pt x="319" y="41"/>
                        </a:lnTo>
                        <a:lnTo>
                          <a:pt x="318" y="39"/>
                        </a:lnTo>
                        <a:lnTo>
                          <a:pt x="318" y="38"/>
                        </a:lnTo>
                        <a:lnTo>
                          <a:pt x="317" y="37"/>
                        </a:lnTo>
                        <a:lnTo>
                          <a:pt x="316" y="36"/>
                        </a:lnTo>
                        <a:lnTo>
                          <a:pt x="314" y="32"/>
                        </a:lnTo>
                        <a:lnTo>
                          <a:pt x="310" y="31"/>
                        </a:lnTo>
                        <a:lnTo>
                          <a:pt x="306" y="30"/>
                        </a:lnTo>
                        <a:lnTo>
                          <a:pt x="303" y="29"/>
                        </a:lnTo>
                        <a:lnTo>
                          <a:pt x="301" y="27"/>
                        </a:lnTo>
                        <a:lnTo>
                          <a:pt x="298" y="24"/>
                        </a:lnTo>
                        <a:lnTo>
                          <a:pt x="296" y="20"/>
                        </a:lnTo>
                        <a:lnTo>
                          <a:pt x="293" y="19"/>
                        </a:lnTo>
                        <a:lnTo>
                          <a:pt x="290" y="18"/>
                        </a:lnTo>
                        <a:lnTo>
                          <a:pt x="287" y="15"/>
                        </a:lnTo>
                        <a:lnTo>
                          <a:pt x="284" y="13"/>
                        </a:lnTo>
                        <a:lnTo>
                          <a:pt x="283" y="12"/>
                        </a:lnTo>
                        <a:lnTo>
                          <a:pt x="274" y="12"/>
                        </a:lnTo>
                        <a:lnTo>
                          <a:pt x="272" y="13"/>
                        </a:lnTo>
                        <a:lnTo>
                          <a:pt x="271" y="14"/>
                        </a:lnTo>
                        <a:lnTo>
                          <a:pt x="269" y="15"/>
                        </a:lnTo>
                        <a:lnTo>
                          <a:pt x="267" y="15"/>
                        </a:lnTo>
                        <a:lnTo>
                          <a:pt x="265" y="16"/>
                        </a:lnTo>
                        <a:lnTo>
                          <a:pt x="264" y="16"/>
                        </a:lnTo>
                        <a:lnTo>
                          <a:pt x="263" y="17"/>
                        </a:lnTo>
                        <a:lnTo>
                          <a:pt x="261" y="19"/>
                        </a:lnTo>
                        <a:lnTo>
                          <a:pt x="259" y="20"/>
                        </a:lnTo>
                        <a:lnTo>
                          <a:pt x="258" y="22"/>
                        </a:lnTo>
                        <a:lnTo>
                          <a:pt x="257" y="24"/>
                        </a:lnTo>
                        <a:lnTo>
                          <a:pt x="255" y="25"/>
                        </a:lnTo>
                        <a:lnTo>
                          <a:pt x="255" y="23"/>
                        </a:lnTo>
                        <a:lnTo>
                          <a:pt x="254" y="21"/>
                        </a:lnTo>
                        <a:lnTo>
                          <a:pt x="252" y="19"/>
                        </a:lnTo>
                        <a:lnTo>
                          <a:pt x="252" y="18"/>
                        </a:lnTo>
                        <a:lnTo>
                          <a:pt x="253" y="15"/>
                        </a:lnTo>
                        <a:lnTo>
                          <a:pt x="253" y="12"/>
                        </a:lnTo>
                        <a:lnTo>
                          <a:pt x="252" y="10"/>
                        </a:lnTo>
                        <a:lnTo>
                          <a:pt x="250" y="10"/>
                        </a:lnTo>
                        <a:lnTo>
                          <a:pt x="248" y="10"/>
                        </a:lnTo>
                        <a:lnTo>
                          <a:pt x="247" y="10"/>
                        </a:lnTo>
                        <a:lnTo>
                          <a:pt x="245" y="10"/>
                        </a:lnTo>
                        <a:lnTo>
                          <a:pt x="241" y="8"/>
                        </a:lnTo>
                        <a:lnTo>
                          <a:pt x="238" y="8"/>
                        </a:lnTo>
                        <a:lnTo>
                          <a:pt x="235" y="9"/>
                        </a:lnTo>
                        <a:lnTo>
                          <a:pt x="232" y="10"/>
                        </a:lnTo>
                        <a:lnTo>
                          <a:pt x="231" y="10"/>
                        </a:lnTo>
                        <a:lnTo>
                          <a:pt x="230" y="10"/>
                        </a:lnTo>
                        <a:lnTo>
                          <a:pt x="229" y="10"/>
                        </a:lnTo>
                        <a:lnTo>
                          <a:pt x="225" y="10"/>
                        </a:lnTo>
                        <a:lnTo>
                          <a:pt x="223" y="11"/>
                        </a:lnTo>
                        <a:lnTo>
                          <a:pt x="221" y="12"/>
                        </a:lnTo>
                        <a:lnTo>
                          <a:pt x="219" y="12"/>
                        </a:lnTo>
                        <a:lnTo>
                          <a:pt x="217" y="12"/>
                        </a:lnTo>
                        <a:lnTo>
                          <a:pt x="216" y="12"/>
                        </a:lnTo>
                        <a:lnTo>
                          <a:pt x="216" y="10"/>
                        </a:lnTo>
                        <a:lnTo>
                          <a:pt x="215" y="10"/>
                        </a:lnTo>
                        <a:lnTo>
                          <a:pt x="214" y="10"/>
                        </a:lnTo>
                        <a:lnTo>
                          <a:pt x="213" y="10"/>
                        </a:lnTo>
                        <a:lnTo>
                          <a:pt x="212" y="10"/>
                        </a:lnTo>
                        <a:lnTo>
                          <a:pt x="212" y="7"/>
                        </a:lnTo>
                        <a:lnTo>
                          <a:pt x="210" y="5"/>
                        </a:lnTo>
                        <a:lnTo>
                          <a:pt x="209" y="4"/>
                        </a:lnTo>
                        <a:lnTo>
                          <a:pt x="207" y="3"/>
                        </a:lnTo>
                        <a:lnTo>
                          <a:pt x="206" y="3"/>
                        </a:lnTo>
                        <a:lnTo>
                          <a:pt x="205" y="3"/>
                        </a:lnTo>
                        <a:lnTo>
                          <a:pt x="204" y="3"/>
                        </a:lnTo>
                        <a:lnTo>
                          <a:pt x="203" y="3"/>
                        </a:lnTo>
                        <a:lnTo>
                          <a:pt x="201" y="5"/>
                        </a:lnTo>
                        <a:lnTo>
                          <a:pt x="200" y="6"/>
                        </a:lnTo>
                        <a:lnTo>
                          <a:pt x="199" y="6"/>
                        </a:lnTo>
                        <a:lnTo>
                          <a:pt x="197" y="6"/>
                        </a:lnTo>
                        <a:lnTo>
                          <a:pt x="193" y="6"/>
                        </a:lnTo>
                        <a:lnTo>
                          <a:pt x="190" y="4"/>
                        </a:lnTo>
                        <a:lnTo>
                          <a:pt x="189" y="2"/>
                        </a:lnTo>
                        <a:lnTo>
                          <a:pt x="186" y="0"/>
                        </a:lnTo>
                        <a:lnTo>
                          <a:pt x="186" y="2"/>
                        </a:lnTo>
                        <a:lnTo>
                          <a:pt x="186" y="3"/>
                        </a:lnTo>
                        <a:lnTo>
                          <a:pt x="184" y="3"/>
                        </a:lnTo>
                        <a:lnTo>
                          <a:pt x="182" y="6"/>
                        </a:lnTo>
                        <a:lnTo>
                          <a:pt x="181" y="8"/>
                        </a:lnTo>
                        <a:lnTo>
                          <a:pt x="181" y="12"/>
                        </a:lnTo>
                        <a:lnTo>
                          <a:pt x="181" y="15"/>
                        </a:lnTo>
                        <a:lnTo>
                          <a:pt x="179" y="18"/>
                        </a:lnTo>
                        <a:lnTo>
                          <a:pt x="179" y="20"/>
                        </a:lnTo>
                        <a:lnTo>
                          <a:pt x="179" y="22"/>
                        </a:lnTo>
                        <a:lnTo>
                          <a:pt x="177" y="22"/>
                        </a:lnTo>
                        <a:lnTo>
                          <a:pt x="175" y="23"/>
                        </a:lnTo>
                        <a:lnTo>
                          <a:pt x="172" y="24"/>
                        </a:lnTo>
                        <a:lnTo>
                          <a:pt x="170" y="25"/>
                        </a:lnTo>
                        <a:lnTo>
                          <a:pt x="167" y="25"/>
                        </a:lnTo>
                        <a:lnTo>
                          <a:pt x="163" y="26"/>
                        </a:lnTo>
                        <a:lnTo>
                          <a:pt x="162" y="27"/>
                        </a:lnTo>
                        <a:lnTo>
                          <a:pt x="159" y="28"/>
                        </a:lnTo>
                        <a:lnTo>
                          <a:pt x="155" y="29"/>
                        </a:lnTo>
                        <a:lnTo>
                          <a:pt x="150" y="29"/>
                        </a:lnTo>
                        <a:lnTo>
                          <a:pt x="149" y="29"/>
                        </a:lnTo>
                        <a:lnTo>
                          <a:pt x="148" y="29"/>
                        </a:lnTo>
                        <a:lnTo>
                          <a:pt x="145" y="32"/>
                        </a:lnTo>
                        <a:lnTo>
                          <a:pt x="143" y="36"/>
                        </a:lnTo>
                        <a:lnTo>
                          <a:pt x="142" y="38"/>
                        </a:lnTo>
                        <a:lnTo>
                          <a:pt x="138" y="41"/>
                        </a:lnTo>
                        <a:lnTo>
                          <a:pt x="137" y="41"/>
                        </a:lnTo>
                        <a:lnTo>
                          <a:pt x="136" y="40"/>
                        </a:lnTo>
                        <a:lnTo>
                          <a:pt x="136" y="38"/>
                        </a:lnTo>
                        <a:lnTo>
                          <a:pt x="134" y="40"/>
                        </a:lnTo>
                        <a:lnTo>
                          <a:pt x="133" y="41"/>
                        </a:lnTo>
                        <a:lnTo>
                          <a:pt x="132" y="43"/>
                        </a:lnTo>
                        <a:lnTo>
                          <a:pt x="132" y="45"/>
                        </a:lnTo>
                        <a:lnTo>
                          <a:pt x="132" y="47"/>
                        </a:lnTo>
                        <a:lnTo>
                          <a:pt x="132" y="48"/>
                        </a:lnTo>
                        <a:lnTo>
                          <a:pt x="132" y="49"/>
                        </a:lnTo>
                        <a:lnTo>
                          <a:pt x="132" y="51"/>
                        </a:lnTo>
                        <a:lnTo>
                          <a:pt x="133" y="56"/>
                        </a:lnTo>
                        <a:lnTo>
                          <a:pt x="134" y="59"/>
                        </a:lnTo>
                        <a:lnTo>
                          <a:pt x="136" y="61"/>
                        </a:lnTo>
                        <a:lnTo>
                          <a:pt x="138" y="60"/>
                        </a:lnTo>
                        <a:lnTo>
                          <a:pt x="140" y="59"/>
                        </a:lnTo>
                        <a:lnTo>
                          <a:pt x="142" y="57"/>
                        </a:lnTo>
                        <a:lnTo>
                          <a:pt x="145" y="58"/>
                        </a:lnTo>
                        <a:lnTo>
                          <a:pt x="144" y="62"/>
                        </a:lnTo>
                        <a:lnTo>
                          <a:pt x="143" y="65"/>
                        </a:lnTo>
                        <a:lnTo>
                          <a:pt x="142" y="68"/>
                        </a:lnTo>
                        <a:lnTo>
                          <a:pt x="141" y="71"/>
                        </a:lnTo>
                        <a:lnTo>
                          <a:pt x="141" y="75"/>
                        </a:lnTo>
                        <a:lnTo>
                          <a:pt x="141" y="77"/>
                        </a:lnTo>
                        <a:lnTo>
                          <a:pt x="139" y="79"/>
                        </a:lnTo>
                        <a:lnTo>
                          <a:pt x="137" y="79"/>
                        </a:lnTo>
                        <a:lnTo>
                          <a:pt x="135" y="79"/>
                        </a:lnTo>
                        <a:lnTo>
                          <a:pt x="132" y="81"/>
                        </a:lnTo>
                        <a:lnTo>
                          <a:pt x="130" y="81"/>
                        </a:lnTo>
                        <a:lnTo>
                          <a:pt x="129" y="81"/>
                        </a:lnTo>
                        <a:lnTo>
                          <a:pt x="129" y="82"/>
                        </a:lnTo>
                        <a:lnTo>
                          <a:pt x="129" y="84"/>
                        </a:lnTo>
                        <a:lnTo>
                          <a:pt x="129" y="85"/>
                        </a:lnTo>
                        <a:lnTo>
                          <a:pt x="129" y="86"/>
                        </a:lnTo>
                        <a:lnTo>
                          <a:pt x="128" y="88"/>
                        </a:lnTo>
                        <a:lnTo>
                          <a:pt x="125" y="90"/>
                        </a:lnTo>
                        <a:lnTo>
                          <a:pt x="122" y="91"/>
                        </a:lnTo>
                        <a:lnTo>
                          <a:pt x="119" y="93"/>
                        </a:lnTo>
                        <a:lnTo>
                          <a:pt x="117" y="95"/>
                        </a:lnTo>
                        <a:lnTo>
                          <a:pt x="116" y="96"/>
                        </a:lnTo>
                        <a:lnTo>
                          <a:pt x="116" y="98"/>
                        </a:lnTo>
                        <a:lnTo>
                          <a:pt x="116" y="100"/>
                        </a:lnTo>
                        <a:lnTo>
                          <a:pt x="115" y="100"/>
                        </a:lnTo>
                        <a:lnTo>
                          <a:pt x="114" y="102"/>
                        </a:lnTo>
                        <a:lnTo>
                          <a:pt x="114" y="104"/>
                        </a:lnTo>
                        <a:lnTo>
                          <a:pt x="113" y="106"/>
                        </a:lnTo>
                        <a:lnTo>
                          <a:pt x="112" y="107"/>
                        </a:lnTo>
                        <a:lnTo>
                          <a:pt x="112" y="111"/>
                        </a:lnTo>
                        <a:lnTo>
                          <a:pt x="113" y="115"/>
                        </a:lnTo>
                        <a:lnTo>
                          <a:pt x="113" y="119"/>
                        </a:lnTo>
                        <a:lnTo>
                          <a:pt x="113" y="120"/>
                        </a:lnTo>
                        <a:lnTo>
                          <a:pt x="112" y="121"/>
                        </a:lnTo>
                        <a:lnTo>
                          <a:pt x="110" y="121"/>
                        </a:lnTo>
                        <a:lnTo>
                          <a:pt x="110" y="122"/>
                        </a:lnTo>
                        <a:lnTo>
                          <a:pt x="110" y="125"/>
                        </a:lnTo>
                        <a:lnTo>
                          <a:pt x="109" y="128"/>
                        </a:lnTo>
                        <a:lnTo>
                          <a:pt x="108" y="129"/>
                        </a:lnTo>
                        <a:lnTo>
                          <a:pt x="106" y="131"/>
                        </a:lnTo>
                        <a:lnTo>
                          <a:pt x="106" y="134"/>
                        </a:lnTo>
                        <a:lnTo>
                          <a:pt x="105" y="138"/>
                        </a:lnTo>
                        <a:lnTo>
                          <a:pt x="105" y="142"/>
                        </a:lnTo>
                        <a:lnTo>
                          <a:pt x="106" y="144"/>
                        </a:lnTo>
                        <a:lnTo>
                          <a:pt x="107" y="144"/>
                        </a:lnTo>
                        <a:lnTo>
                          <a:pt x="108" y="144"/>
                        </a:lnTo>
                        <a:lnTo>
                          <a:pt x="109" y="145"/>
                        </a:lnTo>
                        <a:lnTo>
                          <a:pt x="110" y="147"/>
                        </a:lnTo>
                        <a:lnTo>
                          <a:pt x="112" y="147"/>
                        </a:lnTo>
                        <a:lnTo>
                          <a:pt x="113" y="148"/>
                        </a:lnTo>
                        <a:lnTo>
                          <a:pt x="114" y="149"/>
                        </a:lnTo>
                        <a:lnTo>
                          <a:pt x="116" y="151"/>
                        </a:lnTo>
                        <a:lnTo>
                          <a:pt x="116" y="152"/>
                        </a:lnTo>
                        <a:lnTo>
                          <a:pt x="116" y="153"/>
                        </a:lnTo>
                        <a:lnTo>
                          <a:pt x="116" y="154"/>
                        </a:lnTo>
                        <a:lnTo>
                          <a:pt x="115" y="156"/>
                        </a:lnTo>
                        <a:lnTo>
                          <a:pt x="114" y="159"/>
                        </a:lnTo>
                        <a:lnTo>
                          <a:pt x="112" y="160"/>
                        </a:lnTo>
                        <a:lnTo>
                          <a:pt x="110" y="161"/>
                        </a:lnTo>
                        <a:lnTo>
                          <a:pt x="109" y="161"/>
                        </a:lnTo>
                        <a:lnTo>
                          <a:pt x="107" y="161"/>
                        </a:lnTo>
                        <a:lnTo>
                          <a:pt x="106" y="161"/>
                        </a:lnTo>
                        <a:lnTo>
                          <a:pt x="108" y="157"/>
                        </a:lnTo>
                        <a:lnTo>
                          <a:pt x="107" y="153"/>
                        </a:lnTo>
                        <a:lnTo>
                          <a:pt x="106" y="149"/>
                        </a:lnTo>
                        <a:lnTo>
                          <a:pt x="103" y="147"/>
                        </a:lnTo>
                        <a:lnTo>
                          <a:pt x="101" y="147"/>
                        </a:lnTo>
                        <a:lnTo>
                          <a:pt x="100" y="148"/>
                        </a:lnTo>
                        <a:lnTo>
                          <a:pt x="100" y="149"/>
                        </a:lnTo>
                        <a:lnTo>
                          <a:pt x="100" y="151"/>
                        </a:lnTo>
                        <a:lnTo>
                          <a:pt x="98" y="150"/>
                        </a:lnTo>
                        <a:lnTo>
                          <a:pt x="97" y="149"/>
                        </a:lnTo>
                        <a:lnTo>
                          <a:pt x="96" y="151"/>
                        </a:lnTo>
                        <a:lnTo>
                          <a:pt x="92" y="151"/>
                        </a:lnTo>
                        <a:lnTo>
                          <a:pt x="90" y="152"/>
                        </a:lnTo>
                        <a:lnTo>
                          <a:pt x="90" y="154"/>
                        </a:lnTo>
                        <a:lnTo>
                          <a:pt x="90" y="156"/>
                        </a:lnTo>
                        <a:lnTo>
                          <a:pt x="89" y="159"/>
                        </a:lnTo>
                        <a:lnTo>
                          <a:pt x="86" y="160"/>
                        </a:lnTo>
                        <a:lnTo>
                          <a:pt x="84" y="161"/>
                        </a:lnTo>
                        <a:lnTo>
                          <a:pt x="83" y="162"/>
                        </a:lnTo>
                        <a:lnTo>
                          <a:pt x="82" y="164"/>
                        </a:lnTo>
                        <a:lnTo>
                          <a:pt x="81" y="166"/>
                        </a:lnTo>
                        <a:lnTo>
                          <a:pt x="81" y="167"/>
                        </a:lnTo>
                        <a:lnTo>
                          <a:pt x="78" y="167"/>
                        </a:lnTo>
                        <a:lnTo>
                          <a:pt x="76" y="166"/>
                        </a:lnTo>
                        <a:lnTo>
                          <a:pt x="75" y="164"/>
                        </a:lnTo>
                        <a:lnTo>
                          <a:pt x="74" y="164"/>
                        </a:lnTo>
                        <a:lnTo>
                          <a:pt x="72" y="166"/>
                        </a:lnTo>
                        <a:lnTo>
                          <a:pt x="71" y="167"/>
                        </a:lnTo>
                        <a:lnTo>
                          <a:pt x="69" y="168"/>
                        </a:lnTo>
                        <a:lnTo>
                          <a:pt x="68" y="170"/>
                        </a:lnTo>
                        <a:lnTo>
                          <a:pt x="68" y="172"/>
                        </a:lnTo>
                        <a:lnTo>
                          <a:pt x="68" y="173"/>
                        </a:lnTo>
                        <a:lnTo>
                          <a:pt x="69" y="173"/>
                        </a:lnTo>
                        <a:lnTo>
                          <a:pt x="68" y="173"/>
                        </a:lnTo>
                        <a:lnTo>
                          <a:pt x="66" y="175"/>
                        </a:lnTo>
                        <a:lnTo>
                          <a:pt x="65" y="174"/>
                        </a:lnTo>
                        <a:lnTo>
                          <a:pt x="63" y="174"/>
                        </a:lnTo>
                        <a:lnTo>
                          <a:pt x="61" y="173"/>
                        </a:lnTo>
                        <a:lnTo>
                          <a:pt x="60" y="174"/>
                        </a:lnTo>
                        <a:lnTo>
                          <a:pt x="59" y="175"/>
                        </a:lnTo>
                        <a:lnTo>
                          <a:pt x="58" y="177"/>
                        </a:lnTo>
                        <a:lnTo>
                          <a:pt x="55" y="180"/>
                        </a:lnTo>
                        <a:lnTo>
                          <a:pt x="53" y="182"/>
                        </a:lnTo>
                        <a:lnTo>
                          <a:pt x="51" y="183"/>
                        </a:lnTo>
                        <a:lnTo>
                          <a:pt x="50" y="184"/>
                        </a:lnTo>
                        <a:lnTo>
                          <a:pt x="48" y="186"/>
                        </a:lnTo>
                        <a:lnTo>
                          <a:pt x="47" y="186"/>
                        </a:lnTo>
                        <a:lnTo>
                          <a:pt x="45" y="185"/>
                        </a:lnTo>
                        <a:lnTo>
                          <a:pt x="44" y="184"/>
                        </a:lnTo>
                        <a:lnTo>
                          <a:pt x="42" y="183"/>
                        </a:lnTo>
                        <a:lnTo>
                          <a:pt x="40" y="185"/>
                        </a:lnTo>
                        <a:lnTo>
                          <a:pt x="37" y="186"/>
                        </a:lnTo>
                        <a:lnTo>
                          <a:pt x="32" y="186"/>
                        </a:lnTo>
                        <a:lnTo>
                          <a:pt x="30" y="189"/>
                        </a:lnTo>
                        <a:lnTo>
                          <a:pt x="29" y="191"/>
                        </a:lnTo>
                        <a:lnTo>
                          <a:pt x="27" y="191"/>
                        </a:lnTo>
                        <a:lnTo>
                          <a:pt x="26" y="190"/>
                        </a:lnTo>
                        <a:lnTo>
                          <a:pt x="23" y="190"/>
                        </a:lnTo>
                        <a:lnTo>
                          <a:pt x="18" y="190"/>
                        </a:lnTo>
                        <a:lnTo>
                          <a:pt x="15" y="190"/>
                        </a:lnTo>
                        <a:lnTo>
                          <a:pt x="13" y="190"/>
                        </a:lnTo>
                        <a:lnTo>
                          <a:pt x="13" y="191"/>
                        </a:lnTo>
                        <a:lnTo>
                          <a:pt x="14" y="194"/>
                        </a:lnTo>
                        <a:lnTo>
                          <a:pt x="15" y="199"/>
                        </a:lnTo>
                        <a:lnTo>
                          <a:pt x="16" y="202"/>
                        </a:lnTo>
                        <a:lnTo>
                          <a:pt x="18" y="205"/>
                        </a:lnTo>
                        <a:lnTo>
                          <a:pt x="18" y="207"/>
                        </a:lnTo>
                        <a:lnTo>
                          <a:pt x="20" y="212"/>
                        </a:lnTo>
                        <a:lnTo>
                          <a:pt x="21" y="216"/>
                        </a:lnTo>
                        <a:lnTo>
                          <a:pt x="23" y="218"/>
                        </a:lnTo>
                        <a:lnTo>
                          <a:pt x="23" y="219"/>
                        </a:lnTo>
                        <a:lnTo>
                          <a:pt x="23" y="221"/>
                        </a:lnTo>
                        <a:lnTo>
                          <a:pt x="23" y="227"/>
                        </a:lnTo>
                        <a:lnTo>
                          <a:pt x="23" y="233"/>
                        </a:lnTo>
                        <a:lnTo>
                          <a:pt x="24" y="239"/>
                        </a:lnTo>
                        <a:lnTo>
                          <a:pt x="26" y="244"/>
                        </a:lnTo>
                        <a:lnTo>
                          <a:pt x="27" y="249"/>
                        </a:lnTo>
                        <a:lnTo>
                          <a:pt x="27" y="254"/>
                        </a:lnTo>
                        <a:lnTo>
                          <a:pt x="27" y="259"/>
                        </a:lnTo>
                        <a:lnTo>
                          <a:pt x="29" y="264"/>
                        </a:lnTo>
                        <a:lnTo>
                          <a:pt x="30" y="268"/>
                        </a:lnTo>
                        <a:lnTo>
                          <a:pt x="30" y="272"/>
                        </a:lnTo>
                        <a:lnTo>
                          <a:pt x="29" y="275"/>
                        </a:lnTo>
                        <a:lnTo>
                          <a:pt x="29" y="280"/>
                        </a:lnTo>
                        <a:lnTo>
                          <a:pt x="27" y="284"/>
                        </a:lnTo>
                        <a:lnTo>
                          <a:pt x="26" y="288"/>
                        </a:lnTo>
                        <a:lnTo>
                          <a:pt x="21" y="291"/>
                        </a:lnTo>
                        <a:lnTo>
                          <a:pt x="18" y="292"/>
                        </a:lnTo>
                        <a:lnTo>
                          <a:pt x="16" y="292"/>
                        </a:lnTo>
                        <a:lnTo>
                          <a:pt x="15" y="293"/>
                        </a:lnTo>
                        <a:lnTo>
                          <a:pt x="12" y="296"/>
                        </a:lnTo>
                        <a:lnTo>
                          <a:pt x="10" y="300"/>
                        </a:lnTo>
                        <a:lnTo>
                          <a:pt x="7" y="304"/>
                        </a:lnTo>
                        <a:lnTo>
                          <a:pt x="5" y="308"/>
                        </a:lnTo>
                        <a:lnTo>
                          <a:pt x="2" y="312"/>
                        </a:lnTo>
                        <a:lnTo>
                          <a:pt x="0" y="314"/>
                        </a:lnTo>
                        <a:lnTo>
                          <a:pt x="0" y="315"/>
                        </a:lnTo>
                        <a:lnTo>
                          <a:pt x="2" y="316"/>
                        </a:lnTo>
                        <a:lnTo>
                          <a:pt x="5" y="318"/>
                        </a:lnTo>
                        <a:lnTo>
                          <a:pt x="10" y="321"/>
                        </a:lnTo>
                        <a:lnTo>
                          <a:pt x="13" y="322"/>
                        </a:lnTo>
                        <a:lnTo>
                          <a:pt x="16" y="322"/>
                        </a:lnTo>
                        <a:lnTo>
                          <a:pt x="20" y="324"/>
                        </a:lnTo>
                        <a:lnTo>
                          <a:pt x="23" y="326"/>
                        </a:lnTo>
                        <a:lnTo>
                          <a:pt x="26" y="328"/>
                        </a:lnTo>
                        <a:lnTo>
                          <a:pt x="26" y="332"/>
                        </a:lnTo>
                        <a:lnTo>
                          <a:pt x="24" y="337"/>
                        </a:lnTo>
                        <a:lnTo>
                          <a:pt x="23" y="343"/>
                        </a:lnTo>
                        <a:lnTo>
                          <a:pt x="23" y="347"/>
                        </a:lnTo>
                        <a:lnTo>
                          <a:pt x="23" y="353"/>
                        </a:lnTo>
                        <a:lnTo>
                          <a:pt x="24" y="360"/>
                        </a:lnTo>
                        <a:lnTo>
                          <a:pt x="26" y="364"/>
                        </a:lnTo>
                        <a:lnTo>
                          <a:pt x="26" y="366"/>
                        </a:lnTo>
                        <a:lnTo>
                          <a:pt x="26" y="367"/>
                        </a:lnTo>
                        <a:lnTo>
                          <a:pt x="27" y="367"/>
                        </a:lnTo>
                        <a:lnTo>
                          <a:pt x="29" y="367"/>
                        </a:lnTo>
                        <a:lnTo>
                          <a:pt x="31" y="366"/>
                        </a:lnTo>
                        <a:lnTo>
                          <a:pt x="32" y="365"/>
                        </a:lnTo>
                        <a:lnTo>
                          <a:pt x="32" y="361"/>
                        </a:lnTo>
                        <a:lnTo>
                          <a:pt x="31" y="357"/>
                        </a:lnTo>
                        <a:lnTo>
                          <a:pt x="32" y="353"/>
                        </a:lnTo>
                        <a:lnTo>
                          <a:pt x="33" y="353"/>
                        </a:lnTo>
                        <a:lnTo>
                          <a:pt x="36" y="353"/>
                        </a:lnTo>
                        <a:lnTo>
                          <a:pt x="38" y="353"/>
                        </a:lnTo>
                        <a:lnTo>
                          <a:pt x="39" y="353"/>
                        </a:lnTo>
                        <a:lnTo>
                          <a:pt x="42" y="357"/>
                        </a:lnTo>
                        <a:lnTo>
                          <a:pt x="44" y="360"/>
                        </a:lnTo>
                        <a:lnTo>
                          <a:pt x="47" y="361"/>
                        </a:lnTo>
                        <a:lnTo>
                          <a:pt x="48" y="360"/>
                        </a:lnTo>
                        <a:lnTo>
                          <a:pt x="58" y="355"/>
                        </a:lnTo>
                        <a:lnTo>
                          <a:pt x="62" y="352"/>
                        </a:lnTo>
                        <a:lnTo>
                          <a:pt x="65" y="347"/>
                        </a:lnTo>
                        <a:lnTo>
                          <a:pt x="66" y="344"/>
                        </a:lnTo>
                        <a:lnTo>
                          <a:pt x="66" y="342"/>
                        </a:lnTo>
                        <a:lnTo>
                          <a:pt x="68" y="342"/>
                        </a:lnTo>
                        <a:lnTo>
                          <a:pt x="71" y="344"/>
                        </a:lnTo>
                        <a:lnTo>
                          <a:pt x="78" y="345"/>
                        </a:lnTo>
                        <a:lnTo>
                          <a:pt x="84" y="345"/>
                        </a:lnTo>
                        <a:lnTo>
                          <a:pt x="89" y="346"/>
                        </a:lnTo>
                        <a:lnTo>
                          <a:pt x="93" y="344"/>
                        </a:lnTo>
                        <a:lnTo>
                          <a:pt x="103" y="340"/>
                        </a:lnTo>
                        <a:lnTo>
                          <a:pt x="107" y="338"/>
                        </a:lnTo>
                        <a:lnTo>
                          <a:pt x="110" y="337"/>
                        </a:lnTo>
                        <a:lnTo>
                          <a:pt x="114" y="341"/>
                        </a:lnTo>
                        <a:lnTo>
                          <a:pt x="120" y="342"/>
                        </a:lnTo>
                        <a:lnTo>
                          <a:pt x="128" y="341"/>
                        </a:lnTo>
                        <a:lnTo>
                          <a:pt x="138" y="341"/>
                        </a:lnTo>
                        <a:lnTo>
                          <a:pt x="147" y="342"/>
                        </a:lnTo>
                        <a:lnTo>
                          <a:pt x="152" y="342"/>
                        </a:lnTo>
                        <a:lnTo>
                          <a:pt x="157" y="343"/>
                        </a:lnTo>
                        <a:lnTo>
                          <a:pt x="162" y="344"/>
                        </a:lnTo>
                        <a:lnTo>
                          <a:pt x="167" y="345"/>
                        </a:lnTo>
                        <a:lnTo>
                          <a:pt x="174" y="348"/>
                        </a:lnTo>
                        <a:lnTo>
                          <a:pt x="181" y="350"/>
                        </a:lnTo>
                        <a:lnTo>
                          <a:pt x="186" y="353"/>
                        </a:lnTo>
                        <a:lnTo>
                          <a:pt x="188" y="353"/>
                        </a:lnTo>
                        <a:lnTo>
                          <a:pt x="190" y="353"/>
                        </a:lnTo>
                        <a:lnTo>
                          <a:pt x="191" y="350"/>
                        </a:lnTo>
                        <a:lnTo>
                          <a:pt x="193" y="350"/>
                        </a:lnTo>
                        <a:lnTo>
                          <a:pt x="198" y="349"/>
                        </a:lnTo>
                        <a:lnTo>
                          <a:pt x="201" y="348"/>
                        </a:lnTo>
                        <a:lnTo>
                          <a:pt x="203" y="349"/>
                        </a:lnTo>
                        <a:lnTo>
                          <a:pt x="203" y="350"/>
                        </a:lnTo>
                        <a:lnTo>
                          <a:pt x="203" y="352"/>
                        </a:lnTo>
                        <a:lnTo>
                          <a:pt x="203" y="353"/>
                        </a:lnTo>
                        <a:lnTo>
                          <a:pt x="206" y="353"/>
                        </a:lnTo>
                        <a:lnTo>
                          <a:pt x="210" y="353"/>
                        </a:lnTo>
                        <a:lnTo>
                          <a:pt x="216" y="353"/>
                        </a:lnTo>
                        <a:lnTo>
                          <a:pt x="219" y="350"/>
                        </a:lnTo>
                        <a:lnTo>
                          <a:pt x="221" y="347"/>
                        </a:lnTo>
                        <a:lnTo>
                          <a:pt x="222" y="344"/>
                        </a:lnTo>
                        <a:lnTo>
                          <a:pt x="224" y="343"/>
                        </a:lnTo>
                        <a:lnTo>
                          <a:pt x="226" y="344"/>
                        </a:lnTo>
                        <a:lnTo>
                          <a:pt x="228" y="347"/>
                        </a:lnTo>
                        <a:lnTo>
                          <a:pt x="230" y="349"/>
                        </a:lnTo>
                        <a:lnTo>
                          <a:pt x="232" y="350"/>
                        </a:lnTo>
                        <a:lnTo>
                          <a:pt x="235" y="350"/>
                        </a:lnTo>
                        <a:lnTo>
                          <a:pt x="238" y="350"/>
                        </a:lnTo>
                        <a:lnTo>
                          <a:pt x="240" y="348"/>
                        </a:lnTo>
                        <a:lnTo>
                          <a:pt x="243" y="346"/>
                        </a:lnTo>
                        <a:lnTo>
                          <a:pt x="245" y="345"/>
                        </a:lnTo>
                        <a:lnTo>
                          <a:pt x="248" y="344"/>
                        </a:lnTo>
                        <a:lnTo>
                          <a:pt x="252" y="344"/>
                        </a:lnTo>
                        <a:lnTo>
                          <a:pt x="255" y="345"/>
                        </a:lnTo>
                        <a:lnTo>
                          <a:pt x="257" y="347"/>
                        </a:lnTo>
                        <a:lnTo>
                          <a:pt x="258" y="349"/>
                        </a:lnTo>
                        <a:lnTo>
                          <a:pt x="258" y="353"/>
                        </a:lnTo>
                        <a:lnTo>
                          <a:pt x="259" y="355"/>
                        </a:lnTo>
                        <a:lnTo>
                          <a:pt x="261" y="353"/>
                        </a:lnTo>
                        <a:lnTo>
                          <a:pt x="265" y="353"/>
                        </a:lnTo>
                        <a:lnTo>
                          <a:pt x="267" y="353"/>
                        </a:lnTo>
                        <a:lnTo>
                          <a:pt x="267" y="350"/>
                        </a:lnTo>
                        <a:lnTo>
                          <a:pt x="268" y="347"/>
                        </a:lnTo>
                        <a:lnTo>
                          <a:pt x="270" y="343"/>
                        </a:lnTo>
                        <a:lnTo>
                          <a:pt x="272" y="339"/>
                        </a:lnTo>
                        <a:lnTo>
                          <a:pt x="274" y="337"/>
                        </a:lnTo>
                        <a:lnTo>
                          <a:pt x="276" y="338"/>
                        </a:lnTo>
                        <a:lnTo>
                          <a:pt x="278" y="340"/>
                        </a:lnTo>
                        <a:lnTo>
                          <a:pt x="281" y="345"/>
                        </a:lnTo>
                        <a:lnTo>
                          <a:pt x="282" y="348"/>
                        </a:lnTo>
                        <a:lnTo>
                          <a:pt x="284" y="350"/>
                        </a:lnTo>
                        <a:lnTo>
                          <a:pt x="287" y="350"/>
                        </a:lnTo>
                        <a:lnTo>
                          <a:pt x="290" y="350"/>
                        </a:lnTo>
                        <a:lnTo>
                          <a:pt x="293" y="350"/>
                        </a:lnTo>
                        <a:lnTo>
                          <a:pt x="294" y="349"/>
                        </a:lnTo>
                        <a:lnTo>
                          <a:pt x="294" y="348"/>
                        </a:lnTo>
                        <a:lnTo>
                          <a:pt x="293" y="346"/>
                        </a:lnTo>
                        <a:lnTo>
                          <a:pt x="293" y="344"/>
                        </a:lnTo>
                        <a:lnTo>
                          <a:pt x="293" y="342"/>
                        </a:lnTo>
                        <a:lnTo>
                          <a:pt x="294" y="341"/>
                        </a:lnTo>
                        <a:lnTo>
                          <a:pt x="297" y="341"/>
                        </a:lnTo>
                        <a:lnTo>
                          <a:pt x="302" y="343"/>
                        </a:lnTo>
                        <a:lnTo>
                          <a:pt x="306" y="343"/>
                        </a:lnTo>
                        <a:lnTo>
                          <a:pt x="317" y="342"/>
                        </a:lnTo>
                        <a:lnTo>
                          <a:pt x="326" y="342"/>
                        </a:lnTo>
                        <a:lnTo>
                          <a:pt x="330" y="342"/>
                        </a:lnTo>
                        <a:lnTo>
                          <a:pt x="332" y="344"/>
                        </a:lnTo>
                        <a:lnTo>
                          <a:pt x="336" y="348"/>
                        </a:lnTo>
                        <a:lnTo>
                          <a:pt x="340" y="352"/>
                        </a:lnTo>
                        <a:lnTo>
                          <a:pt x="343" y="355"/>
                        </a:lnTo>
                        <a:lnTo>
                          <a:pt x="344" y="355"/>
                        </a:lnTo>
                        <a:lnTo>
                          <a:pt x="345" y="353"/>
                        </a:lnTo>
                        <a:lnTo>
                          <a:pt x="348" y="352"/>
                        </a:lnTo>
                        <a:lnTo>
                          <a:pt x="349" y="349"/>
                        </a:lnTo>
                        <a:lnTo>
                          <a:pt x="347" y="345"/>
                        </a:lnTo>
                        <a:lnTo>
                          <a:pt x="345" y="341"/>
                        </a:lnTo>
                        <a:lnTo>
                          <a:pt x="345" y="338"/>
                        </a:lnTo>
                        <a:lnTo>
                          <a:pt x="346" y="335"/>
                        </a:lnTo>
                        <a:lnTo>
                          <a:pt x="348" y="325"/>
                        </a:lnTo>
                        <a:lnTo>
                          <a:pt x="351" y="317"/>
                        </a:lnTo>
                        <a:lnTo>
                          <a:pt x="353" y="314"/>
                        </a:lnTo>
                        <a:lnTo>
                          <a:pt x="354" y="312"/>
                        </a:lnTo>
                        <a:lnTo>
                          <a:pt x="358" y="307"/>
                        </a:lnTo>
                        <a:lnTo>
                          <a:pt x="359" y="302"/>
                        </a:lnTo>
                        <a:lnTo>
                          <a:pt x="361" y="299"/>
                        </a:lnTo>
                        <a:lnTo>
                          <a:pt x="362" y="298"/>
                        </a:lnTo>
                        <a:lnTo>
                          <a:pt x="364" y="299"/>
                        </a:lnTo>
                        <a:lnTo>
                          <a:pt x="368" y="300"/>
                        </a:lnTo>
                        <a:lnTo>
                          <a:pt x="370" y="299"/>
                        </a:lnTo>
                        <a:lnTo>
                          <a:pt x="374" y="295"/>
                        </a:lnTo>
                        <a:lnTo>
                          <a:pt x="375" y="292"/>
                        </a:lnTo>
                        <a:lnTo>
                          <a:pt x="376" y="291"/>
                        </a:lnTo>
                        <a:lnTo>
                          <a:pt x="377" y="291"/>
                        </a:lnTo>
                        <a:lnTo>
                          <a:pt x="378" y="292"/>
                        </a:lnTo>
                        <a:lnTo>
                          <a:pt x="380" y="294"/>
                        </a:lnTo>
                        <a:lnTo>
                          <a:pt x="383" y="294"/>
                        </a:lnTo>
                        <a:lnTo>
                          <a:pt x="386" y="293"/>
                        </a:lnTo>
                        <a:lnTo>
                          <a:pt x="387" y="29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0" name="Freeform 1680">
                    <a:extLst>
                      <a:ext uri="{FF2B5EF4-FFF2-40B4-BE49-F238E27FC236}">
                        <a16:creationId xmlns:a16="http://schemas.microsoft.com/office/drawing/2014/main" xmlns="" id="{802B5405-6CF3-4DA5-A522-217757D6994F}"/>
                      </a:ext>
                    </a:extLst>
                  </p:cNvPr>
                  <p:cNvSpPr>
                    <a:spLocks/>
                  </p:cNvSpPr>
                  <p:nvPr/>
                </p:nvSpPr>
                <p:spPr bwMode="gray">
                  <a:xfrm>
                    <a:off x="3768985" y="3933108"/>
                    <a:ext cx="23362" cy="25588"/>
                  </a:xfrm>
                  <a:custGeom>
                    <a:avLst/>
                    <a:gdLst>
                      <a:gd name="T0" fmla="*/ 2147483647 w 21"/>
                      <a:gd name="T1" fmla="*/ 2147483647 h 23"/>
                      <a:gd name="T2" fmla="*/ 2147483647 w 21"/>
                      <a:gd name="T3" fmla="*/ 2147483647 h 23"/>
                      <a:gd name="T4" fmla="*/ 2147483647 w 21"/>
                      <a:gd name="T5" fmla="*/ 2147483647 h 23"/>
                      <a:gd name="T6" fmla="*/ 2147483647 w 21"/>
                      <a:gd name="T7" fmla="*/ 2147483647 h 23"/>
                      <a:gd name="T8" fmla="*/ 2147483647 w 21"/>
                      <a:gd name="T9" fmla="*/ 2147483647 h 23"/>
                      <a:gd name="T10" fmla="*/ 0 w 21"/>
                      <a:gd name="T11" fmla="*/ 2147483647 h 23"/>
                      <a:gd name="T12" fmla="*/ 0 w 21"/>
                      <a:gd name="T13" fmla="*/ 2147483647 h 23"/>
                      <a:gd name="T14" fmla="*/ 0 w 21"/>
                      <a:gd name="T15" fmla="*/ 2147483647 h 23"/>
                      <a:gd name="T16" fmla="*/ 0 w 21"/>
                      <a:gd name="T17" fmla="*/ 2147483647 h 23"/>
                      <a:gd name="T18" fmla="*/ 0 w 21"/>
                      <a:gd name="T19" fmla="*/ 2147483647 h 23"/>
                      <a:gd name="T20" fmla="*/ 2147483647 w 21"/>
                      <a:gd name="T21" fmla="*/ 2147483647 h 23"/>
                      <a:gd name="T22" fmla="*/ 2147483647 w 21"/>
                      <a:gd name="T23" fmla="*/ 2147483647 h 23"/>
                      <a:gd name="T24" fmla="*/ 2147483647 w 21"/>
                      <a:gd name="T25" fmla="*/ 0 h 23"/>
                      <a:gd name="T26" fmla="*/ 2147483647 w 21"/>
                      <a:gd name="T27" fmla="*/ 0 h 23"/>
                      <a:gd name="T28" fmla="*/ 2147483647 w 21"/>
                      <a:gd name="T29" fmla="*/ 0 h 23"/>
                      <a:gd name="T30" fmla="*/ 2147483647 w 21"/>
                      <a:gd name="T31" fmla="*/ 0 h 23"/>
                      <a:gd name="T32" fmla="*/ 2147483647 w 21"/>
                      <a:gd name="T33" fmla="*/ 2147483647 h 23"/>
                      <a:gd name="T34" fmla="*/ 2147483647 w 21"/>
                      <a:gd name="T35" fmla="*/ 2147483647 h 23"/>
                      <a:gd name="T36" fmla="*/ 2147483647 w 21"/>
                      <a:gd name="T37" fmla="*/ 2147483647 h 23"/>
                      <a:gd name="T38" fmla="*/ 2147483647 w 21"/>
                      <a:gd name="T39" fmla="*/ 2147483647 h 23"/>
                      <a:gd name="T40" fmla="*/ 2147483647 w 21"/>
                      <a:gd name="T41" fmla="*/ 2147483647 h 23"/>
                      <a:gd name="T42" fmla="*/ 2147483647 w 21"/>
                      <a:gd name="T43" fmla="*/ 2147483647 h 23"/>
                      <a:gd name="T44" fmla="*/ 2147483647 w 21"/>
                      <a:gd name="T45" fmla="*/ 2147483647 h 23"/>
                      <a:gd name="T46" fmla="*/ 2147483647 w 21"/>
                      <a:gd name="T47" fmla="*/ 2147483647 h 23"/>
                      <a:gd name="T48" fmla="*/ 2147483647 w 21"/>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 h="23">
                        <a:moveTo>
                          <a:pt x="19" y="16"/>
                        </a:moveTo>
                        <a:lnTo>
                          <a:pt x="13" y="18"/>
                        </a:lnTo>
                        <a:lnTo>
                          <a:pt x="10" y="21"/>
                        </a:lnTo>
                        <a:lnTo>
                          <a:pt x="6" y="22"/>
                        </a:lnTo>
                        <a:lnTo>
                          <a:pt x="2" y="23"/>
                        </a:lnTo>
                        <a:lnTo>
                          <a:pt x="0" y="21"/>
                        </a:lnTo>
                        <a:lnTo>
                          <a:pt x="0" y="19"/>
                        </a:lnTo>
                        <a:lnTo>
                          <a:pt x="0" y="14"/>
                        </a:lnTo>
                        <a:lnTo>
                          <a:pt x="0" y="8"/>
                        </a:lnTo>
                        <a:lnTo>
                          <a:pt x="0" y="4"/>
                        </a:lnTo>
                        <a:lnTo>
                          <a:pt x="2" y="3"/>
                        </a:lnTo>
                        <a:lnTo>
                          <a:pt x="4" y="2"/>
                        </a:lnTo>
                        <a:lnTo>
                          <a:pt x="7" y="0"/>
                        </a:lnTo>
                        <a:lnTo>
                          <a:pt x="9" y="0"/>
                        </a:lnTo>
                        <a:lnTo>
                          <a:pt x="12" y="0"/>
                        </a:lnTo>
                        <a:lnTo>
                          <a:pt x="15" y="0"/>
                        </a:lnTo>
                        <a:lnTo>
                          <a:pt x="18" y="2"/>
                        </a:lnTo>
                        <a:lnTo>
                          <a:pt x="19" y="4"/>
                        </a:lnTo>
                        <a:lnTo>
                          <a:pt x="21" y="6"/>
                        </a:lnTo>
                        <a:lnTo>
                          <a:pt x="20" y="7"/>
                        </a:lnTo>
                        <a:lnTo>
                          <a:pt x="20" y="8"/>
                        </a:lnTo>
                        <a:lnTo>
                          <a:pt x="19" y="9"/>
                        </a:lnTo>
                        <a:lnTo>
                          <a:pt x="19" y="10"/>
                        </a:lnTo>
                        <a:lnTo>
                          <a:pt x="19" y="12"/>
                        </a:lnTo>
                        <a:lnTo>
                          <a:pt x="19" y="1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1" name="Freeform 1682">
                    <a:extLst>
                      <a:ext uri="{FF2B5EF4-FFF2-40B4-BE49-F238E27FC236}">
                        <a16:creationId xmlns:a16="http://schemas.microsoft.com/office/drawing/2014/main" xmlns="" id="{24316903-39D1-4AF4-A0F4-682071B0C8E5}"/>
                      </a:ext>
                    </a:extLst>
                  </p:cNvPr>
                  <p:cNvSpPr>
                    <a:spLocks/>
                  </p:cNvSpPr>
                  <p:nvPr/>
                </p:nvSpPr>
                <p:spPr bwMode="gray">
                  <a:xfrm>
                    <a:off x="4849197" y="4045475"/>
                    <a:ext cx="121260" cy="261448"/>
                  </a:xfrm>
                  <a:custGeom>
                    <a:avLst/>
                    <a:gdLst>
                      <a:gd name="T0" fmla="*/ 2147483647 w 109"/>
                      <a:gd name="T1" fmla="*/ 2147483647 h 235"/>
                      <a:gd name="T2" fmla="*/ 2147483647 w 109"/>
                      <a:gd name="T3" fmla="*/ 2147483647 h 235"/>
                      <a:gd name="T4" fmla="*/ 2147483647 w 109"/>
                      <a:gd name="T5" fmla="*/ 2147483647 h 235"/>
                      <a:gd name="T6" fmla="*/ 2147483647 w 109"/>
                      <a:gd name="T7" fmla="*/ 2147483647 h 235"/>
                      <a:gd name="T8" fmla="*/ 2147483647 w 109"/>
                      <a:gd name="T9" fmla="*/ 2147483647 h 235"/>
                      <a:gd name="T10" fmla="*/ 2147483647 w 109"/>
                      <a:gd name="T11" fmla="*/ 2147483647 h 235"/>
                      <a:gd name="T12" fmla="*/ 2147483647 w 109"/>
                      <a:gd name="T13" fmla="*/ 2147483647 h 235"/>
                      <a:gd name="T14" fmla="*/ 2147483647 w 109"/>
                      <a:gd name="T15" fmla="*/ 2147483647 h 235"/>
                      <a:gd name="T16" fmla="*/ 2147483647 w 109"/>
                      <a:gd name="T17" fmla="*/ 2147483647 h 235"/>
                      <a:gd name="T18" fmla="*/ 2147483647 w 109"/>
                      <a:gd name="T19" fmla="*/ 2147483647 h 235"/>
                      <a:gd name="T20" fmla="*/ 2147483647 w 109"/>
                      <a:gd name="T21" fmla="*/ 2147483647 h 235"/>
                      <a:gd name="T22" fmla="*/ 2147483647 w 109"/>
                      <a:gd name="T23" fmla="*/ 2147483647 h 235"/>
                      <a:gd name="T24" fmla="*/ 2147483647 w 109"/>
                      <a:gd name="T25" fmla="*/ 2147483647 h 235"/>
                      <a:gd name="T26" fmla="*/ 2147483647 w 109"/>
                      <a:gd name="T27" fmla="*/ 2147483647 h 235"/>
                      <a:gd name="T28" fmla="*/ 2147483647 w 109"/>
                      <a:gd name="T29" fmla="*/ 2147483647 h 235"/>
                      <a:gd name="T30" fmla="*/ 2147483647 w 109"/>
                      <a:gd name="T31" fmla="*/ 2147483647 h 235"/>
                      <a:gd name="T32" fmla="*/ 2147483647 w 109"/>
                      <a:gd name="T33" fmla="*/ 2147483647 h 235"/>
                      <a:gd name="T34" fmla="*/ 2147483647 w 109"/>
                      <a:gd name="T35" fmla="*/ 2147483647 h 235"/>
                      <a:gd name="T36" fmla="*/ 2147483647 w 109"/>
                      <a:gd name="T37" fmla="*/ 2147483647 h 235"/>
                      <a:gd name="T38" fmla="*/ 2147483647 w 109"/>
                      <a:gd name="T39" fmla="*/ 2147483647 h 235"/>
                      <a:gd name="T40" fmla="*/ 2147483647 w 109"/>
                      <a:gd name="T41" fmla="*/ 2147483647 h 235"/>
                      <a:gd name="T42" fmla="*/ 2147483647 w 109"/>
                      <a:gd name="T43" fmla="*/ 2147483647 h 235"/>
                      <a:gd name="T44" fmla="*/ 2147483647 w 109"/>
                      <a:gd name="T45" fmla="*/ 2147483647 h 235"/>
                      <a:gd name="T46" fmla="*/ 2147483647 w 109"/>
                      <a:gd name="T47" fmla="*/ 2147483647 h 235"/>
                      <a:gd name="T48" fmla="*/ 2147483647 w 109"/>
                      <a:gd name="T49" fmla="*/ 2147483647 h 235"/>
                      <a:gd name="T50" fmla="*/ 2147483647 w 109"/>
                      <a:gd name="T51" fmla="*/ 2147483647 h 235"/>
                      <a:gd name="T52" fmla="*/ 2147483647 w 109"/>
                      <a:gd name="T53" fmla="*/ 2147483647 h 235"/>
                      <a:gd name="T54" fmla="*/ 2147483647 w 109"/>
                      <a:gd name="T55" fmla="*/ 2147483647 h 235"/>
                      <a:gd name="T56" fmla="*/ 2147483647 w 109"/>
                      <a:gd name="T57" fmla="*/ 2147483647 h 235"/>
                      <a:gd name="T58" fmla="*/ 2147483647 w 109"/>
                      <a:gd name="T59" fmla="*/ 2147483647 h 235"/>
                      <a:gd name="T60" fmla="*/ 2147483647 w 109"/>
                      <a:gd name="T61" fmla="*/ 2147483647 h 235"/>
                      <a:gd name="T62" fmla="*/ 2147483647 w 109"/>
                      <a:gd name="T63" fmla="*/ 2147483647 h 235"/>
                      <a:gd name="T64" fmla="*/ 2147483647 w 109"/>
                      <a:gd name="T65" fmla="*/ 2147483647 h 235"/>
                      <a:gd name="T66" fmla="*/ 2147483647 w 109"/>
                      <a:gd name="T67" fmla="*/ 2147483647 h 235"/>
                      <a:gd name="T68" fmla="*/ 2147483647 w 109"/>
                      <a:gd name="T69" fmla="*/ 2147483647 h 235"/>
                      <a:gd name="T70" fmla="*/ 2147483647 w 109"/>
                      <a:gd name="T71" fmla="*/ 2147483647 h 235"/>
                      <a:gd name="T72" fmla="*/ 2147483647 w 109"/>
                      <a:gd name="T73" fmla="*/ 2147483647 h 235"/>
                      <a:gd name="T74" fmla="*/ 2147483647 w 109"/>
                      <a:gd name="T75" fmla="*/ 2147483647 h 235"/>
                      <a:gd name="T76" fmla="*/ 2147483647 w 109"/>
                      <a:gd name="T77" fmla="*/ 2147483647 h 235"/>
                      <a:gd name="T78" fmla="*/ 2147483647 w 109"/>
                      <a:gd name="T79" fmla="*/ 2147483647 h 235"/>
                      <a:gd name="T80" fmla="*/ 2147483647 w 109"/>
                      <a:gd name="T81" fmla="*/ 2147483647 h 235"/>
                      <a:gd name="T82" fmla="*/ 2147483647 w 109"/>
                      <a:gd name="T83" fmla="*/ 2147483647 h 235"/>
                      <a:gd name="T84" fmla="*/ 2147483647 w 109"/>
                      <a:gd name="T85" fmla="*/ 2147483647 h 235"/>
                      <a:gd name="T86" fmla="*/ 2147483647 w 109"/>
                      <a:gd name="T87" fmla="*/ 2147483647 h 235"/>
                      <a:gd name="T88" fmla="*/ 2147483647 w 109"/>
                      <a:gd name="T89" fmla="*/ 2147483647 h 235"/>
                      <a:gd name="T90" fmla="*/ 2147483647 w 109"/>
                      <a:gd name="T91" fmla="*/ 2147483647 h 235"/>
                      <a:gd name="T92" fmla="*/ 2147483647 w 109"/>
                      <a:gd name="T93" fmla="*/ 2147483647 h 235"/>
                      <a:gd name="T94" fmla="*/ 2147483647 w 109"/>
                      <a:gd name="T95" fmla="*/ 2147483647 h 235"/>
                      <a:gd name="T96" fmla="*/ 2147483647 w 109"/>
                      <a:gd name="T97" fmla="*/ 2147483647 h 235"/>
                      <a:gd name="T98" fmla="*/ 2147483647 w 109"/>
                      <a:gd name="T99" fmla="*/ 2147483647 h 235"/>
                      <a:gd name="T100" fmla="*/ 2147483647 w 109"/>
                      <a:gd name="T101" fmla="*/ 2147483647 h 235"/>
                      <a:gd name="T102" fmla="*/ 2147483647 w 109"/>
                      <a:gd name="T103" fmla="*/ 2147483647 h 235"/>
                      <a:gd name="T104" fmla="*/ 2147483647 w 109"/>
                      <a:gd name="T105" fmla="*/ 2147483647 h 235"/>
                      <a:gd name="T106" fmla="*/ 2147483647 w 109"/>
                      <a:gd name="T107" fmla="*/ 2147483647 h 235"/>
                      <a:gd name="T108" fmla="*/ 2147483647 w 109"/>
                      <a:gd name="T109" fmla="*/ 2147483647 h 235"/>
                      <a:gd name="T110" fmla="*/ 2147483647 w 109"/>
                      <a:gd name="T111" fmla="*/ 2147483647 h 23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09" h="235">
                        <a:moveTo>
                          <a:pt x="44" y="231"/>
                        </a:moveTo>
                        <a:lnTo>
                          <a:pt x="46" y="228"/>
                        </a:lnTo>
                        <a:lnTo>
                          <a:pt x="45" y="226"/>
                        </a:lnTo>
                        <a:lnTo>
                          <a:pt x="43" y="225"/>
                        </a:lnTo>
                        <a:lnTo>
                          <a:pt x="41" y="221"/>
                        </a:lnTo>
                        <a:lnTo>
                          <a:pt x="41" y="219"/>
                        </a:lnTo>
                        <a:lnTo>
                          <a:pt x="40" y="216"/>
                        </a:lnTo>
                        <a:lnTo>
                          <a:pt x="39" y="212"/>
                        </a:lnTo>
                        <a:lnTo>
                          <a:pt x="38" y="209"/>
                        </a:lnTo>
                        <a:lnTo>
                          <a:pt x="37" y="209"/>
                        </a:lnTo>
                        <a:lnTo>
                          <a:pt x="36" y="209"/>
                        </a:lnTo>
                        <a:lnTo>
                          <a:pt x="35" y="209"/>
                        </a:lnTo>
                        <a:lnTo>
                          <a:pt x="35" y="208"/>
                        </a:lnTo>
                        <a:lnTo>
                          <a:pt x="35" y="207"/>
                        </a:lnTo>
                        <a:lnTo>
                          <a:pt x="34" y="206"/>
                        </a:lnTo>
                        <a:lnTo>
                          <a:pt x="32" y="205"/>
                        </a:lnTo>
                        <a:lnTo>
                          <a:pt x="26" y="201"/>
                        </a:lnTo>
                        <a:lnTo>
                          <a:pt x="19" y="197"/>
                        </a:lnTo>
                        <a:lnTo>
                          <a:pt x="14" y="194"/>
                        </a:lnTo>
                        <a:lnTo>
                          <a:pt x="13" y="192"/>
                        </a:lnTo>
                        <a:lnTo>
                          <a:pt x="13" y="190"/>
                        </a:lnTo>
                        <a:lnTo>
                          <a:pt x="11" y="187"/>
                        </a:lnTo>
                        <a:lnTo>
                          <a:pt x="10" y="185"/>
                        </a:lnTo>
                        <a:lnTo>
                          <a:pt x="11" y="182"/>
                        </a:lnTo>
                        <a:lnTo>
                          <a:pt x="13" y="180"/>
                        </a:lnTo>
                        <a:lnTo>
                          <a:pt x="14" y="181"/>
                        </a:lnTo>
                        <a:lnTo>
                          <a:pt x="15" y="182"/>
                        </a:lnTo>
                        <a:lnTo>
                          <a:pt x="15" y="183"/>
                        </a:lnTo>
                        <a:lnTo>
                          <a:pt x="16" y="183"/>
                        </a:lnTo>
                        <a:lnTo>
                          <a:pt x="17" y="183"/>
                        </a:lnTo>
                        <a:lnTo>
                          <a:pt x="18" y="183"/>
                        </a:lnTo>
                        <a:lnTo>
                          <a:pt x="19" y="183"/>
                        </a:lnTo>
                        <a:lnTo>
                          <a:pt x="19" y="180"/>
                        </a:lnTo>
                        <a:lnTo>
                          <a:pt x="19" y="177"/>
                        </a:lnTo>
                        <a:lnTo>
                          <a:pt x="17" y="174"/>
                        </a:lnTo>
                        <a:lnTo>
                          <a:pt x="13" y="173"/>
                        </a:lnTo>
                        <a:lnTo>
                          <a:pt x="13" y="169"/>
                        </a:lnTo>
                        <a:lnTo>
                          <a:pt x="13" y="168"/>
                        </a:lnTo>
                        <a:lnTo>
                          <a:pt x="13" y="167"/>
                        </a:lnTo>
                        <a:lnTo>
                          <a:pt x="12" y="162"/>
                        </a:lnTo>
                        <a:lnTo>
                          <a:pt x="12" y="157"/>
                        </a:lnTo>
                        <a:lnTo>
                          <a:pt x="12" y="152"/>
                        </a:lnTo>
                        <a:lnTo>
                          <a:pt x="13" y="147"/>
                        </a:lnTo>
                        <a:lnTo>
                          <a:pt x="17" y="147"/>
                        </a:lnTo>
                        <a:lnTo>
                          <a:pt x="18" y="147"/>
                        </a:lnTo>
                        <a:lnTo>
                          <a:pt x="19" y="147"/>
                        </a:lnTo>
                        <a:lnTo>
                          <a:pt x="19" y="144"/>
                        </a:lnTo>
                        <a:lnTo>
                          <a:pt x="19" y="141"/>
                        </a:lnTo>
                        <a:lnTo>
                          <a:pt x="19" y="139"/>
                        </a:lnTo>
                        <a:lnTo>
                          <a:pt x="19" y="135"/>
                        </a:lnTo>
                        <a:lnTo>
                          <a:pt x="19" y="134"/>
                        </a:lnTo>
                        <a:lnTo>
                          <a:pt x="19" y="132"/>
                        </a:lnTo>
                        <a:lnTo>
                          <a:pt x="19" y="128"/>
                        </a:lnTo>
                        <a:lnTo>
                          <a:pt x="15" y="128"/>
                        </a:lnTo>
                        <a:lnTo>
                          <a:pt x="15" y="127"/>
                        </a:lnTo>
                        <a:lnTo>
                          <a:pt x="15" y="126"/>
                        </a:lnTo>
                        <a:lnTo>
                          <a:pt x="15" y="125"/>
                        </a:lnTo>
                        <a:lnTo>
                          <a:pt x="17" y="123"/>
                        </a:lnTo>
                        <a:lnTo>
                          <a:pt x="18" y="121"/>
                        </a:lnTo>
                        <a:lnTo>
                          <a:pt x="19" y="117"/>
                        </a:lnTo>
                        <a:lnTo>
                          <a:pt x="19" y="115"/>
                        </a:lnTo>
                        <a:lnTo>
                          <a:pt x="16" y="113"/>
                        </a:lnTo>
                        <a:lnTo>
                          <a:pt x="13" y="110"/>
                        </a:lnTo>
                        <a:lnTo>
                          <a:pt x="12" y="107"/>
                        </a:lnTo>
                        <a:lnTo>
                          <a:pt x="13" y="103"/>
                        </a:lnTo>
                        <a:lnTo>
                          <a:pt x="14" y="103"/>
                        </a:lnTo>
                        <a:lnTo>
                          <a:pt x="15" y="103"/>
                        </a:lnTo>
                        <a:lnTo>
                          <a:pt x="17" y="100"/>
                        </a:lnTo>
                        <a:lnTo>
                          <a:pt x="16" y="98"/>
                        </a:lnTo>
                        <a:lnTo>
                          <a:pt x="16" y="96"/>
                        </a:lnTo>
                        <a:lnTo>
                          <a:pt x="15" y="93"/>
                        </a:lnTo>
                        <a:lnTo>
                          <a:pt x="17" y="91"/>
                        </a:lnTo>
                        <a:lnTo>
                          <a:pt x="19" y="91"/>
                        </a:lnTo>
                        <a:lnTo>
                          <a:pt x="20" y="91"/>
                        </a:lnTo>
                        <a:lnTo>
                          <a:pt x="22" y="90"/>
                        </a:lnTo>
                        <a:lnTo>
                          <a:pt x="22" y="88"/>
                        </a:lnTo>
                        <a:lnTo>
                          <a:pt x="24" y="86"/>
                        </a:lnTo>
                        <a:lnTo>
                          <a:pt x="25" y="82"/>
                        </a:lnTo>
                        <a:lnTo>
                          <a:pt x="25" y="81"/>
                        </a:lnTo>
                        <a:lnTo>
                          <a:pt x="20" y="76"/>
                        </a:lnTo>
                        <a:lnTo>
                          <a:pt x="18" y="74"/>
                        </a:lnTo>
                        <a:lnTo>
                          <a:pt x="15" y="74"/>
                        </a:lnTo>
                        <a:lnTo>
                          <a:pt x="13" y="73"/>
                        </a:lnTo>
                        <a:lnTo>
                          <a:pt x="11" y="72"/>
                        </a:lnTo>
                        <a:lnTo>
                          <a:pt x="9" y="71"/>
                        </a:lnTo>
                        <a:lnTo>
                          <a:pt x="6" y="70"/>
                        </a:lnTo>
                        <a:lnTo>
                          <a:pt x="6" y="68"/>
                        </a:lnTo>
                        <a:lnTo>
                          <a:pt x="7" y="67"/>
                        </a:lnTo>
                        <a:lnTo>
                          <a:pt x="8" y="66"/>
                        </a:lnTo>
                        <a:lnTo>
                          <a:pt x="10" y="64"/>
                        </a:lnTo>
                        <a:lnTo>
                          <a:pt x="11" y="63"/>
                        </a:lnTo>
                        <a:lnTo>
                          <a:pt x="12" y="63"/>
                        </a:lnTo>
                        <a:lnTo>
                          <a:pt x="13" y="61"/>
                        </a:lnTo>
                        <a:lnTo>
                          <a:pt x="13" y="59"/>
                        </a:lnTo>
                        <a:lnTo>
                          <a:pt x="13" y="58"/>
                        </a:lnTo>
                        <a:lnTo>
                          <a:pt x="13" y="57"/>
                        </a:lnTo>
                        <a:lnTo>
                          <a:pt x="13" y="55"/>
                        </a:lnTo>
                        <a:lnTo>
                          <a:pt x="13" y="54"/>
                        </a:lnTo>
                        <a:lnTo>
                          <a:pt x="13" y="53"/>
                        </a:lnTo>
                        <a:lnTo>
                          <a:pt x="13" y="52"/>
                        </a:lnTo>
                        <a:lnTo>
                          <a:pt x="13" y="51"/>
                        </a:lnTo>
                        <a:lnTo>
                          <a:pt x="12" y="47"/>
                        </a:lnTo>
                        <a:lnTo>
                          <a:pt x="11" y="45"/>
                        </a:lnTo>
                        <a:lnTo>
                          <a:pt x="10" y="43"/>
                        </a:lnTo>
                        <a:lnTo>
                          <a:pt x="10" y="41"/>
                        </a:lnTo>
                        <a:lnTo>
                          <a:pt x="8" y="39"/>
                        </a:lnTo>
                        <a:lnTo>
                          <a:pt x="7" y="39"/>
                        </a:lnTo>
                        <a:lnTo>
                          <a:pt x="6" y="38"/>
                        </a:lnTo>
                        <a:lnTo>
                          <a:pt x="6" y="36"/>
                        </a:lnTo>
                        <a:lnTo>
                          <a:pt x="4" y="34"/>
                        </a:lnTo>
                        <a:lnTo>
                          <a:pt x="3" y="33"/>
                        </a:lnTo>
                        <a:lnTo>
                          <a:pt x="3" y="32"/>
                        </a:lnTo>
                        <a:lnTo>
                          <a:pt x="2" y="30"/>
                        </a:lnTo>
                        <a:lnTo>
                          <a:pt x="1" y="29"/>
                        </a:lnTo>
                        <a:lnTo>
                          <a:pt x="0" y="27"/>
                        </a:lnTo>
                        <a:lnTo>
                          <a:pt x="0" y="25"/>
                        </a:lnTo>
                        <a:lnTo>
                          <a:pt x="0" y="24"/>
                        </a:lnTo>
                        <a:lnTo>
                          <a:pt x="2" y="23"/>
                        </a:lnTo>
                        <a:lnTo>
                          <a:pt x="6" y="22"/>
                        </a:lnTo>
                        <a:lnTo>
                          <a:pt x="6" y="18"/>
                        </a:lnTo>
                        <a:lnTo>
                          <a:pt x="6" y="16"/>
                        </a:lnTo>
                        <a:lnTo>
                          <a:pt x="6" y="15"/>
                        </a:lnTo>
                        <a:lnTo>
                          <a:pt x="9" y="14"/>
                        </a:lnTo>
                        <a:lnTo>
                          <a:pt x="11" y="13"/>
                        </a:lnTo>
                        <a:lnTo>
                          <a:pt x="12" y="12"/>
                        </a:lnTo>
                        <a:lnTo>
                          <a:pt x="13" y="10"/>
                        </a:lnTo>
                        <a:lnTo>
                          <a:pt x="14" y="9"/>
                        </a:lnTo>
                        <a:lnTo>
                          <a:pt x="15" y="8"/>
                        </a:lnTo>
                        <a:lnTo>
                          <a:pt x="15" y="7"/>
                        </a:lnTo>
                        <a:lnTo>
                          <a:pt x="15" y="6"/>
                        </a:lnTo>
                        <a:lnTo>
                          <a:pt x="16" y="2"/>
                        </a:lnTo>
                        <a:lnTo>
                          <a:pt x="17" y="0"/>
                        </a:lnTo>
                        <a:lnTo>
                          <a:pt x="19" y="0"/>
                        </a:lnTo>
                        <a:lnTo>
                          <a:pt x="21" y="0"/>
                        </a:lnTo>
                        <a:lnTo>
                          <a:pt x="22" y="0"/>
                        </a:lnTo>
                        <a:lnTo>
                          <a:pt x="23" y="1"/>
                        </a:lnTo>
                        <a:lnTo>
                          <a:pt x="25" y="3"/>
                        </a:lnTo>
                        <a:lnTo>
                          <a:pt x="25" y="4"/>
                        </a:lnTo>
                        <a:lnTo>
                          <a:pt x="25" y="5"/>
                        </a:lnTo>
                        <a:lnTo>
                          <a:pt x="25" y="10"/>
                        </a:lnTo>
                        <a:lnTo>
                          <a:pt x="25" y="12"/>
                        </a:lnTo>
                        <a:lnTo>
                          <a:pt x="26" y="13"/>
                        </a:lnTo>
                        <a:lnTo>
                          <a:pt x="27" y="14"/>
                        </a:lnTo>
                        <a:lnTo>
                          <a:pt x="29" y="15"/>
                        </a:lnTo>
                        <a:lnTo>
                          <a:pt x="30" y="15"/>
                        </a:lnTo>
                        <a:lnTo>
                          <a:pt x="31" y="15"/>
                        </a:lnTo>
                        <a:lnTo>
                          <a:pt x="32" y="15"/>
                        </a:lnTo>
                        <a:lnTo>
                          <a:pt x="34" y="14"/>
                        </a:lnTo>
                        <a:lnTo>
                          <a:pt x="37" y="13"/>
                        </a:lnTo>
                        <a:lnTo>
                          <a:pt x="38" y="12"/>
                        </a:lnTo>
                        <a:lnTo>
                          <a:pt x="41" y="10"/>
                        </a:lnTo>
                        <a:lnTo>
                          <a:pt x="43" y="10"/>
                        </a:lnTo>
                        <a:lnTo>
                          <a:pt x="47" y="10"/>
                        </a:lnTo>
                        <a:lnTo>
                          <a:pt x="48" y="5"/>
                        </a:lnTo>
                        <a:lnTo>
                          <a:pt x="49" y="4"/>
                        </a:lnTo>
                        <a:lnTo>
                          <a:pt x="51" y="3"/>
                        </a:lnTo>
                        <a:lnTo>
                          <a:pt x="53" y="4"/>
                        </a:lnTo>
                        <a:lnTo>
                          <a:pt x="54" y="7"/>
                        </a:lnTo>
                        <a:lnTo>
                          <a:pt x="54" y="12"/>
                        </a:lnTo>
                        <a:lnTo>
                          <a:pt x="54" y="15"/>
                        </a:lnTo>
                        <a:lnTo>
                          <a:pt x="56" y="18"/>
                        </a:lnTo>
                        <a:lnTo>
                          <a:pt x="57" y="20"/>
                        </a:lnTo>
                        <a:lnTo>
                          <a:pt x="59" y="22"/>
                        </a:lnTo>
                        <a:lnTo>
                          <a:pt x="61" y="22"/>
                        </a:lnTo>
                        <a:lnTo>
                          <a:pt x="61" y="24"/>
                        </a:lnTo>
                        <a:lnTo>
                          <a:pt x="62" y="25"/>
                        </a:lnTo>
                        <a:lnTo>
                          <a:pt x="64" y="27"/>
                        </a:lnTo>
                        <a:lnTo>
                          <a:pt x="66" y="29"/>
                        </a:lnTo>
                        <a:lnTo>
                          <a:pt x="71" y="29"/>
                        </a:lnTo>
                        <a:lnTo>
                          <a:pt x="73" y="30"/>
                        </a:lnTo>
                        <a:lnTo>
                          <a:pt x="73" y="32"/>
                        </a:lnTo>
                        <a:lnTo>
                          <a:pt x="75" y="33"/>
                        </a:lnTo>
                        <a:lnTo>
                          <a:pt x="76" y="34"/>
                        </a:lnTo>
                        <a:lnTo>
                          <a:pt x="76" y="39"/>
                        </a:lnTo>
                        <a:lnTo>
                          <a:pt x="78" y="40"/>
                        </a:lnTo>
                        <a:lnTo>
                          <a:pt x="79" y="41"/>
                        </a:lnTo>
                        <a:lnTo>
                          <a:pt x="80" y="43"/>
                        </a:lnTo>
                        <a:lnTo>
                          <a:pt x="80" y="45"/>
                        </a:lnTo>
                        <a:lnTo>
                          <a:pt x="82" y="47"/>
                        </a:lnTo>
                        <a:lnTo>
                          <a:pt x="84" y="48"/>
                        </a:lnTo>
                        <a:lnTo>
                          <a:pt x="85" y="49"/>
                        </a:lnTo>
                        <a:lnTo>
                          <a:pt x="85" y="51"/>
                        </a:lnTo>
                        <a:lnTo>
                          <a:pt x="85" y="56"/>
                        </a:lnTo>
                        <a:lnTo>
                          <a:pt x="85" y="59"/>
                        </a:lnTo>
                        <a:lnTo>
                          <a:pt x="83" y="61"/>
                        </a:lnTo>
                        <a:lnTo>
                          <a:pt x="83" y="66"/>
                        </a:lnTo>
                        <a:lnTo>
                          <a:pt x="83" y="69"/>
                        </a:lnTo>
                        <a:lnTo>
                          <a:pt x="83" y="74"/>
                        </a:lnTo>
                        <a:lnTo>
                          <a:pt x="83" y="76"/>
                        </a:lnTo>
                        <a:lnTo>
                          <a:pt x="81" y="79"/>
                        </a:lnTo>
                        <a:lnTo>
                          <a:pt x="80" y="83"/>
                        </a:lnTo>
                        <a:lnTo>
                          <a:pt x="80" y="87"/>
                        </a:lnTo>
                        <a:lnTo>
                          <a:pt x="79" y="88"/>
                        </a:lnTo>
                        <a:lnTo>
                          <a:pt x="78" y="90"/>
                        </a:lnTo>
                        <a:lnTo>
                          <a:pt x="77" y="91"/>
                        </a:lnTo>
                        <a:lnTo>
                          <a:pt x="76" y="93"/>
                        </a:lnTo>
                        <a:lnTo>
                          <a:pt x="77" y="95"/>
                        </a:lnTo>
                        <a:lnTo>
                          <a:pt x="77" y="97"/>
                        </a:lnTo>
                        <a:lnTo>
                          <a:pt x="78" y="99"/>
                        </a:lnTo>
                        <a:lnTo>
                          <a:pt x="80" y="103"/>
                        </a:lnTo>
                        <a:lnTo>
                          <a:pt x="80" y="104"/>
                        </a:lnTo>
                        <a:lnTo>
                          <a:pt x="80" y="109"/>
                        </a:lnTo>
                        <a:lnTo>
                          <a:pt x="79" y="110"/>
                        </a:lnTo>
                        <a:lnTo>
                          <a:pt x="78" y="110"/>
                        </a:lnTo>
                        <a:lnTo>
                          <a:pt x="77" y="111"/>
                        </a:lnTo>
                        <a:lnTo>
                          <a:pt x="76" y="112"/>
                        </a:lnTo>
                        <a:lnTo>
                          <a:pt x="75" y="114"/>
                        </a:lnTo>
                        <a:lnTo>
                          <a:pt x="76" y="116"/>
                        </a:lnTo>
                        <a:lnTo>
                          <a:pt x="77" y="118"/>
                        </a:lnTo>
                        <a:lnTo>
                          <a:pt x="80" y="122"/>
                        </a:lnTo>
                        <a:lnTo>
                          <a:pt x="80" y="123"/>
                        </a:lnTo>
                        <a:lnTo>
                          <a:pt x="81" y="125"/>
                        </a:lnTo>
                        <a:lnTo>
                          <a:pt x="83" y="128"/>
                        </a:lnTo>
                        <a:lnTo>
                          <a:pt x="84" y="127"/>
                        </a:lnTo>
                        <a:lnTo>
                          <a:pt x="85" y="127"/>
                        </a:lnTo>
                        <a:lnTo>
                          <a:pt x="85" y="126"/>
                        </a:lnTo>
                        <a:lnTo>
                          <a:pt x="85" y="128"/>
                        </a:lnTo>
                        <a:lnTo>
                          <a:pt x="87" y="129"/>
                        </a:lnTo>
                        <a:lnTo>
                          <a:pt x="89" y="132"/>
                        </a:lnTo>
                        <a:lnTo>
                          <a:pt x="90" y="135"/>
                        </a:lnTo>
                        <a:lnTo>
                          <a:pt x="92" y="138"/>
                        </a:lnTo>
                        <a:lnTo>
                          <a:pt x="93" y="139"/>
                        </a:lnTo>
                        <a:lnTo>
                          <a:pt x="96" y="140"/>
                        </a:lnTo>
                        <a:lnTo>
                          <a:pt x="99" y="140"/>
                        </a:lnTo>
                        <a:lnTo>
                          <a:pt x="102" y="141"/>
                        </a:lnTo>
                        <a:lnTo>
                          <a:pt x="102" y="142"/>
                        </a:lnTo>
                        <a:lnTo>
                          <a:pt x="104" y="143"/>
                        </a:lnTo>
                        <a:lnTo>
                          <a:pt x="105" y="144"/>
                        </a:lnTo>
                        <a:lnTo>
                          <a:pt x="105" y="145"/>
                        </a:lnTo>
                        <a:lnTo>
                          <a:pt x="106" y="149"/>
                        </a:lnTo>
                        <a:lnTo>
                          <a:pt x="107" y="151"/>
                        </a:lnTo>
                        <a:lnTo>
                          <a:pt x="109" y="154"/>
                        </a:lnTo>
                        <a:lnTo>
                          <a:pt x="108" y="156"/>
                        </a:lnTo>
                        <a:lnTo>
                          <a:pt x="107" y="159"/>
                        </a:lnTo>
                        <a:lnTo>
                          <a:pt x="106" y="161"/>
                        </a:lnTo>
                        <a:lnTo>
                          <a:pt x="105" y="164"/>
                        </a:lnTo>
                        <a:lnTo>
                          <a:pt x="106" y="166"/>
                        </a:lnTo>
                        <a:lnTo>
                          <a:pt x="107" y="167"/>
                        </a:lnTo>
                        <a:lnTo>
                          <a:pt x="108" y="169"/>
                        </a:lnTo>
                        <a:lnTo>
                          <a:pt x="109" y="170"/>
                        </a:lnTo>
                        <a:lnTo>
                          <a:pt x="108" y="174"/>
                        </a:lnTo>
                        <a:lnTo>
                          <a:pt x="107" y="176"/>
                        </a:lnTo>
                        <a:lnTo>
                          <a:pt x="105" y="176"/>
                        </a:lnTo>
                        <a:lnTo>
                          <a:pt x="103" y="176"/>
                        </a:lnTo>
                        <a:lnTo>
                          <a:pt x="102" y="176"/>
                        </a:lnTo>
                        <a:lnTo>
                          <a:pt x="102" y="175"/>
                        </a:lnTo>
                        <a:lnTo>
                          <a:pt x="102" y="173"/>
                        </a:lnTo>
                        <a:lnTo>
                          <a:pt x="100" y="172"/>
                        </a:lnTo>
                        <a:lnTo>
                          <a:pt x="99" y="172"/>
                        </a:lnTo>
                        <a:lnTo>
                          <a:pt x="97" y="171"/>
                        </a:lnTo>
                        <a:lnTo>
                          <a:pt x="95" y="173"/>
                        </a:lnTo>
                        <a:lnTo>
                          <a:pt x="95" y="175"/>
                        </a:lnTo>
                        <a:lnTo>
                          <a:pt x="94" y="177"/>
                        </a:lnTo>
                        <a:lnTo>
                          <a:pt x="92" y="180"/>
                        </a:lnTo>
                        <a:lnTo>
                          <a:pt x="92" y="182"/>
                        </a:lnTo>
                        <a:lnTo>
                          <a:pt x="92" y="183"/>
                        </a:lnTo>
                        <a:lnTo>
                          <a:pt x="92" y="184"/>
                        </a:lnTo>
                        <a:lnTo>
                          <a:pt x="92" y="186"/>
                        </a:lnTo>
                        <a:lnTo>
                          <a:pt x="90" y="188"/>
                        </a:lnTo>
                        <a:lnTo>
                          <a:pt x="89" y="190"/>
                        </a:lnTo>
                        <a:lnTo>
                          <a:pt x="89" y="191"/>
                        </a:lnTo>
                        <a:lnTo>
                          <a:pt x="89" y="193"/>
                        </a:lnTo>
                        <a:lnTo>
                          <a:pt x="89" y="195"/>
                        </a:lnTo>
                        <a:lnTo>
                          <a:pt x="88" y="195"/>
                        </a:lnTo>
                        <a:lnTo>
                          <a:pt x="87" y="197"/>
                        </a:lnTo>
                        <a:lnTo>
                          <a:pt x="85" y="199"/>
                        </a:lnTo>
                        <a:lnTo>
                          <a:pt x="83" y="199"/>
                        </a:lnTo>
                        <a:lnTo>
                          <a:pt x="82" y="199"/>
                        </a:lnTo>
                        <a:lnTo>
                          <a:pt x="80" y="200"/>
                        </a:lnTo>
                        <a:lnTo>
                          <a:pt x="78" y="202"/>
                        </a:lnTo>
                        <a:lnTo>
                          <a:pt x="76" y="202"/>
                        </a:lnTo>
                        <a:lnTo>
                          <a:pt x="74" y="202"/>
                        </a:lnTo>
                        <a:lnTo>
                          <a:pt x="73" y="202"/>
                        </a:lnTo>
                        <a:lnTo>
                          <a:pt x="72" y="202"/>
                        </a:lnTo>
                        <a:lnTo>
                          <a:pt x="70" y="202"/>
                        </a:lnTo>
                        <a:lnTo>
                          <a:pt x="70" y="203"/>
                        </a:lnTo>
                        <a:lnTo>
                          <a:pt x="69" y="204"/>
                        </a:lnTo>
                        <a:lnTo>
                          <a:pt x="68" y="205"/>
                        </a:lnTo>
                        <a:lnTo>
                          <a:pt x="66" y="205"/>
                        </a:lnTo>
                        <a:lnTo>
                          <a:pt x="66" y="207"/>
                        </a:lnTo>
                        <a:lnTo>
                          <a:pt x="66" y="209"/>
                        </a:lnTo>
                        <a:lnTo>
                          <a:pt x="66" y="210"/>
                        </a:lnTo>
                        <a:lnTo>
                          <a:pt x="66" y="212"/>
                        </a:lnTo>
                        <a:lnTo>
                          <a:pt x="65" y="212"/>
                        </a:lnTo>
                        <a:lnTo>
                          <a:pt x="64" y="212"/>
                        </a:lnTo>
                        <a:lnTo>
                          <a:pt x="63" y="212"/>
                        </a:lnTo>
                        <a:lnTo>
                          <a:pt x="64" y="215"/>
                        </a:lnTo>
                        <a:lnTo>
                          <a:pt x="65" y="217"/>
                        </a:lnTo>
                        <a:lnTo>
                          <a:pt x="66" y="218"/>
                        </a:lnTo>
                        <a:lnTo>
                          <a:pt x="66" y="219"/>
                        </a:lnTo>
                        <a:lnTo>
                          <a:pt x="67" y="220"/>
                        </a:lnTo>
                        <a:lnTo>
                          <a:pt x="68" y="221"/>
                        </a:lnTo>
                        <a:lnTo>
                          <a:pt x="69" y="221"/>
                        </a:lnTo>
                        <a:lnTo>
                          <a:pt x="70" y="221"/>
                        </a:lnTo>
                        <a:lnTo>
                          <a:pt x="70" y="222"/>
                        </a:lnTo>
                        <a:lnTo>
                          <a:pt x="70" y="223"/>
                        </a:lnTo>
                        <a:lnTo>
                          <a:pt x="70" y="224"/>
                        </a:lnTo>
                        <a:lnTo>
                          <a:pt x="70" y="225"/>
                        </a:lnTo>
                        <a:lnTo>
                          <a:pt x="68" y="225"/>
                        </a:lnTo>
                        <a:lnTo>
                          <a:pt x="67" y="225"/>
                        </a:lnTo>
                        <a:lnTo>
                          <a:pt x="66" y="225"/>
                        </a:lnTo>
                        <a:lnTo>
                          <a:pt x="64" y="224"/>
                        </a:lnTo>
                        <a:lnTo>
                          <a:pt x="63" y="223"/>
                        </a:lnTo>
                        <a:lnTo>
                          <a:pt x="62" y="222"/>
                        </a:lnTo>
                        <a:lnTo>
                          <a:pt x="61" y="221"/>
                        </a:lnTo>
                        <a:lnTo>
                          <a:pt x="60" y="222"/>
                        </a:lnTo>
                        <a:lnTo>
                          <a:pt x="61" y="225"/>
                        </a:lnTo>
                        <a:lnTo>
                          <a:pt x="61" y="228"/>
                        </a:lnTo>
                        <a:lnTo>
                          <a:pt x="61" y="231"/>
                        </a:lnTo>
                        <a:lnTo>
                          <a:pt x="60" y="233"/>
                        </a:lnTo>
                        <a:lnTo>
                          <a:pt x="59" y="234"/>
                        </a:lnTo>
                        <a:lnTo>
                          <a:pt x="58" y="235"/>
                        </a:lnTo>
                        <a:lnTo>
                          <a:pt x="57" y="235"/>
                        </a:lnTo>
                        <a:lnTo>
                          <a:pt x="55" y="234"/>
                        </a:lnTo>
                        <a:lnTo>
                          <a:pt x="53" y="233"/>
                        </a:lnTo>
                        <a:lnTo>
                          <a:pt x="51" y="232"/>
                        </a:lnTo>
                        <a:lnTo>
                          <a:pt x="51" y="231"/>
                        </a:lnTo>
                        <a:lnTo>
                          <a:pt x="49" y="231"/>
                        </a:lnTo>
                        <a:lnTo>
                          <a:pt x="47" y="231"/>
                        </a:lnTo>
                        <a:lnTo>
                          <a:pt x="46" y="231"/>
                        </a:lnTo>
                        <a:lnTo>
                          <a:pt x="44" y="23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2" name="Freeform 1684">
                    <a:extLst>
                      <a:ext uri="{FF2B5EF4-FFF2-40B4-BE49-F238E27FC236}">
                        <a16:creationId xmlns:a16="http://schemas.microsoft.com/office/drawing/2014/main" xmlns="" id="{76F203E0-F08C-4D89-9D62-A04113437ED9}"/>
                      </a:ext>
                    </a:extLst>
                  </p:cNvPr>
                  <p:cNvSpPr>
                    <a:spLocks/>
                  </p:cNvSpPr>
                  <p:nvPr/>
                </p:nvSpPr>
                <p:spPr bwMode="gray">
                  <a:xfrm>
                    <a:off x="3643275" y="2987444"/>
                    <a:ext cx="151296" cy="175782"/>
                  </a:xfrm>
                  <a:custGeom>
                    <a:avLst/>
                    <a:gdLst>
                      <a:gd name="T0" fmla="*/ 2147483647 w 136"/>
                      <a:gd name="T1" fmla="*/ 2147483647 h 158"/>
                      <a:gd name="T2" fmla="*/ 2147483647 w 136"/>
                      <a:gd name="T3" fmla="*/ 2147483647 h 158"/>
                      <a:gd name="T4" fmla="*/ 2147483647 w 136"/>
                      <a:gd name="T5" fmla="*/ 2147483647 h 158"/>
                      <a:gd name="T6" fmla="*/ 2147483647 w 136"/>
                      <a:gd name="T7" fmla="*/ 2147483647 h 158"/>
                      <a:gd name="T8" fmla="*/ 2147483647 w 136"/>
                      <a:gd name="T9" fmla="*/ 0 h 158"/>
                      <a:gd name="T10" fmla="*/ 2147483647 w 136"/>
                      <a:gd name="T11" fmla="*/ 2147483647 h 158"/>
                      <a:gd name="T12" fmla="*/ 2147483647 w 136"/>
                      <a:gd name="T13" fmla="*/ 2147483647 h 158"/>
                      <a:gd name="T14" fmla="*/ 2147483647 w 136"/>
                      <a:gd name="T15" fmla="*/ 2147483647 h 158"/>
                      <a:gd name="T16" fmla="*/ 2147483647 w 136"/>
                      <a:gd name="T17" fmla="*/ 2147483647 h 158"/>
                      <a:gd name="T18" fmla="*/ 2147483647 w 136"/>
                      <a:gd name="T19" fmla="*/ 2147483647 h 158"/>
                      <a:gd name="T20" fmla="*/ 2147483647 w 136"/>
                      <a:gd name="T21" fmla="*/ 2147483647 h 158"/>
                      <a:gd name="T22" fmla="*/ 2147483647 w 136"/>
                      <a:gd name="T23" fmla="*/ 2147483647 h 158"/>
                      <a:gd name="T24" fmla="*/ 2147483647 w 136"/>
                      <a:gd name="T25" fmla="*/ 2147483647 h 158"/>
                      <a:gd name="T26" fmla="*/ 2147483647 w 136"/>
                      <a:gd name="T27" fmla="*/ 2147483647 h 158"/>
                      <a:gd name="T28" fmla="*/ 2147483647 w 136"/>
                      <a:gd name="T29" fmla="*/ 2147483647 h 158"/>
                      <a:gd name="T30" fmla="*/ 2147483647 w 136"/>
                      <a:gd name="T31" fmla="*/ 2147483647 h 158"/>
                      <a:gd name="T32" fmla="*/ 2147483647 w 136"/>
                      <a:gd name="T33" fmla="*/ 2147483647 h 158"/>
                      <a:gd name="T34" fmla="*/ 2147483647 w 136"/>
                      <a:gd name="T35" fmla="*/ 2147483647 h 158"/>
                      <a:gd name="T36" fmla="*/ 2147483647 w 136"/>
                      <a:gd name="T37" fmla="*/ 2147483647 h 158"/>
                      <a:gd name="T38" fmla="*/ 2147483647 w 136"/>
                      <a:gd name="T39" fmla="*/ 2147483647 h 158"/>
                      <a:gd name="T40" fmla="*/ 2147483647 w 136"/>
                      <a:gd name="T41" fmla="*/ 2147483647 h 158"/>
                      <a:gd name="T42" fmla="*/ 2147483647 w 136"/>
                      <a:gd name="T43" fmla="*/ 2147483647 h 158"/>
                      <a:gd name="T44" fmla="*/ 2147483647 w 136"/>
                      <a:gd name="T45" fmla="*/ 2147483647 h 158"/>
                      <a:gd name="T46" fmla="*/ 2147483647 w 136"/>
                      <a:gd name="T47" fmla="*/ 2147483647 h 158"/>
                      <a:gd name="T48" fmla="*/ 2147483647 w 136"/>
                      <a:gd name="T49" fmla="*/ 2147483647 h 158"/>
                      <a:gd name="T50" fmla="*/ 2147483647 w 136"/>
                      <a:gd name="T51" fmla="*/ 2147483647 h 158"/>
                      <a:gd name="T52" fmla="*/ 2147483647 w 136"/>
                      <a:gd name="T53" fmla="*/ 2147483647 h 158"/>
                      <a:gd name="T54" fmla="*/ 2147483647 w 136"/>
                      <a:gd name="T55" fmla="*/ 2147483647 h 158"/>
                      <a:gd name="T56" fmla="*/ 2147483647 w 136"/>
                      <a:gd name="T57" fmla="*/ 2147483647 h 158"/>
                      <a:gd name="T58" fmla="*/ 2147483647 w 136"/>
                      <a:gd name="T59" fmla="*/ 2147483647 h 158"/>
                      <a:gd name="T60" fmla="*/ 2147483647 w 136"/>
                      <a:gd name="T61" fmla="*/ 2147483647 h 158"/>
                      <a:gd name="T62" fmla="*/ 2147483647 w 136"/>
                      <a:gd name="T63" fmla="*/ 2147483647 h 158"/>
                      <a:gd name="T64" fmla="*/ 2147483647 w 136"/>
                      <a:gd name="T65" fmla="*/ 2147483647 h 158"/>
                      <a:gd name="T66" fmla="*/ 2147483647 w 136"/>
                      <a:gd name="T67" fmla="*/ 2147483647 h 158"/>
                      <a:gd name="T68" fmla="*/ 2147483647 w 136"/>
                      <a:gd name="T69" fmla="*/ 2147483647 h 158"/>
                      <a:gd name="T70" fmla="*/ 2147483647 w 136"/>
                      <a:gd name="T71" fmla="*/ 2147483647 h 158"/>
                      <a:gd name="T72" fmla="*/ 2147483647 w 136"/>
                      <a:gd name="T73" fmla="*/ 2147483647 h 158"/>
                      <a:gd name="T74" fmla="*/ 2147483647 w 136"/>
                      <a:gd name="T75" fmla="*/ 2147483647 h 158"/>
                      <a:gd name="T76" fmla="*/ 2147483647 w 136"/>
                      <a:gd name="T77" fmla="*/ 2147483647 h 158"/>
                      <a:gd name="T78" fmla="*/ 2147483647 w 136"/>
                      <a:gd name="T79" fmla="*/ 2147483647 h 158"/>
                      <a:gd name="T80" fmla="*/ 2147483647 w 136"/>
                      <a:gd name="T81" fmla="*/ 2147483647 h 158"/>
                      <a:gd name="T82" fmla="*/ 2147483647 w 136"/>
                      <a:gd name="T83" fmla="*/ 2147483647 h 158"/>
                      <a:gd name="T84" fmla="*/ 2147483647 w 136"/>
                      <a:gd name="T85" fmla="*/ 2147483647 h 158"/>
                      <a:gd name="T86" fmla="*/ 2147483647 w 136"/>
                      <a:gd name="T87" fmla="*/ 2147483647 h 158"/>
                      <a:gd name="T88" fmla="*/ 2147483647 w 136"/>
                      <a:gd name="T89" fmla="*/ 2147483647 h 158"/>
                      <a:gd name="T90" fmla="*/ 2147483647 w 136"/>
                      <a:gd name="T91" fmla="*/ 2147483647 h 158"/>
                      <a:gd name="T92" fmla="*/ 2147483647 w 136"/>
                      <a:gd name="T93" fmla="*/ 2147483647 h 158"/>
                      <a:gd name="T94" fmla="*/ 2147483647 w 136"/>
                      <a:gd name="T95" fmla="*/ 2147483647 h 158"/>
                      <a:gd name="T96" fmla="*/ 2147483647 w 136"/>
                      <a:gd name="T97" fmla="*/ 2147483647 h 158"/>
                      <a:gd name="T98" fmla="*/ 2147483647 w 136"/>
                      <a:gd name="T99" fmla="*/ 2147483647 h 158"/>
                      <a:gd name="T100" fmla="*/ 2147483647 w 136"/>
                      <a:gd name="T101" fmla="*/ 2147483647 h 158"/>
                      <a:gd name="T102" fmla="*/ 2147483647 w 136"/>
                      <a:gd name="T103" fmla="*/ 2147483647 h 158"/>
                      <a:gd name="T104" fmla="*/ 2147483647 w 136"/>
                      <a:gd name="T105" fmla="*/ 2147483647 h 158"/>
                      <a:gd name="T106" fmla="*/ 2147483647 w 136"/>
                      <a:gd name="T107" fmla="*/ 2147483647 h 158"/>
                      <a:gd name="T108" fmla="*/ 2147483647 w 136"/>
                      <a:gd name="T109" fmla="*/ 2147483647 h 158"/>
                      <a:gd name="T110" fmla="*/ 2147483647 w 136"/>
                      <a:gd name="T111" fmla="*/ 2147483647 h 1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6" h="158">
                        <a:moveTo>
                          <a:pt x="125" y="19"/>
                        </a:moveTo>
                        <a:lnTo>
                          <a:pt x="124" y="18"/>
                        </a:lnTo>
                        <a:lnTo>
                          <a:pt x="122" y="17"/>
                        </a:lnTo>
                        <a:lnTo>
                          <a:pt x="118" y="16"/>
                        </a:lnTo>
                        <a:lnTo>
                          <a:pt x="115" y="16"/>
                        </a:lnTo>
                        <a:lnTo>
                          <a:pt x="113" y="16"/>
                        </a:lnTo>
                        <a:lnTo>
                          <a:pt x="111" y="17"/>
                        </a:lnTo>
                        <a:lnTo>
                          <a:pt x="109" y="18"/>
                        </a:lnTo>
                        <a:lnTo>
                          <a:pt x="106" y="19"/>
                        </a:lnTo>
                        <a:lnTo>
                          <a:pt x="104" y="16"/>
                        </a:lnTo>
                        <a:lnTo>
                          <a:pt x="103" y="15"/>
                        </a:lnTo>
                        <a:lnTo>
                          <a:pt x="102" y="14"/>
                        </a:lnTo>
                        <a:lnTo>
                          <a:pt x="100" y="12"/>
                        </a:lnTo>
                        <a:lnTo>
                          <a:pt x="98" y="14"/>
                        </a:lnTo>
                        <a:lnTo>
                          <a:pt x="96" y="15"/>
                        </a:lnTo>
                        <a:lnTo>
                          <a:pt x="95" y="15"/>
                        </a:lnTo>
                        <a:lnTo>
                          <a:pt x="93" y="16"/>
                        </a:lnTo>
                        <a:lnTo>
                          <a:pt x="84" y="16"/>
                        </a:lnTo>
                        <a:lnTo>
                          <a:pt x="85" y="12"/>
                        </a:lnTo>
                        <a:lnTo>
                          <a:pt x="86" y="10"/>
                        </a:lnTo>
                        <a:lnTo>
                          <a:pt x="86" y="8"/>
                        </a:lnTo>
                        <a:lnTo>
                          <a:pt x="84" y="9"/>
                        </a:lnTo>
                        <a:lnTo>
                          <a:pt x="80" y="9"/>
                        </a:lnTo>
                        <a:lnTo>
                          <a:pt x="79" y="5"/>
                        </a:lnTo>
                        <a:lnTo>
                          <a:pt x="78" y="3"/>
                        </a:lnTo>
                        <a:lnTo>
                          <a:pt x="77" y="1"/>
                        </a:lnTo>
                        <a:lnTo>
                          <a:pt x="76" y="0"/>
                        </a:lnTo>
                        <a:lnTo>
                          <a:pt x="71" y="0"/>
                        </a:lnTo>
                        <a:lnTo>
                          <a:pt x="68" y="0"/>
                        </a:lnTo>
                        <a:lnTo>
                          <a:pt x="65" y="0"/>
                        </a:lnTo>
                        <a:lnTo>
                          <a:pt x="64" y="2"/>
                        </a:lnTo>
                        <a:lnTo>
                          <a:pt x="63" y="4"/>
                        </a:lnTo>
                        <a:lnTo>
                          <a:pt x="62" y="6"/>
                        </a:lnTo>
                        <a:lnTo>
                          <a:pt x="61" y="9"/>
                        </a:lnTo>
                        <a:lnTo>
                          <a:pt x="65" y="15"/>
                        </a:lnTo>
                        <a:lnTo>
                          <a:pt x="68" y="19"/>
                        </a:lnTo>
                        <a:lnTo>
                          <a:pt x="69" y="21"/>
                        </a:lnTo>
                        <a:lnTo>
                          <a:pt x="69" y="23"/>
                        </a:lnTo>
                        <a:lnTo>
                          <a:pt x="67" y="26"/>
                        </a:lnTo>
                        <a:lnTo>
                          <a:pt x="65" y="29"/>
                        </a:lnTo>
                        <a:lnTo>
                          <a:pt x="61" y="31"/>
                        </a:lnTo>
                        <a:lnTo>
                          <a:pt x="57" y="32"/>
                        </a:lnTo>
                        <a:lnTo>
                          <a:pt x="48" y="32"/>
                        </a:lnTo>
                        <a:lnTo>
                          <a:pt x="47" y="34"/>
                        </a:lnTo>
                        <a:lnTo>
                          <a:pt x="46" y="35"/>
                        </a:lnTo>
                        <a:lnTo>
                          <a:pt x="45" y="35"/>
                        </a:lnTo>
                        <a:lnTo>
                          <a:pt x="44" y="36"/>
                        </a:lnTo>
                        <a:lnTo>
                          <a:pt x="44" y="38"/>
                        </a:lnTo>
                        <a:lnTo>
                          <a:pt x="44" y="39"/>
                        </a:lnTo>
                        <a:lnTo>
                          <a:pt x="44" y="40"/>
                        </a:lnTo>
                        <a:lnTo>
                          <a:pt x="44" y="41"/>
                        </a:lnTo>
                        <a:lnTo>
                          <a:pt x="47" y="41"/>
                        </a:lnTo>
                        <a:lnTo>
                          <a:pt x="49" y="40"/>
                        </a:lnTo>
                        <a:lnTo>
                          <a:pt x="51" y="40"/>
                        </a:lnTo>
                        <a:lnTo>
                          <a:pt x="51" y="41"/>
                        </a:lnTo>
                        <a:lnTo>
                          <a:pt x="52" y="41"/>
                        </a:lnTo>
                        <a:lnTo>
                          <a:pt x="53" y="41"/>
                        </a:lnTo>
                        <a:lnTo>
                          <a:pt x="54" y="41"/>
                        </a:lnTo>
                        <a:lnTo>
                          <a:pt x="58" y="42"/>
                        </a:lnTo>
                        <a:lnTo>
                          <a:pt x="61" y="41"/>
                        </a:lnTo>
                        <a:lnTo>
                          <a:pt x="65" y="40"/>
                        </a:lnTo>
                        <a:lnTo>
                          <a:pt x="67" y="39"/>
                        </a:lnTo>
                        <a:lnTo>
                          <a:pt x="69" y="39"/>
                        </a:lnTo>
                        <a:lnTo>
                          <a:pt x="70" y="40"/>
                        </a:lnTo>
                        <a:lnTo>
                          <a:pt x="72" y="41"/>
                        </a:lnTo>
                        <a:lnTo>
                          <a:pt x="74" y="41"/>
                        </a:lnTo>
                        <a:lnTo>
                          <a:pt x="74" y="51"/>
                        </a:lnTo>
                        <a:lnTo>
                          <a:pt x="69" y="56"/>
                        </a:lnTo>
                        <a:lnTo>
                          <a:pt x="67" y="57"/>
                        </a:lnTo>
                        <a:lnTo>
                          <a:pt x="67" y="58"/>
                        </a:lnTo>
                        <a:lnTo>
                          <a:pt x="67" y="61"/>
                        </a:lnTo>
                        <a:lnTo>
                          <a:pt x="67" y="64"/>
                        </a:lnTo>
                        <a:lnTo>
                          <a:pt x="67" y="67"/>
                        </a:lnTo>
                        <a:lnTo>
                          <a:pt x="67" y="70"/>
                        </a:lnTo>
                        <a:lnTo>
                          <a:pt x="65" y="71"/>
                        </a:lnTo>
                        <a:lnTo>
                          <a:pt x="66" y="72"/>
                        </a:lnTo>
                        <a:lnTo>
                          <a:pt x="66" y="73"/>
                        </a:lnTo>
                        <a:lnTo>
                          <a:pt x="67" y="74"/>
                        </a:lnTo>
                        <a:lnTo>
                          <a:pt x="58" y="84"/>
                        </a:lnTo>
                        <a:lnTo>
                          <a:pt x="52" y="87"/>
                        </a:lnTo>
                        <a:lnTo>
                          <a:pt x="44" y="88"/>
                        </a:lnTo>
                        <a:lnTo>
                          <a:pt x="35" y="87"/>
                        </a:lnTo>
                        <a:lnTo>
                          <a:pt x="25" y="87"/>
                        </a:lnTo>
                        <a:lnTo>
                          <a:pt x="25" y="88"/>
                        </a:lnTo>
                        <a:lnTo>
                          <a:pt x="23" y="90"/>
                        </a:lnTo>
                        <a:lnTo>
                          <a:pt x="21" y="91"/>
                        </a:lnTo>
                        <a:lnTo>
                          <a:pt x="18" y="89"/>
                        </a:lnTo>
                        <a:lnTo>
                          <a:pt x="17" y="89"/>
                        </a:lnTo>
                        <a:lnTo>
                          <a:pt x="15" y="88"/>
                        </a:lnTo>
                        <a:lnTo>
                          <a:pt x="13" y="87"/>
                        </a:lnTo>
                        <a:lnTo>
                          <a:pt x="3" y="96"/>
                        </a:lnTo>
                        <a:lnTo>
                          <a:pt x="6" y="98"/>
                        </a:lnTo>
                        <a:lnTo>
                          <a:pt x="7" y="101"/>
                        </a:lnTo>
                        <a:lnTo>
                          <a:pt x="6" y="102"/>
                        </a:lnTo>
                        <a:lnTo>
                          <a:pt x="4" y="104"/>
                        </a:lnTo>
                        <a:lnTo>
                          <a:pt x="3" y="105"/>
                        </a:lnTo>
                        <a:lnTo>
                          <a:pt x="0" y="107"/>
                        </a:lnTo>
                        <a:lnTo>
                          <a:pt x="0" y="108"/>
                        </a:lnTo>
                        <a:lnTo>
                          <a:pt x="3" y="109"/>
                        </a:lnTo>
                        <a:lnTo>
                          <a:pt x="3" y="111"/>
                        </a:lnTo>
                        <a:lnTo>
                          <a:pt x="4" y="112"/>
                        </a:lnTo>
                        <a:lnTo>
                          <a:pt x="6" y="112"/>
                        </a:lnTo>
                        <a:lnTo>
                          <a:pt x="6" y="113"/>
                        </a:lnTo>
                        <a:lnTo>
                          <a:pt x="7" y="113"/>
                        </a:lnTo>
                        <a:lnTo>
                          <a:pt x="7" y="114"/>
                        </a:lnTo>
                        <a:lnTo>
                          <a:pt x="6" y="113"/>
                        </a:lnTo>
                        <a:lnTo>
                          <a:pt x="6" y="114"/>
                        </a:lnTo>
                        <a:lnTo>
                          <a:pt x="4" y="115"/>
                        </a:lnTo>
                        <a:lnTo>
                          <a:pt x="4" y="116"/>
                        </a:lnTo>
                        <a:lnTo>
                          <a:pt x="3" y="116"/>
                        </a:lnTo>
                        <a:lnTo>
                          <a:pt x="3" y="118"/>
                        </a:lnTo>
                        <a:lnTo>
                          <a:pt x="3" y="119"/>
                        </a:lnTo>
                        <a:lnTo>
                          <a:pt x="6" y="120"/>
                        </a:lnTo>
                        <a:lnTo>
                          <a:pt x="10" y="121"/>
                        </a:lnTo>
                        <a:lnTo>
                          <a:pt x="14" y="122"/>
                        </a:lnTo>
                        <a:lnTo>
                          <a:pt x="18" y="123"/>
                        </a:lnTo>
                        <a:lnTo>
                          <a:pt x="19" y="122"/>
                        </a:lnTo>
                        <a:lnTo>
                          <a:pt x="20" y="121"/>
                        </a:lnTo>
                        <a:lnTo>
                          <a:pt x="21" y="120"/>
                        </a:lnTo>
                        <a:lnTo>
                          <a:pt x="22" y="119"/>
                        </a:lnTo>
                        <a:lnTo>
                          <a:pt x="25" y="119"/>
                        </a:lnTo>
                        <a:lnTo>
                          <a:pt x="29" y="119"/>
                        </a:lnTo>
                        <a:lnTo>
                          <a:pt x="32" y="119"/>
                        </a:lnTo>
                        <a:lnTo>
                          <a:pt x="35" y="119"/>
                        </a:lnTo>
                        <a:lnTo>
                          <a:pt x="36" y="120"/>
                        </a:lnTo>
                        <a:lnTo>
                          <a:pt x="37" y="123"/>
                        </a:lnTo>
                        <a:lnTo>
                          <a:pt x="38" y="125"/>
                        </a:lnTo>
                        <a:lnTo>
                          <a:pt x="39" y="125"/>
                        </a:lnTo>
                        <a:lnTo>
                          <a:pt x="39" y="126"/>
                        </a:lnTo>
                        <a:lnTo>
                          <a:pt x="40" y="127"/>
                        </a:lnTo>
                        <a:lnTo>
                          <a:pt x="41" y="127"/>
                        </a:lnTo>
                        <a:lnTo>
                          <a:pt x="41" y="128"/>
                        </a:lnTo>
                        <a:lnTo>
                          <a:pt x="37" y="128"/>
                        </a:lnTo>
                        <a:lnTo>
                          <a:pt x="36" y="128"/>
                        </a:lnTo>
                        <a:lnTo>
                          <a:pt x="35" y="128"/>
                        </a:lnTo>
                        <a:lnTo>
                          <a:pt x="35" y="130"/>
                        </a:lnTo>
                        <a:lnTo>
                          <a:pt x="34" y="132"/>
                        </a:lnTo>
                        <a:lnTo>
                          <a:pt x="34" y="133"/>
                        </a:lnTo>
                        <a:lnTo>
                          <a:pt x="35" y="135"/>
                        </a:lnTo>
                        <a:lnTo>
                          <a:pt x="37" y="136"/>
                        </a:lnTo>
                        <a:lnTo>
                          <a:pt x="41" y="138"/>
                        </a:lnTo>
                        <a:lnTo>
                          <a:pt x="46" y="140"/>
                        </a:lnTo>
                        <a:lnTo>
                          <a:pt x="51" y="142"/>
                        </a:lnTo>
                        <a:lnTo>
                          <a:pt x="51" y="140"/>
                        </a:lnTo>
                        <a:lnTo>
                          <a:pt x="52" y="138"/>
                        </a:lnTo>
                        <a:lnTo>
                          <a:pt x="53" y="136"/>
                        </a:lnTo>
                        <a:lnTo>
                          <a:pt x="54" y="135"/>
                        </a:lnTo>
                        <a:lnTo>
                          <a:pt x="59" y="143"/>
                        </a:lnTo>
                        <a:lnTo>
                          <a:pt x="64" y="151"/>
                        </a:lnTo>
                        <a:lnTo>
                          <a:pt x="66" y="154"/>
                        </a:lnTo>
                        <a:lnTo>
                          <a:pt x="70" y="156"/>
                        </a:lnTo>
                        <a:lnTo>
                          <a:pt x="75" y="158"/>
                        </a:lnTo>
                        <a:lnTo>
                          <a:pt x="80" y="157"/>
                        </a:lnTo>
                        <a:lnTo>
                          <a:pt x="82" y="156"/>
                        </a:lnTo>
                        <a:lnTo>
                          <a:pt x="85" y="154"/>
                        </a:lnTo>
                        <a:lnTo>
                          <a:pt x="89" y="152"/>
                        </a:lnTo>
                        <a:lnTo>
                          <a:pt x="89" y="151"/>
                        </a:lnTo>
                        <a:lnTo>
                          <a:pt x="92" y="151"/>
                        </a:lnTo>
                        <a:lnTo>
                          <a:pt x="94" y="152"/>
                        </a:lnTo>
                        <a:lnTo>
                          <a:pt x="96" y="153"/>
                        </a:lnTo>
                        <a:lnTo>
                          <a:pt x="96" y="154"/>
                        </a:lnTo>
                        <a:lnTo>
                          <a:pt x="99" y="153"/>
                        </a:lnTo>
                        <a:lnTo>
                          <a:pt x="101" y="152"/>
                        </a:lnTo>
                        <a:lnTo>
                          <a:pt x="102" y="151"/>
                        </a:lnTo>
                        <a:lnTo>
                          <a:pt x="103" y="151"/>
                        </a:lnTo>
                        <a:lnTo>
                          <a:pt x="113" y="151"/>
                        </a:lnTo>
                        <a:lnTo>
                          <a:pt x="113" y="149"/>
                        </a:lnTo>
                        <a:lnTo>
                          <a:pt x="113" y="148"/>
                        </a:lnTo>
                        <a:lnTo>
                          <a:pt x="113" y="147"/>
                        </a:lnTo>
                        <a:lnTo>
                          <a:pt x="113" y="145"/>
                        </a:lnTo>
                        <a:lnTo>
                          <a:pt x="113" y="143"/>
                        </a:lnTo>
                        <a:lnTo>
                          <a:pt x="113" y="142"/>
                        </a:lnTo>
                        <a:lnTo>
                          <a:pt x="113" y="140"/>
                        </a:lnTo>
                        <a:lnTo>
                          <a:pt x="113" y="138"/>
                        </a:lnTo>
                        <a:lnTo>
                          <a:pt x="113" y="137"/>
                        </a:lnTo>
                        <a:lnTo>
                          <a:pt x="115" y="135"/>
                        </a:lnTo>
                        <a:lnTo>
                          <a:pt x="115" y="134"/>
                        </a:lnTo>
                        <a:lnTo>
                          <a:pt x="115" y="133"/>
                        </a:lnTo>
                        <a:lnTo>
                          <a:pt x="115" y="132"/>
                        </a:lnTo>
                        <a:lnTo>
                          <a:pt x="114" y="132"/>
                        </a:lnTo>
                        <a:lnTo>
                          <a:pt x="113" y="132"/>
                        </a:lnTo>
                        <a:lnTo>
                          <a:pt x="113" y="131"/>
                        </a:lnTo>
                        <a:lnTo>
                          <a:pt x="113" y="130"/>
                        </a:lnTo>
                        <a:lnTo>
                          <a:pt x="112" y="129"/>
                        </a:lnTo>
                        <a:lnTo>
                          <a:pt x="110" y="128"/>
                        </a:lnTo>
                        <a:lnTo>
                          <a:pt x="110" y="126"/>
                        </a:lnTo>
                        <a:lnTo>
                          <a:pt x="111" y="125"/>
                        </a:lnTo>
                        <a:lnTo>
                          <a:pt x="110" y="123"/>
                        </a:lnTo>
                        <a:lnTo>
                          <a:pt x="109" y="123"/>
                        </a:lnTo>
                        <a:lnTo>
                          <a:pt x="108" y="124"/>
                        </a:lnTo>
                        <a:lnTo>
                          <a:pt x="107" y="125"/>
                        </a:lnTo>
                        <a:lnTo>
                          <a:pt x="106" y="125"/>
                        </a:lnTo>
                        <a:lnTo>
                          <a:pt x="104" y="125"/>
                        </a:lnTo>
                        <a:lnTo>
                          <a:pt x="103" y="124"/>
                        </a:lnTo>
                        <a:lnTo>
                          <a:pt x="103" y="123"/>
                        </a:lnTo>
                        <a:lnTo>
                          <a:pt x="103" y="121"/>
                        </a:lnTo>
                        <a:lnTo>
                          <a:pt x="103" y="119"/>
                        </a:lnTo>
                        <a:lnTo>
                          <a:pt x="103" y="118"/>
                        </a:lnTo>
                        <a:lnTo>
                          <a:pt x="103" y="116"/>
                        </a:lnTo>
                        <a:lnTo>
                          <a:pt x="103" y="114"/>
                        </a:lnTo>
                        <a:lnTo>
                          <a:pt x="103" y="113"/>
                        </a:lnTo>
                        <a:lnTo>
                          <a:pt x="103" y="111"/>
                        </a:lnTo>
                        <a:lnTo>
                          <a:pt x="103" y="109"/>
                        </a:lnTo>
                        <a:lnTo>
                          <a:pt x="103" y="107"/>
                        </a:lnTo>
                        <a:lnTo>
                          <a:pt x="103" y="106"/>
                        </a:lnTo>
                        <a:lnTo>
                          <a:pt x="104" y="106"/>
                        </a:lnTo>
                        <a:lnTo>
                          <a:pt x="106" y="106"/>
                        </a:lnTo>
                        <a:lnTo>
                          <a:pt x="106" y="104"/>
                        </a:lnTo>
                        <a:lnTo>
                          <a:pt x="107" y="103"/>
                        </a:lnTo>
                        <a:lnTo>
                          <a:pt x="108" y="101"/>
                        </a:lnTo>
                        <a:lnTo>
                          <a:pt x="110" y="99"/>
                        </a:lnTo>
                        <a:lnTo>
                          <a:pt x="111" y="99"/>
                        </a:lnTo>
                        <a:lnTo>
                          <a:pt x="113" y="99"/>
                        </a:lnTo>
                        <a:lnTo>
                          <a:pt x="113" y="97"/>
                        </a:lnTo>
                        <a:lnTo>
                          <a:pt x="113" y="96"/>
                        </a:lnTo>
                        <a:lnTo>
                          <a:pt x="113" y="95"/>
                        </a:lnTo>
                        <a:lnTo>
                          <a:pt x="113" y="93"/>
                        </a:lnTo>
                        <a:lnTo>
                          <a:pt x="113" y="92"/>
                        </a:lnTo>
                        <a:lnTo>
                          <a:pt x="113" y="91"/>
                        </a:lnTo>
                        <a:lnTo>
                          <a:pt x="113" y="89"/>
                        </a:lnTo>
                        <a:lnTo>
                          <a:pt x="112" y="89"/>
                        </a:lnTo>
                        <a:lnTo>
                          <a:pt x="110" y="89"/>
                        </a:lnTo>
                        <a:lnTo>
                          <a:pt x="109" y="89"/>
                        </a:lnTo>
                        <a:lnTo>
                          <a:pt x="108" y="88"/>
                        </a:lnTo>
                        <a:lnTo>
                          <a:pt x="106" y="87"/>
                        </a:lnTo>
                        <a:lnTo>
                          <a:pt x="106" y="86"/>
                        </a:lnTo>
                        <a:lnTo>
                          <a:pt x="105" y="85"/>
                        </a:lnTo>
                        <a:lnTo>
                          <a:pt x="105" y="84"/>
                        </a:lnTo>
                        <a:lnTo>
                          <a:pt x="106" y="84"/>
                        </a:lnTo>
                        <a:lnTo>
                          <a:pt x="106" y="82"/>
                        </a:lnTo>
                        <a:lnTo>
                          <a:pt x="107" y="81"/>
                        </a:lnTo>
                        <a:lnTo>
                          <a:pt x="108" y="80"/>
                        </a:lnTo>
                        <a:lnTo>
                          <a:pt x="110" y="80"/>
                        </a:lnTo>
                        <a:lnTo>
                          <a:pt x="111" y="80"/>
                        </a:lnTo>
                        <a:lnTo>
                          <a:pt x="113" y="80"/>
                        </a:lnTo>
                        <a:lnTo>
                          <a:pt x="115" y="80"/>
                        </a:lnTo>
                        <a:lnTo>
                          <a:pt x="115" y="79"/>
                        </a:lnTo>
                        <a:lnTo>
                          <a:pt x="115" y="77"/>
                        </a:lnTo>
                        <a:lnTo>
                          <a:pt x="115" y="75"/>
                        </a:lnTo>
                        <a:lnTo>
                          <a:pt x="114" y="75"/>
                        </a:lnTo>
                        <a:lnTo>
                          <a:pt x="113" y="75"/>
                        </a:lnTo>
                        <a:lnTo>
                          <a:pt x="113" y="74"/>
                        </a:lnTo>
                        <a:lnTo>
                          <a:pt x="114" y="72"/>
                        </a:lnTo>
                        <a:lnTo>
                          <a:pt x="115" y="70"/>
                        </a:lnTo>
                        <a:lnTo>
                          <a:pt x="115" y="69"/>
                        </a:lnTo>
                        <a:lnTo>
                          <a:pt x="115" y="67"/>
                        </a:lnTo>
                        <a:lnTo>
                          <a:pt x="117" y="67"/>
                        </a:lnTo>
                        <a:lnTo>
                          <a:pt x="118" y="67"/>
                        </a:lnTo>
                        <a:lnTo>
                          <a:pt x="119" y="67"/>
                        </a:lnTo>
                        <a:lnTo>
                          <a:pt x="121" y="65"/>
                        </a:lnTo>
                        <a:lnTo>
                          <a:pt x="121" y="64"/>
                        </a:lnTo>
                        <a:lnTo>
                          <a:pt x="121" y="63"/>
                        </a:lnTo>
                        <a:lnTo>
                          <a:pt x="119" y="61"/>
                        </a:lnTo>
                        <a:lnTo>
                          <a:pt x="118" y="61"/>
                        </a:lnTo>
                        <a:lnTo>
                          <a:pt x="117" y="61"/>
                        </a:lnTo>
                        <a:lnTo>
                          <a:pt x="116" y="60"/>
                        </a:lnTo>
                        <a:lnTo>
                          <a:pt x="115" y="58"/>
                        </a:lnTo>
                        <a:lnTo>
                          <a:pt x="115" y="57"/>
                        </a:lnTo>
                        <a:lnTo>
                          <a:pt x="115" y="56"/>
                        </a:lnTo>
                        <a:lnTo>
                          <a:pt x="115" y="55"/>
                        </a:lnTo>
                        <a:lnTo>
                          <a:pt x="115" y="54"/>
                        </a:lnTo>
                        <a:lnTo>
                          <a:pt x="116" y="53"/>
                        </a:lnTo>
                        <a:lnTo>
                          <a:pt x="117" y="52"/>
                        </a:lnTo>
                        <a:lnTo>
                          <a:pt x="119" y="51"/>
                        </a:lnTo>
                        <a:lnTo>
                          <a:pt x="119" y="50"/>
                        </a:lnTo>
                        <a:lnTo>
                          <a:pt x="120" y="50"/>
                        </a:lnTo>
                        <a:lnTo>
                          <a:pt x="122" y="51"/>
                        </a:lnTo>
                        <a:lnTo>
                          <a:pt x="124" y="49"/>
                        </a:lnTo>
                        <a:lnTo>
                          <a:pt x="125" y="48"/>
                        </a:lnTo>
                        <a:lnTo>
                          <a:pt x="127" y="48"/>
                        </a:lnTo>
                        <a:lnTo>
                          <a:pt x="127" y="50"/>
                        </a:lnTo>
                        <a:lnTo>
                          <a:pt x="126" y="51"/>
                        </a:lnTo>
                        <a:lnTo>
                          <a:pt x="125" y="51"/>
                        </a:lnTo>
                        <a:lnTo>
                          <a:pt x="127" y="51"/>
                        </a:lnTo>
                        <a:lnTo>
                          <a:pt x="129" y="51"/>
                        </a:lnTo>
                        <a:lnTo>
                          <a:pt x="130" y="51"/>
                        </a:lnTo>
                        <a:lnTo>
                          <a:pt x="132" y="51"/>
                        </a:lnTo>
                        <a:lnTo>
                          <a:pt x="132" y="52"/>
                        </a:lnTo>
                        <a:lnTo>
                          <a:pt x="131" y="53"/>
                        </a:lnTo>
                        <a:lnTo>
                          <a:pt x="131" y="55"/>
                        </a:lnTo>
                        <a:lnTo>
                          <a:pt x="132" y="58"/>
                        </a:lnTo>
                        <a:lnTo>
                          <a:pt x="132" y="57"/>
                        </a:lnTo>
                        <a:lnTo>
                          <a:pt x="133" y="56"/>
                        </a:lnTo>
                        <a:lnTo>
                          <a:pt x="134" y="54"/>
                        </a:lnTo>
                        <a:lnTo>
                          <a:pt x="136" y="51"/>
                        </a:lnTo>
                        <a:lnTo>
                          <a:pt x="135" y="49"/>
                        </a:lnTo>
                        <a:lnTo>
                          <a:pt x="135" y="48"/>
                        </a:lnTo>
                        <a:lnTo>
                          <a:pt x="134" y="48"/>
                        </a:lnTo>
                        <a:lnTo>
                          <a:pt x="132" y="48"/>
                        </a:lnTo>
                        <a:lnTo>
                          <a:pt x="132" y="47"/>
                        </a:lnTo>
                        <a:lnTo>
                          <a:pt x="132" y="46"/>
                        </a:lnTo>
                        <a:lnTo>
                          <a:pt x="132" y="45"/>
                        </a:lnTo>
                        <a:lnTo>
                          <a:pt x="132" y="43"/>
                        </a:lnTo>
                        <a:lnTo>
                          <a:pt x="132" y="42"/>
                        </a:lnTo>
                        <a:lnTo>
                          <a:pt x="132" y="41"/>
                        </a:lnTo>
                        <a:lnTo>
                          <a:pt x="132" y="40"/>
                        </a:lnTo>
                        <a:lnTo>
                          <a:pt x="132" y="39"/>
                        </a:lnTo>
                        <a:lnTo>
                          <a:pt x="132" y="37"/>
                        </a:lnTo>
                        <a:lnTo>
                          <a:pt x="131" y="36"/>
                        </a:lnTo>
                        <a:lnTo>
                          <a:pt x="132" y="36"/>
                        </a:lnTo>
                        <a:lnTo>
                          <a:pt x="132" y="34"/>
                        </a:lnTo>
                        <a:lnTo>
                          <a:pt x="132" y="33"/>
                        </a:lnTo>
                        <a:lnTo>
                          <a:pt x="132" y="32"/>
                        </a:lnTo>
                        <a:lnTo>
                          <a:pt x="134" y="32"/>
                        </a:lnTo>
                        <a:lnTo>
                          <a:pt x="133" y="30"/>
                        </a:lnTo>
                        <a:lnTo>
                          <a:pt x="131" y="28"/>
                        </a:lnTo>
                        <a:lnTo>
                          <a:pt x="129" y="26"/>
                        </a:lnTo>
                        <a:lnTo>
                          <a:pt x="129" y="24"/>
                        </a:lnTo>
                        <a:lnTo>
                          <a:pt x="128" y="22"/>
                        </a:lnTo>
                        <a:lnTo>
                          <a:pt x="127" y="21"/>
                        </a:lnTo>
                        <a:lnTo>
                          <a:pt x="125" y="1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3" name="Freeform 1686">
                    <a:extLst>
                      <a:ext uri="{FF2B5EF4-FFF2-40B4-BE49-F238E27FC236}">
                        <a16:creationId xmlns:a16="http://schemas.microsoft.com/office/drawing/2014/main" xmlns="" id="{EFC6A22D-1BD6-4B9C-A78C-F002CC84F6DB}"/>
                      </a:ext>
                    </a:extLst>
                  </p:cNvPr>
                  <p:cNvSpPr>
                    <a:spLocks/>
                  </p:cNvSpPr>
                  <p:nvPr/>
                </p:nvSpPr>
                <p:spPr bwMode="gray">
                  <a:xfrm>
                    <a:off x="3715587" y="2563566"/>
                    <a:ext cx="230282" cy="323751"/>
                  </a:xfrm>
                  <a:custGeom>
                    <a:avLst/>
                    <a:gdLst>
                      <a:gd name="T0" fmla="*/ 2147483647 w 207"/>
                      <a:gd name="T1" fmla="*/ 2147483647 h 291"/>
                      <a:gd name="T2" fmla="*/ 2147483647 w 207"/>
                      <a:gd name="T3" fmla="*/ 2147483647 h 291"/>
                      <a:gd name="T4" fmla="*/ 2147483647 w 207"/>
                      <a:gd name="T5" fmla="*/ 2147483647 h 291"/>
                      <a:gd name="T6" fmla="*/ 2147483647 w 207"/>
                      <a:gd name="T7" fmla="*/ 2147483647 h 291"/>
                      <a:gd name="T8" fmla="*/ 2147483647 w 207"/>
                      <a:gd name="T9" fmla="*/ 2147483647 h 291"/>
                      <a:gd name="T10" fmla="*/ 2147483647 w 207"/>
                      <a:gd name="T11" fmla="*/ 2147483647 h 291"/>
                      <a:gd name="T12" fmla="*/ 2147483647 w 207"/>
                      <a:gd name="T13" fmla="*/ 2147483647 h 291"/>
                      <a:gd name="T14" fmla="*/ 2147483647 w 207"/>
                      <a:gd name="T15" fmla="*/ 2147483647 h 291"/>
                      <a:gd name="T16" fmla="*/ 2147483647 w 207"/>
                      <a:gd name="T17" fmla="*/ 2147483647 h 291"/>
                      <a:gd name="T18" fmla="*/ 2147483647 w 207"/>
                      <a:gd name="T19" fmla="*/ 2147483647 h 291"/>
                      <a:gd name="T20" fmla="*/ 2147483647 w 207"/>
                      <a:gd name="T21" fmla="*/ 2147483647 h 291"/>
                      <a:gd name="T22" fmla="*/ 2147483647 w 207"/>
                      <a:gd name="T23" fmla="*/ 2147483647 h 291"/>
                      <a:gd name="T24" fmla="*/ 2147483647 w 207"/>
                      <a:gd name="T25" fmla="*/ 2147483647 h 291"/>
                      <a:gd name="T26" fmla="*/ 2147483647 w 207"/>
                      <a:gd name="T27" fmla="*/ 2147483647 h 291"/>
                      <a:gd name="T28" fmla="*/ 2147483647 w 207"/>
                      <a:gd name="T29" fmla="*/ 2147483647 h 291"/>
                      <a:gd name="T30" fmla="*/ 2147483647 w 207"/>
                      <a:gd name="T31" fmla="*/ 2147483647 h 291"/>
                      <a:gd name="T32" fmla="*/ 2147483647 w 207"/>
                      <a:gd name="T33" fmla="*/ 2147483647 h 291"/>
                      <a:gd name="T34" fmla="*/ 2147483647 w 207"/>
                      <a:gd name="T35" fmla="*/ 2147483647 h 291"/>
                      <a:gd name="T36" fmla="*/ 2147483647 w 207"/>
                      <a:gd name="T37" fmla="*/ 2147483647 h 291"/>
                      <a:gd name="T38" fmla="*/ 2147483647 w 207"/>
                      <a:gd name="T39" fmla="*/ 2147483647 h 291"/>
                      <a:gd name="T40" fmla="*/ 2147483647 w 207"/>
                      <a:gd name="T41" fmla="*/ 2147483647 h 291"/>
                      <a:gd name="T42" fmla="*/ 2147483647 w 207"/>
                      <a:gd name="T43" fmla="*/ 2147483647 h 291"/>
                      <a:gd name="T44" fmla="*/ 2147483647 w 207"/>
                      <a:gd name="T45" fmla="*/ 2147483647 h 291"/>
                      <a:gd name="T46" fmla="*/ 2147483647 w 207"/>
                      <a:gd name="T47" fmla="*/ 2147483647 h 291"/>
                      <a:gd name="T48" fmla="*/ 2147483647 w 207"/>
                      <a:gd name="T49" fmla="*/ 2147483647 h 291"/>
                      <a:gd name="T50" fmla="*/ 2147483647 w 207"/>
                      <a:gd name="T51" fmla="*/ 2147483647 h 291"/>
                      <a:gd name="T52" fmla="*/ 2147483647 w 207"/>
                      <a:gd name="T53" fmla="*/ 2147483647 h 291"/>
                      <a:gd name="T54" fmla="*/ 2147483647 w 207"/>
                      <a:gd name="T55" fmla="*/ 2147483647 h 291"/>
                      <a:gd name="T56" fmla="*/ 2147483647 w 207"/>
                      <a:gd name="T57" fmla="*/ 2147483647 h 291"/>
                      <a:gd name="T58" fmla="*/ 2147483647 w 207"/>
                      <a:gd name="T59" fmla="*/ 2147483647 h 291"/>
                      <a:gd name="T60" fmla="*/ 2147483647 w 207"/>
                      <a:gd name="T61" fmla="*/ 2147483647 h 291"/>
                      <a:gd name="T62" fmla="*/ 2147483647 w 207"/>
                      <a:gd name="T63" fmla="*/ 2147483647 h 291"/>
                      <a:gd name="T64" fmla="*/ 2147483647 w 207"/>
                      <a:gd name="T65" fmla="*/ 2147483647 h 291"/>
                      <a:gd name="T66" fmla="*/ 2147483647 w 207"/>
                      <a:gd name="T67" fmla="*/ 2147483647 h 291"/>
                      <a:gd name="T68" fmla="*/ 2147483647 w 207"/>
                      <a:gd name="T69" fmla="*/ 2147483647 h 291"/>
                      <a:gd name="T70" fmla="*/ 2147483647 w 207"/>
                      <a:gd name="T71" fmla="*/ 2147483647 h 291"/>
                      <a:gd name="T72" fmla="*/ 2147483647 w 207"/>
                      <a:gd name="T73" fmla="*/ 2147483647 h 291"/>
                      <a:gd name="T74" fmla="*/ 2147483647 w 207"/>
                      <a:gd name="T75" fmla="*/ 2147483647 h 291"/>
                      <a:gd name="T76" fmla="*/ 2147483647 w 207"/>
                      <a:gd name="T77" fmla="*/ 2147483647 h 291"/>
                      <a:gd name="T78" fmla="*/ 2147483647 w 207"/>
                      <a:gd name="T79" fmla="*/ 2147483647 h 291"/>
                      <a:gd name="T80" fmla="*/ 2147483647 w 207"/>
                      <a:gd name="T81" fmla="*/ 2147483647 h 291"/>
                      <a:gd name="T82" fmla="*/ 2147483647 w 207"/>
                      <a:gd name="T83" fmla="*/ 2147483647 h 291"/>
                      <a:gd name="T84" fmla="*/ 2147483647 w 207"/>
                      <a:gd name="T85" fmla="*/ 2147483647 h 291"/>
                      <a:gd name="T86" fmla="*/ 2147483647 w 207"/>
                      <a:gd name="T87" fmla="*/ 2147483647 h 291"/>
                      <a:gd name="T88" fmla="*/ 2147483647 w 207"/>
                      <a:gd name="T89" fmla="*/ 2147483647 h 291"/>
                      <a:gd name="T90" fmla="*/ 2147483647 w 207"/>
                      <a:gd name="T91" fmla="*/ 2147483647 h 291"/>
                      <a:gd name="T92" fmla="*/ 2147483647 w 207"/>
                      <a:gd name="T93" fmla="*/ 2147483647 h 291"/>
                      <a:gd name="T94" fmla="*/ 2147483647 w 207"/>
                      <a:gd name="T95" fmla="*/ 2147483647 h 291"/>
                      <a:gd name="T96" fmla="*/ 2147483647 w 207"/>
                      <a:gd name="T97" fmla="*/ 2147483647 h 291"/>
                      <a:gd name="T98" fmla="*/ 2147483647 w 207"/>
                      <a:gd name="T99" fmla="*/ 2147483647 h 291"/>
                      <a:gd name="T100" fmla="*/ 2147483647 w 207"/>
                      <a:gd name="T101" fmla="*/ 2147483647 h 291"/>
                      <a:gd name="T102" fmla="*/ 2147483647 w 207"/>
                      <a:gd name="T103" fmla="*/ 2147483647 h 291"/>
                      <a:gd name="T104" fmla="*/ 2147483647 w 207"/>
                      <a:gd name="T105" fmla="*/ 2147483647 h 291"/>
                      <a:gd name="T106" fmla="*/ 2147483647 w 207"/>
                      <a:gd name="T107" fmla="*/ 2147483647 h 291"/>
                      <a:gd name="T108" fmla="*/ 2147483647 w 207"/>
                      <a:gd name="T109" fmla="*/ 2147483647 h 291"/>
                      <a:gd name="T110" fmla="*/ 2147483647 w 207"/>
                      <a:gd name="T111" fmla="*/ 2147483647 h 291"/>
                      <a:gd name="T112" fmla="*/ 2147483647 w 207"/>
                      <a:gd name="T113" fmla="*/ 2147483647 h 291"/>
                      <a:gd name="T114" fmla="*/ 2147483647 w 207"/>
                      <a:gd name="T115" fmla="*/ 2147483647 h 291"/>
                      <a:gd name="T116" fmla="*/ 2147483647 w 207"/>
                      <a:gd name="T117" fmla="*/ 2147483647 h 291"/>
                      <a:gd name="T118" fmla="*/ 2147483647 w 207"/>
                      <a:gd name="T119" fmla="*/ 2147483647 h 291"/>
                      <a:gd name="T120" fmla="*/ 2147483647 w 207"/>
                      <a:gd name="T121" fmla="*/ 2147483647 h 291"/>
                      <a:gd name="T122" fmla="*/ 2147483647 w 207"/>
                      <a:gd name="T123" fmla="*/ 2147483647 h 2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07" h="291">
                        <a:moveTo>
                          <a:pt x="90" y="284"/>
                        </a:moveTo>
                        <a:lnTo>
                          <a:pt x="90" y="283"/>
                        </a:lnTo>
                        <a:lnTo>
                          <a:pt x="90" y="282"/>
                        </a:lnTo>
                        <a:lnTo>
                          <a:pt x="91" y="280"/>
                        </a:lnTo>
                        <a:lnTo>
                          <a:pt x="93" y="277"/>
                        </a:lnTo>
                        <a:lnTo>
                          <a:pt x="94" y="278"/>
                        </a:lnTo>
                        <a:lnTo>
                          <a:pt x="95" y="278"/>
                        </a:lnTo>
                        <a:lnTo>
                          <a:pt x="96" y="279"/>
                        </a:lnTo>
                        <a:lnTo>
                          <a:pt x="97" y="277"/>
                        </a:lnTo>
                        <a:lnTo>
                          <a:pt x="99" y="277"/>
                        </a:lnTo>
                        <a:lnTo>
                          <a:pt x="100" y="276"/>
                        </a:lnTo>
                        <a:lnTo>
                          <a:pt x="100" y="275"/>
                        </a:lnTo>
                        <a:lnTo>
                          <a:pt x="102" y="273"/>
                        </a:lnTo>
                        <a:lnTo>
                          <a:pt x="103" y="273"/>
                        </a:lnTo>
                        <a:lnTo>
                          <a:pt x="105" y="273"/>
                        </a:lnTo>
                        <a:lnTo>
                          <a:pt x="107" y="271"/>
                        </a:lnTo>
                        <a:lnTo>
                          <a:pt x="108" y="271"/>
                        </a:lnTo>
                        <a:lnTo>
                          <a:pt x="110" y="270"/>
                        </a:lnTo>
                        <a:lnTo>
                          <a:pt x="110" y="268"/>
                        </a:lnTo>
                        <a:lnTo>
                          <a:pt x="112" y="268"/>
                        </a:lnTo>
                        <a:lnTo>
                          <a:pt x="113" y="268"/>
                        </a:lnTo>
                        <a:lnTo>
                          <a:pt x="115" y="268"/>
                        </a:lnTo>
                        <a:lnTo>
                          <a:pt x="117" y="268"/>
                        </a:lnTo>
                        <a:lnTo>
                          <a:pt x="119" y="266"/>
                        </a:lnTo>
                        <a:lnTo>
                          <a:pt x="120" y="263"/>
                        </a:lnTo>
                        <a:lnTo>
                          <a:pt x="121" y="262"/>
                        </a:lnTo>
                        <a:lnTo>
                          <a:pt x="123" y="261"/>
                        </a:lnTo>
                        <a:lnTo>
                          <a:pt x="123" y="262"/>
                        </a:lnTo>
                        <a:lnTo>
                          <a:pt x="124" y="263"/>
                        </a:lnTo>
                        <a:lnTo>
                          <a:pt x="125" y="263"/>
                        </a:lnTo>
                        <a:lnTo>
                          <a:pt x="126" y="261"/>
                        </a:lnTo>
                        <a:lnTo>
                          <a:pt x="128" y="261"/>
                        </a:lnTo>
                        <a:lnTo>
                          <a:pt x="129" y="260"/>
                        </a:lnTo>
                        <a:lnTo>
                          <a:pt x="129" y="258"/>
                        </a:lnTo>
                        <a:lnTo>
                          <a:pt x="134" y="258"/>
                        </a:lnTo>
                        <a:lnTo>
                          <a:pt x="135" y="258"/>
                        </a:lnTo>
                        <a:lnTo>
                          <a:pt x="136" y="258"/>
                        </a:lnTo>
                        <a:lnTo>
                          <a:pt x="138" y="258"/>
                        </a:lnTo>
                        <a:lnTo>
                          <a:pt x="139" y="258"/>
                        </a:lnTo>
                        <a:lnTo>
                          <a:pt x="141" y="256"/>
                        </a:lnTo>
                        <a:lnTo>
                          <a:pt x="141" y="253"/>
                        </a:lnTo>
                        <a:lnTo>
                          <a:pt x="140" y="253"/>
                        </a:lnTo>
                        <a:lnTo>
                          <a:pt x="139" y="252"/>
                        </a:lnTo>
                        <a:lnTo>
                          <a:pt x="139" y="242"/>
                        </a:lnTo>
                        <a:lnTo>
                          <a:pt x="138" y="241"/>
                        </a:lnTo>
                        <a:lnTo>
                          <a:pt x="138" y="239"/>
                        </a:lnTo>
                        <a:lnTo>
                          <a:pt x="139" y="239"/>
                        </a:lnTo>
                        <a:lnTo>
                          <a:pt x="139" y="237"/>
                        </a:lnTo>
                        <a:lnTo>
                          <a:pt x="140" y="238"/>
                        </a:lnTo>
                        <a:lnTo>
                          <a:pt x="141" y="238"/>
                        </a:lnTo>
                        <a:lnTo>
                          <a:pt x="143" y="239"/>
                        </a:lnTo>
                        <a:lnTo>
                          <a:pt x="143" y="238"/>
                        </a:lnTo>
                        <a:lnTo>
                          <a:pt x="143" y="237"/>
                        </a:lnTo>
                        <a:lnTo>
                          <a:pt x="144" y="236"/>
                        </a:lnTo>
                        <a:lnTo>
                          <a:pt x="145" y="235"/>
                        </a:lnTo>
                        <a:lnTo>
                          <a:pt x="145" y="234"/>
                        </a:lnTo>
                        <a:lnTo>
                          <a:pt x="147" y="233"/>
                        </a:lnTo>
                        <a:lnTo>
                          <a:pt x="148" y="232"/>
                        </a:lnTo>
                        <a:lnTo>
                          <a:pt x="150" y="230"/>
                        </a:lnTo>
                        <a:lnTo>
                          <a:pt x="151" y="229"/>
                        </a:lnTo>
                        <a:lnTo>
                          <a:pt x="152" y="228"/>
                        </a:lnTo>
                        <a:lnTo>
                          <a:pt x="152" y="226"/>
                        </a:lnTo>
                        <a:lnTo>
                          <a:pt x="151" y="226"/>
                        </a:lnTo>
                        <a:lnTo>
                          <a:pt x="150" y="224"/>
                        </a:lnTo>
                        <a:lnTo>
                          <a:pt x="149" y="222"/>
                        </a:lnTo>
                        <a:lnTo>
                          <a:pt x="148" y="220"/>
                        </a:lnTo>
                        <a:lnTo>
                          <a:pt x="145" y="220"/>
                        </a:lnTo>
                        <a:lnTo>
                          <a:pt x="145" y="219"/>
                        </a:lnTo>
                        <a:lnTo>
                          <a:pt x="143" y="216"/>
                        </a:lnTo>
                        <a:lnTo>
                          <a:pt x="140" y="213"/>
                        </a:lnTo>
                        <a:lnTo>
                          <a:pt x="139" y="210"/>
                        </a:lnTo>
                        <a:lnTo>
                          <a:pt x="134" y="210"/>
                        </a:lnTo>
                        <a:lnTo>
                          <a:pt x="128" y="211"/>
                        </a:lnTo>
                        <a:lnTo>
                          <a:pt x="121" y="212"/>
                        </a:lnTo>
                        <a:lnTo>
                          <a:pt x="117" y="213"/>
                        </a:lnTo>
                        <a:lnTo>
                          <a:pt x="117" y="210"/>
                        </a:lnTo>
                        <a:lnTo>
                          <a:pt x="120" y="208"/>
                        </a:lnTo>
                        <a:lnTo>
                          <a:pt x="124" y="205"/>
                        </a:lnTo>
                        <a:lnTo>
                          <a:pt x="128" y="202"/>
                        </a:lnTo>
                        <a:lnTo>
                          <a:pt x="129" y="201"/>
                        </a:lnTo>
                        <a:lnTo>
                          <a:pt x="131" y="201"/>
                        </a:lnTo>
                        <a:lnTo>
                          <a:pt x="133" y="202"/>
                        </a:lnTo>
                        <a:lnTo>
                          <a:pt x="134" y="203"/>
                        </a:lnTo>
                        <a:lnTo>
                          <a:pt x="136" y="204"/>
                        </a:lnTo>
                        <a:lnTo>
                          <a:pt x="140" y="203"/>
                        </a:lnTo>
                        <a:lnTo>
                          <a:pt x="144" y="202"/>
                        </a:lnTo>
                        <a:lnTo>
                          <a:pt x="146" y="201"/>
                        </a:lnTo>
                        <a:lnTo>
                          <a:pt x="148" y="201"/>
                        </a:lnTo>
                        <a:lnTo>
                          <a:pt x="148" y="200"/>
                        </a:lnTo>
                        <a:lnTo>
                          <a:pt x="148" y="199"/>
                        </a:lnTo>
                        <a:lnTo>
                          <a:pt x="148" y="198"/>
                        </a:lnTo>
                        <a:lnTo>
                          <a:pt x="148" y="197"/>
                        </a:lnTo>
                        <a:lnTo>
                          <a:pt x="148" y="195"/>
                        </a:lnTo>
                        <a:lnTo>
                          <a:pt x="146" y="194"/>
                        </a:lnTo>
                        <a:lnTo>
                          <a:pt x="145" y="192"/>
                        </a:lnTo>
                        <a:lnTo>
                          <a:pt x="143" y="190"/>
                        </a:lnTo>
                        <a:lnTo>
                          <a:pt x="143" y="189"/>
                        </a:lnTo>
                        <a:lnTo>
                          <a:pt x="143" y="187"/>
                        </a:lnTo>
                        <a:lnTo>
                          <a:pt x="143" y="185"/>
                        </a:lnTo>
                        <a:lnTo>
                          <a:pt x="143" y="184"/>
                        </a:lnTo>
                        <a:lnTo>
                          <a:pt x="145" y="184"/>
                        </a:lnTo>
                        <a:lnTo>
                          <a:pt x="155" y="184"/>
                        </a:lnTo>
                        <a:lnTo>
                          <a:pt x="158" y="182"/>
                        </a:lnTo>
                        <a:lnTo>
                          <a:pt x="160" y="181"/>
                        </a:lnTo>
                        <a:lnTo>
                          <a:pt x="161" y="180"/>
                        </a:lnTo>
                        <a:lnTo>
                          <a:pt x="162" y="178"/>
                        </a:lnTo>
                        <a:lnTo>
                          <a:pt x="164" y="178"/>
                        </a:lnTo>
                        <a:lnTo>
                          <a:pt x="165" y="176"/>
                        </a:lnTo>
                        <a:lnTo>
                          <a:pt x="165" y="175"/>
                        </a:lnTo>
                        <a:lnTo>
                          <a:pt x="168" y="172"/>
                        </a:lnTo>
                        <a:lnTo>
                          <a:pt x="171" y="168"/>
                        </a:lnTo>
                        <a:lnTo>
                          <a:pt x="174" y="166"/>
                        </a:lnTo>
                        <a:lnTo>
                          <a:pt x="177" y="165"/>
                        </a:lnTo>
                        <a:lnTo>
                          <a:pt x="177" y="160"/>
                        </a:lnTo>
                        <a:lnTo>
                          <a:pt x="177" y="158"/>
                        </a:lnTo>
                        <a:lnTo>
                          <a:pt x="188" y="149"/>
                        </a:lnTo>
                        <a:lnTo>
                          <a:pt x="190" y="146"/>
                        </a:lnTo>
                        <a:lnTo>
                          <a:pt x="191" y="142"/>
                        </a:lnTo>
                        <a:lnTo>
                          <a:pt x="192" y="138"/>
                        </a:lnTo>
                        <a:lnTo>
                          <a:pt x="194" y="135"/>
                        </a:lnTo>
                        <a:lnTo>
                          <a:pt x="195" y="133"/>
                        </a:lnTo>
                        <a:lnTo>
                          <a:pt x="196" y="132"/>
                        </a:lnTo>
                        <a:lnTo>
                          <a:pt x="197" y="131"/>
                        </a:lnTo>
                        <a:lnTo>
                          <a:pt x="198" y="129"/>
                        </a:lnTo>
                        <a:lnTo>
                          <a:pt x="200" y="128"/>
                        </a:lnTo>
                        <a:lnTo>
                          <a:pt x="201" y="127"/>
                        </a:lnTo>
                        <a:lnTo>
                          <a:pt x="201" y="126"/>
                        </a:lnTo>
                        <a:lnTo>
                          <a:pt x="201" y="125"/>
                        </a:lnTo>
                        <a:lnTo>
                          <a:pt x="202" y="123"/>
                        </a:lnTo>
                        <a:lnTo>
                          <a:pt x="203" y="122"/>
                        </a:lnTo>
                        <a:lnTo>
                          <a:pt x="205" y="121"/>
                        </a:lnTo>
                        <a:lnTo>
                          <a:pt x="207" y="120"/>
                        </a:lnTo>
                        <a:lnTo>
                          <a:pt x="206" y="117"/>
                        </a:lnTo>
                        <a:lnTo>
                          <a:pt x="205" y="113"/>
                        </a:lnTo>
                        <a:lnTo>
                          <a:pt x="205" y="109"/>
                        </a:lnTo>
                        <a:lnTo>
                          <a:pt x="204" y="106"/>
                        </a:lnTo>
                        <a:lnTo>
                          <a:pt x="201" y="104"/>
                        </a:lnTo>
                        <a:lnTo>
                          <a:pt x="197" y="103"/>
                        </a:lnTo>
                        <a:lnTo>
                          <a:pt x="188" y="103"/>
                        </a:lnTo>
                        <a:lnTo>
                          <a:pt x="186" y="101"/>
                        </a:lnTo>
                        <a:lnTo>
                          <a:pt x="184" y="99"/>
                        </a:lnTo>
                        <a:lnTo>
                          <a:pt x="183" y="98"/>
                        </a:lnTo>
                        <a:lnTo>
                          <a:pt x="181" y="96"/>
                        </a:lnTo>
                        <a:lnTo>
                          <a:pt x="179" y="96"/>
                        </a:lnTo>
                        <a:lnTo>
                          <a:pt x="177" y="96"/>
                        </a:lnTo>
                        <a:lnTo>
                          <a:pt x="176" y="96"/>
                        </a:lnTo>
                        <a:lnTo>
                          <a:pt x="174" y="96"/>
                        </a:lnTo>
                        <a:lnTo>
                          <a:pt x="172" y="95"/>
                        </a:lnTo>
                        <a:lnTo>
                          <a:pt x="171" y="94"/>
                        </a:lnTo>
                        <a:lnTo>
                          <a:pt x="162" y="94"/>
                        </a:lnTo>
                        <a:lnTo>
                          <a:pt x="162" y="87"/>
                        </a:lnTo>
                        <a:lnTo>
                          <a:pt x="159" y="87"/>
                        </a:lnTo>
                        <a:lnTo>
                          <a:pt x="155" y="85"/>
                        </a:lnTo>
                        <a:lnTo>
                          <a:pt x="151" y="84"/>
                        </a:lnTo>
                        <a:lnTo>
                          <a:pt x="148" y="84"/>
                        </a:lnTo>
                        <a:lnTo>
                          <a:pt x="146" y="84"/>
                        </a:lnTo>
                        <a:lnTo>
                          <a:pt x="144" y="85"/>
                        </a:lnTo>
                        <a:lnTo>
                          <a:pt x="142" y="87"/>
                        </a:lnTo>
                        <a:lnTo>
                          <a:pt x="139" y="87"/>
                        </a:lnTo>
                        <a:lnTo>
                          <a:pt x="138" y="85"/>
                        </a:lnTo>
                        <a:lnTo>
                          <a:pt x="136" y="84"/>
                        </a:lnTo>
                        <a:lnTo>
                          <a:pt x="133" y="85"/>
                        </a:lnTo>
                        <a:lnTo>
                          <a:pt x="131" y="87"/>
                        </a:lnTo>
                        <a:lnTo>
                          <a:pt x="128" y="89"/>
                        </a:lnTo>
                        <a:lnTo>
                          <a:pt x="126" y="90"/>
                        </a:lnTo>
                        <a:lnTo>
                          <a:pt x="123" y="90"/>
                        </a:lnTo>
                        <a:lnTo>
                          <a:pt x="121" y="90"/>
                        </a:lnTo>
                        <a:lnTo>
                          <a:pt x="118" y="90"/>
                        </a:lnTo>
                        <a:lnTo>
                          <a:pt x="117" y="90"/>
                        </a:lnTo>
                        <a:lnTo>
                          <a:pt x="117" y="87"/>
                        </a:lnTo>
                        <a:lnTo>
                          <a:pt x="117" y="85"/>
                        </a:lnTo>
                        <a:lnTo>
                          <a:pt x="119" y="84"/>
                        </a:lnTo>
                        <a:lnTo>
                          <a:pt x="121" y="82"/>
                        </a:lnTo>
                        <a:lnTo>
                          <a:pt x="123" y="80"/>
                        </a:lnTo>
                        <a:lnTo>
                          <a:pt x="128" y="75"/>
                        </a:lnTo>
                        <a:lnTo>
                          <a:pt x="131" y="73"/>
                        </a:lnTo>
                        <a:lnTo>
                          <a:pt x="136" y="71"/>
                        </a:lnTo>
                        <a:lnTo>
                          <a:pt x="138" y="71"/>
                        </a:lnTo>
                        <a:lnTo>
                          <a:pt x="137" y="70"/>
                        </a:lnTo>
                        <a:lnTo>
                          <a:pt x="135" y="70"/>
                        </a:lnTo>
                        <a:lnTo>
                          <a:pt x="130" y="68"/>
                        </a:lnTo>
                        <a:lnTo>
                          <a:pt x="126" y="68"/>
                        </a:lnTo>
                        <a:lnTo>
                          <a:pt x="126" y="65"/>
                        </a:lnTo>
                        <a:lnTo>
                          <a:pt x="129" y="63"/>
                        </a:lnTo>
                        <a:lnTo>
                          <a:pt x="133" y="61"/>
                        </a:lnTo>
                        <a:lnTo>
                          <a:pt x="136" y="60"/>
                        </a:lnTo>
                        <a:lnTo>
                          <a:pt x="139" y="58"/>
                        </a:lnTo>
                        <a:lnTo>
                          <a:pt x="141" y="58"/>
                        </a:lnTo>
                        <a:lnTo>
                          <a:pt x="143" y="58"/>
                        </a:lnTo>
                        <a:lnTo>
                          <a:pt x="144" y="58"/>
                        </a:lnTo>
                        <a:lnTo>
                          <a:pt x="145" y="58"/>
                        </a:lnTo>
                        <a:lnTo>
                          <a:pt x="145" y="57"/>
                        </a:lnTo>
                        <a:lnTo>
                          <a:pt x="145" y="56"/>
                        </a:lnTo>
                        <a:lnTo>
                          <a:pt x="146" y="55"/>
                        </a:lnTo>
                        <a:lnTo>
                          <a:pt x="148" y="54"/>
                        </a:lnTo>
                        <a:lnTo>
                          <a:pt x="149" y="54"/>
                        </a:lnTo>
                        <a:lnTo>
                          <a:pt x="150" y="54"/>
                        </a:lnTo>
                        <a:lnTo>
                          <a:pt x="153" y="53"/>
                        </a:lnTo>
                        <a:lnTo>
                          <a:pt x="155" y="51"/>
                        </a:lnTo>
                        <a:lnTo>
                          <a:pt x="157" y="51"/>
                        </a:lnTo>
                        <a:lnTo>
                          <a:pt x="158" y="49"/>
                        </a:lnTo>
                        <a:lnTo>
                          <a:pt x="160" y="48"/>
                        </a:lnTo>
                        <a:lnTo>
                          <a:pt x="162" y="48"/>
                        </a:lnTo>
                        <a:lnTo>
                          <a:pt x="164" y="47"/>
                        </a:lnTo>
                        <a:lnTo>
                          <a:pt x="167" y="47"/>
                        </a:lnTo>
                        <a:lnTo>
                          <a:pt x="169" y="47"/>
                        </a:lnTo>
                        <a:lnTo>
                          <a:pt x="171" y="45"/>
                        </a:lnTo>
                        <a:lnTo>
                          <a:pt x="172" y="43"/>
                        </a:lnTo>
                        <a:lnTo>
                          <a:pt x="176" y="38"/>
                        </a:lnTo>
                        <a:lnTo>
                          <a:pt x="179" y="33"/>
                        </a:lnTo>
                        <a:lnTo>
                          <a:pt x="181" y="29"/>
                        </a:lnTo>
                        <a:lnTo>
                          <a:pt x="181" y="25"/>
                        </a:lnTo>
                        <a:lnTo>
                          <a:pt x="180" y="24"/>
                        </a:lnTo>
                        <a:lnTo>
                          <a:pt x="179" y="24"/>
                        </a:lnTo>
                        <a:lnTo>
                          <a:pt x="177" y="23"/>
                        </a:lnTo>
                        <a:lnTo>
                          <a:pt x="175" y="21"/>
                        </a:lnTo>
                        <a:lnTo>
                          <a:pt x="173" y="20"/>
                        </a:lnTo>
                        <a:lnTo>
                          <a:pt x="170" y="20"/>
                        </a:lnTo>
                        <a:lnTo>
                          <a:pt x="168" y="22"/>
                        </a:lnTo>
                        <a:lnTo>
                          <a:pt x="162" y="23"/>
                        </a:lnTo>
                        <a:lnTo>
                          <a:pt x="161" y="18"/>
                        </a:lnTo>
                        <a:lnTo>
                          <a:pt x="160" y="17"/>
                        </a:lnTo>
                        <a:lnTo>
                          <a:pt x="158" y="16"/>
                        </a:lnTo>
                        <a:lnTo>
                          <a:pt x="156" y="17"/>
                        </a:lnTo>
                        <a:lnTo>
                          <a:pt x="155" y="18"/>
                        </a:lnTo>
                        <a:lnTo>
                          <a:pt x="154" y="19"/>
                        </a:lnTo>
                        <a:lnTo>
                          <a:pt x="152" y="20"/>
                        </a:lnTo>
                        <a:lnTo>
                          <a:pt x="149" y="18"/>
                        </a:lnTo>
                        <a:lnTo>
                          <a:pt x="147" y="16"/>
                        </a:lnTo>
                        <a:lnTo>
                          <a:pt x="145" y="14"/>
                        </a:lnTo>
                        <a:lnTo>
                          <a:pt x="143" y="13"/>
                        </a:lnTo>
                        <a:lnTo>
                          <a:pt x="141" y="13"/>
                        </a:lnTo>
                        <a:lnTo>
                          <a:pt x="139" y="15"/>
                        </a:lnTo>
                        <a:lnTo>
                          <a:pt x="136" y="16"/>
                        </a:lnTo>
                        <a:lnTo>
                          <a:pt x="133" y="16"/>
                        </a:lnTo>
                        <a:lnTo>
                          <a:pt x="133" y="15"/>
                        </a:lnTo>
                        <a:lnTo>
                          <a:pt x="133" y="13"/>
                        </a:lnTo>
                        <a:lnTo>
                          <a:pt x="130" y="11"/>
                        </a:lnTo>
                        <a:lnTo>
                          <a:pt x="128" y="10"/>
                        </a:lnTo>
                        <a:lnTo>
                          <a:pt x="126" y="10"/>
                        </a:lnTo>
                        <a:lnTo>
                          <a:pt x="126" y="9"/>
                        </a:lnTo>
                        <a:lnTo>
                          <a:pt x="125" y="9"/>
                        </a:lnTo>
                        <a:lnTo>
                          <a:pt x="124" y="8"/>
                        </a:lnTo>
                        <a:lnTo>
                          <a:pt x="123" y="7"/>
                        </a:lnTo>
                        <a:lnTo>
                          <a:pt x="123" y="6"/>
                        </a:lnTo>
                        <a:lnTo>
                          <a:pt x="120" y="4"/>
                        </a:lnTo>
                        <a:lnTo>
                          <a:pt x="117" y="3"/>
                        </a:lnTo>
                        <a:lnTo>
                          <a:pt x="113" y="1"/>
                        </a:lnTo>
                        <a:lnTo>
                          <a:pt x="110" y="0"/>
                        </a:lnTo>
                        <a:lnTo>
                          <a:pt x="108" y="1"/>
                        </a:lnTo>
                        <a:lnTo>
                          <a:pt x="105" y="3"/>
                        </a:lnTo>
                        <a:lnTo>
                          <a:pt x="104" y="6"/>
                        </a:lnTo>
                        <a:lnTo>
                          <a:pt x="103" y="9"/>
                        </a:lnTo>
                        <a:lnTo>
                          <a:pt x="103" y="10"/>
                        </a:lnTo>
                        <a:lnTo>
                          <a:pt x="103" y="11"/>
                        </a:lnTo>
                        <a:lnTo>
                          <a:pt x="103" y="12"/>
                        </a:lnTo>
                        <a:lnTo>
                          <a:pt x="103" y="13"/>
                        </a:lnTo>
                        <a:lnTo>
                          <a:pt x="102" y="13"/>
                        </a:lnTo>
                        <a:lnTo>
                          <a:pt x="101" y="13"/>
                        </a:lnTo>
                        <a:lnTo>
                          <a:pt x="100" y="13"/>
                        </a:lnTo>
                        <a:lnTo>
                          <a:pt x="100" y="15"/>
                        </a:lnTo>
                        <a:lnTo>
                          <a:pt x="98" y="18"/>
                        </a:lnTo>
                        <a:lnTo>
                          <a:pt x="97" y="22"/>
                        </a:lnTo>
                        <a:lnTo>
                          <a:pt x="97" y="25"/>
                        </a:lnTo>
                        <a:lnTo>
                          <a:pt x="94" y="24"/>
                        </a:lnTo>
                        <a:lnTo>
                          <a:pt x="92" y="23"/>
                        </a:lnTo>
                        <a:lnTo>
                          <a:pt x="87" y="23"/>
                        </a:lnTo>
                        <a:lnTo>
                          <a:pt x="87" y="24"/>
                        </a:lnTo>
                        <a:lnTo>
                          <a:pt x="87" y="26"/>
                        </a:lnTo>
                        <a:lnTo>
                          <a:pt x="87" y="29"/>
                        </a:lnTo>
                        <a:lnTo>
                          <a:pt x="87" y="32"/>
                        </a:lnTo>
                        <a:lnTo>
                          <a:pt x="86" y="32"/>
                        </a:lnTo>
                        <a:lnTo>
                          <a:pt x="85" y="32"/>
                        </a:lnTo>
                        <a:lnTo>
                          <a:pt x="84" y="32"/>
                        </a:lnTo>
                        <a:lnTo>
                          <a:pt x="84" y="33"/>
                        </a:lnTo>
                        <a:lnTo>
                          <a:pt x="83" y="34"/>
                        </a:lnTo>
                        <a:lnTo>
                          <a:pt x="81" y="36"/>
                        </a:lnTo>
                        <a:lnTo>
                          <a:pt x="81" y="39"/>
                        </a:lnTo>
                        <a:lnTo>
                          <a:pt x="83" y="39"/>
                        </a:lnTo>
                        <a:lnTo>
                          <a:pt x="84" y="40"/>
                        </a:lnTo>
                        <a:lnTo>
                          <a:pt x="84" y="42"/>
                        </a:lnTo>
                        <a:lnTo>
                          <a:pt x="83" y="42"/>
                        </a:lnTo>
                        <a:lnTo>
                          <a:pt x="81" y="42"/>
                        </a:lnTo>
                        <a:lnTo>
                          <a:pt x="80" y="43"/>
                        </a:lnTo>
                        <a:lnTo>
                          <a:pt x="79" y="44"/>
                        </a:lnTo>
                        <a:lnTo>
                          <a:pt x="78" y="45"/>
                        </a:lnTo>
                        <a:lnTo>
                          <a:pt x="77" y="45"/>
                        </a:lnTo>
                        <a:lnTo>
                          <a:pt x="76" y="45"/>
                        </a:lnTo>
                        <a:lnTo>
                          <a:pt x="75" y="45"/>
                        </a:lnTo>
                        <a:lnTo>
                          <a:pt x="74" y="45"/>
                        </a:lnTo>
                        <a:lnTo>
                          <a:pt x="74" y="42"/>
                        </a:lnTo>
                        <a:lnTo>
                          <a:pt x="64" y="42"/>
                        </a:lnTo>
                        <a:lnTo>
                          <a:pt x="63" y="43"/>
                        </a:lnTo>
                        <a:lnTo>
                          <a:pt x="62" y="44"/>
                        </a:lnTo>
                        <a:lnTo>
                          <a:pt x="61" y="48"/>
                        </a:lnTo>
                        <a:lnTo>
                          <a:pt x="59" y="52"/>
                        </a:lnTo>
                        <a:lnTo>
                          <a:pt x="59" y="54"/>
                        </a:lnTo>
                        <a:lnTo>
                          <a:pt x="58" y="54"/>
                        </a:lnTo>
                        <a:lnTo>
                          <a:pt x="58" y="59"/>
                        </a:lnTo>
                        <a:lnTo>
                          <a:pt x="58" y="61"/>
                        </a:lnTo>
                        <a:lnTo>
                          <a:pt x="58" y="63"/>
                        </a:lnTo>
                        <a:lnTo>
                          <a:pt x="56" y="64"/>
                        </a:lnTo>
                        <a:lnTo>
                          <a:pt x="52" y="65"/>
                        </a:lnTo>
                        <a:lnTo>
                          <a:pt x="51" y="68"/>
                        </a:lnTo>
                        <a:lnTo>
                          <a:pt x="51" y="72"/>
                        </a:lnTo>
                        <a:lnTo>
                          <a:pt x="50" y="77"/>
                        </a:lnTo>
                        <a:lnTo>
                          <a:pt x="52" y="80"/>
                        </a:lnTo>
                        <a:lnTo>
                          <a:pt x="54" y="81"/>
                        </a:lnTo>
                        <a:lnTo>
                          <a:pt x="55" y="82"/>
                        </a:lnTo>
                        <a:lnTo>
                          <a:pt x="55" y="83"/>
                        </a:lnTo>
                        <a:lnTo>
                          <a:pt x="55" y="84"/>
                        </a:lnTo>
                        <a:lnTo>
                          <a:pt x="54" y="86"/>
                        </a:lnTo>
                        <a:lnTo>
                          <a:pt x="53" y="87"/>
                        </a:lnTo>
                        <a:lnTo>
                          <a:pt x="53" y="88"/>
                        </a:lnTo>
                        <a:lnTo>
                          <a:pt x="52" y="90"/>
                        </a:lnTo>
                        <a:lnTo>
                          <a:pt x="51" y="88"/>
                        </a:lnTo>
                        <a:lnTo>
                          <a:pt x="50" y="87"/>
                        </a:lnTo>
                        <a:lnTo>
                          <a:pt x="49" y="87"/>
                        </a:lnTo>
                        <a:lnTo>
                          <a:pt x="48" y="87"/>
                        </a:lnTo>
                        <a:lnTo>
                          <a:pt x="46" y="87"/>
                        </a:lnTo>
                        <a:lnTo>
                          <a:pt x="45" y="87"/>
                        </a:lnTo>
                        <a:lnTo>
                          <a:pt x="44" y="87"/>
                        </a:lnTo>
                        <a:lnTo>
                          <a:pt x="42" y="87"/>
                        </a:lnTo>
                        <a:lnTo>
                          <a:pt x="41" y="85"/>
                        </a:lnTo>
                        <a:lnTo>
                          <a:pt x="40" y="84"/>
                        </a:lnTo>
                        <a:lnTo>
                          <a:pt x="38" y="84"/>
                        </a:lnTo>
                        <a:lnTo>
                          <a:pt x="38" y="80"/>
                        </a:lnTo>
                        <a:lnTo>
                          <a:pt x="38" y="77"/>
                        </a:lnTo>
                        <a:lnTo>
                          <a:pt x="38" y="74"/>
                        </a:lnTo>
                        <a:lnTo>
                          <a:pt x="38" y="71"/>
                        </a:lnTo>
                        <a:lnTo>
                          <a:pt x="41" y="69"/>
                        </a:lnTo>
                        <a:lnTo>
                          <a:pt x="43" y="67"/>
                        </a:lnTo>
                        <a:lnTo>
                          <a:pt x="44" y="65"/>
                        </a:lnTo>
                        <a:lnTo>
                          <a:pt x="45" y="61"/>
                        </a:lnTo>
                        <a:lnTo>
                          <a:pt x="42" y="58"/>
                        </a:lnTo>
                        <a:lnTo>
                          <a:pt x="42" y="57"/>
                        </a:lnTo>
                        <a:lnTo>
                          <a:pt x="42" y="56"/>
                        </a:lnTo>
                        <a:lnTo>
                          <a:pt x="42" y="51"/>
                        </a:lnTo>
                        <a:lnTo>
                          <a:pt x="42" y="50"/>
                        </a:lnTo>
                        <a:lnTo>
                          <a:pt x="42" y="48"/>
                        </a:lnTo>
                        <a:lnTo>
                          <a:pt x="39" y="48"/>
                        </a:lnTo>
                        <a:lnTo>
                          <a:pt x="37" y="49"/>
                        </a:lnTo>
                        <a:lnTo>
                          <a:pt x="36" y="52"/>
                        </a:lnTo>
                        <a:lnTo>
                          <a:pt x="36" y="55"/>
                        </a:lnTo>
                        <a:lnTo>
                          <a:pt x="36" y="58"/>
                        </a:lnTo>
                        <a:lnTo>
                          <a:pt x="33" y="58"/>
                        </a:lnTo>
                        <a:lnTo>
                          <a:pt x="30" y="56"/>
                        </a:lnTo>
                        <a:lnTo>
                          <a:pt x="29" y="54"/>
                        </a:lnTo>
                        <a:lnTo>
                          <a:pt x="29" y="53"/>
                        </a:lnTo>
                        <a:lnTo>
                          <a:pt x="29" y="51"/>
                        </a:lnTo>
                        <a:lnTo>
                          <a:pt x="25" y="51"/>
                        </a:lnTo>
                        <a:lnTo>
                          <a:pt x="24" y="54"/>
                        </a:lnTo>
                        <a:lnTo>
                          <a:pt x="24" y="56"/>
                        </a:lnTo>
                        <a:lnTo>
                          <a:pt x="24" y="57"/>
                        </a:lnTo>
                        <a:lnTo>
                          <a:pt x="22" y="57"/>
                        </a:lnTo>
                        <a:lnTo>
                          <a:pt x="19" y="58"/>
                        </a:lnTo>
                        <a:lnTo>
                          <a:pt x="19" y="60"/>
                        </a:lnTo>
                        <a:lnTo>
                          <a:pt x="18" y="61"/>
                        </a:lnTo>
                        <a:lnTo>
                          <a:pt x="16" y="61"/>
                        </a:lnTo>
                        <a:lnTo>
                          <a:pt x="17" y="62"/>
                        </a:lnTo>
                        <a:lnTo>
                          <a:pt x="17" y="63"/>
                        </a:lnTo>
                        <a:lnTo>
                          <a:pt x="16" y="64"/>
                        </a:lnTo>
                        <a:lnTo>
                          <a:pt x="16" y="65"/>
                        </a:lnTo>
                        <a:lnTo>
                          <a:pt x="18" y="67"/>
                        </a:lnTo>
                        <a:lnTo>
                          <a:pt x="21" y="68"/>
                        </a:lnTo>
                        <a:lnTo>
                          <a:pt x="23" y="69"/>
                        </a:lnTo>
                        <a:lnTo>
                          <a:pt x="25" y="71"/>
                        </a:lnTo>
                        <a:lnTo>
                          <a:pt x="25" y="75"/>
                        </a:lnTo>
                        <a:lnTo>
                          <a:pt x="25" y="78"/>
                        </a:lnTo>
                        <a:lnTo>
                          <a:pt x="25" y="84"/>
                        </a:lnTo>
                        <a:lnTo>
                          <a:pt x="27" y="85"/>
                        </a:lnTo>
                        <a:lnTo>
                          <a:pt x="29" y="85"/>
                        </a:lnTo>
                        <a:lnTo>
                          <a:pt x="29" y="86"/>
                        </a:lnTo>
                        <a:lnTo>
                          <a:pt x="29" y="87"/>
                        </a:lnTo>
                        <a:lnTo>
                          <a:pt x="29" y="88"/>
                        </a:lnTo>
                        <a:lnTo>
                          <a:pt x="29" y="89"/>
                        </a:lnTo>
                        <a:lnTo>
                          <a:pt x="29" y="90"/>
                        </a:lnTo>
                        <a:lnTo>
                          <a:pt x="33" y="91"/>
                        </a:lnTo>
                        <a:lnTo>
                          <a:pt x="35" y="92"/>
                        </a:lnTo>
                        <a:lnTo>
                          <a:pt x="36" y="94"/>
                        </a:lnTo>
                        <a:lnTo>
                          <a:pt x="33" y="97"/>
                        </a:lnTo>
                        <a:lnTo>
                          <a:pt x="33" y="99"/>
                        </a:lnTo>
                        <a:lnTo>
                          <a:pt x="37" y="99"/>
                        </a:lnTo>
                        <a:lnTo>
                          <a:pt x="42" y="99"/>
                        </a:lnTo>
                        <a:lnTo>
                          <a:pt x="42" y="100"/>
                        </a:lnTo>
                        <a:lnTo>
                          <a:pt x="42" y="101"/>
                        </a:lnTo>
                        <a:lnTo>
                          <a:pt x="42" y="102"/>
                        </a:lnTo>
                        <a:lnTo>
                          <a:pt x="42" y="103"/>
                        </a:lnTo>
                        <a:lnTo>
                          <a:pt x="41" y="103"/>
                        </a:lnTo>
                        <a:lnTo>
                          <a:pt x="40" y="103"/>
                        </a:lnTo>
                        <a:lnTo>
                          <a:pt x="39" y="104"/>
                        </a:lnTo>
                        <a:lnTo>
                          <a:pt x="38" y="106"/>
                        </a:lnTo>
                        <a:lnTo>
                          <a:pt x="37" y="110"/>
                        </a:lnTo>
                        <a:lnTo>
                          <a:pt x="36" y="114"/>
                        </a:lnTo>
                        <a:lnTo>
                          <a:pt x="35" y="118"/>
                        </a:lnTo>
                        <a:lnTo>
                          <a:pt x="33" y="120"/>
                        </a:lnTo>
                        <a:lnTo>
                          <a:pt x="29" y="121"/>
                        </a:lnTo>
                        <a:lnTo>
                          <a:pt x="25" y="122"/>
                        </a:lnTo>
                        <a:lnTo>
                          <a:pt x="24" y="122"/>
                        </a:lnTo>
                        <a:lnTo>
                          <a:pt x="23" y="122"/>
                        </a:lnTo>
                        <a:lnTo>
                          <a:pt x="24" y="124"/>
                        </a:lnTo>
                        <a:lnTo>
                          <a:pt x="24" y="125"/>
                        </a:lnTo>
                        <a:lnTo>
                          <a:pt x="25" y="125"/>
                        </a:lnTo>
                        <a:lnTo>
                          <a:pt x="26" y="127"/>
                        </a:lnTo>
                        <a:lnTo>
                          <a:pt x="26" y="128"/>
                        </a:lnTo>
                        <a:lnTo>
                          <a:pt x="25" y="129"/>
                        </a:lnTo>
                        <a:lnTo>
                          <a:pt x="21" y="128"/>
                        </a:lnTo>
                        <a:lnTo>
                          <a:pt x="18" y="127"/>
                        </a:lnTo>
                        <a:lnTo>
                          <a:pt x="16" y="125"/>
                        </a:lnTo>
                        <a:lnTo>
                          <a:pt x="16" y="126"/>
                        </a:lnTo>
                        <a:lnTo>
                          <a:pt x="15" y="127"/>
                        </a:lnTo>
                        <a:lnTo>
                          <a:pt x="14" y="128"/>
                        </a:lnTo>
                        <a:lnTo>
                          <a:pt x="13" y="129"/>
                        </a:lnTo>
                        <a:lnTo>
                          <a:pt x="12" y="129"/>
                        </a:lnTo>
                        <a:lnTo>
                          <a:pt x="11" y="131"/>
                        </a:lnTo>
                        <a:lnTo>
                          <a:pt x="10" y="133"/>
                        </a:lnTo>
                        <a:lnTo>
                          <a:pt x="9" y="135"/>
                        </a:lnTo>
                        <a:lnTo>
                          <a:pt x="14" y="135"/>
                        </a:lnTo>
                        <a:lnTo>
                          <a:pt x="15" y="135"/>
                        </a:lnTo>
                        <a:lnTo>
                          <a:pt x="16" y="135"/>
                        </a:lnTo>
                        <a:lnTo>
                          <a:pt x="16" y="136"/>
                        </a:lnTo>
                        <a:lnTo>
                          <a:pt x="16" y="137"/>
                        </a:lnTo>
                        <a:lnTo>
                          <a:pt x="16" y="138"/>
                        </a:lnTo>
                        <a:lnTo>
                          <a:pt x="16" y="139"/>
                        </a:lnTo>
                        <a:lnTo>
                          <a:pt x="15" y="141"/>
                        </a:lnTo>
                        <a:lnTo>
                          <a:pt x="14" y="142"/>
                        </a:lnTo>
                        <a:lnTo>
                          <a:pt x="13" y="142"/>
                        </a:lnTo>
                        <a:lnTo>
                          <a:pt x="11" y="144"/>
                        </a:lnTo>
                        <a:lnTo>
                          <a:pt x="9" y="146"/>
                        </a:lnTo>
                        <a:lnTo>
                          <a:pt x="6" y="146"/>
                        </a:lnTo>
                        <a:lnTo>
                          <a:pt x="2" y="144"/>
                        </a:lnTo>
                        <a:lnTo>
                          <a:pt x="2" y="146"/>
                        </a:lnTo>
                        <a:lnTo>
                          <a:pt x="2" y="149"/>
                        </a:lnTo>
                        <a:lnTo>
                          <a:pt x="2" y="150"/>
                        </a:lnTo>
                        <a:lnTo>
                          <a:pt x="2" y="152"/>
                        </a:lnTo>
                        <a:lnTo>
                          <a:pt x="13" y="152"/>
                        </a:lnTo>
                        <a:lnTo>
                          <a:pt x="15" y="152"/>
                        </a:lnTo>
                        <a:lnTo>
                          <a:pt x="16" y="150"/>
                        </a:lnTo>
                        <a:lnTo>
                          <a:pt x="17" y="150"/>
                        </a:lnTo>
                        <a:lnTo>
                          <a:pt x="19" y="152"/>
                        </a:lnTo>
                        <a:lnTo>
                          <a:pt x="20" y="152"/>
                        </a:lnTo>
                        <a:lnTo>
                          <a:pt x="23" y="153"/>
                        </a:lnTo>
                        <a:lnTo>
                          <a:pt x="24" y="155"/>
                        </a:lnTo>
                        <a:lnTo>
                          <a:pt x="25" y="156"/>
                        </a:lnTo>
                        <a:lnTo>
                          <a:pt x="27" y="156"/>
                        </a:lnTo>
                        <a:lnTo>
                          <a:pt x="29" y="156"/>
                        </a:lnTo>
                        <a:lnTo>
                          <a:pt x="30" y="155"/>
                        </a:lnTo>
                        <a:lnTo>
                          <a:pt x="32" y="153"/>
                        </a:lnTo>
                        <a:lnTo>
                          <a:pt x="33" y="152"/>
                        </a:lnTo>
                        <a:lnTo>
                          <a:pt x="36" y="152"/>
                        </a:lnTo>
                        <a:lnTo>
                          <a:pt x="36" y="149"/>
                        </a:lnTo>
                        <a:lnTo>
                          <a:pt x="33" y="146"/>
                        </a:lnTo>
                        <a:lnTo>
                          <a:pt x="33" y="144"/>
                        </a:lnTo>
                        <a:lnTo>
                          <a:pt x="33" y="142"/>
                        </a:lnTo>
                        <a:lnTo>
                          <a:pt x="35" y="142"/>
                        </a:lnTo>
                        <a:lnTo>
                          <a:pt x="36" y="142"/>
                        </a:lnTo>
                        <a:lnTo>
                          <a:pt x="37" y="142"/>
                        </a:lnTo>
                        <a:lnTo>
                          <a:pt x="38" y="142"/>
                        </a:lnTo>
                        <a:lnTo>
                          <a:pt x="39" y="142"/>
                        </a:lnTo>
                        <a:lnTo>
                          <a:pt x="40" y="140"/>
                        </a:lnTo>
                        <a:lnTo>
                          <a:pt x="41" y="139"/>
                        </a:lnTo>
                        <a:lnTo>
                          <a:pt x="42" y="139"/>
                        </a:lnTo>
                        <a:lnTo>
                          <a:pt x="44" y="139"/>
                        </a:lnTo>
                        <a:lnTo>
                          <a:pt x="45" y="139"/>
                        </a:lnTo>
                        <a:lnTo>
                          <a:pt x="46" y="138"/>
                        </a:lnTo>
                        <a:lnTo>
                          <a:pt x="47" y="135"/>
                        </a:lnTo>
                        <a:lnTo>
                          <a:pt x="48" y="133"/>
                        </a:lnTo>
                        <a:lnTo>
                          <a:pt x="48" y="132"/>
                        </a:lnTo>
                        <a:lnTo>
                          <a:pt x="51" y="134"/>
                        </a:lnTo>
                        <a:lnTo>
                          <a:pt x="53" y="135"/>
                        </a:lnTo>
                        <a:lnTo>
                          <a:pt x="55" y="135"/>
                        </a:lnTo>
                        <a:lnTo>
                          <a:pt x="36" y="156"/>
                        </a:lnTo>
                        <a:lnTo>
                          <a:pt x="33" y="157"/>
                        </a:lnTo>
                        <a:lnTo>
                          <a:pt x="33" y="160"/>
                        </a:lnTo>
                        <a:lnTo>
                          <a:pt x="30" y="162"/>
                        </a:lnTo>
                        <a:lnTo>
                          <a:pt x="29" y="165"/>
                        </a:lnTo>
                        <a:lnTo>
                          <a:pt x="29" y="167"/>
                        </a:lnTo>
                        <a:lnTo>
                          <a:pt x="30" y="168"/>
                        </a:lnTo>
                        <a:lnTo>
                          <a:pt x="32" y="171"/>
                        </a:lnTo>
                        <a:lnTo>
                          <a:pt x="33" y="171"/>
                        </a:lnTo>
                        <a:lnTo>
                          <a:pt x="29" y="173"/>
                        </a:lnTo>
                        <a:lnTo>
                          <a:pt x="25" y="175"/>
                        </a:lnTo>
                        <a:lnTo>
                          <a:pt x="24" y="176"/>
                        </a:lnTo>
                        <a:lnTo>
                          <a:pt x="23" y="178"/>
                        </a:lnTo>
                        <a:lnTo>
                          <a:pt x="21" y="181"/>
                        </a:lnTo>
                        <a:lnTo>
                          <a:pt x="20" y="186"/>
                        </a:lnTo>
                        <a:lnTo>
                          <a:pt x="19" y="192"/>
                        </a:lnTo>
                        <a:lnTo>
                          <a:pt x="19" y="197"/>
                        </a:lnTo>
                        <a:lnTo>
                          <a:pt x="16" y="200"/>
                        </a:lnTo>
                        <a:lnTo>
                          <a:pt x="13" y="202"/>
                        </a:lnTo>
                        <a:lnTo>
                          <a:pt x="10" y="205"/>
                        </a:lnTo>
                        <a:lnTo>
                          <a:pt x="9" y="206"/>
                        </a:lnTo>
                        <a:lnTo>
                          <a:pt x="8" y="209"/>
                        </a:lnTo>
                        <a:lnTo>
                          <a:pt x="8" y="213"/>
                        </a:lnTo>
                        <a:lnTo>
                          <a:pt x="7" y="217"/>
                        </a:lnTo>
                        <a:lnTo>
                          <a:pt x="6" y="220"/>
                        </a:lnTo>
                        <a:lnTo>
                          <a:pt x="3" y="222"/>
                        </a:lnTo>
                        <a:lnTo>
                          <a:pt x="1" y="223"/>
                        </a:lnTo>
                        <a:lnTo>
                          <a:pt x="0" y="223"/>
                        </a:lnTo>
                        <a:lnTo>
                          <a:pt x="0" y="225"/>
                        </a:lnTo>
                        <a:lnTo>
                          <a:pt x="0" y="226"/>
                        </a:lnTo>
                        <a:lnTo>
                          <a:pt x="3" y="228"/>
                        </a:lnTo>
                        <a:lnTo>
                          <a:pt x="4" y="229"/>
                        </a:lnTo>
                        <a:lnTo>
                          <a:pt x="6" y="229"/>
                        </a:lnTo>
                        <a:lnTo>
                          <a:pt x="9" y="229"/>
                        </a:lnTo>
                        <a:lnTo>
                          <a:pt x="11" y="227"/>
                        </a:lnTo>
                        <a:lnTo>
                          <a:pt x="12" y="223"/>
                        </a:lnTo>
                        <a:lnTo>
                          <a:pt x="16" y="213"/>
                        </a:lnTo>
                        <a:lnTo>
                          <a:pt x="21" y="205"/>
                        </a:lnTo>
                        <a:lnTo>
                          <a:pt x="23" y="203"/>
                        </a:lnTo>
                        <a:lnTo>
                          <a:pt x="25" y="201"/>
                        </a:lnTo>
                        <a:lnTo>
                          <a:pt x="26" y="201"/>
                        </a:lnTo>
                        <a:lnTo>
                          <a:pt x="27" y="202"/>
                        </a:lnTo>
                        <a:lnTo>
                          <a:pt x="27" y="203"/>
                        </a:lnTo>
                        <a:lnTo>
                          <a:pt x="29" y="204"/>
                        </a:lnTo>
                        <a:lnTo>
                          <a:pt x="33" y="197"/>
                        </a:lnTo>
                        <a:lnTo>
                          <a:pt x="36" y="197"/>
                        </a:lnTo>
                        <a:lnTo>
                          <a:pt x="37" y="197"/>
                        </a:lnTo>
                        <a:lnTo>
                          <a:pt x="37" y="196"/>
                        </a:lnTo>
                        <a:lnTo>
                          <a:pt x="38" y="194"/>
                        </a:lnTo>
                        <a:lnTo>
                          <a:pt x="42" y="194"/>
                        </a:lnTo>
                        <a:lnTo>
                          <a:pt x="41" y="198"/>
                        </a:lnTo>
                        <a:lnTo>
                          <a:pt x="40" y="201"/>
                        </a:lnTo>
                        <a:lnTo>
                          <a:pt x="40" y="203"/>
                        </a:lnTo>
                        <a:lnTo>
                          <a:pt x="40" y="204"/>
                        </a:lnTo>
                        <a:lnTo>
                          <a:pt x="41" y="204"/>
                        </a:lnTo>
                        <a:lnTo>
                          <a:pt x="43" y="203"/>
                        </a:lnTo>
                        <a:lnTo>
                          <a:pt x="45" y="201"/>
                        </a:lnTo>
                        <a:lnTo>
                          <a:pt x="48" y="197"/>
                        </a:lnTo>
                        <a:lnTo>
                          <a:pt x="48" y="206"/>
                        </a:lnTo>
                        <a:lnTo>
                          <a:pt x="45" y="206"/>
                        </a:lnTo>
                        <a:lnTo>
                          <a:pt x="45" y="216"/>
                        </a:lnTo>
                        <a:lnTo>
                          <a:pt x="46" y="217"/>
                        </a:lnTo>
                        <a:lnTo>
                          <a:pt x="47" y="218"/>
                        </a:lnTo>
                        <a:lnTo>
                          <a:pt x="48" y="219"/>
                        </a:lnTo>
                        <a:lnTo>
                          <a:pt x="48" y="220"/>
                        </a:lnTo>
                        <a:lnTo>
                          <a:pt x="48" y="223"/>
                        </a:lnTo>
                        <a:lnTo>
                          <a:pt x="48" y="226"/>
                        </a:lnTo>
                        <a:lnTo>
                          <a:pt x="48" y="229"/>
                        </a:lnTo>
                        <a:lnTo>
                          <a:pt x="47" y="231"/>
                        </a:lnTo>
                        <a:lnTo>
                          <a:pt x="45" y="234"/>
                        </a:lnTo>
                        <a:lnTo>
                          <a:pt x="43" y="236"/>
                        </a:lnTo>
                        <a:lnTo>
                          <a:pt x="42" y="239"/>
                        </a:lnTo>
                        <a:lnTo>
                          <a:pt x="40" y="239"/>
                        </a:lnTo>
                        <a:lnTo>
                          <a:pt x="38" y="239"/>
                        </a:lnTo>
                        <a:lnTo>
                          <a:pt x="37" y="239"/>
                        </a:lnTo>
                        <a:lnTo>
                          <a:pt x="36" y="239"/>
                        </a:lnTo>
                        <a:lnTo>
                          <a:pt x="33" y="242"/>
                        </a:lnTo>
                        <a:lnTo>
                          <a:pt x="33" y="244"/>
                        </a:lnTo>
                        <a:lnTo>
                          <a:pt x="33" y="246"/>
                        </a:lnTo>
                        <a:lnTo>
                          <a:pt x="33" y="247"/>
                        </a:lnTo>
                        <a:lnTo>
                          <a:pt x="33" y="249"/>
                        </a:lnTo>
                        <a:lnTo>
                          <a:pt x="32" y="249"/>
                        </a:lnTo>
                        <a:lnTo>
                          <a:pt x="30" y="250"/>
                        </a:lnTo>
                        <a:lnTo>
                          <a:pt x="25" y="253"/>
                        </a:lnTo>
                        <a:lnTo>
                          <a:pt x="21" y="256"/>
                        </a:lnTo>
                        <a:lnTo>
                          <a:pt x="20" y="258"/>
                        </a:lnTo>
                        <a:lnTo>
                          <a:pt x="19" y="258"/>
                        </a:lnTo>
                        <a:lnTo>
                          <a:pt x="17" y="258"/>
                        </a:lnTo>
                        <a:lnTo>
                          <a:pt x="13" y="258"/>
                        </a:lnTo>
                        <a:lnTo>
                          <a:pt x="13" y="259"/>
                        </a:lnTo>
                        <a:lnTo>
                          <a:pt x="14" y="261"/>
                        </a:lnTo>
                        <a:lnTo>
                          <a:pt x="15" y="264"/>
                        </a:lnTo>
                        <a:lnTo>
                          <a:pt x="16" y="265"/>
                        </a:lnTo>
                        <a:lnTo>
                          <a:pt x="16" y="266"/>
                        </a:lnTo>
                        <a:lnTo>
                          <a:pt x="16" y="268"/>
                        </a:lnTo>
                        <a:lnTo>
                          <a:pt x="17" y="268"/>
                        </a:lnTo>
                        <a:lnTo>
                          <a:pt x="19" y="268"/>
                        </a:lnTo>
                        <a:lnTo>
                          <a:pt x="17" y="275"/>
                        </a:lnTo>
                        <a:lnTo>
                          <a:pt x="17" y="278"/>
                        </a:lnTo>
                        <a:lnTo>
                          <a:pt x="17" y="283"/>
                        </a:lnTo>
                        <a:lnTo>
                          <a:pt x="19" y="287"/>
                        </a:lnTo>
                        <a:lnTo>
                          <a:pt x="20" y="287"/>
                        </a:lnTo>
                        <a:lnTo>
                          <a:pt x="21" y="285"/>
                        </a:lnTo>
                        <a:lnTo>
                          <a:pt x="22" y="283"/>
                        </a:lnTo>
                        <a:lnTo>
                          <a:pt x="23" y="280"/>
                        </a:lnTo>
                        <a:lnTo>
                          <a:pt x="23" y="279"/>
                        </a:lnTo>
                        <a:lnTo>
                          <a:pt x="23" y="277"/>
                        </a:lnTo>
                        <a:lnTo>
                          <a:pt x="23" y="275"/>
                        </a:lnTo>
                        <a:lnTo>
                          <a:pt x="24" y="275"/>
                        </a:lnTo>
                        <a:lnTo>
                          <a:pt x="25" y="275"/>
                        </a:lnTo>
                        <a:lnTo>
                          <a:pt x="27" y="275"/>
                        </a:lnTo>
                        <a:lnTo>
                          <a:pt x="29" y="275"/>
                        </a:lnTo>
                        <a:lnTo>
                          <a:pt x="30" y="276"/>
                        </a:lnTo>
                        <a:lnTo>
                          <a:pt x="33" y="277"/>
                        </a:lnTo>
                        <a:lnTo>
                          <a:pt x="33" y="279"/>
                        </a:lnTo>
                        <a:lnTo>
                          <a:pt x="33" y="280"/>
                        </a:lnTo>
                        <a:lnTo>
                          <a:pt x="33" y="282"/>
                        </a:lnTo>
                        <a:lnTo>
                          <a:pt x="33" y="284"/>
                        </a:lnTo>
                        <a:lnTo>
                          <a:pt x="33" y="286"/>
                        </a:lnTo>
                        <a:lnTo>
                          <a:pt x="36" y="287"/>
                        </a:lnTo>
                        <a:lnTo>
                          <a:pt x="37" y="288"/>
                        </a:lnTo>
                        <a:lnTo>
                          <a:pt x="37" y="289"/>
                        </a:lnTo>
                        <a:lnTo>
                          <a:pt x="38" y="290"/>
                        </a:lnTo>
                        <a:lnTo>
                          <a:pt x="38" y="291"/>
                        </a:lnTo>
                        <a:lnTo>
                          <a:pt x="39" y="291"/>
                        </a:lnTo>
                        <a:lnTo>
                          <a:pt x="40" y="291"/>
                        </a:lnTo>
                        <a:lnTo>
                          <a:pt x="41" y="291"/>
                        </a:lnTo>
                        <a:lnTo>
                          <a:pt x="42" y="291"/>
                        </a:lnTo>
                        <a:lnTo>
                          <a:pt x="42" y="288"/>
                        </a:lnTo>
                        <a:lnTo>
                          <a:pt x="43" y="286"/>
                        </a:lnTo>
                        <a:lnTo>
                          <a:pt x="45" y="283"/>
                        </a:lnTo>
                        <a:lnTo>
                          <a:pt x="45" y="280"/>
                        </a:lnTo>
                        <a:lnTo>
                          <a:pt x="48" y="280"/>
                        </a:lnTo>
                        <a:lnTo>
                          <a:pt x="49" y="282"/>
                        </a:lnTo>
                        <a:lnTo>
                          <a:pt x="50" y="284"/>
                        </a:lnTo>
                        <a:lnTo>
                          <a:pt x="51" y="286"/>
                        </a:lnTo>
                        <a:lnTo>
                          <a:pt x="52" y="287"/>
                        </a:lnTo>
                        <a:lnTo>
                          <a:pt x="55" y="289"/>
                        </a:lnTo>
                        <a:lnTo>
                          <a:pt x="58" y="290"/>
                        </a:lnTo>
                        <a:lnTo>
                          <a:pt x="61" y="289"/>
                        </a:lnTo>
                        <a:lnTo>
                          <a:pt x="64" y="287"/>
                        </a:lnTo>
                        <a:lnTo>
                          <a:pt x="65" y="287"/>
                        </a:lnTo>
                        <a:lnTo>
                          <a:pt x="66" y="287"/>
                        </a:lnTo>
                        <a:lnTo>
                          <a:pt x="67" y="287"/>
                        </a:lnTo>
                        <a:lnTo>
                          <a:pt x="68" y="287"/>
                        </a:lnTo>
                        <a:lnTo>
                          <a:pt x="71" y="286"/>
                        </a:lnTo>
                        <a:lnTo>
                          <a:pt x="74" y="286"/>
                        </a:lnTo>
                        <a:lnTo>
                          <a:pt x="76" y="287"/>
                        </a:lnTo>
                        <a:lnTo>
                          <a:pt x="78" y="287"/>
                        </a:lnTo>
                        <a:lnTo>
                          <a:pt x="80" y="287"/>
                        </a:lnTo>
                        <a:lnTo>
                          <a:pt x="81" y="286"/>
                        </a:lnTo>
                        <a:lnTo>
                          <a:pt x="82" y="284"/>
                        </a:lnTo>
                        <a:lnTo>
                          <a:pt x="84" y="284"/>
                        </a:lnTo>
                        <a:lnTo>
                          <a:pt x="85" y="284"/>
                        </a:lnTo>
                        <a:lnTo>
                          <a:pt x="87" y="284"/>
                        </a:lnTo>
                        <a:lnTo>
                          <a:pt x="88" y="284"/>
                        </a:lnTo>
                        <a:lnTo>
                          <a:pt x="90" y="28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4" name="Freeform 1688">
                    <a:extLst>
                      <a:ext uri="{FF2B5EF4-FFF2-40B4-BE49-F238E27FC236}">
                        <a16:creationId xmlns:a16="http://schemas.microsoft.com/office/drawing/2014/main" xmlns="" id="{166A7F09-C4F4-4341-B3D2-DC5A91F7649A}"/>
                      </a:ext>
                    </a:extLst>
                  </p:cNvPr>
                  <p:cNvSpPr>
                    <a:spLocks/>
                  </p:cNvSpPr>
                  <p:nvPr/>
                </p:nvSpPr>
                <p:spPr bwMode="gray">
                  <a:xfrm>
                    <a:off x="3741173" y="2790524"/>
                    <a:ext cx="13350" cy="28926"/>
                  </a:xfrm>
                  <a:custGeom>
                    <a:avLst/>
                    <a:gdLst>
                      <a:gd name="T0" fmla="*/ 2147483647 w 12"/>
                      <a:gd name="T1" fmla="*/ 0 h 26"/>
                      <a:gd name="T2" fmla="*/ 2147483647 w 12"/>
                      <a:gd name="T3" fmla="*/ 2147483647 h 26"/>
                      <a:gd name="T4" fmla="*/ 0 w 12"/>
                      <a:gd name="T5" fmla="*/ 2147483647 h 26"/>
                      <a:gd name="T6" fmla="*/ 0 w 12"/>
                      <a:gd name="T7" fmla="*/ 2147483647 h 26"/>
                      <a:gd name="T8" fmla="*/ 0 w 12"/>
                      <a:gd name="T9" fmla="*/ 2147483647 h 26"/>
                      <a:gd name="T10" fmla="*/ 2147483647 w 12"/>
                      <a:gd name="T11" fmla="*/ 2147483647 h 26"/>
                      <a:gd name="T12" fmla="*/ 2147483647 w 12"/>
                      <a:gd name="T13" fmla="*/ 2147483647 h 26"/>
                      <a:gd name="T14" fmla="*/ 2147483647 w 12"/>
                      <a:gd name="T15" fmla="*/ 2147483647 h 26"/>
                      <a:gd name="T16" fmla="*/ 2147483647 w 12"/>
                      <a:gd name="T17" fmla="*/ 2147483647 h 26"/>
                      <a:gd name="T18" fmla="*/ 2147483647 w 12"/>
                      <a:gd name="T19" fmla="*/ 2147483647 h 26"/>
                      <a:gd name="T20" fmla="*/ 2147483647 w 12"/>
                      <a:gd name="T21" fmla="*/ 2147483647 h 26"/>
                      <a:gd name="T22" fmla="*/ 2147483647 w 12"/>
                      <a:gd name="T23" fmla="*/ 2147483647 h 26"/>
                      <a:gd name="T24" fmla="*/ 2147483647 w 12"/>
                      <a:gd name="T25" fmla="*/ 2147483647 h 26"/>
                      <a:gd name="T26" fmla="*/ 2147483647 w 12"/>
                      <a:gd name="T27" fmla="*/ 2147483647 h 26"/>
                      <a:gd name="T28" fmla="*/ 2147483647 w 12"/>
                      <a:gd name="T29" fmla="*/ 2147483647 h 26"/>
                      <a:gd name="T30" fmla="*/ 2147483647 w 12"/>
                      <a:gd name="T31" fmla="*/ 2147483647 h 26"/>
                      <a:gd name="T32" fmla="*/ 2147483647 w 12"/>
                      <a:gd name="T33" fmla="*/ 2147483647 h 26"/>
                      <a:gd name="T34" fmla="*/ 2147483647 w 12"/>
                      <a:gd name="T35" fmla="*/ 2147483647 h 26"/>
                      <a:gd name="T36" fmla="*/ 2147483647 w 12"/>
                      <a:gd name="T37" fmla="*/ 2147483647 h 26"/>
                      <a:gd name="T38" fmla="*/ 2147483647 w 12"/>
                      <a:gd name="T39" fmla="*/ 2147483647 h 26"/>
                      <a:gd name="T40" fmla="*/ 2147483647 w 12"/>
                      <a:gd name="T41" fmla="*/ 2147483647 h 26"/>
                      <a:gd name="T42" fmla="*/ 2147483647 w 12"/>
                      <a:gd name="T43" fmla="*/ 2147483647 h 26"/>
                      <a:gd name="T44" fmla="*/ 2147483647 w 12"/>
                      <a:gd name="T45" fmla="*/ 2147483647 h 26"/>
                      <a:gd name="T46" fmla="*/ 2147483647 w 12"/>
                      <a:gd name="T47" fmla="*/ 2147483647 h 26"/>
                      <a:gd name="T48" fmla="*/ 2147483647 w 12"/>
                      <a:gd name="T49" fmla="*/ 0 h 26"/>
                      <a:gd name="T50" fmla="*/ 2147483647 w 12"/>
                      <a:gd name="T51" fmla="*/ 0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 h="26">
                        <a:moveTo>
                          <a:pt x="2" y="0"/>
                        </a:moveTo>
                        <a:lnTo>
                          <a:pt x="1" y="4"/>
                        </a:lnTo>
                        <a:lnTo>
                          <a:pt x="0" y="9"/>
                        </a:lnTo>
                        <a:lnTo>
                          <a:pt x="0" y="14"/>
                        </a:lnTo>
                        <a:lnTo>
                          <a:pt x="0" y="20"/>
                        </a:lnTo>
                        <a:lnTo>
                          <a:pt x="1" y="22"/>
                        </a:lnTo>
                        <a:lnTo>
                          <a:pt x="4" y="23"/>
                        </a:lnTo>
                        <a:lnTo>
                          <a:pt x="6" y="25"/>
                        </a:lnTo>
                        <a:lnTo>
                          <a:pt x="9" y="26"/>
                        </a:lnTo>
                        <a:lnTo>
                          <a:pt x="8" y="26"/>
                        </a:lnTo>
                        <a:lnTo>
                          <a:pt x="9" y="25"/>
                        </a:lnTo>
                        <a:lnTo>
                          <a:pt x="11" y="24"/>
                        </a:lnTo>
                        <a:lnTo>
                          <a:pt x="12" y="23"/>
                        </a:lnTo>
                        <a:lnTo>
                          <a:pt x="12" y="18"/>
                        </a:lnTo>
                        <a:lnTo>
                          <a:pt x="11" y="13"/>
                        </a:lnTo>
                        <a:lnTo>
                          <a:pt x="11" y="8"/>
                        </a:lnTo>
                        <a:lnTo>
                          <a:pt x="12" y="3"/>
                        </a:lnTo>
                        <a:lnTo>
                          <a:pt x="10" y="3"/>
                        </a:lnTo>
                        <a:lnTo>
                          <a:pt x="9" y="3"/>
                        </a:lnTo>
                        <a:lnTo>
                          <a:pt x="7" y="4"/>
                        </a:lnTo>
                        <a:lnTo>
                          <a:pt x="6" y="5"/>
                        </a:lnTo>
                        <a:lnTo>
                          <a:pt x="5" y="6"/>
                        </a:lnTo>
                        <a:lnTo>
                          <a:pt x="5" y="7"/>
                        </a:lnTo>
                        <a:lnTo>
                          <a:pt x="5" y="0"/>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5" name="Freeform 1690">
                    <a:extLst>
                      <a:ext uri="{FF2B5EF4-FFF2-40B4-BE49-F238E27FC236}">
                        <a16:creationId xmlns:a16="http://schemas.microsoft.com/office/drawing/2014/main" xmlns="" id="{78FF5AC4-E33C-426A-8917-D5C287F80BFB}"/>
                      </a:ext>
                    </a:extLst>
                  </p:cNvPr>
                  <p:cNvSpPr>
                    <a:spLocks/>
                  </p:cNvSpPr>
                  <p:nvPr/>
                </p:nvSpPr>
                <p:spPr bwMode="gray">
                  <a:xfrm>
                    <a:off x="3772322" y="2769385"/>
                    <a:ext cx="6675" cy="7788"/>
                  </a:xfrm>
                  <a:custGeom>
                    <a:avLst/>
                    <a:gdLst>
                      <a:gd name="T0" fmla="*/ 2147483647 w 6"/>
                      <a:gd name="T1" fmla="*/ 0 h 7"/>
                      <a:gd name="T2" fmla="*/ 2147483647 w 6"/>
                      <a:gd name="T3" fmla="*/ 2147483647 h 7"/>
                      <a:gd name="T4" fmla="*/ 2147483647 w 6"/>
                      <a:gd name="T5" fmla="*/ 2147483647 h 7"/>
                      <a:gd name="T6" fmla="*/ 2147483647 w 6"/>
                      <a:gd name="T7" fmla="*/ 2147483647 h 7"/>
                      <a:gd name="T8" fmla="*/ 2147483647 w 6"/>
                      <a:gd name="T9" fmla="*/ 2147483647 h 7"/>
                      <a:gd name="T10" fmla="*/ 2147483647 w 6"/>
                      <a:gd name="T11" fmla="*/ 2147483647 h 7"/>
                      <a:gd name="T12" fmla="*/ 2147483647 w 6"/>
                      <a:gd name="T13" fmla="*/ 2147483647 h 7"/>
                      <a:gd name="T14" fmla="*/ 0 w 6"/>
                      <a:gd name="T15" fmla="*/ 2147483647 h 7"/>
                      <a:gd name="T16" fmla="*/ 2147483647 w 6"/>
                      <a:gd name="T17" fmla="*/ 2147483647 h 7"/>
                      <a:gd name="T18" fmla="*/ 2147483647 w 6"/>
                      <a:gd name="T19" fmla="*/ 2147483647 h 7"/>
                      <a:gd name="T20" fmla="*/ 2147483647 w 6"/>
                      <a:gd name="T21" fmla="*/ 2147483647 h 7"/>
                      <a:gd name="T22" fmla="*/ 2147483647 w 6"/>
                      <a:gd name="T23" fmla="*/ 2147483647 h 7"/>
                      <a:gd name="T24" fmla="*/ 2147483647 w 6"/>
                      <a:gd name="T25" fmla="*/ 0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7">
                        <a:moveTo>
                          <a:pt x="6" y="0"/>
                        </a:moveTo>
                        <a:lnTo>
                          <a:pt x="5" y="2"/>
                        </a:lnTo>
                        <a:lnTo>
                          <a:pt x="5" y="3"/>
                        </a:lnTo>
                        <a:lnTo>
                          <a:pt x="6" y="5"/>
                        </a:lnTo>
                        <a:lnTo>
                          <a:pt x="4" y="6"/>
                        </a:lnTo>
                        <a:lnTo>
                          <a:pt x="2" y="7"/>
                        </a:lnTo>
                        <a:lnTo>
                          <a:pt x="0" y="7"/>
                        </a:lnTo>
                        <a:lnTo>
                          <a:pt x="1" y="5"/>
                        </a:lnTo>
                        <a:lnTo>
                          <a:pt x="1" y="4"/>
                        </a:lnTo>
                        <a:lnTo>
                          <a:pt x="3" y="3"/>
                        </a:lnTo>
                        <a:lnTo>
                          <a:pt x="4" y="1"/>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6" name="Freeform 1692">
                    <a:extLst>
                      <a:ext uri="{FF2B5EF4-FFF2-40B4-BE49-F238E27FC236}">
                        <a16:creationId xmlns:a16="http://schemas.microsoft.com/office/drawing/2014/main" xmlns="" id="{F4001083-18F3-4EAF-B7BC-FE1E24B5EA0F}"/>
                      </a:ext>
                    </a:extLst>
                  </p:cNvPr>
                  <p:cNvSpPr>
                    <a:spLocks/>
                  </p:cNvSpPr>
                  <p:nvPr/>
                </p:nvSpPr>
                <p:spPr bwMode="gray">
                  <a:xfrm>
                    <a:off x="3751186" y="2769385"/>
                    <a:ext cx="3338" cy="5563"/>
                  </a:xfrm>
                  <a:custGeom>
                    <a:avLst/>
                    <a:gdLst>
                      <a:gd name="T0" fmla="*/ 2147483647 w 3"/>
                      <a:gd name="T1" fmla="*/ 0 h 5"/>
                      <a:gd name="T2" fmla="*/ 2147483647 w 3"/>
                      <a:gd name="T3" fmla="*/ 2147483647 h 5"/>
                      <a:gd name="T4" fmla="*/ 2147483647 w 3"/>
                      <a:gd name="T5" fmla="*/ 2147483647 h 5"/>
                      <a:gd name="T6" fmla="*/ 0 w 3"/>
                      <a:gd name="T7" fmla="*/ 2147483647 h 5"/>
                      <a:gd name="T8" fmla="*/ 0 w 3"/>
                      <a:gd name="T9" fmla="*/ 2147483647 h 5"/>
                      <a:gd name="T10" fmla="*/ 0 w 3"/>
                      <a:gd name="T11" fmla="*/ 2147483647 h 5"/>
                      <a:gd name="T12" fmla="*/ 2147483647 w 3"/>
                      <a:gd name="T13" fmla="*/ 0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5">
                        <a:moveTo>
                          <a:pt x="3" y="0"/>
                        </a:moveTo>
                        <a:lnTo>
                          <a:pt x="3" y="1"/>
                        </a:lnTo>
                        <a:lnTo>
                          <a:pt x="1" y="2"/>
                        </a:lnTo>
                        <a:lnTo>
                          <a:pt x="0" y="4"/>
                        </a:lnTo>
                        <a:lnTo>
                          <a:pt x="0" y="5"/>
                        </a:lnTo>
                        <a:lnTo>
                          <a:pt x="0" y="2"/>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7" name="Freeform 1694">
                    <a:extLst>
                      <a:ext uri="{FF2B5EF4-FFF2-40B4-BE49-F238E27FC236}">
                        <a16:creationId xmlns:a16="http://schemas.microsoft.com/office/drawing/2014/main" xmlns="" id="{16AECB6D-3F95-4BDD-910F-879E5E8245CC}"/>
                      </a:ext>
                    </a:extLst>
                  </p:cNvPr>
                  <p:cNvSpPr>
                    <a:spLocks/>
                  </p:cNvSpPr>
                  <p:nvPr/>
                </p:nvSpPr>
                <p:spPr bwMode="gray">
                  <a:xfrm>
                    <a:off x="3696674" y="2753812"/>
                    <a:ext cx="44499" cy="28926"/>
                  </a:xfrm>
                  <a:custGeom>
                    <a:avLst/>
                    <a:gdLst>
                      <a:gd name="T0" fmla="*/ 2147483647 w 40"/>
                      <a:gd name="T1" fmla="*/ 0 h 26"/>
                      <a:gd name="T2" fmla="*/ 2147483647 w 40"/>
                      <a:gd name="T3" fmla="*/ 2147483647 h 26"/>
                      <a:gd name="T4" fmla="*/ 2147483647 w 40"/>
                      <a:gd name="T5" fmla="*/ 2147483647 h 26"/>
                      <a:gd name="T6" fmla="*/ 2147483647 w 40"/>
                      <a:gd name="T7" fmla="*/ 2147483647 h 26"/>
                      <a:gd name="T8" fmla="*/ 2147483647 w 40"/>
                      <a:gd name="T9" fmla="*/ 2147483647 h 26"/>
                      <a:gd name="T10" fmla="*/ 2147483647 w 40"/>
                      <a:gd name="T11" fmla="*/ 2147483647 h 26"/>
                      <a:gd name="T12" fmla="*/ 2147483647 w 40"/>
                      <a:gd name="T13" fmla="*/ 2147483647 h 26"/>
                      <a:gd name="T14" fmla="*/ 2147483647 w 40"/>
                      <a:gd name="T15" fmla="*/ 2147483647 h 26"/>
                      <a:gd name="T16" fmla="*/ 2147483647 w 40"/>
                      <a:gd name="T17" fmla="*/ 2147483647 h 26"/>
                      <a:gd name="T18" fmla="*/ 2147483647 w 40"/>
                      <a:gd name="T19" fmla="*/ 2147483647 h 26"/>
                      <a:gd name="T20" fmla="*/ 2147483647 w 40"/>
                      <a:gd name="T21" fmla="*/ 2147483647 h 26"/>
                      <a:gd name="T22" fmla="*/ 2147483647 w 40"/>
                      <a:gd name="T23" fmla="*/ 2147483647 h 26"/>
                      <a:gd name="T24" fmla="*/ 2147483647 w 40"/>
                      <a:gd name="T25" fmla="*/ 2147483647 h 26"/>
                      <a:gd name="T26" fmla="*/ 2147483647 w 40"/>
                      <a:gd name="T27" fmla="*/ 2147483647 h 26"/>
                      <a:gd name="T28" fmla="*/ 0 w 40"/>
                      <a:gd name="T29" fmla="*/ 2147483647 h 26"/>
                      <a:gd name="T30" fmla="*/ 2147483647 w 40"/>
                      <a:gd name="T31" fmla="*/ 2147483647 h 26"/>
                      <a:gd name="T32" fmla="*/ 2147483647 w 40"/>
                      <a:gd name="T33" fmla="*/ 2147483647 h 26"/>
                      <a:gd name="T34" fmla="*/ 2147483647 w 40"/>
                      <a:gd name="T35" fmla="*/ 2147483647 h 26"/>
                      <a:gd name="T36" fmla="*/ 2147483647 w 40"/>
                      <a:gd name="T37" fmla="*/ 2147483647 h 26"/>
                      <a:gd name="T38" fmla="*/ 2147483647 w 40"/>
                      <a:gd name="T39" fmla="*/ 2147483647 h 26"/>
                      <a:gd name="T40" fmla="*/ 2147483647 w 40"/>
                      <a:gd name="T41" fmla="*/ 2147483647 h 26"/>
                      <a:gd name="T42" fmla="*/ 2147483647 w 40"/>
                      <a:gd name="T43" fmla="*/ 2147483647 h 26"/>
                      <a:gd name="T44" fmla="*/ 2147483647 w 40"/>
                      <a:gd name="T45" fmla="*/ 2147483647 h 26"/>
                      <a:gd name="T46" fmla="*/ 2147483647 w 40"/>
                      <a:gd name="T47" fmla="*/ 2147483647 h 26"/>
                      <a:gd name="T48" fmla="*/ 2147483647 w 40"/>
                      <a:gd name="T49" fmla="*/ 2147483647 h 26"/>
                      <a:gd name="T50" fmla="*/ 2147483647 w 40"/>
                      <a:gd name="T51" fmla="*/ 2147483647 h 26"/>
                      <a:gd name="T52" fmla="*/ 2147483647 w 40"/>
                      <a:gd name="T53" fmla="*/ 2147483647 h 26"/>
                      <a:gd name="T54" fmla="*/ 2147483647 w 40"/>
                      <a:gd name="T55" fmla="*/ 2147483647 h 26"/>
                      <a:gd name="T56" fmla="*/ 2147483647 w 40"/>
                      <a:gd name="T57" fmla="*/ 2147483647 h 26"/>
                      <a:gd name="T58" fmla="*/ 2147483647 w 40"/>
                      <a:gd name="T59" fmla="*/ 2147483647 h 26"/>
                      <a:gd name="T60" fmla="*/ 2147483647 w 40"/>
                      <a:gd name="T61" fmla="*/ 2147483647 h 26"/>
                      <a:gd name="T62" fmla="*/ 2147483647 w 40"/>
                      <a:gd name="T63" fmla="*/ 2147483647 h 26"/>
                      <a:gd name="T64" fmla="*/ 2147483647 w 40"/>
                      <a:gd name="T65" fmla="*/ 2147483647 h 26"/>
                      <a:gd name="T66" fmla="*/ 2147483647 w 40"/>
                      <a:gd name="T67" fmla="*/ 2147483647 h 26"/>
                      <a:gd name="T68" fmla="*/ 2147483647 w 40"/>
                      <a:gd name="T69" fmla="*/ 2147483647 h 26"/>
                      <a:gd name="T70" fmla="*/ 2147483647 w 40"/>
                      <a:gd name="T71" fmla="*/ 2147483647 h 26"/>
                      <a:gd name="T72" fmla="*/ 2147483647 w 40"/>
                      <a:gd name="T73" fmla="*/ 2147483647 h 26"/>
                      <a:gd name="T74" fmla="*/ 2147483647 w 40"/>
                      <a:gd name="T75" fmla="*/ 2147483647 h 26"/>
                      <a:gd name="T76" fmla="*/ 2147483647 w 40"/>
                      <a:gd name="T77" fmla="*/ 2147483647 h 26"/>
                      <a:gd name="T78" fmla="*/ 2147483647 w 40"/>
                      <a:gd name="T79" fmla="*/ 2147483647 h 26"/>
                      <a:gd name="T80" fmla="*/ 2147483647 w 40"/>
                      <a:gd name="T81" fmla="*/ 2147483647 h 26"/>
                      <a:gd name="T82" fmla="*/ 2147483647 w 40"/>
                      <a:gd name="T83" fmla="*/ 2147483647 h 26"/>
                      <a:gd name="T84" fmla="*/ 2147483647 w 40"/>
                      <a:gd name="T85" fmla="*/ 2147483647 h 26"/>
                      <a:gd name="T86" fmla="*/ 2147483647 w 40"/>
                      <a:gd name="T87" fmla="*/ 2147483647 h 26"/>
                      <a:gd name="T88" fmla="*/ 2147483647 w 40"/>
                      <a:gd name="T89" fmla="*/ 0 h 26"/>
                      <a:gd name="T90" fmla="*/ 2147483647 w 40"/>
                      <a:gd name="T91" fmla="*/ 0 h 26"/>
                      <a:gd name="T92" fmla="*/ 2147483647 w 40"/>
                      <a:gd name="T93" fmla="*/ 0 h 26"/>
                      <a:gd name="T94" fmla="*/ 2147483647 w 40"/>
                      <a:gd name="T95" fmla="*/ 0 h 26"/>
                      <a:gd name="T96" fmla="*/ 2147483647 w 40"/>
                      <a:gd name="T97" fmla="*/ 0 h 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0" h="26">
                        <a:moveTo>
                          <a:pt x="36" y="0"/>
                        </a:moveTo>
                        <a:lnTo>
                          <a:pt x="32" y="3"/>
                        </a:lnTo>
                        <a:lnTo>
                          <a:pt x="30" y="5"/>
                        </a:lnTo>
                        <a:lnTo>
                          <a:pt x="27" y="8"/>
                        </a:lnTo>
                        <a:lnTo>
                          <a:pt x="23" y="10"/>
                        </a:lnTo>
                        <a:lnTo>
                          <a:pt x="19" y="10"/>
                        </a:lnTo>
                        <a:lnTo>
                          <a:pt x="19" y="7"/>
                        </a:lnTo>
                        <a:lnTo>
                          <a:pt x="16" y="7"/>
                        </a:lnTo>
                        <a:lnTo>
                          <a:pt x="13" y="7"/>
                        </a:lnTo>
                        <a:lnTo>
                          <a:pt x="10" y="8"/>
                        </a:lnTo>
                        <a:lnTo>
                          <a:pt x="7" y="10"/>
                        </a:lnTo>
                        <a:lnTo>
                          <a:pt x="6" y="10"/>
                        </a:lnTo>
                        <a:lnTo>
                          <a:pt x="4" y="13"/>
                        </a:lnTo>
                        <a:lnTo>
                          <a:pt x="1" y="15"/>
                        </a:lnTo>
                        <a:lnTo>
                          <a:pt x="0" y="16"/>
                        </a:lnTo>
                        <a:lnTo>
                          <a:pt x="1" y="18"/>
                        </a:lnTo>
                        <a:lnTo>
                          <a:pt x="2" y="19"/>
                        </a:lnTo>
                        <a:lnTo>
                          <a:pt x="3" y="19"/>
                        </a:lnTo>
                        <a:lnTo>
                          <a:pt x="4" y="19"/>
                        </a:lnTo>
                        <a:lnTo>
                          <a:pt x="5" y="19"/>
                        </a:lnTo>
                        <a:lnTo>
                          <a:pt x="7" y="19"/>
                        </a:lnTo>
                        <a:lnTo>
                          <a:pt x="8" y="23"/>
                        </a:lnTo>
                        <a:lnTo>
                          <a:pt x="9" y="24"/>
                        </a:lnTo>
                        <a:lnTo>
                          <a:pt x="10" y="25"/>
                        </a:lnTo>
                        <a:lnTo>
                          <a:pt x="12" y="25"/>
                        </a:lnTo>
                        <a:lnTo>
                          <a:pt x="14" y="25"/>
                        </a:lnTo>
                        <a:lnTo>
                          <a:pt x="17" y="26"/>
                        </a:lnTo>
                        <a:lnTo>
                          <a:pt x="18" y="24"/>
                        </a:lnTo>
                        <a:lnTo>
                          <a:pt x="19" y="22"/>
                        </a:lnTo>
                        <a:lnTo>
                          <a:pt x="19" y="20"/>
                        </a:lnTo>
                        <a:lnTo>
                          <a:pt x="19" y="16"/>
                        </a:lnTo>
                        <a:lnTo>
                          <a:pt x="21" y="17"/>
                        </a:lnTo>
                        <a:lnTo>
                          <a:pt x="23" y="17"/>
                        </a:lnTo>
                        <a:lnTo>
                          <a:pt x="24" y="18"/>
                        </a:lnTo>
                        <a:lnTo>
                          <a:pt x="26" y="16"/>
                        </a:lnTo>
                        <a:lnTo>
                          <a:pt x="28" y="15"/>
                        </a:lnTo>
                        <a:lnTo>
                          <a:pt x="32" y="11"/>
                        </a:lnTo>
                        <a:lnTo>
                          <a:pt x="36" y="7"/>
                        </a:lnTo>
                        <a:lnTo>
                          <a:pt x="40" y="4"/>
                        </a:lnTo>
                        <a:lnTo>
                          <a:pt x="40" y="3"/>
                        </a:lnTo>
                        <a:lnTo>
                          <a:pt x="40" y="2"/>
                        </a:lnTo>
                        <a:lnTo>
                          <a:pt x="40" y="1"/>
                        </a:lnTo>
                        <a:lnTo>
                          <a:pt x="40" y="0"/>
                        </a:lnTo>
                        <a:lnTo>
                          <a:pt x="39" y="0"/>
                        </a:lnTo>
                        <a:lnTo>
                          <a:pt x="38" y="0"/>
                        </a:lnTo>
                        <a:lnTo>
                          <a:pt x="37" y="0"/>
                        </a:lnTo>
                        <a:lnTo>
                          <a:pt x="3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8" name="Freeform 1696">
                    <a:extLst>
                      <a:ext uri="{FF2B5EF4-FFF2-40B4-BE49-F238E27FC236}">
                        <a16:creationId xmlns:a16="http://schemas.microsoft.com/office/drawing/2014/main" xmlns="" id="{9FCFD9ED-BE0C-4EDE-863E-E8BCF50D066E}"/>
                      </a:ext>
                    </a:extLst>
                  </p:cNvPr>
                  <p:cNvSpPr>
                    <a:spLocks/>
                  </p:cNvSpPr>
                  <p:nvPr/>
                </p:nvSpPr>
                <p:spPr bwMode="gray">
                  <a:xfrm>
                    <a:off x="3718923" y="2747135"/>
                    <a:ext cx="3338" cy="6675"/>
                  </a:xfrm>
                  <a:custGeom>
                    <a:avLst/>
                    <a:gdLst>
                      <a:gd name="T0" fmla="*/ 0 w 3"/>
                      <a:gd name="T1" fmla="*/ 0 h 6"/>
                      <a:gd name="T2" fmla="*/ 0 w 3"/>
                      <a:gd name="T3" fmla="*/ 2147483647 h 6"/>
                      <a:gd name="T4" fmla="*/ 0 w 3"/>
                      <a:gd name="T5" fmla="*/ 2147483647 h 6"/>
                      <a:gd name="T6" fmla="*/ 0 w 3"/>
                      <a:gd name="T7" fmla="*/ 2147483647 h 6"/>
                      <a:gd name="T8" fmla="*/ 0 w 3"/>
                      <a:gd name="T9" fmla="*/ 2147483647 h 6"/>
                      <a:gd name="T10" fmla="*/ 2147483647 w 3"/>
                      <a:gd name="T11" fmla="*/ 2147483647 h 6"/>
                      <a:gd name="T12" fmla="*/ 2147483647 w 3"/>
                      <a:gd name="T13" fmla="*/ 2147483647 h 6"/>
                      <a:gd name="T14" fmla="*/ 2147483647 w 3"/>
                      <a:gd name="T15" fmla="*/ 2147483647 h 6"/>
                      <a:gd name="T16" fmla="*/ 2147483647 w 3"/>
                      <a:gd name="T17" fmla="*/ 2147483647 h 6"/>
                      <a:gd name="T18" fmla="*/ 2147483647 w 3"/>
                      <a:gd name="T19" fmla="*/ 2147483647 h 6"/>
                      <a:gd name="T20" fmla="*/ 2147483647 w 3"/>
                      <a:gd name="T21" fmla="*/ 0 h 6"/>
                      <a:gd name="T22" fmla="*/ 2147483647 w 3"/>
                      <a:gd name="T23" fmla="*/ 0 h 6"/>
                      <a:gd name="T24" fmla="*/ 0 w 3"/>
                      <a:gd name="T25" fmla="*/ 0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 h="6">
                        <a:moveTo>
                          <a:pt x="0" y="0"/>
                        </a:moveTo>
                        <a:lnTo>
                          <a:pt x="0" y="1"/>
                        </a:lnTo>
                        <a:lnTo>
                          <a:pt x="0" y="3"/>
                        </a:lnTo>
                        <a:lnTo>
                          <a:pt x="0" y="5"/>
                        </a:lnTo>
                        <a:lnTo>
                          <a:pt x="0" y="6"/>
                        </a:lnTo>
                        <a:lnTo>
                          <a:pt x="1" y="6"/>
                        </a:lnTo>
                        <a:lnTo>
                          <a:pt x="2" y="6"/>
                        </a:lnTo>
                        <a:lnTo>
                          <a:pt x="3" y="6"/>
                        </a:lnTo>
                        <a:lnTo>
                          <a:pt x="3" y="2"/>
                        </a:lnTo>
                        <a:lnTo>
                          <a:pt x="3"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49" name="Freeform 1698">
                    <a:extLst>
                      <a:ext uri="{FF2B5EF4-FFF2-40B4-BE49-F238E27FC236}">
                        <a16:creationId xmlns:a16="http://schemas.microsoft.com/office/drawing/2014/main" xmlns="" id="{4A6D7B01-2429-46F8-8991-840D8DD4EFEF}"/>
                      </a:ext>
                    </a:extLst>
                  </p:cNvPr>
                  <p:cNvSpPr>
                    <a:spLocks/>
                  </p:cNvSpPr>
                  <p:nvPr/>
                </p:nvSpPr>
                <p:spPr bwMode="gray">
                  <a:xfrm>
                    <a:off x="3698899" y="2702634"/>
                    <a:ext cx="7787" cy="6675"/>
                  </a:xfrm>
                  <a:custGeom>
                    <a:avLst/>
                    <a:gdLst>
                      <a:gd name="T0" fmla="*/ 2147483647 w 7"/>
                      <a:gd name="T1" fmla="*/ 2147483647 h 6"/>
                      <a:gd name="T2" fmla="*/ 0 w 7"/>
                      <a:gd name="T3" fmla="*/ 2147483647 h 6"/>
                      <a:gd name="T4" fmla="*/ 0 w 7"/>
                      <a:gd name="T5" fmla="*/ 2147483647 h 6"/>
                      <a:gd name="T6" fmla="*/ 2147483647 w 7"/>
                      <a:gd name="T7" fmla="*/ 2147483647 h 6"/>
                      <a:gd name="T8" fmla="*/ 2147483647 w 7"/>
                      <a:gd name="T9" fmla="*/ 2147483647 h 6"/>
                      <a:gd name="T10" fmla="*/ 2147483647 w 7"/>
                      <a:gd name="T11" fmla="*/ 2147483647 h 6"/>
                      <a:gd name="T12" fmla="*/ 2147483647 w 7"/>
                      <a:gd name="T13" fmla="*/ 2147483647 h 6"/>
                      <a:gd name="T14" fmla="*/ 2147483647 w 7"/>
                      <a:gd name="T15" fmla="*/ 0 h 6"/>
                      <a:gd name="T16" fmla="*/ 2147483647 w 7"/>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6">
                        <a:moveTo>
                          <a:pt x="3" y="1"/>
                        </a:moveTo>
                        <a:lnTo>
                          <a:pt x="0" y="2"/>
                        </a:lnTo>
                        <a:lnTo>
                          <a:pt x="0" y="4"/>
                        </a:lnTo>
                        <a:lnTo>
                          <a:pt x="2" y="6"/>
                        </a:lnTo>
                        <a:lnTo>
                          <a:pt x="6" y="5"/>
                        </a:lnTo>
                        <a:lnTo>
                          <a:pt x="7" y="4"/>
                        </a:lnTo>
                        <a:lnTo>
                          <a:pt x="7" y="2"/>
                        </a:lnTo>
                        <a:lnTo>
                          <a:pt x="5" y="0"/>
                        </a:lnTo>
                        <a:lnTo>
                          <a:pt x="3"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0" name="Freeform 1700">
                    <a:extLst>
                      <a:ext uri="{FF2B5EF4-FFF2-40B4-BE49-F238E27FC236}">
                        <a16:creationId xmlns:a16="http://schemas.microsoft.com/office/drawing/2014/main" xmlns="" id="{29E65C0E-EF60-454C-B260-A07D885BA8FA}"/>
                      </a:ext>
                    </a:extLst>
                  </p:cNvPr>
                  <p:cNvSpPr>
                    <a:spLocks/>
                  </p:cNvSpPr>
                  <p:nvPr/>
                </p:nvSpPr>
                <p:spPr bwMode="gray">
                  <a:xfrm>
                    <a:off x="3716699" y="2697071"/>
                    <a:ext cx="10013" cy="10013"/>
                  </a:xfrm>
                  <a:custGeom>
                    <a:avLst/>
                    <a:gdLst>
                      <a:gd name="T0" fmla="*/ 2147483647 w 9"/>
                      <a:gd name="T1" fmla="*/ 0 h 9"/>
                      <a:gd name="T2" fmla="*/ 2147483647 w 9"/>
                      <a:gd name="T3" fmla="*/ 0 h 9"/>
                      <a:gd name="T4" fmla="*/ 0 w 9"/>
                      <a:gd name="T5" fmla="*/ 2147483647 h 9"/>
                      <a:gd name="T6" fmla="*/ 0 w 9"/>
                      <a:gd name="T7" fmla="*/ 2147483647 h 9"/>
                      <a:gd name="T8" fmla="*/ 2147483647 w 9"/>
                      <a:gd name="T9" fmla="*/ 2147483647 h 9"/>
                      <a:gd name="T10" fmla="*/ 2147483647 w 9"/>
                      <a:gd name="T11" fmla="*/ 2147483647 h 9"/>
                      <a:gd name="T12" fmla="*/ 2147483647 w 9"/>
                      <a:gd name="T13" fmla="*/ 2147483647 h 9"/>
                      <a:gd name="T14" fmla="*/ 2147483647 w 9"/>
                      <a:gd name="T15" fmla="*/ 2147483647 h 9"/>
                      <a:gd name="T16" fmla="*/ 2147483647 w 9"/>
                      <a:gd name="T17" fmla="*/ 2147483647 h 9"/>
                      <a:gd name="T18" fmla="*/ 2147483647 w 9"/>
                      <a:gd name="T19" fmla="*/ 0 h 9"/>
                      <a:gd name="T20" fmla="*/ 2147483647 w 9"/>
                      <a:gd name="T21" fmla="*/ 0 h 9"/>
                      <a:gd name="T22" fmla="*/ 2147483647 w 9"/>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 h="9">
                        <a:moveTo>
                          <a:pt x="5" y="0"/>
                        </a:moveTo>
                        <a:lnTo>
                          <a:pt x="3" y="0"/>
                        </a:lnTo>
                        <a:lnTo>
                          <a:pt x="0" y="2"/>
                        </a:lnTo>
                        <a:lnTo>
                          <a:pt x="0" y="6"/>
                        </a:lnTo>
                        <a:lnTo>
                          <a:pt x="1" y="7"/>
                        </a:lnTo>
                        <a:lnTo>
                          <a:pt x="2" y="9"/>
                        </a:lnTo>
                        <a:lnTo>
                          <a:pt x="5" y="7"/>
                        </a:lnTo>
                        <a:lnTo>
                          <a:pt x="8" y="4"/>
                        </a:lnTo>
                        <a:lnTo>
                          <a:pt x="9" y="2"/>
                        </a:lnTo>
                        <a:lnTo>
                          <a:pt x="9" y="0"/>
                        </a:lnTo>
                        <a:lnTo>
                          <a:pt x="8" y="0"/>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1" name="Freeform 1702">
                    <a:extLst>
                      <a:ext uri="{FF2B5EF4-FFF2-40B4-BE49-F238E27FC236}">
                        <a16:creationId xmlns:a16="http://schemas.microsoft.com/office/drawing/2014/main" xmlns="" id="{16FF89A6-EB60-4339-A830-C075DD62146B}"/>
                      </a:ext>
                    </a:extLst>
                  </p:cNvPr>
                  <p:cNvSpPr>
                    <a:spLocks/>
                  </p:cNvSpPr>
                  <p:nvPr/>
                </p:nvSpPr>
                <p:spPr bwMode="gray">
                  <a:xfrm>
                    <a:off x="3734498" y="2668145"/>
                    <a:ext cx="11125" cy="14463"/>
                  </a:xfrm>
                  <a:custGeom>
                    <a:avLst/>
                    <a:gdLst>
                      <a:gd name="T0" fmla="*/ 2147483647 w 10"/>
                      <a:gd name="T1" fmla="*/ 0 h 13"/>
                      <a:gd name="T2" fmla="*/ 2147483647 w 10"/>
                      <a:gd name="T3" fmla="*/ 0 h 13"/>
                      <a:gd name="T4" fmla="*/ 2147483647 w 10"/>
                      <a:gd name="T5" fmla="*/ 0 h 13"/>
                      <a:gd name="T6" fmla="*/ 0 w 10"/>
                      <a:gd name="T7" fmla="*/ 0 h 13"/>
                      <a:gd name="T8" fmla="*/ 2147483647 w 10"/>
                      <a:gd name="T9" fmla="*/ 2147483647 h 13"/>
                      <a:gd name="T10" fmla="*/ 2147483647 w 10"/>
                      <a:gd name="T11" fmla="*/ 2147483647 h 13"/>
                      <a:gd name="T12" fmla="*/ 2147483647 w 10"/>
                      <a:gd name="T13" fmla="*/ 2147483647 h 13"/>
                      <a:gd name="T14" fmla="*/ 2147483647 w 10"/>
                      <a:gd name="T15" fmla="*/ 2147483647 h 13"/>
                      <a:gd name="T16" fmla="*/ 2147483647 w 10"/>
                      <a:gd name="T17" fmla="*/ 2147483647 h 13"/>
                      <a:gd name="T18" fmla="*/ 2147483647 w 10"/>
                      <a:gd name="T19" fmla="*/ 2147483647 h 13"/>
                      <a:gd name="T20" fmla="*/ 2147483647 w 10"/>
                      <a:gd name="T21" fmla="*/ 2147483647 h 13"/>
                      <a:gd name="T22" fmla="*/ 2147483647 w 10"/>
                      <a:gd name="T23" fmla="*/ 2147483647 h 13"/>
                      <a:gd name="T24" fmla="*/ 2147483647 w 10"/>
                      <a:gd name="T25" fmla="*/ 2147483647 h 13"/>
                      <a:gd name="T26" fmla="*/ 2147483647 w 10"/>
                      <a:gd name="T27" fmla="*/ 2147483647 h 13"/>
                      <a:gd name="T28" fmla="*/ 2147483647 w 10"/>
                      <a:gd name="T29" fmla="*/ 2147483647 h 13"/>
                      <a:gd name="T30" fmla="*/ 2147483647 w 10"/>
                      <a:gd name="T31" fmla="*/ 2147483647 h 13"/>
                      <a:gd name="T32" fmla="*/ 2147483647 w 10"/>
                      <a:gd name="T33" fmla="*/ 0 h 13"/>
                      <a:gd name="T34" fmla="*/ 2147483647 w 10"/>
                      <a:gd name="T35" fmla="*/ 0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 h="13">
                        <a:moveTo>
                          <a:pt x="6" y="0"/>
                        </a:moveTo>
                        <a:lnTo>
                          <a:pt x="6" y="0"/>
                        </a:lnTo>
                        <a:lnTo>
                          <a:pt x="4" y="0"/>
                        </a:lnTo>
                        <a:lnTo>
                          <a:pt x="0" y="0"/>
                        </a:lnTo>
                        <a:lnTo>
                          <a:pt x="2" y="4"/>
                        </a:lnTo>
                        <a:lnTo>
                          <a:pt x="3" y="8"/>
                        </a:lnTo>
                        <a:lnTo>
                          <a:pt x="3" y="13"/>
                        </a:lnTo>
                        <a:lnTo>
                          <a:pt x="5" y="13"/>
                        </a:lnTo>
                        <a:lnTo>
                          <a:pt x="6" y="13"/>
                        </a:lnTo>
                        <a:lnTo>
                          <a:pt x="7" y="11"/>
                        </a:lnTo>
                        <a:lnTo>
                          <a:pt x="9" y="9"/>
                        </a:lnTo>
                        <a:lnTo>
                          <a:pt x="10" y="7"/>
                        </a:lnTo>
                        <a:lnTo>
                          <a:pt x="9" y="3"/>
                        </a:lnTo>
                        <a:lnTo>
                          <a:pt x="8" y="3"/>
                        </a:lnTo>
                        <a:lnTo>
                          <a:pt x="7" y="1"/>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2" name="Freeform 1704">
                    <a:extLst>
                      <a:ext uri="{FF2B5EF4-FFF2-40B4-BE49-F238E27FC236}">
                        <a16:creationId xmlns:a16="http://schemas.microsoft.com/office/drawing/2014/main" xmlns="" id="{C6820E2A-8769-4050-A212-3FA2CF95738C}"/>
                      </a:ext>
                    </a:extLst>
                  </p:cNvPr>
                  <p:cNvSpPr>
                    <a:spLocks/>
                  </p:cNvSpPr>
                  <p:nvPr/>
                </p:nvSpPr>
                <p:spPr bwMode="gray">
                  <a:xfrm>
                    <a:off x="3768985" y="2664807"/>
                    <a:ext cx="6675" cy="10013"/>
                  </a:xfrm>
                  <a:custGeom>
                    <a:avLst/>
                    <a:gdLst>
                      <a:gd name="T0" fmla="*/ 2147483647 w 6"/>
                      <a:gd name="T1" fmla="*/ 0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2147483647 h 9"/>
                      <a:gd name="T12" fmla="*/ 2147483647 w 6"/>
                      <a:gd name="T13" fmla="*/ 2147483647 h 9"/>
                      <a:gd name="T14" fmla="*/ 2147483647 w 6"/>
                      <a:gd name="T15" fmla="*/ 2147483647 h 9"/>
                      <a:gd name="T16" fmla="*/ 0 w 6"/>
                      <a:gd name="T17" fmla="*/ 2147483647 h 9"/>
                      <a:gd name="T18" fmla="*/ 0 w 6"/>
                      <a:gd name="T19" fmla="*/ 2147483647 h 9"/>
                      <a:gd name="T20" fmla="*/ 2147483647 w 6"/>
                      <a:gd name="T21" fmla="*/ 2147483647 h 9"/>
                      <a:gd name="T22" fmla="*/ 2147483647 w 6"/>
                      <a:gd name="T23" fmla="*/ 2147483647 h 9"/>
                      <a:gd name="T24" fmla="*/ 2147483647 w 6"/>
                      <a:gd name="T25" fmla="*/ 2147483647 h 9"/>
                      <a:gd name="T26" fmla="*/ 2147483647 w 6"/>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9">
                        <a:moveTo>
                          <a:pt x="6" y="0"/>
                        </a:moveTo>
                        <a:lnTo>
                          <a:pt x="5" y="3"/>
                        </a:lnTo>
                        <a:lnTo>
                          <a:pt x="4" y="5"/>
                        </a:lnTo>
                        <a:lnTo>
                          <a:pt x="4" y="7"/>
                        </a:lnTo>
                        <a:lnTo>
                          <a:pt x="3" y="9"/>
                        </a:lnTo>
                        <a:lnTo>
                          <a:pt x="2" y="9"/>
                        </a:lnTo>
                        <a:lnTo>
                          <a:pt x="1" y="8"/>
                        </a:lnTo>
                        <a:lnTo>
                          <a:pt x="0" y="7"/>
                        </a:lnTo>
                        <a:lnTo>
                          <a:pt x="0" y="6"/>
                        </a:lnTo>
                        <a:lnTo>
                          <a:pt x="1" y="6"/>
                        </a:lnTo>
                        <a:lnTo>
                          <a:pt x="3" y="5"/>
                        </a:lnTo>
                        <a:lnTo>
                          <a:pt x="4" y="3"/>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3" name="Freeform 1706">
                    <a:extLst>
                      <a:ext uri="{FF2B5EF4-FFF2-40B4-BE49-F238E27FC236}">
                        <a16:creationId xmlns:a16="http://schemas.microsoft.com/office/drawing/2014/main" xmlns="" id="{F5BD6530-0774-4D9A-A561-CED7D17BCB21}"/>
                      </a:ext>
                    </a:extLst>
                  </p:cNvPr>
                  <p:cNvSpPr>
                    <a:spLocks/>
                  </p:cNvSpPr>
                  <p:nvPr/>
                </p:nvSpPr>
                <p:spPr bwMode="gray">
                  <a:xfrm>
                    <a:off x="3686661" y="2652569"/>
                    <a:ext cx="10013" cy="12238"/>
                  </a:xfrm>
                  <a:custGeom>
                    <a:avLst/>
                    <a:gdLst>
                      <a:gd name="T0" fmla="*/ 2147483647 w 9"/>
                      <a:gd name="T1" fmla="*/ 0 h 11"/>
                      <a:gd name="T2" fmla="*/ 2147483647 w 9"/>
                      <a:gd name="T3" fmla="*/ 2147483647 h 11"/>
                      <a:gd name="T4" fmla="*/ 2147483647 w 9"/>
                      <a:gd name="T5" fmla="*/ 2147483647 h 11"/>
                      <a:gd name="T6" fmla="*/ 2147483647 w 9"/>
                      <a:gd name="T7" fmla="*/ 2147483647 h 11"/>
                      <a:gd name="T8" fmla="*/ 0 w 9"/>
                      <a:gd name="T9" fmla="*/ 2147483647 h 11"/>
                      <a:gd name="T10" fmla="*/ 2147483647 w 9"/>
                      <a:gd name="T11" fmla="*/ 2147483647 h 11"/>
                      <a:gd name="T12" fmla="*/ 2147483647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2147483647 w 9"/>
                      <a:gd name="T39" fmla="*/ 0 h 11"/>
                      <a:gd name="T40" fmla="*/ 2147483647 w 9"/>
                      <a:gd name="T41" fmla="*/ 0 h 11"/>
                      <a:gd name="T42" fmla="*/ 2147483647 w 9"/>
                      <a:gd name="T43" fmla="*/ 0 h 11"/>
                      <a:gd name="T44" fmla="*/ 2147483647 w 9"/>
                      <a:gd name="T45" fmla="*/ 0 h 11"/>
                      <a:gd name="T46" fmla="*/ 2147483647 w 9"/>
                      <a:gd name="T47" fmla="*/ 0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 h="11">
                        <a:moveTo>
                          <a:pt x="3" y="0"/>
                        </a:moveTo>
                        <a:lnTo>
                          <a:pt x="2" y="3"/>
                        </a:lnTo>
                        <a:lnTo>
                          <a:pt x="2" y="5"/>
                        </a:lnTo>
                        <a:lnTo>
                          <a:pt x="2" y="7"/>
                        </a:lnTo>
                        <a:lnTo>
                          <a:pt x="0" y="11"/>
                        </a:lnTo>
                        <a:lnTo>
                          <a:pt x="1" y="11"/>
                        </a:lnTo>
                        <a:lnTo>
                          <a:pt x="2" y="11"/>
                        </a:lnTo>
                        <a:lnTo>
                          <a:pt x="3" y="11"/>
                        </a:lnTo>
                        <a:lnTo>
                          <a:pt x="3" y="9"/>
                        </a:lnTo>
                        <a:lnTo>
                          <a:pt x="3" y="8"/>
                        </a:lnTo>
                        <a:lnTo>
                          <a:pt x="5" y="7"/>
                        </a:lnTo>
                        <a:lnTo>
                          <a:pt x="7" y="5"/>
                        </a:lnTo>
                        <a:lnTo>
                          <a:pt x="9" y="5"/>
                        </a:lnTo>
                        <a:lnTo>
                          <a:pt x="9" y="4"/>
                        </a:lnTo>
                        <a:lnTo>
                          <a:pt x="8" y="3"/>
                        </a:lnTo>
                        <a:lnTo>
                          <a:pt x="8" y="2"/>
                        </a:lnTo>
                        <a:lnTo>
                          <a:pt x="9" y="0"/>
                        </a:lnTo>
                        <a:lnTo>
                          <a:pt x="7" y="0"/>
                        </a:lnTo>
                        <a:lnTo>
                          <a:pt x="6" y="0"/>
                        </a:lnTo>
                        <a:lnTo>
                          <a:pt x="5"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4" name="Freeform 1708">
                    <a:extLst>
                      <a:ext uri="{FF2B5EF4-FFF2-40B4-BE49-F238E27FC236}">
                        <a16:creationId xmlns:a16="http://schemas.microsoft.com/office/drawing/2014/main" xmlns="" id="{138975E5-2CD9-4C55-B709-9BEF00CD5541}"/>
                      </a:ext>
                    </a:extLst>
                  </p:cNvPr>
                  <p:cNvSpPr>
                    <a:spLocks/>
                  </p:cNvSpPr>
                  <p:nvPr/>
                </p:nvSpPr>
                <p:spPr bwMode="gray">
                  <a:xfrm>
                    <a:off x="3696674" y="2623643"/>
                    <a:ext cx="15575" cy="26701"/>
                  </a:xfrm>
                  <a:custGeom>
                    <a:avLst/>
                    <a:gdLst>
                      <a:gd name="T0" fmla="*/ 2147483647 w 14"/>
                      <a:gd name="T1" fmla="*/ 0 h 24"/>
                      <a:gd name="T2" fmla="*/ 2147483647 w 14"/>
                      <a:gd name="T3" fmla="*/ 2147483647 h 24"/>
                      <a:gd name="T4" fmla="*/ 2147483647 w 14"/>
                      <a:gd name="T5" fmla="*/ 2147483647 h 24"/>
                      <a:gd name="T6" fmla="*/ 2147483647 w 14"/>
                      <a:gd name="T7" fmla="*/ 2147483647 h 24"/>
                      <a:gd name="T8" fmla="*/ 0 w 14"/>
                      <a:gd name="T9" fmla="*/ 2147483647 h 24"/>
                      <a:gd name="T10" fmla="*/ 2147483647 w 14"/>
                      <a:gd name="T11" fmla="*/ 2147483647 h 24"/>
                      <a:gd name="T12" fmla="*/ 2147483647 w 14"/>
                      <a:gd name="T13" fmla="*/ 2147483647 h 24"/>
                      <a:gd name="T14" fmla="*/ 2147483647 w 14"/>
                      <a:gd name="T15" fmla="*/ 2147483647 h 24"/>
                      <a:gd name="T16" fmla="*/ 2147483647 w 14"/>
                      <a:gd name="T17" fmla="*/ 2147483647 h 24"/>
                      <a:gd name="T18" fmla="*/ 2147483647 w 14"/>
                      <a:gd name="T19" fmla="*/ 2147483647 h 24"/>
                      <a:gd name="T20" fmla="*/ 2147483647 w 14"/>
                      <a:gd name="T21" fmla="*/ 2147483647 h 24"/>
                      <a:gd name="T22" fmla="*/ 2147483647 w 14"/>
                      <a:gd name="T23" fmla="*/ 2147483647 h 24"/>
                      <a:gd name="T24" fmla="*/ 2147483647 w 14"/>
                      <a:gd name="T25" fmla="*/ 2147483647 h 24"/>
                      <a:gd name="T26" fmla="*/ 2147483647 w 14"/>
                      <a:gd name="T27" fmla="*/ 2147483647 h 24"/>
                      <a:gd name="T28" fmla="*/ 2147483647 w 14"/>
                      <a:gd name="T29" fmla="*/ 2147483647 h 24"/>
                      <a:gd name="T30" fmla="*/ 2147483647 w 14"/>
                      <a:gd name="T31" fmla="*/ 2147483647 h 24"/>
                      <a:gd name="T32" fmla="*/ 2147483647 w 14"/>
                      <a:gd name="T33" fmla="*/ 0 h 24"/>
                      <a:gd name="T34" fmla="*/ 2147483647 w 14"/>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24">
                        <a:moveTo>
                          <a:pt x="7" y="0"/>
                        </a:moveTo>
                        <a:lnTo>
                          <a:pt x="7" y="6"/>
                        </a:lnTo>
                        <a:lnTo>
                          <a:pt x="5" y="9"/>
                        </a:lnTo>
                        <a:lnTo>
                          <a:pt x="3" y="14"/>
                        </a:lnTo>
                        <a:lnTo>
                          <a:pt x="0" y="21"/>
                        </a:lnTo>
                        <a:lnTo>
                          <a:pt x="4" y="21"/>
                        </a:lnTo>
                        <a:lnTo>
                          <a:pt x="4" y="22"/>
                        </a:lnTo>
                        <a:lnTo>
                          <a:pt x="5" y="23"/>
                        </a:lnTo>
                        <a:lnTo>
                          <a:pt x="7" y="24"/>
                        </a:lnTo>
                        <a:lnTo>
                          <a:pt x="10" y="17"/>
                        </a:lnTo>
                        <a:lnTo>
                          <a:pt x="14" y="14"/>
                        </a:lnTo>
                        <a:lnTo>
                          <a:pt x="13" y="11"/>
                        </a:lnTo>
                        <a:lnTo>
                          <a:pt x="12" y="7"/>
                        </a:lnTo>
                        <a:lnTo>
                          <a:pt x="11" y="4"/>
                        </a:lnTo>
                        <a:lnTo>
                          <a:pt x="10" y="0"/>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5" name="Freeform 1710">
                    <a:extLst>
                      <a:ext uri="{FF2B5EF4-FFF2-40B4-BE49-F238E27FC236}">
                        <a16:creationId xmlns:a16="http://schemas.microsoft.com/office/drawing/2014/main" xmlns="" id="{8F4F7183-8440-42AF-A554-E69AF703749D}"/>
                      </a:ext>
                    </a:extLst>
                  </p:cNvPr>
                  <p:cNvSpPr>
                    <a:spLocks/>
                  </p:cNvSpPr>
                  <p:nvPr/>
                </p:nvSpPr>
                <p:spPr bwMode="gray">
                  <a:xfrm>
                    <a:off x="3712249" y="2621418"/>
                    <a:ext cx="5563" cy="7788"/>
                  </a:xfrm>
                  <a:custGeom>
                    <a:avLst/>
                    <a:gdLst>
                      <a:gd name="T0" fmla="*/ 2147483647 w 5"/>
                      <a:gd name="T1" fmla="*/ 0 h 7"/>
                      <a:gd name="T2" fmla="*/ 2147483647 w 5"/>
                      <a:gd name="T3" fmla="*/ 0 h 7"/>
                      <a:gd name="T4" fmla="*/ 2147483647 w 5"/>
                      <a:gd name="T5" fmla="*/ 0 h 7"/>
                      <a:gd name="T6" fmla="*/ 0 w 5"/>
                      <a:gd name="T7" fmla="*/ 0 h 7"/>
                      <a:gd name="T8" fmla="*/ 0 w 5"/>
                      <a:gd name="T9" fmla="*/ 0 h 7"/>
                      <a:gd name="T10" fmla="*/ 0 w 5"/>
                      <a:gd name="T11" fmla="*/ 2147483647 h 7"/>
                      <a:gd name="T12" fmla="*/ 0 w 5"/>
                      <a:gd name="T13" fmla="*/ 2147483647 h 7"/>
                      <a:gd name="T14" fmla="*/ 0 w 5"/>
                      <a:gd name="T15" fmla="*/ 2147483647 h 7"/>
                      <a:gd name="T16" fmla="*/ 0 w 5"/>
                      <a:gd name="T17" fmla="*/ 2147483647 h 7"/>
                      <a:gd name="T18" fmla="*/ 2147483647 w 5"/>
                      <a:gd name="T19" fmla="*/ 2147483647 h 7"/>
                      <a:gd name="T20" fmla="*/ 2147483647 w 5"/>
                      <a:gd name="T21" fmla="*/ 2147483647 h 7"/>
                      <a:gd name="T22" fmla="*/ 2147483647 w 5"/>
                      <a:gd name="T23" fmla="*/ 2147483647 h 7"/>
                      <a:gd name="T24" fmla="*/ 2147483647 w 5"/>
                      <a:gd name="T25" fmla="*/ 2147483647 h 7"/>
                      <a:gd name="T26" fmla="*/ 2147483647 w 5"/>
                      <a:gd name="T27" fmla="*/ 2147483647 h 7"/>
                      <a:gd name="T28" fmla="*/ 2147483647 w 5"/>
                      <a:gd name="T29" fmla="*/ 2147483647 h 7"/>
                      <a:gd name="T30" fmla="*/ 2147483647 w 5"/>
                      <a:gd name="T31" fmla="*/ 0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 h="7">
                        <a:moveTo>
                          <a:pt x="3" y="0"/>
                        </a:moveTo>
                        <a:lnTo>
                          <a:pt x="3" y="0"/>
                        </a:lnTo>
                        <a:lnTo>
                          <a:pt x="1" y="0"/>
                        </a:lnTo>
                        <a:lnTo>
                          <a:pt x="0" y="0"/>
                        </a:lnTo>
                        <a:lnTo>
                          <a:pt x="0" y="1"/>
                        </a:lnTo>
                        <a:lnTo>
                          <a:pt x="0" y="2"/>
                        </a:lnTo>
                        <a:lnTo>
                          <a:pt x="0" y="7"/>
                        </a:lnTo>
                        <a:lnTo>
                          <a:pt x="1" y="7"/>
                        </a:lnTo>
                        <a:lnTo>
                          <a:pt x="3" y="7"/>
                        </a:lnTo>
                        <a:lnTo>
                          <a:pt x="4" y="4"/>
                        </a:lnTo>
                        <a:lnTo>
                          <a:pt x="4" y="2"/>
                        </a:lnTo>
                        <a:lnTo>
                          <a:pt x="5"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6" name="Freeform 1712">
                    <a:extLst>
                      <a:ext uri="{FF2B5EF4-FFF2-40B4-BE49-F238E27FC236}">
                        <a16:creationId xmlns:a16="http://schemas.microsoft.com/office/drawing/2014/main" xmlns="" id="{9E0779B0-DC0E-4DA0-9FFD-D40184B5B06E}"/>
                      </a:ext>
                    </a:extLst>
                  </p:cNvPr>
                  <p:cNvSpPr>
                    <a:spLocks/>
                  </p:cNvSpPr>
                  <p:nvPr/>
                </p:nvSpPr>
                <p:spPr bwMode="gray">
                  <a:xfrm>
                    <a:off x="3811259" y="2613630"/>
                    <a:ext cx="3338" cy="4450"/>
                  </a:xfrm>
                  <a:custGeom>
                    <a:avLst/>
                    <a:gdLst>
                      <a:gd name="T0" fmla="*/ 2147483647 w 3"/>
                      <a:gd name="T1" fmla="*/ 0 h 4"/>
                      <a:gd name="T2" fmla="*/ 2147483647 w 3"/>
                      <a:gd name="T3" fmla="*/ 2147483647 h 4"/>
                      <a:gd name="T4" fmla="*/ 2147483647 w 3"/>
                      <a:gd name="T5" fmla="*/ 2147483647 h 4"/>
                      <a:gd name="T6" fmla="*/ 2147483647 w 3"/>
                      <a:gd name="T7" fmla="*/ 2147483647 h 4"/>
                      <a:gd name="T8" fmla="*/ 2147483647 w 3"/>
                      <a:gd name="T9" fmla="*/ 2147483647 h 4"/>
                      <a:gd name="T10" fmla="*/ 2147483647 w 3"/>
                      <a:gd name="T11" fmla="*/ 2147483647 h 4"/>
                      <a:gd name="T12" fmla="*/ 0 w 3"/>
                      <a:gd name="T13" fmla="*/ 2147483647 h 4"/>
                      <a:gd name="T14" fmla="*/ 0 w 3"/>
                      <a:gd name="T15" fmla="*/ 2147483647 h 4"/>
                      <a:gd name="T16" fmla="*/ 2147483647 w 3"/>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4">
                        <a:moveTo>
                          <a:pt x="2" y="0"/>
                        </a:moveTo>
                        <a:lnTo>
                          <a:pt x="2" y="1"/>
                        </a:lnTo>
                        <a:lnTo>
                          <a:pt x="3" y="2"/>
                        </a:lnTo>
                        <a:lnTo>
                          <a:pt x="3" y="3"/>
                        </a:lnTo>
                        <a:lnTo>
                          <a:pt x="2" y="4"/>
                        </a:lnTo>
                        <a:lnTo>
                          <a:pt x="1" y="3"/>
                        </a:lnTo>
                        <a:lnTo>
                          <a:pt x="0" y="2"/>
                        </a:lnTo>
                        <a:lnTo>
                          <a:pt x="0" y="1"/>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7" name="Freeform 1714">
                    <a:extLst>
                      <a:ext uri="{FF2B5EF4-FFF2-40B4-BE49-F238E27FC236}">
                        <a16:creationId xmlns:a16="http://schemas.microsoft.com/office/drawing/2014/main" xmlns="" id="{64465F9E-5015-48C9-BAD7-E5C5A613C883}"/>
                      </a:ext>
                    </a:extLst>
                  </p:cNvPr>
                  <p:cNvSpPr>
                    <a:spLocks/>
                  </p:cNvSpPr>
                  <p:nvPr/>
                </p:nvSpPr>
                <p:spPr bwMode="gray">
                  <a:xfrm>
                    <a:off x="3712249" y="2603617"/>
                    <a:ext cx="13350" cy="14463"/>
                  </a:xfrm>
                  <a:custGeom>
                    <a:avLst/>
                    <a:gdLst>
                      <a:gd name="T0" fmla="*/ 2147483647 w 12"/>
                      <a:gd name="T1" fmla="*/ 0 h 13"/>
                      <a:gd name="T2" fmla="*/ 2147483647 w 12"/>
                      <a:gd name="T3" fmla="*/ 2147483647 h 13"/>
                      <a:gd name="T4" fmla="*/ 2147483647 w 12"/>
                      <a:gd name="T5" fmla="*/ 2147483647 h 13"/>
                      <a:gd name="T6" fmla="*/ 0 w 12"/>
                      <a:gd name="T7" fmla="*/ 2147483647 h 13"/>
                      <a:gd name="T8" fmla="*/ 0 w 12"/>
                      <a:gd name="T9" fmla="*/ 2147483647 h 13"/>
                      <a:gd name="T10" fmla="*/ 2147483647 w 12"/>
                      <a:gd name="T11" fmla="*/ 2147483647 h 13"/>
                      <a:gd name="T12" fmla="*/ 2147483647 w 12"/>
                      <a:gd name="T13" fmla="*/ 2147483647 h 13"/>
                      <a:gd name="T14" fmla="*/ 2147483647 w 12"/>
                      <a:gd name="T15" fmla="*/ 2147483647 h 13"/>
                      <a:gd name="T16" fmla="*/ 2147483647 w 12"/>
                      <a:gd name="T17" fmla="*/ 2147483647 h 13"/>
                      <a:gd name="T18" fmla="*/ 2147483647 w 12"/>
                      <a:gd name="T19" fmla="*/ 2147483647 h 13"/>
                      <a:gd name="T20" fmla="*/ 2147483647 w 12"/>
                      <a:gd name="T21" fmla="*/ 2147483647 h 13"/>
                      <a:gd name="T22" fmla="*/ 2147483647 w 12"/>
                      <a:gd name="T23" fmla="*/ 2147483647 h 13"/>
                      <a:gd name="T24" fmla="*/ 2147483647 w 12"/>
                      <a:gd name="T25" fmla="*/ 2147483647 h 13"/>
                      <a:gd name="T26" fmla="*/ 2147483647 w 12"/>
                      <a:gd name="T27" fmla="*/ 2147483647 h 13"/>
                      <a:gd name="T28" fmla="*/ 2147483647 w 12"/>
                      <a:gd name="T29" fmla="*/ 2147483647 h 13"/>
                      <a:gd name="T30" fmla="*/ 2147483647 w 12"/>
                      <a:gd name="T31" fmla="*/ 2147483647 h 13"/>
                      <a:gd name="T32" fmla="*/ 2147483647 w 12"/>
                      <a:gd name="T33" fmla="*/ 2147483647 h 13"/>
                      <a:gd name="T34" fmla="*/ 2147483647 w 12"/>
                      <a:gd name="T35" fmla="*/ 2147483647 h 13"/>
                      <a:gd name="T36" fmla="*/ 2147483647 w 12"/>
                      <a:gd name="T37" fmla="*/ 2147483647 h 13"/>
                      <a:gd name="T38" fmla="*/ 2147483647 w 12"/>
                      <a:gd name="T39" fmla="*/ 2147483647 h 13"/>
                      <a:gd name="T40" fmla="*/ 2147483647 w 12"/>
                      <a:gd name="T41" fmla="*/ 0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 h="13">
                        <a:moveTo>
                          <a:pt x="3" y="0"/>
                        </a:moveTo>
                        <a:lnTo>
                          <a:pt x="3" y="1"/>
                        </a:lnTo>
                        <a:lnTo>
                          <a:pt x="1" y="2"/>
                        </a:lnTo>
                        <a:lnTo>
                          <a:pt x="0" y="3"/>
                        </a:lnTo>
                        <a:lnTo>
                          <a:pt x="0" y="4"/>
                        </a:lnTo>
                        <a:lnTo>
                          <a:pt x="2" y="9"/>
                        </a:lnTo>
                        <a:lnTo>
                          <a:pt x="3" y="12"/>
                        </a:lnTo>
                        <a:lnTo>
                          <a:pt x="6" y="13"/>
                        </a:lnTo>
                        <a:lnTo>
                          <a:pt x="12" y="9"/>
                        </a:lnTo>
                        <a:lnTo>
                          <a:pt x="12" y="8"/>
                        </a:lnTo>
                        <a:lnTo>
                          <a:pt x="12" y="7"/>
                        </a:lnTo>
                        <a:lnTo>
                          <a:pt x="12" y="6"/>
                        </a:lnTo>
                        <a:lnTo>
                          <a:pt x="12" y="5"/>
                        </a:lnTo>
                        <a:lnTo>
                          <a:pt x="11" y="4"/>
                        </a:lnTo>
                        <a:lnTo>
                          <a:pt x="9" y="4"/>
                        </a:lnTo>
                        <a:lnTo>
                          <a:pt x="8" y="2"/>
                        </a:lnTo>
                        <a:lnTo>
                          <a:pt x="7" y="2"/>
                        </a:lnTo>
                        <a:lnTo>
                          <a:pt x="5" y="2"/>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8" name="Freeform 1716">
                    <a:extLst>
                      <a:ext uri="{FF2B5EF4-FFF2-40B4-BE49-F238E27FC236}">
                        <a16:creationId xmlns:a16="http://schemas.microsoft.com/office/drawing/2014/main" xmlns="" id="{91960D98-FBA3-4EC3-B58B-7E81F7360C4E}"/>
                      </a:ext>
                    </a:extLst>
                  </p:cNvPr>
                  <p:cNvSpPr>
                    <a:spLocks/>
                  </p:cNvSpPr>
                  <p:nvPr/>
                </p:nvSpPr>
                <p:spPr bwMode="gray">
                  <a:xfrm>
                    <a:off x="3923618" y="2573578"/>
                    <a:ext cx="4450" cy="8901"/>
                  </a:xfrm>
                  <a:custGeom>
                    <a:avLst/>
                    <a:gdLst>
                      <a:gd name="T0" fmla="*/ 2147483647 w 4"/>
                      <a:gd name="T1" fmla="*/ 0 h 8"/>
                      <a:gd name="T2" fmla="*/ 2147483647 w 4"/>
                      <a:gd name="T3" fmla="*/ 2147483647 h 8"/>
                      <a:gd name="T4" fmla="*/ 0 w 4"/>
                      <a:gd name="T5" fmla="*/ 2147483647 h 8"/>
                      <a:gd name="T6" fmla="*/ 0 w 4"/>
                      <a:gd name="T7" fmla="*/ 2147483647 h 8"/>
                      <a:gd name="T8" fmla="*/ 2147483647 w 4"/>
                      <a:gd name="T9" fmla="*/ 2147483647 h 8"/>
                      <a:gd name="T10" fmla="*/ 2147483647 w 4"/>
                      <a:gd name="T11" fmla="*/ 2147483647 h 8"/>
                      <a:gd name="T12" fmla="*/ 2147483647 w 4"/>
                      <a:gd name="T13" fmla="*/ 2147483647 h 8"/>
                      <a:gd name="T14" fmla="*/ 2147483647 w 4"/>
                      <a:gd name="T15" fmla="*/ 2147483647 h 8"/>
                      <a:gd name="T16" fmla="*/ 2147483647 w 4"/>
                      <a:gd name="T17" fmla="*/ 2147483647 h 8"/>
                      <a:gd name="T18" fmla="*/ 2147483647 w 4"/>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8">
                        <a:moveTo>
                          <a:pt x="3" y="0"/>
                        </a:moveTo>
                        <a:lnTo>
                          <a:pt x="1" y="2"/>
                        </a:lnTo>
                        <a:lnTo>
                          <a:pt x="0" y="3"/>
                        </a:lnTo>
                        <a:lnTo>
                          <a:pt x="0" y="4"/>
                        </a:lnTo>
                        <a:lnTo>
                          <a:pt x="2" y="7"/>
                        </a:lnTo>
                        <a:lnTo>
                          <a:pt x="3" y="8"/>
                        </a:lnTo>
                        <a:lnTo>
                          <a:pt x="3" y="7"/>
                        </a:lnTo>
                        <a:lnTo>
                          <a:pt x="4" y="4"/>
                        </a:lnTo>
                        <a:lnTo>
                          <a:pt x="4" y="3"/>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59" name="Freeform 1718">
                    <a:extLst>
                      <a:ext uri="{FF2B5EF4-FFF2-40B4-BE49-F238E27FC236}">
                        <a16:creationId xmlns:a16="http://schemas.microsoft.com/office/drawing/2014/main" xmlns="" id="{732E51B6-45D6-4E95-B94E-02161B8213D8}"/>
                      </a:ext>
                    </a:extLst>
                  </p:cNvPr>
                  <p:cNvSpPr>
                    <a:spLocks/>
                  </p:cNvSpPr>
                  <p:nvPr/>
                </p:nvSpPr>
                <p:spPr bwMode="gray">
                  <a:xfrm>
                    <a:off x="3669975" y="2568016"/>
                    <a:ext cx="8900" cy="4450"/>
                  </a:xfrm>
                  <a:custGeom>
                    <a:avLst/>
                    <a:gdLst>
                      <a:gd name="T0" fmla="*/ 0 w 8"/>
                      <a:gd name="T1" fmla="*/ 0 h 4"/>
                      <a:gd name="T2" fmla="*/ 2147483647 w 8"/>
                      <a:gd name="T3" fmla="*/ 0 h 4"/>
                      <a:gd name="T4" fmla="*/ 2147483647 w 8"/>
                      <a:gd name="T5" fmla="*/ 2147483647 h 4"/>
                      <a:gd name="T6" fmla="*/ 0 w 8"/>
                      <a:gd name="T7" fmla="*/ 2147483647 h 4"/>
                      <a:gd name="T8" fmla="*/ 0 w 8"/>
                      <a:gd name="T9" fmla="*/ 2147483647 h 4"/>
                      <a:gd name="T10" fmla="*/ 2147483647 w 8"/>
                      <a:gd name="T11" fmla="*/ 2147483647 h 4"/>
                      <a:gd name="T12" fmla="*/ 2147483647 w 8"/>
                      <a:gd name="T13" fmla="*/ 2147483647 h 4"/>
                      <a:gd name="T14" fmla="*/ 2147483647 w 8"/>
                      <a:gd name="T15" fmla="*/ 2147483647 h 4"/>
                      <a:gd name="T16" fmla="*/ 2147483647 w 8"/>
                      <a:gd name="T17" fmla="*/ 2147483647 h 4"/>
                      <a:gd name="T18" fmla="*/ 2147483647 w 8"/>
                      <a:gd name="T19" fmla="*/ 2147483647 h 4"/>
                      <a:gd name="T20" fmla="*/ 2147483647 w 8"/>
                      <a:gd name="T21" fmla="*/ 2147483647 h 4"/>
                      <a:gd name="T22" fmla="*/ 2147483647 w 8"/>
                      <a:gd name="T23" fmla="*/ 2147483647 h 4"/>
                      <a:gd name="T24" fmla="*/ 2147483647 w 8"/>
                      <a:gd name="T25" fmla="*/ 2147483647 h 4"/>
                      <a:gd name="T26" fmla="*/ 2147483647 w 8"/>
                      <a:gd name="T27" fmla="*/ 0 h 4"/>
                      <a:gd name="T28" fmla="*/ 2147483647 w 8"/>
                      <a:gd name="T29" fmla="*/ 0 h 4"/>
                      <a:gd name="T30" fmla="*/ 2147483647 w 8"/>
                      <a:gd name="T31" fmla="*/ 0 h 4"/>
                      <a:gd name="T32" fmla="*/ 0 w 8"/>
                      <a:gd name="T33" fmla="*/ 0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 h="4">
                        <a:moveTo>
                          <a:pt x="0" y="0"/>
                        </a:moveTo>
                        <a:lnTo>
                          <a:pt x="1" y="0"/>
                        </a:lnTo>
                        <a:lnTo>
                          <a:pt x="1" y="1"/>
                        </a:lnTo>
                        <a:lnTo>
                          <a:pt x="0" y="2"/>
                        </a:lnTo>
                        <a:lnTo>
                          <a:pt x="1" y="3"/>
                        </a:lnTo>
                        <a:lnTo>
                          <a:pt x="4" y="3"/>
                        </a:lnTo>
                        <a:lnTo>
                          <a:pt x="7" y="4"/>
                        </a:lnTo>
                        <a:lnTo>
                          <a:pt x="7" y="3"/>
                        </a:lnTo>
                        <a:lnTo>
                          <a:pt x="6" y="2"/>
                        </a:lnTo>
                        <a:lnTo>
                          <a:pt x="8" y="3"/>
                        </a:lnTo>
                        <a:lnTo>
                          <a:pt x="8" y="2"/>
                        </a:lnTo>
                        <a:lnTo>
                          <a:pt x="7" y="1"/>
                        </a:lnTo>
                        <a:lnTo>
                          <a:pt x="6" y="0"/>
                        </a:lnTo>
                        <a:lnTo>
                          <a:pt x="4"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0" name="Freeform 1720">
                    <a:extLst>
                      <a:ext uri="{FF2B5EF4-FFF2-40B4-BE49-F238E27FC236}">
                        <a16:creationId xmlns:a16="http://schemas.microsoft.com/office/drawing/2014/main" xmlns="" id="{EB4AD0C5-24BD-4F38-8D6B-B69BED64523C}"/>
                      </a:ext>
                    </a:extLst>
                  </p:cNvPr>
                  <p:cNvSpPr>
                    <a:spLocks/>
                  </p:cNvSpPr>
                  <p:nvPr/>
                </p:nvSpPr>
                <p:spPr bwMode="gray">
                  <a:xfrm>
                    <a:off x="3734498" y="2558003"/>
                    <a:ext cx="53399" cy="45615"/>
                  </a:xfrm>
                  <a:custGeom>
                    <a:avLst/>
                    <a:gdLst>
                      <a:gd name="T0" fmla="*/ 2147483647 w 48"/>
                      <a:gd name="T1" fmla="*/ 2147483647 h 41"/>
                      <a:gd name="T2" fmla="*/ 2147483647 w 48"/>
                      <a:gd name="T3" fmla="*/ 2147483647 h 41"/>
                      <a:gd name="T4" fmla="*/ 2147483647 w 48"/>
                      <a:gd name="T5" fmla="*/ 2147483647 h 41"/>
                      <a:gd name="T6" fmla="*/ 2147483647 w 48"/>
                      <a:gd name="T7" fmla="*/ 2147483647 h 41"/>
                      <a:gd name="T8" fmla="*/ 2147483647 w 48"/>
                      <a:gd name="T9" fmla="*/ 2147483647 h 41"/>
                      <a:gd name="T10" fmla="*/ 2147483647 w 48"/>
                      <a:gd name="T11" fmla="*/ 2147483647 h 41"/>
                      <a:gd name="T12" fmla="*/ 2147483647 w 48"/>
                      <a:gd name="T13" fmla="*/ 2147483647 h 41"/>
                      <a:gd name="T14" fmla="*/ 2147483647 w 48"/>
                      <a:gd name="T15" fmla="*/ 2147483647 h 41"/>
                      <a:gd name="T16" fmla="*/ 2147483647 w 48"/>
                      <a:gd name="T17" fmla="*/ 2147483647 h 41"/>
                      <a:gd name="T18" fmla="*/ 2147483647 w 48"/>
                      <a:gd name="T19" fmla="*/ 2147483647 h 41"/>
                      <a:gd name="T20" fmla="*/ 2147483647 w 48"/>
                      <a:gd name="T21" fmla="*/ 2147483647 h 41"/>
                      <a:gd name="T22" fmla="*/ 2147483647 w 48"/>
                      <a:gd name="T23" fmla="*/ 2147483647 h 41"/>
                      <a:gd name="T24" fmla="*/ 2147483647 w 48"/>
                      <a:gd name="T25" fmla="*/ 2147483647 h 41"/>
                      <a:gd name="T26" fmla="*/ 2147483647 w 48"/>
                      <a:gd name="T27" fmla="*/ 2147483647 h 41"/>
                      <a:gd name="T28" fmla="*/ 2147483647 w 48"/>
                      <a:gd name="T29" fmla="*/ 2147483647 h 41"/>
                      <a:gd name="T30" fmla="*/ 2147483647 w 48"/>
                      <a:gd name="T31" fmla="*/ 2147483647 h 41"/>
                      <a:gd name="T32" fmla="*/ 2147483647 w 48"/>
                      <a:gd name="T33" fmla="*/ 2147483647 h 41"/>
                      <a:gd name="T34" fmla="*/ 2147483647 w 48"/>
                      <a:gd name="T35" fmla="*/ 2147483647 h 41"/>
                      <a:gd name="T36" fmla="*/ 2147483647 w 48"/>
                      <a:gd name="T37" fmla="*/ 2147483647 h 41"/>
                      <a:gd name="T38" fmla="*/ 2147483647 w 48"/>
                      <a:gd name="T39" fmla="*/ 2147483647 h 41"/>
                      <a:gd name="T40" fmla="*/ 0 w 48"/>
                      <a:gd name="T41" fmla="*/ 2147483647 h 41"/>
                      <a:gd name="T42" fmla="*/ 0 w 48"/>
                      <a:gd name="T43" fmla="*/ 2147483647 h 41"/>
                      <a:gd name="T44" fmla="*/ 0 w 48"/>
                      <a:gd name="T45" fmla="*/ 2147483647 h 41"/>
                      <a:gd name="T46" fmla="*/ 2147483647 w 48"/>
                      <a:gd name="T47" fmla="*/ 2147483647 h 41"/>
                      <a:gd name="T48" fmla="*/ 2147483647 w 48"/>
                      <a:gd name="T49" fmla="*/ 2147483647 h 41"/>
                      <a:gd name="T50" fmla="*/ 2147483647 w 48"/>
                      <a:gd name="T51" fmla="*/ 2147483647 h 41"/>
                      <a:gd name="T52" fmla="*/ 2147483647 w 48"/>
                      <a:gd name="T53" fmla="*/ 2147483647 h 41"/>
                      <a:gd name="T54" fmla="*/ 2147483647 w 48"/>
                      <a:gd name="T55" fmla="*/ 2147483647 h 41"/>
                      <a:gd name="T56" fmla="*/ 2147483647 w 48"/>
                      <a:gd name="T57" fmla="*/ 2147483647 h 41"/>
                      <a:gd name="T58" fmla="*/ 2147483647 w 48"/>
                      <a:gd name="T59" fmla="*/ 2147483647 h 41"/>
                      <a:gd name="T60" fmla="*/ 2147483647 w 48"/>
                      <a:gd name="T61" fmla="*/ 2147483647 h 41"/>
                      <a:gd name="T62" fmla="*/ 2147483647 w 48"/>
                      <a:gd name="T63" fmla="*/ 2147483647 h 41"/>
                      <a:gd name="T64" fmla="*/ 2147483647 w 48"/>
                      <a:gd name="T65" fmla="*/ 2147483647 h 41"/>
                      <a:gd name="T66" fmla="*/ 2147483647 w 48"/>
                      <a:gd name="T67" fmla="*/ 2147483647 h 41"/>
                      <a:gd name="T68" fmla="*/ 2147483647 w 48"/>
                      <a:gd name="T69" fmla="*/ 2147483647 h 41"/>
                      <a:gd name="T70" fmla="*/ 2147483647 w 48"/>
                      <a:gd name="T71" fmla="*/ 2147483647 h 41"/>
                      <a:gd name="T72" fmla="*/ 2147483647 w 48"/>
                      <a:gd name="T73" fmla="*/ 2147483647 h 41"/>
                      <a:gd name="T74" fmla="*/ 2147483647 w 48"/>
                      <a:gd name="T75" fmla="*/ 0 h 4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 h="41">
                        <a:moveTo>
                          <a:pt x="45" y="0"/>
                        </a:moveTo>
                        <a:lnTo>
                          <a:pt x="41" y="2"/>
                        </a:lnTo>
                        <a:lnTo>
                          <a:pt x="37" y="3"/>
                        </a:lnTo>
                        <a:lnTo>
                          <a:pt x="34" y="4"/>
                        </a:lnTo>
                        <a:lnTo>
                          <a:pt x="29" y="6"/>
                        </a:lnTo>
                        <a:lnTo>
                          <a:pt x="27" y="6"/>
                        </a:lnTo>
                        <a:lnTo>
                          <a:pt x="26" y="6"/>
                        </a:lnTo>
                        <a:lnTo>
                          <a:pt x="24" y="6"/>
                        </a:lnTo>
                        <a:lnTo>
                          <a:pt x="22" y="6"/>
                        </a:lnTo>
                        <a:lnTo>
                          <a:pt x="22" y="7"/>
                        </a:lnTo>
                        <a:lnTo>
                          <a:pt x="21" y="8"/>
                        </a:lnTo>
                        <a:lnTo>
                          <a:pt x="20" y="9"/>
                        </a:lnTo>
                        <a:lnTo>
                          <a:pt x="20" y="8"/>
                        </a:lnTo>
                        <a:lnTo>
                          <a:pt x="20" y="7"/>
                        </a:lnTo>
                        <a:lnTo>
                          <a:pt x="19" y="6"/>
                        </a:lnTo>
                        <a:lnTo>
                          <a:pt x="17" y="6"/>
                        </a:lnTo>
                        <a:lnTo>
                          <a:pt x="16" y="6"/>
                        </a:lnTo>
                        <a:lnTo>
                          <a:pt x="15" y="6"/>
                        </a:lnTo>
                        <a:lnTo>
                          <a:pt x="14" y="6"/>
                        </a:lnTo>
                        <a:lnTo>
                          <a:pt x="13" y="6"/>
                        </a:lnTo>
                        <a:lnTo>
                          <a:pt x="13" y="9"/>
                        </a:lnTo>
                        <a:lnTo>
                          <a:pt x="12" y="10"/>
                        </a:lnTo>
                        <a:lnTo>
                          <a:pt x="10" y="12"/>
                        </a:lnTo>
                        <a:lnTo>
                          <a:pt x="8" y="14"/>
                        </a:lnTo>
                        <a:lnTo>
                          <a:pt x="7" y="15"/>
                        </a:lnTo>
                        <a:lnTo>
                          <a:pt x="7" y="16"/>
                        </a:lnTo>
                        <a:lnTo>
                          <a:pt x="7" y="17"/>
                        </a:lnTo>
                        <a:lnTo>
                          <a:pt x="7" y="18"/>
                        </a:lnTo>
                        <a:lnTo>
                          <a:pt x="7" y="19"/>
                        </a:lnTo>
                        <a:lnTo>
                          <a:pt x="6" y="19"/>
                        </a:lnTo>
                        <a:lnTo>
                          <a:pt x="5" y="21"/>
                        </a:lnTo>
                        <a:lnTo>
                          <a:pt x="4" y="22"/>
                        </a:lnTo>
                        <a:lnTo>
                          <a:pt x="3" y="22"/>
                        </a:lnTo>
                        <a:lnTo>
                          <a:pt x="4" y="25"/>
                        </a:lnTo>
                        <a:lnTo>
                          <a:pt x="5" y="27"/>
                        </a:lnTo>
                        <a:lnTo>
                          <a:pt x="6" y="30"/>
                        </a:lnTo>
                        <a:lnTo>
                          <a:pt x="7" y="31"/>
                        </a:lnTo>
                        <a:lnTo>
                          <a:pt x="4" y="32"/>
                        </a:lnTo>
                        <a:lnTo>
                          <a:pt x="2" y="33"/>
                        </a:lnTo>
                        <a:lnTo>
                          <a:pt x="0" y="34"/>
                        </a:lnTo>
                        <a:lnTo>
                          <a:pt x="0" y="35"/>
                        </a:lnTo>
                        <a:lnTo>
                          <a:pt x="0" y="37"/>
                        </a:lnTo>
                        <a:lnTo>
                          <a:pt x="0" y="38"/>
                        </a:lnTo>
                        <a:lnTo>
                          <a:pt x="0" y="39"/>
                        </a:lnTo>
                        <a:lnTo>
                          <a:pt x="0" y="41"/>
                        </a:lnTo>
                        <a:lnTo>
                          <a:pt x="1" y="41"/>
                        </a:lnTo>
                        <a:lnTo>
                          <a:pt x="2" y="41"/>
                        </a:lnTo>
                        <a:lnTo>
                          <a:pt x="6" y="41"/>
                        </a:lnTo>
                        <a:lnTo>
                          <a:pt x="10" y="41"/>
                        </a:lnTo>
                        <a:lnTo>
                          <a:pt x="10" y="40"/>
                        </a:lnTo>
                        <a:lnTo>
                          <a:pt x="11" y="38"/>
                        </a:lnTo>
                        <a:lnTo>
                          <a:pt x="13" y="38"/>
                        </a:lnTo>
                        <a:lnTo>
                          <a:pt x="16" y="37"/>
                        </a:lnTo>
                        <a:lnTo>
                          <a:pt x="19" y="37"/>
                        </a:lnTo>
                        <a:lnTo>
                          <a:pt x="21" y="38"/>
                        </a:lnTo>
                        <a:lnTo>
                          <a:pt x="26" y="38"/>
                        </a:lnTo>
                        <a:lnTo>
                          <a:pt x="26" y="37"/>
                        </a:lnTo>
                        <a:lnTo>
                          <a:pt x="28" y="36"/>
                        </a:lnTo>
                        <a:lnTo>
                          <a:pt x="30" y="35"/>
                        </a:lnTo>
                        <a:lnTo>
                          <a:pt x="32" y="35"/>
                        </a:lnTo>
                        <a:lnTo>
                          <a:pt x="32" y="32"/>
                        </a:lnTo>
                        <a:lnTo>
                          <a:pt x="32" y="29"/>
                        </a:lnTo>
                        <a:lnTo>
                          <a:pt x="32" y="25"/>
                        </a:lnTo>
                        <a:lnTo>
                          <a:pt x="32" y="22"/>
                        </a:lnTo>
                        <a:lnTo>
                          <a:pt x="35" y="20"/>
                        </a:lnTo>
                        <a:lnTo>
                          <a:pt x="37" y="19"/>
                        </a:lnTo>
                        <a:lnTo>
                          <a:pt x="39" y="19"/>
                        </a:lnTo>
                        <a:lnTo>
                          <a:pt x="45" y="15"/>
                        </a:lnTo>
                        <a:lnTo>
                          <a:pt x="47" y="11"/>
                        </a:lnTo>
                        <a:lnTo>
                          <a:pt x="48" y="7"/>
                        </a:lnTo>
                        <a:lnTo>
                          <a:pt x="48" y="4"/>
                        </a:lnTo>
                        <a:lnTo>
                          <a:pt x="48" y="0"/>
                        </a:lnTo>
                        <a:lnTo>
                          <a:pt x="4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1" name="Freeform 1722">
                    <a:extLst>
                      <a:ext uri="{FF2B5EF4-FFF2-40B4-BE49-F238E27FC236}">
                        <a16:creationId xmlns:a16="http://schemas.microsoft.com/office/drawing/2014/main" xmlns="" id="{2E72F412-F8EC-4636-8A6F-C2F0E7545346}"/>
                      </a:ext>
                    </a:extLst>
                  </p:cNvPr>
                  <p:cNvSpPr>
                    <a:spLocks/>
                  </p:cNvSpPr>
                  <p:nvPr/>
                </p:nvSpPr>
                <p:spPr bwMode="gray">
                  <a:xfrm>
                    <a:off x="3945868" y="2558003"/>
                    <a:ext cx="4450" cy="2225"/>
                  </a:xfrm>
                  <a:custGeom>
                    <a:avLst/>
                    <a:gdLst>
                      <a:gd name="T0" fmla="*/ 0 w 4"/>
                      <a:gd name="T1" fmla="*/ 0 h 2"/>
                      <a:gd name="T2" fmla="*/ 0 w 4"/>
                      <a:gd name="T3" fmla="*/ 2147483647 h 2"/>
                      <a:gd name="T4" fmla="*/ 2147483647 w 4"/>
                      <a:gd name="T5" fmla="*/ 2147483647 h 2"/>
                      <a:gd name="T6" fmla="*/ 2147483647 w 4"/>
                      <a:gd name="T7" fmla="*/ 2147483647 h 2"/>
                      <a:gd name="T8" fmla="*/ 2147483647 w 4"/>
                      <a:gd name="T9" fmla="*/ 0 h 2"/>
                      <a:gd name="T10" fmla="*/ 0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0" y="0"/>
                        </a:moveTo>
                        <a:lnTo>
                          <a:pt x="0" y="2"/>
                        </a:lnTo>
                        <a:lnTo>
                          <a:pt x="2" y="2"/>
                        </a:lnTo>
                        <a:lnTo>
                          <a:pt x="4" y="1"/>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2" name="Freeform 1724">
                    <a:extLst>
                      <a:ext uri="{FF2B5EF4-FFF2-40B4-BE49-F238E27FC236}">
                        <a16:creationId xmlns:a16="http://schemas.microsoft.com/office/drawing/2014/main" xmlns="" id="{9E3002FC-3FFB-4AF1-B3A3-5F71D86D14EF}"/>
                      </a:ext>
                    </a:extLst>
                  </p:cNvPr>
                  <p:cNvSpPr>
                    <a:spLocks/>
                  </p:cNvSpPr>
                  <p:nvPr/>
                </p:nvSpPr>
                <p:spPr bwMode="gray">
                  <a:xfrm>
                    <a:off x="3909157" y="2550214"/>
                    <a:ext cx="31149" cy="23364"/>
                  </a:xfrm>
                  <a:custGeom>
                    <a:avLst/>
                    <a:gdLst>
                      <a:gd name="T0" fmla="*/ 2147483647 w 28"/>
                      <a:gd name="T1" fmla="*/ 0 h 21"/>
                      <a:gd name="T2" fmla="*/ 2147483647 w 28"/>
                      <a:gd name="T3" fmla="*/ 2147483647 h 21"/>
                      <a:gd name="T4" fmla="*/ 2147483647 w 28"/>
                      <a:gd name="T5" fmla="*/ 2147483647 h 21"/>
                      <a:gd name="T6" fmla="*/ 2147483647 w 28"/>
                      <a:gd name="T7" fmla="*/ 2147483647 h 21"/>
                      <a:gd name="T8" fmla="*/ 2147483647 w 28"/>
                      <a:gd name="T9" fmla="*/ 2147483647 h 21"/>
                      <a:gd name="T10" fmla="*/ 2147483647 w 28"/>
                      <a:gd name="T11" fmla="*/ 2147483647 h 21"/>
                      <a:gd name="T12" fmla="*/ 2147483647 w 28"/>
                      <a:gd name="T13" fmla="*/ 2147483647 h 21"/>
                      <a:gd name="T14" fmla="*/ 0 w 28"/>
                      <a:gd name="T15" fmla="*/ 2147483647 h 21"/>
                      <a:gd name="T16" fmla="*/ 2147483647 w 28"/>
                      <a:gd name="T17" fmla="*/ 2147483647 h 21"/>
                      <a:gd name="T18" fmla="*/ 2147483647 w 28"/>
                      <a:gd name="T19" fmla="*/ 2147483647 h 21"/>
                      <a:gd name="T20" fmla="*/ 2147483647 w 28"/>
                      <a:gd name="T21" fmla="*/ 2147483647 h 21"/>
                      <a:gd name="T22" fmla="*/ 2147483647 w 28"/>
                      <a:gd name="T23" fmla="*/ 2147483647 h 21"/>
                      <a:gd name="T24" fmla="*/ 2147483647 w 28"/>
                      <a:gd name="T25" fmla="*/ 2147483647 h 21"/>
                      <a:gd name="T26" fmla="*/ 2147483647 w 28"/>
                      <a:gd name="T27" fmla="*/ 2147483647 h 21"/>
                      <a:gd name="T28" fmla="*/ 2147483647 w 28"/>
                      <a:gd name="T29" fmla="*/ 2147483647 h 21"/>
                      <a:gd name="T30" fmla="*/ 2147483647 w 28"/>
                      <a:gd name="T31" fmla="*/ 2147483647 h 21"/>
                      <a:gd name="T32" fmla="*/ 2147483647 w 28"/>
                      <a:gd name="T33" fmla="*/ 2147483647 h 21"/>
                      <a:gd name="T34" fmla="*/ 2147483647 w 28"/>
                      <a:gd name="T35" fmla="*/ 2147483647 h 21"/>
                      <a:gd name="T36" fmla="*/ 2147483647 w 28"/>
                      <a:gd name="T37" fmla="*/ 2147483647 h 21"/>
                      <a:gd name="T38" fmla="*/ 2147483647 w 28"/>
                      <a:gd name="T39" fmla="*/ 2147483647 h 21"/>
                      <a:gd name="T40" fmla="*/ 2147483647 w 28"/>
                      <a:gd name="T41" fmla="*/ 2147483647 h 21"/>
                      <a:gd name="T42" fmla="*/ 2147483647 w 28"/>
                      <a:gd name="T43" fmla="*/ 2147483647 h 21"/>
                      <a:gd name="T44" fmla="*/ 2147483647 w 28"/>
                      <a:gd name="T45" fmla="*/ 2147483647 h 21"/>
                      <a:gd name="T46" fmla="*/ 2147483647 w 28"/>
                      <a:gd name="T47" fmla="*/ 2147483647 h 21"/>
                      <a:gd name="T48" fmla="*/ 2147483647 w 28"/>
                      <a:gd name="T49" fmla="*/ 2147483647 h 21"/>
                      <a:gd name="T50" fmla="*/ 2147483647 w 28"/>
                      <a:gd name="T51" fmla="*/ 2147483647 h 21"/>
                      <a:gd name="T52" fmla="*/ 2147483647 w 28"/>
                      <a:gd name="T53" fmla="*/ 2147483647 h 21"/>
                      <a:gd name="T54" fmla="*/ 2147483647 w 28"/>
                      <a:gd name="T55" fmla="*/ 2147483647 h 21"/>
                      <a:gd name="T56" fmla="*/ 2147483647 w 28"/>
                      <a:gd name="T57" fmla="*/ 2147483647 h 21"/>
                      <a:gd name="T58" fmla="*/ 2147483647 w 28"/>
                      <a:gd name="T59" fmla="*/ 2147483647 h 21"/>
                      <a:gd name="T60" fmla="*/ 2147483647 w 28"/>
                      <a:gd name="T61" fmla="*/ 2147483647 h 21"/>
                      <a:gd name="T62" fmla="*/ 2147483647 w 28"/>
                      <a:gd name="T63" fmla="*/ 2147483647 h 21"/>
                      <a:gd name="T64" fmla="*/ 2147483647 w 28"/>
                      <a:gd name="T65" fmla="*/ 2147483647 h 21"/>
                      <a:gd name="T66" fmla="*/ 2147483647 w 28"/>
                      <a:gd name="T67" fmla="*/ 2147483647 h 21"/>
                      <a:gd name="T68" fmla="*/ 2147483647 w 28"/>
                      <a:gd name="T69" fmla="*/ 2147483647 h 21"/>
                      <a:gd name="T70" fmla="*/ 2147483647 w 28"/>
                      <a:gd name="T71" fmla="*/ 2147483647 h 21"/>
                      <a:gd name="T72" fmla="*/ 2147483647 w 28"/>
                      <a:gd name="T73" fmla="*/ 2147483647 h 21"/>
                      <a:gd name="T74" fmla="*/ 2147483647 w 28"/>
                      <a:gd name="T75" fmla="*/ 2147483647 h 21"/>
                      <a:gd name="T76" fmla="*/ 2147483647 w 28"/>
                      <a:gd name="T77" fmla="*/ 2147483647 h 21"/>
                      <a:gd name="T78" fmla="*/ 2147483647 w 28"/>
                      <a:gd name="T79" fmla="*/ 0 h 21"/>
                      <a:gd name="T80" fmla="*/ 2147483647 w 28"/>
                      <a:gd name="T81" fmla="*/ 0 h 21"/>
                      <a:gd name="T82" fmla="*/ 2147483647 w 28"/>
                      <a:gd name="T83" fmla="*/ 0 h 21"/>
                      <a:gd name="T84" fmla="*/ 2147483647 w 28"/>
                      <a:gd name="T85" fmla="*/ 0 h 21"/>
                      <a:gd name="T86" fmla="*/ 2147483647 w 28"/>
                      <a:gd name="T87" fmla="*/ 0 h 2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8" h="21">
                        <a:moveTo>
                          <a:pt x="9" y="0"/>
                        </a:moveTo>
                        <a:lnTo>
                          <a:pt x="8" y="1"/>
                        </a:lnTo>
                        <a:lnTo>
                          <a:pt x="6" y="4"/>
                        </a:lnTo>
                        <a:lnTo>
                          <a:pt x="6" y="6"/>
                        </a:lnTo>
                        <a:lnTo>
                          <a:pt x="6" y="9"/>
                        </a:lnTo>
                        <a:lnTo>
                          <a:pt x="4" y="10"/>
                        </a:lnTo>
                        <a:lnTo>
                          <a:pt x="2" y="11"/>
                        </a:lnTo>
                        <a:lnTo>
                          <a:pt x="0" y="13"/>
                        </a:lnTo>
                        <a:lnTo>
                          <a:pt x="1" y="17"/>
                        </a:lnTo>
                        <a:lnTo>
                          <a:pt x="3" y="21"/>
                        </a:lnTo>
                        <a:lnTo>
                          <a:pt x="4" y="21"/>
                        </a:lnTo>
                        <a:lnTo>
                          <a:pt x="6" y="21"/>
                        </a:lnTo>
                        <a:lnTo>
                          <a:pt x="9" y="21"/>
                        </a:lnTo>
                        <a:lnTo>
                          <a:pt x="8" y="18"/>
                        </a:lnTo>
                        <a:lnTo>
                          <a:pt x="7" y="17"/>
                        </a:lnTo>
                        <a:lnTo>
                          <a:pt x="8" y="15"/>
                        </a:lnTo>
                        <a:lnTo>
                          <a:pt x="10" y="14"/>
                        </a:lnTo>
                        <a:lnTo>
                          <a:pt x="16" y="12"/>
                        </a:lnTo>
                        <a:lnTo>
                          <a:pt x="16" y="15"/>
                        </a:lnTo>
                        <a:lnTo>
                          <a:pt x="18" y="17"/>
                        </a:lnTo>
                        <a:lnTo>
                          <a:pt x="22" y="21"/>
                        </a:lnTo>
                        <a:lnTo>
                          <a:pt x="24" y="21"/>
                        </a:lnTo>
                        <a:lnTo>
                          <a:pt x="25" y="20"/>
                        </a:lnTo>
                        <a:lnTo>
                          <a:pt x="25" y="19"/>
                        </a:lnTo>
                        <a:lnTo>
                          <a:pt x="25" y="18"/>
                        </a:lnTo>
                        <a:lnTo>
                          <a:pt x="26" y="18"/>
                        </a:lnTo>
                        <a:lnTo>
                          <a:pt x="27" y="18"/>
                        </a:lnTo>
                        <a:lnTo>
                          <a:pt x="28" y="18"/>
                        </a:lnTo>
                        <a:lnTo>
                          <a:pt x="27" y="17"/>
                        </a:lnTo>
                        <a:lnTo>
                          <a:pt x="25" y="16"/>
                        </a:lnTo>
                        <a:lnTo>
                          <a:pt x="25" y="14"/>
                        </a:lnTo>
                        <a:lnTo>
                          <a:pt x="25" y="12"/>
                        </a:lnTo>
                        <a:lnTo>
                          <a:pt x="25" y="11"/>
                        </a:lnTo>
                        <a:lnTo>
                          <a:pt x="25" y="9"/>
                        </a:lnTo>
                        <a:lnTo>
                          <a:pt x="16" y="9"/>
                        </a:lnTo>
                        <a:lnTo>
                          <a:pt x="16" y="7"/>
                        </a:lnTo>
                        <a:lnTo>
                          <a:pt x="16" y="5"/>
                        </a:lnTo>
                        <a:lnTo>
                          <a:pt x="16" y="2"/>
                        </a:lnTo>
                        <a:lnTo>
                          <a:pt x="16" y="0"/>
                        </a:lnTo>
                        <a:lnTo>
                          <a:pt x="14" y="0"/>
                        </a:lnTo>
                        <a:lnTo>
                          <a:pt x="13" y="0"/>
                        </a:lnTo>
                        <a:lnTo>
                          <a:pt x="11" y="0"/>
                        </a:lnTo>
                        <a:lnTo>
                          <a:pt x="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3" name="Freeform 1726">
                    <a:extLst>
                      <a:ext uri="{FF2B5EF4-FFF2-40B4-BE49-F238E27FC236}">
                        <a16:creationId xmlns:a16="http://schemas.microsoft.com/office/drawing/2014/main" xmlns="" id="{1D2C9280-935F-45FA-A8C7-6B5F857B190A}"/>
                      </a:ext>
                    </a:extLst>
                  </p:cNvPr>
                  <p:cNvSpPr>
                    <a:spLocks/>
                  </p:cNvSpPr>
                  <p:nvPr/>
                </p:nvSpPr>
                <p:spPr bwMode="gray">
                  <a:xfrm>
                    <a:off x="3940306" y="2542427"/>
                    <a:ext cx="18913" cy="11125"/>
                  </a:xfrm>
                  <a:custGeom>
                    <a:avLst/>
                    <a:gdLst>
                      <a:gd name="T0" fmla="*/ 2147483647 w 17"/>
                      <a:gd name="T1" fmla="*/ 0 h 10"/>
                      <a:gd name="T2" fmla="*/ 2147483647 w 17"/>
                      <a:gd name="T3" fmla="*/ 2147483647 h 10"/>
                      <a:gd name="T4" fmla="*/ 2147483647 w 17"/>
                      <a:gd name="T5" fmla="*/ 2147483647 h 10"/>
                      <a:gd name="T6" fmla="*/ 2147483647 w 17"/>
                      <a:gd name="T7" fmla="*/ 2147483647 h 10"/>
                      <a:gd name="T8" fmla="*/ 0 w 17"/>
                      <a:gd name="T9" fmla="*/ 2147483647 h 10"/>
                      <a:gd name="T10" fmla="*/ 0 w 17"/>
                      <a:gd name="T11" fmla="*/ 2147483647 h 10"/>
                      <a:gd name="T12" fmla="*/ 2147483647 w 17"/>
                      <a:gd name="T13" fmla="*/ 2147483647 h 10"/>
                      <a:gd name="T14" fmla="*/ 2147483647 w 17"/>
                      <a:gd name="T15" fmla="*/ 2147483647 h 10"/>
                      <a:gd name="T16" fmla="*/ 2147483647 w 17"/>
                      <a:gd name="T17" fmla="*/ 2147483647 h 10"/>
                      <a:gd name="T18" fmla="*/ 2147483647 w 17"/>
                      <a:gd name="T19" fmla="*/ 2147483647 h 10"/>
                      <a:gd name="T20" fmla="*/ 2147483647 w 17"/>
                      <a:gd name="T21" fmla="*/ 2147483647 h 10"/>
                      <a:gd name="T22" fmla="*/ 2147483647 w 17"/>
                      <a:gd name="T23" fmla="*/ 2147483647 h 10"/>
                      <a:gd name="T24" fmla="*/ 2147483647 w 17"/>
                      <a:gd name="T25" fmla="*/ 2147483647 h 10"/>
                      <a:gd name="T26" fmla="*/ 2147483647 w 17"/>
                      <a:gd name="T27" fmla="*/ 2147483647 h 10"/>
                      <a:gd name="T28" fmla="*/ 2147483647 w 17"/>
                      <a:gd name="T29" fmla="*/ 2147483647 h 10"/>
                      <a:gd name="T30" fmla="*/ 2147483647 w 17"/>
                      <a:gd name="T31" fmla="*/ 2147483647 h 10"/>
                      <a:gd name="T32" fmla="*/ 2147483647 w 17"/>
                      <a:gd name="T33" fmla="*/ 2147483647 h 10"/>
                      <a:gd name="T34" fmla="*/ 2147483647 w 17"/>
                      <a:gd name="T35" fmla="*/ 2147483647 h 10"/>
                      <a:gd name="T36" fmla="*/ 2147483647 w 17"/>
                      <a:gd name="T37" fmla="*/ 2147483647 h 10"/>
                      <a:gd name="T38" fmla="*/ 2147483647 w 17"/>
                      <a:gd name="T39" fmla="*/ 2147483647 h 10"/>
                      <a:gd name="T40" fmla="*/ 2147483647 w 17"/>
                      <a:gd name="T41" fmla="*/ 2147483647 h 10"/>
                      <a:gd name="T42" fmla="*/ 2147483647 w 17"/>
                      <a:gd name="T43" fmla="*/ 0 h 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7" h="10">
                        <a:moveTo>
                          <a:pt x="14" y="0"/>
                        </a:moveTo>
                        <a:lnTo>
                          <a:pt x="11" y="1"/>
                        </a:lnTo>
                        <a:lnTo>
                          <a:pt x="7" y="4"/>
                        </a:lnTo>
                        <a:lnTo>
                          <a:pt x="3" y="6"/>
                        </a:lnTo>
                        <a:lnTo>
                          <a:pt x="0" y="7"/>
                        </a:lnTo>
                        <a:lnTo>
                          <a:pt x="1" y="9"/>
                        </a:lnTo>
                        <a:lnTo>
                          <a:pt x="2" y="10"/>
                        </a:lnTo>
                        <a:lnTo>
                          <a:pt x="4" y="10"/>
                        </a:lnTo>
                        <a:lnTo>
                          <a:pt x="6" y="10"/>
                        </a:lnTo>
                        <a:lnTo>
                          <a:pt x="7" y="9"/>
                        </a:lnTo>
                        <a:lnTo>
                          <a:pt x="8" y="7"/>
                        </a:lnTo>
                        <a:lnTo>
                          <a:pt x="10" y="7"/>
                        </a:lnTo>
                        <a:lnTo>
                          <a:pt x="11" y="6"/>
                        </a:lnTo>
                        <a:lnTo>
                          <a:pt x="12" y="6"/>
                        </a:lnTo>
                        <a:lnTo>
                          <a:pt x="15" y="7"/>
                        </a:lnTo>
                        <a:lnTo>
                          <a:pt x="17" y="7"/>
                        </a:lnTo>
                        <a:lnTo>
                          <a:pt x="16" y="5"/>
                        </a:lnTo>
                        <a:lnTo>
                          <a:pt x="15" y="2"/>
                        </a:lnTo>
                        <a:lnTo>
                          <a:pt x="15" y="1"/>
                        </a:lnTo>
                        <a:lnTo>
                          <a:pt x="1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4" name="Freeform 1728">
                    <a:extLst>
                      <a:ext uri="{FF2B5EF4-FFF2-40B4-BE49-F238E27FC236}">
                        <a16:creationId xmlns:a16="http://schemas.microsoft.com/office/drawing/2014/main" xmlns="" id="{18B22CEF-C99B-403C-AE9B-FA1ED6FF4487}"/>
                      </a:ext>
                    </a:extLst>
                  </p:cNvPr>
                  <p:cNvSpPr>
                    <a:spLocks/>
                  </p:cNvSpPr>
                  <p:nvPr/>
                </p:nvSpPr>
                <p:spPr bwMode="gray">
                  <a:xfrm>
                    <a:off x="4008167" y="2452311"/>
                    <a:ext cx="22249" cy="51177"/>
                  </a:xfrm>
                  <a:custGeom>
                    <a:avLst/>
                    <a:gdLst>
                      <a:gd name="T0" fmla="*/ 2147483647 w 20"/>
                      <a:gd name="T1" fmla="*/ 0 h 46"/>
                      <a:gd name="T2" fmla="*/ 2147483647 w 20"/>
                      <a:gd name="T3" fmla="*/ 0 h 46"/>
                      <a:gd name="T4" fmla="*/ 2147483647 w 20"/>
                      <a:gd name="T5" fmla="*/ 0 h 46"/>
                      <a:gd name="T6" fmla="*/ 2147483647 w 20"/>
                      <a:gd name="T7" fmla="*/ 0 h 46"/>
                      <a:gd name="T8" fmla="*/ 2147483647 w 20"/>
                      <a:gd name="T9" fmla="*/ 0 h 46"/>
                      <a:gd name="T10" fmla="*/ 2147483647 w 20"/>
                      <a:gd name="T11" fmla="*/ 2147483647 h 46"/>
                      <a:gd name="T12" fmla="*/ 2147483647 w 20"/>
                      <a:gd name="T13" fmla="*/ 2147483647 h 46"/>
                      <a:gd name="T14" fmla="*/ 2147483647 w 20"/>
                      <a:gd name="T15" fmla="*/ 2147483647 h 46"/>
                      <a:gd name="T16" fmla="*/ 2147483647 w 20"/>
                      <a:gd name="T17" fmla="*/ 2147483647 h 46"/>
                      <a:gd name="T18" fmla="*/ 2147483647 w 20"/>
                      <a:gd name="T19" fmla="*/ 2147483647 h 46"/>
                      <a:gd name="T20" fmla="*/ 2147483647 w 20"/>
                      <a:gd name="T21" fmla="*/ 2147483647 h 46"/>
                      <a:gd name="T22" fmla="*/ 2147483647 w 20"/>
                      <a:gd name="T23" fmla="*/ 2147483647 h 46"/>
                      <a:gd name="T24" fmla="*/ 2147483647 w 20"/>
                      <a:gd name="T25" fmla="*/ 2147483647 h 46"/>
                      <a:gd name="T26" fmla="*/ 2147483647 w 20"/>
                      <a:gd name="T27" fmla="*/ 2147483647 h 46"/>
                      <a:gd name="T28" fmla="*/ 2147483647 w 20"/>
                      <a:gd name="T29" fmla="*/ 2147483647 h 46"/>
                      <a:gd name="T30" fmla="*/ 2147483647 w 20"/>
                      <a:gd name="T31" fmla="*/ 2147483647 h 46"/>
                      <a:gd name="T32" fmla="*/ 0 w 20"/>
                      <a:gd name="T33" fmla="*/ 2147483647 h 46"/>
                      <a:gd name="T34" fmla="*/ 0 w 20"/>
                      <a:gd name="T35" fmla="*/ 2147483647 h 46"/>
                      <a:gd name="T36" fmla="*/ 2147483647 w 20"/>
                      <a:gd name="T37" fmla="*/ 2147483647 h 46"/>
                      <a:gd name="T38" fmla="*/ 2147483647 w 20"/>
                      <a:gd name="T39" fmla="*/ 2147483647 h 46"/>
                      <a:gd name="T40" fmla="*/ 2147483647 w 20"/>
                      <a:gd name="T41" fmla="*/ 2147483647 h 46"/>
                      <a:gd name="T42" fmla="*/ 2147483647 w 20"/>
                      <a:gd name="T43" fmla="*/ 2147483647 h 46"/>
                      <a:gd name="T44" fmla="*/ 2147483647 w 20"/>
                      <a:gd name="T45" fmla="*/ 2147483647 h 46"/>
                      <a:gd name="T46" fmla="*/ 2147483647 w 20"/>
                      <a:gd name="T47" fmla="*/ 2147483647 h 46"/>
                      <a:gd name="T48" fmla="*/ 2147483647 w 20"/>
                      <a:gd name="T49" fmla="*/ 2147483647 h 46"/>
                      <a:gd name="T50" fmla="*/ 2147483647 w 20"/>
                      <a:gd name="T51" fmla="*/ 2147483647 h 46"/>
                      <a:gd name="T52" fmla="*/ 2147483647 w 20"/>
                      <a:gd name="T53" fmla="*/ 2147483647 h 46"/>
                      <a:gd name="T54" fmla="*/ 2147483647 w 20"/>
                      <a:gd name="T55" fmla="*/ 2147483647 h 46"/>
                      <a:gd name="T56" fmla="*/ 2147483647 w 20"/>
                      <a:gd name="T57" fmla="*/ 2147483647 h 46"/>
                      <a:gd name="T58" fmla="*/ 2147483647 w 20"/>
                      <a:gd name="T59" fmla="*/ 2147483647 h 46"/>
                      <a:gd name="T60" fmla="*/ 2147483647 w 20"/>
                      <a:gd name="T61" fmla="*/ 2147483647 h 46"/>
                      <a:gd name="T62" fmla="*/ 2147483647 w 20"/>
                      <a:gd name="T63" fmla="*/ 2147483647 h 46"/>
                      <a:gd name="T64" fmla="*/ 2147483647 w 20"/>
                      <a:gd name="T65" fmla="*/ 2147483647 h 46"/>
                      <a:gd name="T66" fmla="*/ 2147483647 w 20"/>
                      <a:gd name="T67" fmla="*/ 2147483647 h 46"/>
                      <a:gd name="T68" fmla="*/ 2147483647 w 20"/>
                      <a:gd name="T69" fmla="*/ 2147483647 h 46"/>
                      <a:gd name="T70" fmla="*/ 2147483647 w 20"/>
                      <a:gd name="T71" fmla="*/ 2147483647 h 46"/>
                      <a:gd name="T72" fmla="*/ 2147483647 w 20"/>
                      <a:gd name="T73" fmla="*/ 2147483647 h 46"/>
                      <a:gd name="T74" fmla="*/ 2147483647 w 20"/>
                      <a:gd name="T75" fmla="*/ 2147483647 h 46"/>
                      <a:gd name="T76" fmla="*/ 2147483647 w 20"/>
                      <a:gd name="T77" fmla="*/ 2147483647 h 46"/>
                      <a:gd name="T78" fmla="*/ 2147483647 w 20"/>
                      <a:gd name="T79" fmla="*/ 2147483647 h 46"/>
                      <a:gd name="T80" fmla="*/ 2147483647 w 20"/>
                      <a:gd name="T81" fmla="*/ 2147483647 h 46"/>
                      <a:gd name="T82" fmla="*/ 2147483647 w 20"/>
                      <a:gd name="T83" fmla="*/ 2147483647 h 46"/>
                      <a:gd name="T84" fmla="*/ 2147483647 w 20"/>
                      <a:gd name="T85" fmla="*/ 2147483647 h 46"/>
                      <a:gd name="T86" fmla="*/ 2147483647 w 20"/>
                      <a:gd name="T87" fmla="*/ 2147483647 h 46"/>
                      <a:gd name="T88" fmla="*/ 2147483647 w 20"/>
                      <a:gd name="T89" fmla="*/ 0 h 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 h="46">
                        <a:moveTo>
                          <a:pt x="17" y="0"/>
                        </a:moveTo>
                        <a:lnTo>
                          <a:pt x="16" y="0"/>
                        </a:lnTo>
                        <a:lnTo>
                          <a:pt x="15" y="0"/>
                        </a:lnTo>
                        <a:lnTo>
                          <a:pt x="10" y="0"/>
                        </a:lnTo>
                        <a:lnTo>
                          <a:pt x="7" y="0"/>
                        </a:lnTo>
                        <a:lnTo>
                          <a:pt x="7" y="2"/>
                        </a:lnTo>
                        <a:lnTo>
                          <a:pt x="7" y="4"/>
                        </a:lnTo>
                        <a:lnTo>
                          <a:pt x="7" y="5"/>
                        </a:lnTo>
                        <a:lnTo>
                          <a:pt x="7" y="7"/>
                        </a:lnTo>
                        <a:lnTo>
                          <a:pt x="8" y="7"/>
                        </a:lnTo>
                        <a:lnTo>
                          <a:pt x="10" y="7"/>
                        </a:lnTo>
                        <a:lnTo>
                          <a:pt x="10" y="16"/>
                        </a:lnTo>
                        <a:lnTo>
                          <a:pt x="1" y="16"/>
                        </a:lnTo>
                        <a:lnTo>
                          <a:pt x="1" y="18"/>
                        </a:lnTo>
                        <a:lnTo>
                          <a:pt x="0" y="19"/>
                        </a:lnTo>
                        <a:lnTo>
                          <a:pt x="0" y="21"/>
                        </a:lnTo>
                        <a:lnTo>
                          <a:pt x="1" y="23"/>
                        </a:lnTo>
                        <a:lnTo>
                          <a:pt x="1" y="26"/>
                        </a:lnTo>
                        <a:lnTo>
                          <a:pt x="4" y="27"/>
                        </a:lnTo>
                        <a:lnTo>
                          <a:pt x="8" y="27"/>
                        </a:lnTo>
                        <a:lnTo>
                          <a:pt x="13" y="27"/>
                        </a:lnTo>
                        <a:lnTo>
                          <a:pt x="11" y="31"/>
                        </a:lnTo>
                        <a:lnTo>
                          <a:pt x="9" y="35"/>
                        </a:lnTo>
                        <a:lnTo>
                          <a:pt x="7" y="40"/>
                        </a:lnTo>
                        <a:lnTo>
                          <a:pt x="7" y="46"/>
                        </a:lnTo>
                        <a:lnTo>
                          <a:pt x="7" y="45"/>
                        </a:lnTo>
                        <a:lnTo>
                          <a:pt x="8" y="45"/>
                        </a:lnTo>
                        <a:lnTo>
                          <a:pt x="10" y="46"/>
                        </a:lnTo>
                        <a:lnTo>
                          <a:pt x="11" y="42"/>
                        </a:lnTo>
                        <a:lnTo>
                          <a:pt x="13" y="38"/>
                        </a:lnTo>
                        <a:lnTo>
                          <a:pt x="16" y="35"/>
                        </a:lnTo>
                        <a:lnTo>
                          <a:pt x="17" y="33"/>
                        </a:lnTo>
                        <a:lnTo>
                          <a:pt x="17" y="23"/>
                        </a:lnTo>
                        <a:lnTo>
                          <a:pt x="20" y="23"/>
                        </a:lnTo>
                        <a:lnTo>
                          <a:pt x="20" y="14"/>
                        </a:lnTo>
                        <a:lnTo>
                          <a:pt x="18" y="14"/>
                        </a:lnTo>
                        <a:lnTo>
                          <a:pt x="17" y="14"/>
                        </a:lnTo>
                        <a:lnTo>
                          <a:pt x="17" y="9"/>
                        </a:lnTo>
                        <a:lnTo>
                          <a:pt x="17" y="6"/>
                        </a:lnTo>
                        <a:lnTo>
                          <a:pt x="1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5" name="Freeform 1730">
                    <a:extLst>
                      <a:ext uri="{FF2B5EF4-FFF2-40B4-BE49-F238E27FC236}">
                        <a16:creationId xmlns:a16="http://schemas.microsoft.com/office/drawing/2014/main" xmlns="" id="{A482D343-1809-4C89-8673-3DC8CFE99AF9}"/>
                      </a:ext>
                    </a:extLst>
                  </p:cNvPr>
                  <p:cNvSpPr>
                    <a:spLocks/>
                  </p:cNvSpPr>
                  <p:nvPr/>
                </p:nvSpPr>
                <p:spPr bwMode="gray">
                  <a:xfrm>
                    <a:off x="4030416" y="2442299"/>
                    <a:ext cx="14463" cy="21138"/>
                  </a:xfrm>
                  <a:custGeom>
                    <a:avLst/>
                    <a:gdLst>
                      <a:gd name="T0" fmla="*/ 2147483647 w 13"/>
                      <a:gd name="T1" fmla="*/ 0 h 19"/>
                      <a:gd name="T2" fmla="*/ 2147483647 w 13"/>
                      <a:gd name="T3" fmla="*/ 2147483647 h 19"/>
                      <a:gd name="T4" fmla="*/ 2147483647 w 13"/>
                      <a:gd name="T5" fmla="*/ 2147483647 h 19"/>
                      <a:gd name="T6" fmla="*/ 2147483647 w 13"/>
                      <a:gd name="T7" fmla="*/ 2147483647 h 19"/>
                      <a:gd name="T8" fmla="*/ 0 w 13"/>
                      <a:gd name="T9" fmla="*/ 2147483647 h 19"/>
                      <a:gd name="T10" fmla="*/ 2147483647 w 13"/>
                      <a:gd name="T11" fmla="*/ 2147483647 h 19"/>
                      <a:gd name="T12" fmla="*/ 2147483647 w 13"/>
                      <a:gd name="T13" fmla="*/ 2147483647 h 19"/>
                      <a:gd name="T14" fmla="*/ 2147483647 w 13"/>
                      <a:gd name="T15" fmla="*/ 2147483647 h 19"/>
                      <a:gd name="T16" fmla="*/ 2147483647 w 13"/>
                      <a:gd name="T17" fmla="*/ 2147483647 h 19"/>
                      <a:gd name="T18" fmla="*/ 2147483647 w 13"/>
                      <a:gd name="T19" fmla="*/ 2147483647 h 19"/>
                      <a:gd name="T20" fmla="*/ 2147483647 w 13"/>
                      <a:gd name="T21" fmla="*/ 2147483647 h 19"/>
                      <a:gd name="T22" fmla="*/ 2147483647 w 13"/>
                      <a:gd name="T23" fmla="*/ 2147483647 h 19"/>
                      <a:gd name="T24" fmla="*/ 2147483647 w 13"/>
                      <a:gd name="T25" fmla="*/ 2147483647 h 19"/>
                      <a:gd name="T26" fmla="*/ 2147483647 w 13"/>
                      <a:gd name="T27" fmla="*/ 2147483647 h 19"/>
                      <a:gd name="T28" fmla="*/ 2147483647 w 13"/>
                      <a:gd name="T29" fmla="*/ 2147483647 h 19"/>
                      <a:gd name="T30" fmla="*/ 2147483647 w 13"/>
                      <a:gd name="T31" fmla="*/ 2147483647 h 19"/>
                      <a:gd name="T32" fmla="*/ 2147483647 w 13"/>
                      <a:gd name="T33" fmla="*/ 2147483647 h 19"/>
                      <a:gd name="T34" fmla="*/ 2147483647 w 13"/>
                      <a:gd name="T35" fmla="*/ 2147483647 h 19"/>
                      <a:gd name="T36" fmla="*/ 2147483647 w 13"/>
                      <a:gd name="T37" fmla="*/ 2147483647 h 19"/>
                      <a:gd name="T38" fmla="*/ 2147483647 w 13"/>
                      <a:gd name="T39" fmla="*/ 2147483647 h 19"/>
                      <a:gd name="T40" fmla="*/ 2147483647 w 13"/>
                      <a:gd name="T41" fmla="*/ 2147483647 h 19"/>
                      <a:gd name="T42" fmla="*/ 2147483647 w 13"/>
                      <a:gd name="T43" fmla="*/ 0 h 19"/>
                      <a:gd name="T44" fmla="*/ 2147483647 w 13"/>
                      <a:gd name="T45" fmla="*/ 0 h 19"/>
                      <a:gd name="T46" fmla="*/ 2147483647 w 13"/>
                      <a:gd name="T47" fmla="*/ 0 h 19"/>
                      <a:gd name="T48" fmla="*/ 2147483647 w 13"/>
                      <a:gd name="T49" fmla="*/ 0 h 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 h="19">
                        <a:moveTo>
                          <a:pt x="9" y="0"/>
                        </a:moveTo>
                        <a:lnTo>
                          <a:pt x="7" y="4"/>
                        </a:lnTo>
                        <a:lnTo>
                          <a:pt x="5" y="8"/>
                        </a:lnTo>
                        <a:lnTo>
                          <a:pt x="3" y="12"/>
                        </a:lnTo>
                        <a:lnTo>
                          <a:pt x="0" y="16"/>
                        </a:lnTo>
                        <a:lnTo>
                          <a:pt x="1" y="16"/>
                        </a:lnTo>
                        <a:lnTo>
                          <a:pt x="2" y="16"/>
                        </a:lnTo>
                        <a:lnTo>
                          <a:pt x="3" y="17"/>
                        </a:lnTo>
                        <a:lnTo>
                          <a:pt x="3" y="19"/>
                        </a:lnTo>
                        <a:lnTo>
                          <a:pt x="4" y="17"/>
                        </a:lnTo>
                        <a:lnTo>
                          <a:pt x="5" y="15"/>
                        </a:lnTo>
                        <a:lnTo>
                          <a:pt x="5" y="13"/>
                        </a:lnTo>
                        <a:lnTo>
                          <a:pt x="6" y="13"/>
                        </a:lnTo>
                        <a:lnTo>
                          <a:pt x="7" y="10"/>
                        </a:lnTo>
                        <a:lnTo>
                          <a:pt x="7" y="8"/>
                        </a:lnTo>
                        <a:lnTo>
                          <a:pt x="6" y="7"/>
                        </a:lnTo>
                        <a:lnTo>
                          <a:pt x="9" y="7"/>
                        </a:lnTo>
                        <a:lnTo>
                          <a:pt x="9" y="6"/>
                        </a:lnTo>
                        <a:lnTo>
                          <a:pt x="10" y="5"/>
                        </a:lnTo>
                        <a:lnTo>
                          <a:pt x="11" y="3"/>
                        </a:lnTo>
                        <a:lnTo>
                          <a:pt x="13" y="0"/>
                        </a:lnTo>
                        <a:lnTo>
                          <a:pt x="12" y="0"/>
                        </a:lnTo>
                        <a:lnTo>
                          <a:pt x="11" y="0"/>
                        </a:lnTo>
                        <a:lnTo>
                          <a:pt x="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6" name="Freeform 1732">
                    <a:extLst>
                      <a:ext uri="{FF2B5EF4-FFF2-40B4-BE49-F238E27FC236}">
                        <a16:creationId xmlns:a16="http://schemas.microsoft.com/office/drawing/2014/main" xmlns="" id="{F6A3F698-FF81-4E88-869D-87F3FD0FD1EC}"/>
                      </a:ext>
                    </a:extLst>
                  </p:cNvPr>
                  <p:cNvSpPr>
                    <a:spLocks/>
                  </p:cNvSpPr>
                  <p:nvPr/>
                </p:nvSpPr>
                <p:spPr bwMode="gray">
                  <a:xfrm>
                    <a:off x="4045991" y="2435623"/>
                    <a:ext cx="11125" cy="11125"/>
                  </a:xfrm>
                  <a:custGeom>
                    <a:avLst/>
                    <a:gdLst>
                      <a:gd name="T0" fmla="*/ 2147483647 w 10"/>
                      <a:gd name="T1" fmla="*/ 0 h 10"/>
                      <a:gd name="T2" fmla="*/ 2147483647 w 10"/>
                      <a:gd name="T3" fmla="*/ 2147483647 h 10"/>
                      <a:gd name="T4" fmla="*/ 2147483647 w 10"/>
                      <a:gd name="T5" fmla="*/ 2147483647 h 10"/>
                      <a:gd name="T6" fmla="*/ 0 w 10"/>
                      <a:gd name="T7" fmla="*/ 2147483647 h 10"/>
                      <a:gd name="T8" fmla="*/ 2147483647 w 10"/>
                      <a:gd name="T9" fmla="*/ 2147483647 h 10"/>
                      <a:gd name="T10" fmla="*/ 2147483647 w 10"/>
                      <a:gd name="T11" fmla="*/ 2147483647 h 10"/>
                      <a:gd name="T12" fmla="*/ 2147483647 w 10"/>
                      <a:gd name="T13" fmla="*/ 2147483647 h 10"/>
                      <a:gd name="T14" fmla="*/ 2147483647 w 10"/>
                      <a:gd name="T15" fmla="*/ 2147483647 h 10"/>
                      <a:gd name="T16" fmla="*/ 2147483647 w 10"/>
                      <a:gd name="T17" fmla="*/ 2147483647 h 10"/>
                      <a:gd name="T18" fmla="*/ 2147483647 w 10"/>
                      <a:gd name="T19" fmla="*/ 2147483647 h 10"/>
                      <a:gd name="T20" fmla="*/ 2147483647 w 10"/>
                      <a:gd name="T21" fmla="*/ 2147483647 h 10"/>
                      <a:gd name="T22" fmla="*/ 2147483647 w 10"/>
                      <a:gd name="T23" fmla="*/ 2147483647 h 10"/>
                      <a:gd name="T24" fmla="*/ 2147483647 w 10"/>
                      <a:gd name="T25" fmla="*/ 2147483647 h 10"/>
                      <a:gd name="T26" fmla="*/ 2147483647 w 10"/>
                      <a:gd name="T27" fmla="*/ 2147483647 h 10"/>
                      <a:gd name="T28" fmla="*/ 2147483647 w 10"/>
                      <a:gd name="T29" fmla="*/ 2147483647 h 10"/>
                      <a:gd name="T30" fmla="*/ 2147483647 w 10"/>
                      <a:gd name="T31" fmla="*/ 2147483647 h 10"/>
                      <a:gd name="T32" fmla="*/ 2147483647 w 10"/>
                      <a:gd name="T33" fmla="*/ 2147483647 h 10"/>
                      <a:gd name="T34" fmla="*/ 2147483647 w 10"/>
                      <a:gd name="T35" fmla="*/ 2147483647 h 10"/>
                      <a:gd name="T36" fmla="*/ 2147483647 w 10"/>
                      <a:gd name="T37" fmla="*/ 0 h 10"/>
                      <a:gd name="T38" fmla="*/ 2147483647 w 10"/>
                      <a:gd name="T39" fmla="*/ 0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0">
                        <a:moveTo>
                          <a:pt x="5" y="0"/>
                        </a:moveTo>
                        <a:lnTo>
                          <a:pt x="3" y="1"/>
                        </a:lnTo>
                        <a:lnTo>
                          <a:pt x="2" y="4"/>
                        </a:lnTo>
                        <a:lnTo>
                          <a:pt x="0" y="7"/>
                        </a:lnTo>
                        <a:lnTo>
                          <a:pt x="2" y="7"/>
                        </a:lnTo>
                        <a:lnTo>
                          <a:pt x="3" y="6"/>
                        </a:lnTo>
                        <a:lnTo>
                          <a:pt x="3" y="8"/>
                        </a:lnTo>
                        <a:lnTo>
                          <a:pt x="3" y="9"/>
                        </a:lnTo>
                        <a:lnTo>
                          <a:pt x="3" y="10"/>
                        </a:lnTo>
                        <a:lnTo>
                          <a:pt x="3" y="9"/>
                        </a:lnTo>
                        <a:lnTo>
                          <a:pt x="4" y="8"/>
                        </a:lnTo>
                        <a:lnTo>
                          <a:pt x="7" y="7"/>
                        </a:lnTo>
                        <a:lnTo>
                          <a:pt x="10" y="6"/>
                        </a:lnTo>
                        <a:lnTo>
                          <a:pt x="10" y="4"/>
                        </a:lnTo>
                        <a:lnTo>
                          <a:pt x="10" y="2"/>
                        </a:lnTo>
                        <a:lnTo>
                          <a:pt x="10" y="3"/>
                        </a:lnTo>
                        <a:lnTo>
                          <a:pt x="8" y="1"/>
                        </a:lnTo>
                        <a:lnTo>
                          <a:pt x="7" y="0"/>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7" name="Freeform 1734">
                    <a:extLst>
                      <a:ext uri="{FF2B5EF4-FFF2-40B4-BE49-F238E27FC236}">
                        <a16:creationId xmlns:a16="http://schemas.microsoft.com/office/drawing/2014/main" xmlns="" id="{CA5EB94D-4D4F-453C-ACC3-2E2BC2298C86}"/>
                      </a:ext>
                    </a:extLst>
                  </p:cNvPr>
                  <p:cNvSpPr>
                    <a:spLocks/>
                  </p:cNvSpPr>
                  <p:nvPr/>
                </p:nvSpPr>
                <p:spPr bwMode="gray">
                  <a:xfrm>
                    <a:off x="3586539" y="2810551"/>
                    <a:ext cx="116810" cy="107917"/>
                  </a:xfrm>
                  <a:custGeom>
                    <a:avLst/>
                    <a:gdLst>
                      <a:gd name="T0" fmla="*/ 2147483647 w 105"/>
                      <a:gd name="T1" fmla="*/ 2147483647 h 97"/>
                      <a:gd name="T2" fmla="*/ 2147483647 w 105"/>
                      <a:gd name="T3" fmla="*/ 2147483647 h 97"/>
                      <a:gd name="T4" fmla="*/ 2147483647 w 105"/>
                      <a:gd name="T5" fmla="*/ 2147483647 h 97"/>
                      <a:gd name="T6" fmla="*/ 2147483647 w 105"/>
                      <a:gd name="T7" fmla="*/ 2147483647 h 97"/>
                      <a:gd name="T8" fmla="*/ 2147483647 w 105"/>
                      <a:gd name="T9" fmla="*/ 2147483647 h 97"/>
                      <a:gd name="T10" fmla="*/ 2147483647 w 105"/>
                      <a:gd name="T11" fmla="*/ 2147483647 h 97"/>
                      <a:gd name="T12" fmla="*/ 2147483647 w 105"/>
                      <a:gd name="T13" fmla="*/ 2147483647 h 97"/>
                      <a:gd name="T14" fmla="*/ 2147483647 w 105"/>
                      <a:gd name="T15" fmla="*/ 2147483647 h 97"/>
                      <a:gd name="T16" fmla="*/ 2147483647 w 105"/>
                      <a:gd name="T17" fmla="*/ 2147483647 h 97"/>
                      <a:gd name="T18" fmla="*/ 2147483647 w 105"/>
                      <a:gd name="T19" fmla="*/ 2147483647 h 97"/>
                      <a:gd name="T20" fmla="*/ 2147483647 w 105"/>
                      <a:gd name="T21" fmla="*/ 2147483647 h 97"/>
                      <a:gd name="T22" fmla="*/ 2147483647 w 105"/>
                      <a:gd name="T23" fmla="*/ 2147483647 h 97"/>
                      <a:gd name="T24" fmla="*/ 2147483647 w 105"/>
                      <a:gd name="T25" fmla="*/ 2147483647 h 97"/>
                      <a:gd name="T26" fmla="*/ 2147483647 w 105"/>
                      <a:gd name="T27" fmla="*/ 2147483647 h 97"/>
                      <a:gd name="T28" fmla="*/ 2147483647 w 105"/>
                      <a:gd name="T29" fmla="*/ 2147483647 h 97"/>
                      <a:gd name="T30" fmla="*/ 2147483647 w 105"/>
                      <a:gd name="T31" fmla="*/ 2147483647 h 97"/>
                      <a:gd name="T32" fmla="*/ 2147483647 w 105"/>
                      <a:gd name="T33" fmla="*/ 2147483647 h 97"/>
                      <a:gd name="T34" fmla="*/ 2147483647 w 105"/>
                      <a:gd name="T35" fmla="*/ 2147483647 h 97"/>
                      <a:gd name="T36" fmla="*/ 2147483647 w 105"/>
                      <a:gd name="T37" fmla="*/ 2147483647 h 97"/>
                      <a:gd name="T38" fmla="*/ 2147483647 w 105"/>
                      <a:gd name="T39" fmla="*/ 2147483647 h 97"/>
                      <a:gd name="T40" fmla="*/ 2147483647 w 105"/>
                      <a:gd name="T41" fmla="*/ 2147483647 h 97"/>
                      <a:gd name="T42" fmla="*/ 2147483647 w 105"/>
                      <a:gd name="T43" fmla="*/ 2147483647 h 97"/>
                      <a:gd name="T44" fmla="*/ 2147483647 w 105"/>
                      <a:gd name="T45" fmla="*/ 2147483647 h 97"/>
                      <a:gd name="T46" fmla="*/ 2147483647 w 105"/>
                      <a:gd name="T47" fmla="*/ 2147483647 h 97"/>
                      <a:gd name="T48" fmla="*/ 2147483647 w 105"/>
                      <a:gd name="T49" fmla="*/ 2147483647 h 97"/>
                      <a:gd name="T50" fmla="*/ 2147483647 w 105"/>
                      <a:gd name="T51" fmla="*/ 2147483647 h 97"/>
                      <a:gd name="T52" fmla="*/ 2147483647 w 105"/>
                      <a:gd name="T53" fmla="*/ 2147483647 h 97"/>
                      <a:gd name="T54" fmla="*/ 2147483647 w 105"/>
                      <a:gd name="T55" fmla="*/ 2147483647 h 97"/>
                      <a:gd name="T56" fmla="*/ 2147483647 w 105"/>
                      <a:gd name="T57" fmla="*/ 2147483647 h 97"/>
                      <a:gd name="T58" fmla="*/ 2147483647 w 105"/>
                      <a:gd name="T59" fmla="*/ 2147483647 h 97"/>
                      <a:gd name="T60" fmla="*/ 2147483647 w 105"/>
                      <a:gd name="T61" fmla="*/ 2147483647 h 97"/>
                      <a:gd name="T62" fmla="*/ 2147483647 w 105"/>
                      <a:gd name="T63" fmla="*/ 2147483647 h 97"/>
                      <a:gd name="T64" fmla="*/ 2147483647 w 105"/>
                      <a:gd name="T65" fmla="*/ 2147483647 h 97"/>
                      <a:gd name="T66" fmla="*/ 2147483647 w 105"/>
                      <a:gd name="T67" fmla="*/ 2147483647 h 97"/>
                      <a:gd name="T68" fmla="*/ 2147483647 w 105"/>
                      <a:gd name="T69" fmla="*/ 2147483647 h 97"/>
                      <a:gd name="T70" fmla="*/ 2147483647 w 105"/>
                      <a:gd name="T71" fmla="*/ 2147483647 h 97"/>
                      <a:gd name="T72" fmla="*/ 2147483647 w 105"/>
                      <a:gd name="T73" fmla="*/ 2147483647 h 97"/>
                      <a:gd name="T74" fmla="*/ 2147483647 w 105"/>
                      <a:gd name="T75" fmla="*/ 2147483647 h 97"/>
                      <a:gd name="T76" fmla="*/ 2147483647 w 105"/>
                      <a:gd name="T77" fmla="*/ 2147483647 h 97"/>
                      <a:gd name="T78" fmla="*/ 2147483647 w 105"/>
                      <a:gd name="T79" fmla="*/ 2147483647 h 97"/>
                      <a:gd name="T80" fmla="*/ 2147483647 w 105"/>
                      <a:gd name="T81" fmla="*/ 2147483647 h 97"/>
                      <a:gd name="T82" fmla="*/ 2147483647 w 105"/>
                      <a:gd name="T83" fmla="*/ 2147483647 h 97"/>
                      <a:gd name="T84" fmla="*/ 2147483647 w 105"/>
                      <a:gd name="T85" fmla="*/ 2147483647 h 97"/>
                      <a:gd name="T86" fmla="*/ 2147483647 w 105"/>
                      <a:gd name="T87" fmla="*/ 2147483647 h 97"/>
                      <a:gd name="T88" fmla="*/ 2147483647 w 105"/>
                      <a:gd name="T89" fmla="*/ 2147483647 h 97"/>
                      <a:gd name="T90" fmla="*/ 2147483647 w 105"/>
                      <a:gd name="T91" fmla="*/ 2147483647 h 97"/>
                      <a:gd name="T92" fmla="*/ 2147483647 w 105"/>
                      <a:gd name="T93" fmla="*/ 2147483647 h 97"/>
                      <a:gd name="T94" fmla="*/ 2147483647 w 105"/>
                      <a:gd name="T95" fmla="*/ 2147483647 h 97"/>
                      <a:gd name="T96" fmla="*/ 2147483647 w 105"/>
                      <a:gd name="T97" fmla="*/ 2147483647 h 97"/>
                      <a:gd name="T98" fmla="*/ 2147483647 w 105"/>
                      <a:gd name="T99" fmla="*/ 2147483647 h 97"/>
                      <a:gd name="T100" fmla="*/ 2147483647 w 105"/>
                      <a:gd name="T101" fmla="*/ 2147483647 h 97"/>
                      <a:gd name="T102" fmla="*/ 2147483647 w 105"/>
                      <a:gd name="T103" fmla="*/ 2147483647 h 97"/>
                      <a:gd name="T104" fmla="*/ 2147483647 w 105"/>
                      <a:gd name="T105" fmla="*/ 2147483647 h 97"/>
                      <a:gd name="T106" fmla="*/ 2147483647 w 105"/>
                      <a:gd name="T107" fmla="*/ 2147483647 h 97"/>
                      <a:gd name="T108" fmla="*/ 2147483647 w 105"/>
                      <a:gd name="T109" fmla="*/ 2147483647 h 97"/>
                      <a:gd name="T110" fmla="*/ 2147483647 w 105"/>
                      <a:gd name="T111" fmla="*/ 2147483647 h 97"/>
                      <a:gd name="T112" fmla="*/ 2147483647 w 105"/>
                      <a:gd name="T113" fmla="*/ 2147483647 h 9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05" h="97">
                        <a:moveTo>
                          <a:pt x="74" y="97"/>
                        </a:moveTo>
                        <a:lnTo>
                          <a:pt x="84" y="87"/>
                        </a:lnTo>
                        <a:lnTo>
                          <a:pt x="86" y="87"/>
                        </a:lnTo>
                        <a:lnTo>
                          <a:pt x="88" y="87"/>
                        </a:lnTo>
                        <a:lnTo>
                          <a:pt x="90" y="87"/>
                        </a:lnTo>
                        <a:lnTo>
                          <a:pt x="93" y="87"/>
                        </a:lnTo>
                        <a:lnTo>
                          <a:pt x="93" y="83"/>
                        </a:lnTo>
                        <a:lnTo>
                          <a:pt x="93" y="79"/>
                        </a:lnTo>
                        <a:lnTo>
                          <a:pt x="93" y="74"/>
                        </a:lnTo>
                        <a:lnTo>
                          <a:pt x="94" y="74"/>
                        </a:lnTo>
                        <a:lnTo>
                          <a:pt x="95" y="74"/>
                        </a:lnTo>
                        <a:lnTo>
                          <a:pt x="96" y="74"/>
                        </a:lnTo>
                        <a:lnTo>
                          <a:pt x="97" y="74"/>
                        </a:lnTo>
                        <a:lnTo>
                          <a:pt x="98" y="77"/>
                        </a:lnTo>
                        <a:lnTo>
                          <a:pt x="99" y="77"/>
                        </a:lnTo>
                        <a:lnTo>
                          <a:pt x="100" y="77"/>
                        </a:lnTo>
                        <a:lnTo>
                          <a:pt x="101" y="77"/>
                        </a:lnTo>
                        <a:lnTo>
                          <a:pt x="100" y="74"/>
                        </a:lnTo>
                        <a:lnTo>
                          <a:pt x="101" y="74"/>
                        </a:lnTo>
                        <a:lnTo>
                          <a:pt x="100" y="74"/>
                        </a:lnTo>
                        <a:lnTo>
                          <a:pt x="102" y="74"/>
                        </a:lnTo>
                        <a:lnTo>
                          <a:pt x="103" y="74"/>
                        </a:lnTo>
                        <a:lnTo>
                          <a:pt x="103" y="65"/>
                        </a:lnTo>
                        <a:lnTo>
                          <a:pt x="105" y="59"/>
                        </a:lnTo>
                        <a:lnTo>
                          <a:pt x="105" y="56"/>
                        </a:lnTo>
                        <a:lnTo>
                          <a:pt x="102" y="54"/>
                        </a:lnTo>
                        <a:lnTo>
                          <a:pt x="96" y="51"/>
                        </a:lnTo>
                        <a:lnTo>
                          <a:pt x="98" y="50"/>
                        </a:lnTo>
                        <a:lnTo>
                          <a:pt x="99" y="48"/>
                        </a:lnTo>
                        <a:lnTo>
                          <a:pt x="100" y="47"/>
                        </a:lnTo>
                        <a:lnTo>
                          <a:pt x="100" y="45"/>
                        </a:lnTo>
                        <a:lnTo>
                          <a:pt x="101" y="47"/>
                        </a:lnTo>
                        <a:lnTo>
                          <a:pt x="101" y="44"/>
                        </a:lnTo>
                        <a:lnTo>
                          <a:pt x="99" y="42"/>
                        </a:lnTo>
                        <a:lnTo>
                          <a:pt x="96" y="39"/>
                        </a:lnTo>
                        <a:lnTo>
                          <a:pt x="96" y="33"/>
                        </a:lnTo>
                        <a:lnTo>
                          <a:pt x="96" y="27"/>
                        </a:lnTo>
                        <a:lnTo>
                          <a:pt x="97" y="21"/>
                        </a:lnTo>
                        <a:lnTo>
                          <a:pt x="96" y="16"/>
                        </a:lnTo>
                        <a:lnTo>
                          <a:pt x="96" y="14"/>
                        </a:lnTo>
                        <a:lnTo>
                          <a:pt x="95" y="12"/>
                        </a:lnTo>
                        <a:lnTo>
                          <a:pt x="94" y="10"/>
                        </a:lnTo>
                        <a:lnTo>
                          <a:pt x="93" y="10"/>
                        </a:lnTo>
                        <a:lnTo>
                          <a:pt x="91" y="6"/>
                        </a:lnTo>
                        <a:lnTo>
                          <a:pt x="89" y="6"/>
                        </a:lnTo>
                        <a:lnTo>
                          <a:pt x="87" y="5"/>
                        </a:lnTo>
                        <a:lnTo>
                          <a:pt x="84" y="3"/>
                        </a:lnTo>
                        <a:lnTo>
                          <a:pt x="81" y="0"/>
                        </a:lnTo>
                        <a:lnTo>
                          <a:pt x="79" y="0"/>
                        </a:lnTo>
                        <a:lnTo>
                          <a:pt x="78" y="2"/>
                        </a:lnTo>
                        <a:lnTo>
                          <a:pt x="77" y="3"/>
                        </a:lnTo>
                        <a:lnTo>
                          <a:pt x="72" y="3"/>
                        </a:lnTo>
                        <a:lnTo>
                          <a:pt x="69" y="2"/>
                        </a:lnTo>
                        <a:lnTo>
                          <a:pt x="65" y="0"/>
                        </a:lnTo>
                        <a:lnTo>
                          <a:pt x="61" y="0"/>
                        </a:lnTo>
                        <a:lnTo>
                          <a:pt x="58" y="0"/>
                        </a:lnTo>
                        <a:lnTo>
                          <a:pt x="57" y="2"/>
                        </a:lnTo>
                        <a:lnTo>
                          <a:pt x="57" y="3"/>
                        </a:lnTo>
                        <a:lnTo>
                          <a:pt x="55" y="3"/>
                        </a:lnTo>
                        <a:lnTo>
                          <a:pt x="53" y="3"/>
                        </a:lnTo>
                        <a:lnTo>
                          <a:pt x="54" y="2"/>
                        </a:lnTo>
                        <a:lnTo>
                          <a:pt x="55" y="0"/>
                        </a:lnTo>
                        <a:lnTo>
                          <a:pt x="54" y="2"/>
                        </a:lnTo>
                        <a:lnTo>
                          <a:pt x="53" y="3"/>
                        </a:lnTo>
                        <a:lnTo>
                          <a:pt x="52" y="3"/>
                        </a:lnTo>
                        <a:lnTo>
                          <a:pt x="51" y="3"/>
                        </a:lnTo>
                        <a:lnTo>
                          <a:pt x="49" y="3"/>
                        </a:lnTo>
                        <a:lnTo>
                          <a:pt x="46" y="6"/>
                        </a:lnTo>
                        <a:lnTo>
                          <a:pt x="41" y="10"/>
                        </a:lnTo>
                        <a:lnTo>
                          <a:pt x="40" y="10"/>
                        </a:lnTo>
                        <a:lnTo>
                          <a:pt x="38" y="10"/>
                        </a:lnTo>
                        <a:lnTo>
                          <a:pt x="38" y="12"/>
                        </a:lnTo>
                        <a:lnTo>
                          <a:pt x="37" y="13"/>
                        </a:lnTo>
                        <a:lnTo>
                          <a:pt x="36" y="13"/>
                        </a:lnTo>
                        <a:lnTo>
                          <a:pt x="35" y="13"/>
                        </a:lnTo>
                        <a:lnTo>
                          <a:pt x="34" y="15"/>
                        </a:lnTo>
                        <a:lnTo>
                          <a:pt x="33" y="16"/>
                        </a:lnTo>
                        <a:lnTo>
                          <a:pt x="32" y="16"/>
                        </a:lnTo>
                        <a:lnTo>
                          <a:pt x="30" y="17"/>
                        </a:lnTo>
                        <a:lnTo>
                          <a:pt x="27" y="18"/>
                        </a:lnTo>
                        <a:lnTo>
                          <a:pt x="25" y="18"/>
                        </a:lnTo>
                        <a:lnTo>
                          <a:pt x="22" y="20"/>
                        </a:lnTo>
                        <a:lnTo>
                          <a:pt x="22" y="18"/>
                        </a:lnTo>
                        <a:lnTo>
                          <a:pt x="22" y="16"/>
                        </a:lnTo>
                        <a:lnTo>
                          <a:pt x="22" y="15"/>
                        </a:lnTo>
                        <a:lnTo>
                          <a:pt x="22" y="13"/>
                        </a:lnTo>
                        <a:lnTo>
                          <a:pt x="17" y="13"/>
                        </a:lnTo>
                        <a:lnTo>
                          <a:pt x="16" y="14"/>
                        </a:lnTo>
                        <a:lnTo>
                          <a:pt x="15" y="16"/>
                        </a:lnTo>
                        <a:lnTo>
                          <a:pt x="15" y="17"/>
                        </a:lnTo>
                        <a:lnTo>
                          <a:pt x="15" y="18"/>
                        </a:lnTo>
                        <a:lnTo>
                          <a:pt x="15" y="20"/>
                        </a:lnTo>
                        <a:lnTo>
                          <a:pt x="18" y="21"/>
                        </a:lnTo>
                        <a:lnTo>
                          <a:pt x="20" y="23"/>
                        </a:lnTo>
                        <a:lnTo>
                          <a:pt x="22" y="24"/>
                        </a:lnTo>
                        <a:lnTo>
                          <a:pt x="22" y="26"/>
                        </a:lnTo>
                        <a:lnTo>
                          <a:pt x="20" y="26"/>
                        </a:lnTo>
                        <a:lnTo>
                          <a:pt x="19" y="26"/>
                        </a:lnTo>
                        <a:lnTo>
                          <a:pt x="17" y="26"/>
                        </a:lnTo>
                        <a:lnTo>
                          <a:pt x="15" y="26"/>
                        </a:lnTo>
                        <a:lnTo>
                          <a:pt x="14" y="26"/>
                        </a:lnTo>
                        <a:lnTo>
                          <a:pt x="12" y="26"/>
                        </a:lnTo>
                        <a:lnTo>
                          <a:pt x="10" y="26"/>
                        </a:lnTo>
                        <a:lnTo>
                          <a:pt x="9" y="26"/>
                        </a:lnTo>
                        <a:lnTo>
                          <a:pt x="7" y="26"/>
                        </a:lnTo>
                        <a:lnTo>
                          <a:pt x="5" y="26"/>
                        </a:lnTo>
                        <a:lnTo>
                          <a:pt x="2" y="26"/>
                        </a:lnTo>
                        <a:lnTo>
                          <a:pt x="0" y="30"/>
                        </a:lnTo>
                        <a:lnTo>
                          <a:pt x="1" y="30"/>
                        </a:lnTo>
                        <a:lnTo>
                          <a:pt x="2" y="30"/>
                        </a:lnTo>
                        <a:lnTo>
                          <a:pt x="3" y="32"/>
                        </a:lnTo>
                        <a:lnTo>
                          <a:pt x="3" y="34"/>
                        </a:lnTo>
                        <a:lnTo>
                          <a:pt x="3" y="35"/>
                        </a:lnTo>
                        <a:lnTo>
                          <a:pt x="3" y="36"/>
                        </a:lnTo>
                        <a:lnTo>
                          <a:pt x="3" y="38"/>
                        </a:lnTo>
                        <a:lnTo>
                          <a:pt x="5" y="39"/>
                        </a:lnTo>
                        <a:lnTo>
                          <a:pt x="6" y="40"/>
                        </a:lnTo>
                        <a:lnTo>
                          <a:pt x="6" y="42"/>
                        </a:lnTo>
                        <a:lnTo>
                          <a:pt x="8" y="42"/>
                        </a:lnTo>
                        <a:lnTo>
                          <a:pt x="9" y="44"/>
                        </a:lnTo>
                        <a:lnTo>
                          <a:pt x="9" y="45"/>
                        </a:lnTo>
                        <a:lnTo>
                          <a:pt x="9" y="50"/>
                        </a:lnTo>
                        <a:lnTo>
                          <a:pt x="9" y="51"/>
                        </a:lnTo>
                        <a:lnTo>
                          <a:pt x="11" y="51"/>
                        </a:lnTo>
                        <a:lnTo>
                          <a:pt x="12" y="53"/>
                        </a:lnTo>
                        <a:lnTo>
                          <a:pt x="12" y="55"/>
                        </a:lnTo>
                        <a:lnTo>
                          <a:pt x="14" y="55"/>
                        </a:lnTo>
                        <a:lnTo>
                          <a:pt x="14" y="57"/>
                        </a:lnTo>
                        <a:lnTo>
                          <a:pt x="14" y="59"/>
                        </a:lnTo>
                        <a:lnTo>
                          <a:pt x="15" y="62"/>
                        </a:lnTo>
                        <a:lnTo>
                          <a:pt x="16" y="62"/>
                        </a:lnTo>
                        <a:lnTo>
                          <a:pt x="17" y="62"/>
                        </a:lnTo>
                        <a:lnTo>
                          <a:pt x="18" y="63"/>
                        </a:lnTo>
                        <a:lnTo>
                          <a:pt x="19" y="65"/>
                        </a:lnTo>
                        <a:lnTo>
                          <a:pt x="21" y="64"/>
                        </a:lnTo>
                        <a:lnTo>
                          <a:pt x="22" y="63"/>
                        </a:lnTo>
                        <a:lnTo>
                          <a:pt x="23" y="62"/>
                        </a:lnTo>
                        <a:lnTo>
                          <a:pt x="25" y="62"/>
                        </a:lnTo>
                        <a:lnTo>
                          <a:pt x="25" y="63"/>
                        </a:lnTo>
                        <a:lnTo>
                          <a:pt x="25" y="64"/>
                        </a:lnTo>
                        <a:lnTo>
                          <a:pt x="25" y="65"/>
                        </a:lnTo>
                        <a:lnTo>
                          <a:pt x="26" y="66"/>
                        </a:lnTo>
                        <a:lnTo>
                          <a:pt x="27" y="66"/>
                        </a:lnTo>
                        <a:lnTo>
                          <a:pt x="28" y="64"/>
                        </a:lnTo>
                        <a:lnTo>
                          <a:pt x="29" y="62"/>
                        </a:lnTo>
                        <a:lnTo>
                          <a:pt x="31" y="62"/>
                        </a:lnTo>
                        <a:lnTo>
                          <a:pt x="32" y="62"/>
                        </a:lnTo>
                        <a:lnTo>
                          <a:pt x="33" y="62"/>
                        </a:lnTo>
                        <a:lnTo>
                          <a:pt x="35" y="62"/>
                        </a:lnTo>
                        <a:lnTo>
                          <a:pt x="34" y="60"/>
                        </a:lnTo>
                        <a:lnTo>
                          <a:pt x="33" y="58"/>
                        </a:lnTo>
                        <a:lnTo>
                          <a:pt x="33" y="57"/>
                        </a:lnTo>
                        <a:lnTo>
                          <a:pt x="35" y="55"/>
                        </a:lnTo>
                        <a:lnTo>
                          <a:pt x="35" y="53"/>
                        </a:lnTo>
                        <a:lnTo>
                          <a:pt x="36" y="51"/>
                        </a:lnTo>
                        <a:lnTo>
                          <a:pt x="38" y="51"/>
                        </a:lnTo>
                        <a:lnTo>
                          <a:pt x="40" y="51"/>
                        </a:lnTo>
                        <a:lnTo>
                          <a:pt x="41" y="50"/>
                        </a:lnTo>
                        <a:lnTo>
                          <a:pt x="41" y="48"/>
                        </a:lnTo>
                        <a:lnTo>
                          <a:pt x="43" y="50"/>
                        </a:lnTo>
                        <a:lnTo>
                          <a:pt x="44" y="50"/>
                        </a:lnTo>
                        <a:lnTo>
                          <a:pt x="45" y="55"/>
                        </a:lnTo>
                        <a:lnTo>
                          <a:pt x="45" y="57"/>
                        </a:lnTo>
                        <a:lnTo>
                          <a:pt x="45" y="58"/>
                        </a:lnTo>
                        <a:lnTo>
                          <a:pt x="45" y="60"/>
                        </a:lnTo>
                        <a:lnTo>
                          <a:pt x="45" y="62"/>
                        </a:lnTo>
                        <a:lnTo>
                          <a:pt x="45" y="63"/>
                        </a:lnTo>
                        <a:lnTo>
                          <a:pt x="45" y="64"/>
                        </a:lnTo>
                        <a:lnTo>
                          <a:pt x="45" y="65"/>
                        </a:lnTo>
                        <a:lnTo>
                          <a:pt x="45" y="69"/>
                        </a:lnTo>
                        <a:lnTo>
                          <a:pt x="46" y="71"/>
                        </a:lnTo>
                        <a:lnTo>
                          <a:pt x="48" y="71"/>
                        </a:lnTo>
                        <a:lnTo>
                          <a:pt x="49" y="71"/>
                        </a:lnTo>
                        <a:lnTo>
                          <a:pt x="50" y="71"/>
                        </a:lnTo>
                        <a:lnTo>
                          <a:pt x="51" y="71"/>
                        </a:lnTo>
                        <a:lnTo>
                          <a:pt x="51" y="74"/>
                        </a:lnTo>
                        <a:lnTo>
                          <a:pt x="51" y="77"/>
                        </a:lnTo>
                        <a:lnTo>
                          <a:pt x="50" y="79"/>
                        </a:lnTo>
                        <a:lnTo>
                          <a:pt x="49" y="80"/>
                        </a:lnTo>
                        <a:lnTo>
                          <a:pt x="48" y="81"/>
                        </a:lnTo>
                        <a:lnTo>
                          <a:pt x="49" y="83"/>
                        </a:lnTo>
                        <a:lnTo>
                          <a:pt x="50" y="84"/>
                        </a:lnTo>
                        <a:lnTo>
                          <a:pt x="51" y="84"/>
                        </a:lnTo>
                        <a:lnTo>
                          <a:pt x="53" y="85"/>
                        </a:lnTo>
                        <a:lnTo>
                          <a:pt x="55" y="85"/>
                        </a:lnTo>
                        <a:lnTo>
                          <a:pt x="56" y="86"/>
                        </a:lnTo>
                        <a:lnTo>
                          <a:pt x="57" y="84"/>
                        </a:lnTo>
                        <a:lnTo>
                          <a:pt x="60" y="84"/>
                        </a:lnTo>
                        <a:lnTo>
                          <a:pt x="60" y="82"/>
                        </a:lnTo>
                        <a:lnTo>
                          <a:pt x="60" y="81"/>
                        </a:lnTo>
                        <a:lnTo>
                          <a:pt x="61" y="81"/>
                        </a:lnTo>
                        <a:lnTo>
                          <a:pt x="63" y="81"/>
                        </a:lnTo>
                        <a:lnTo>
                          <a:pt x="64" y="83"/>
                        </a:lnTo>
                        <a:lnTo>
                          <a:pt x="65" y="87"/>
                        </a:lnTo>
                        <a:lnTo>
                          <a:pt x="67" y="88"/>
                        </a:lnTo>
                        <a:lnTo>
                          <a:pt x="68" y="88"/>
                        </a:lnTo>
                        <a:lnTo>
                          <a:pt x="69" y="89"/>
                        </a:lnTo>
                        <a:lnTo>
                          <a:pt x="71" y="90"/>
                        </a:lnTo>
                        <a:lnTo>
                          <a:pt x="71" y="92"/>
                        </a:lnTo>
                        <a:lnTo>
                          <a:pt x="72" y="93"/>
                        </a:lnTo>
                        <a:lnTo>
                          <a:pt x="74" y="93"/>
                        </a:lnTo>
                        <a:lnTo>
                          <a:pt x="74" y="9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8" name="Freeform 1736">
                    <a:extLst>
                      <a:ext uri="{FF2B5EF4-FFF2-40B4-BE49-F238E27FC236}">
                        <a16:creationId xmlns:a16="http://schemas.microsoft.com/office/drawing/2014/main" xmlns="" id="{34E0F0F4-0DB0-40FF-A9F3-D2391D387781}"/>
                      </a:ext>
                    </a:extLst>
                  </p:cNvPr>
                  <p:cNvSpPr>
                    <a:spLocks/>
                  </p:cNvSpPr>
                  <p:nvPr/>
                </p:nvSpPr>
                <p:spPr bwMode="gray">
                  <a:xfrm>
                    <a:off x="3654400" y="2853940"/>
                    <a:ext cx="15575" cy="15575"/>
                  </a:xfrm>
                  <a:custGeom>
                    <a:avLst/>
                    <a:gdLst>
                      <a:gd name="T0" fmla="*/ 2147483647 w 14"/>
                      <a:gd name="T1" fmla="*/ 0 h 14"/>
                      <a:gd name="T2" fmla="*/ 2147483647 w 14"/>
                      <a:gd name="T3" fmla="*/ 0 h 14"/>
                      <a:gd name="T4" fmla="*/ 2147483647 w 14"/>
                      <a:gd name="T5" fmla="*/ 2147483647 h 14"/>
                      <a:gd name="T6" fmla="*/ 2147483647 w 14"/>
                      <a:gd name="T7" fmla="*/ 2147483647 h 14"/>
                      <a:gd name="T8" fmla="*/ 2147483647 w 14"/>
                      <a:gd name="T9" fmla="*/ 2147483647 h 14"/>
                      <a:gd name="T10" fmla="*/ 2147483647 w 14"/>
                      <a:gd name="T11" fmla="*/ 2147483647 h 14"/>
                      <a:gd name="T12" fmla="*/ 2147483647 w 14"/>
                      <a:gd name="T13" fmla="*/ 2147483647 h 14"/>
                      <a:gd name="T14" fmla="*/ 2147483647 w 14"/>
                      <a:gd name="T15" fmla="*/ 2147483647 h 14"/>
                      <a:gd name="T16" fmla="*/ 2147483647 w 14"/>
                      <a:gd name="T17" fmla="*/ 2147483647 h 14"/>
                      <a:gd name="T18" fmla="*/ 2147483647 w 14"/>
                      <a:gd name="T19" fmla="*/ 2147483647 h 14"/>
                      <a:gd name="T20" fmla="*/ 2147483647 w 14"/>
                      <a:gd name="T21" fmla="*/ 2147483647 h 14"/>
                      <a:gd name="T22" fmla="*/ 2147483647 w 14"/>
                      <a:gd name="T23" fmla="*/ 2147483647 h 14"/>
                      <a:gd name="T24" fmla="*/ 2147483647 w 14"/>
                      <a:gd name="T25" fmla="*/ 2147483647 h 14"/>
                      <a:gd name="T26" fmla="*/ 2147483647 w 14"/>
                      <a:gd name="T27" fmla="*/ 2147483647 h 14"/>
                      <a:gd name="T28" fmla="*/ 2147483647 w 14"/>
                      <a:gd name="T29" fmla="*/ 2147483647 h 14"/>
                      <a:gd name="T30" fmla="*/ 2147483647 w 14"/>
                      <a:gd name="T31" fmla="*/ 2147483647 h 14"/>
                      <a:gd name="T32" fmla="*/ 2147483647 w 14"/>
                      <a:gd name="T33" fmla="*/ 2147483647 h 14"/>
                      <a:gd name="T34" fmla="*/ 0 w 14"/>
                      <a:gd name="T35" fmla="*/ 2147483647 h 14"/>
                      <a:gd name="T36" fmla="*/ 2147483647 w 14"/>
                      <a:gd name="T37" fmla="*/ 2147483647 h 14"/>
                      <a:gd name="T38" fmla="*/ 2147483647 w 14"/>
                      <a:gd name="T39" fmla="*/ 2147483647 h 14"/>
                      <a:gd name="T40" fmla="*/ 2147483647 w 14"/>
                      <a:gd name="T41" fmla="*/ 2147483647 h 14"/>
                      <a:gd name="T42" fmla="*/ 2147483647 w 14"/>
                      <a:gd name="T43" fmla="*/ 2147483647 h 14"/>
                      <a:gd name="T44" fmla="*/ 2147483647 w 14"/>
                      <a:gd name="T45" fmla="*/ 2147483647 h 14"/>
                      <a:gd name="T46" fmla="*/ 2147483647 w 14"/>
                      <a:gd name="T47" fmla="*/ 2147483647 h 14"/>
                      <a:gd name="T48" fmla="*/ 2147483647 w 14"/>
                      <a:gd name="T49" fmla="*/ 2147483647 h 14"/>
                      <a:gd name="T50" fmla="*/ 2147483647 w 14"/>
                      <a:gd name="T51" fmla="*/ 0 h 14"/>
                      <a:gd name="T52" fmla="*/ 2147483647 w 14"/>
                      <a:gd name="T53" fmla="*/ 0 h 14"/>
                      <a:gd name="T54" fmla="*/ 2147483647 w 14"/>
                      <a:gd name="T55" fmla="*/ 0 h 14"/>
                      <a:gd name="T56" fmla="*/ 2147483647 w 14"/>
                      <a:gd name="T57" fmla="*/ 0 h 14"/>
                      <a:gd name="T58" fmla="*/ 2147483647 w 14"/>
                      <a:gd name="T59" fmla="*/ 0 h 14"/>
                      <a:gd name="T60" fmla="*/ 2147483647 w 14"/>
                      <a:gd name="T61" fmla="*/ 0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 h="14">
                        <a:moveTo>
                          <a:pt x="10" y="0"/>
                        </a:moveTo>
                        <a:lnTo>
                          <a:pt x="10" y="0"/>
                        </a:lnTo>
                        <a:lnTo>
                          <a:pt x="10" y="2"/>
                        </a:lnTo>
                        <a:lnTo>
                          <a:pt x="11" y="3"/>
                        </a:lnTo>
                        <a:lnTo>
                          <a:pt x="13" y="3"/>
                        </a:lnTo>
                        <a:lnTo>
                          <a:pt x="13" y="5"/>
                        </a:lnTo>
                        <a:lnTo>
                          <a:pt x="14" y="7"/>
                        </a:lnTo>
                        <a:lnTo>
                          <a:pt x="14" y="8"/>
                        </a:lnTo>
                        <a:lnTo>
                          <a:pt x="13" y="10"/>
                        </a:lnTo>
                        <a:lnTo>
                          <a:pt x="12" y="10"/>
                        </a:lnTo>
                        <a:lnTo>
                          <a:pt x="11" y="10"/>
                        </a:lnTo>
                        <a:lnTo>
                          <a:pt x="10" y="10"/>
                        </a:lnTo>
                        <a:lnTo>
                          <a:pt x="8" y="13"/>
                        </a:lnTo>
                        <a:lnTo>
                          <a:pt x="8" y="14"/>
                        </a:lnTo>
                        <a:lnTo>
                          <a:pt x="6" y="14"/>
                        </a:lnTo>
                        <a:lnTo>
                          <a:pt x="4" y="14"/>
                        </a:lnTo>
                        <a:lnTo>
                          <a:pt x="0" y="13"/>
                        </a:lnTo>
                        <a:lnTo>
                          <a:pt x="2" y="13"/>
                        </a:lnTo>
                        <a:lnTo>
                          <a:pt x="3" y="12"/>
                        </a:lnTo>
                        <a:lnTo>
                          <a:pt x="4" y="11"/>
                        </a:lnTo>
                        <a:lnTo>
                          <a:pt x="4" y="10"/>
                        </a:lnTo>
                        <a:lnTo>
                          <a:pt x="7" y="3"/>
                        </a:lnTo>
                        <a:lnTo>
                          <a:pt x="8" y="3"/>
                        </a:lnTo>
                        <a:lnTo>
                          <a:pt x="8" y="2"/>
                        </a:lnTo>
                        <a:lnTo>
                          <a:pt x="8" y="0"/>
                        </a:lnTo>
                        <a:lnTo>
                          <a:pt x="7" y="0"/>
                        </a:lnTo>
                        <a:lnTo>
                          <a:pt x="8" y="0"/>
                        </a:lnTo>
                        <a:lnTo>
                          <a:pt x="9" y="0"/>
                        </a:lnTo>
                        <a:lnTo>
                          <a:pt x="1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69" name="Freeform 1738">
                    <a:extLst>
                      <a:ext uri="{FF2B5EF4-FFF2-40B4-BE49-F238E27FC236}">
                        <a16:creationId xmlns:a16="http://schemas.microsoft.com/office/drawing/2014/main" xmlns="" id="{106FE7FE-13C2-49C5-956E-7F37F20F648C}"/>
                      </a:ext>
                    </a:extLst>
                  </p:cNvPr>
                  <p:cNvSpPr>
                    <a:spLocks/>
                  </p:cNvSpPr>
                  <p:nvPr/>
                </p:nvSpPr>
                <p:spPr bwMode="gray">
                  <a:xfrm>
                    <a:off x="3593213" y="2847264"/>
                    <a:ext cx="8900" cy="10013"/>
                  </a:xfrm>
                  <a:custGeom>
                    <a:avLst/>
                    <a:gdLst>
                      <a:gd name="T0" fmla="*/ 2147483647 w 8"/>
                      <a:gd name="T1" fmla="*/ 0 h 9"/>
                      <a:gd name="T2" fmla="*/ 2147483647 w 8"/>
                      <a:gd name="T3" fmla="*/ 2147483647 h 9"/>
                      <a:gd name="T4" fmla="*/ 2147483647 w 8"/>
                      <a:gd name="T5" fmla="*/ 2147483647 h 9"/>
                      <a:gd name="T6" fmla="*/ 2147483647 w 8"/>
                      <a:gd name="T7" fmla="*/ 2147483647 h 9"/>
                      <a:gd name="T8" fmla="*/ 2147483647 w 8"/>
                      <a:gd name="T9" fmla="*/ 2147483647 h 9"/>
                      <a:gd name="T10" fmla="*/ 2147483647 w 8"/>
                      <a:gd name="T11" fmla="*/ 2147483647 h 9"/>
                      <a:gd name="T12" fmla="*/ 2147483647 w 8"/>
                      <a:gd name="T13" fmla="*/ 2147483647 h 9"/>
                      <a:gd name="T14" fmla="*/ 0 w 8"/>
                      <a:gd name="T15" fmla="*/ 2147483647 h 9"/>
                      <a:gd name="T16" fmla="*/ 2147483647 w 8"/>
                      <a:gd name="T17" fmla="*/ 2147483647 h 9"/>
                      <a:gd name="T18" fmla="*/ 2147483647 w 8"/>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9">
                        <a:moveTo>
                          <a:pt x="3" y="0"/>
                        </a:moveTo>
                        <a:lnTo>
                          <a:pt x="7" y="3"/>
                        </a:lnTo>
                        <a:lnTo>
                          <a:pt x="8" y="6"/>
                        </a:lnTo>
                        <a:lnTo>
                          <a:pt x="7" y="8"/>
                        </a:lnTo>
                        <a:lnTo>
                          <a:pt x="7" y="9"/>
                        </a:lnTo>
                        <a:lnTo>
                          <a:pt x="6" y="8"/>
                        </a:lnTo>
                        <a:lnTo>
                          <a:pt x="3" y="4"/>
                        </a:lnTo>
                        <a:lnTo>
                          <a:pt x="0" y="2"/>
                        </a:lnTo>
                        <a:lnTo>
                          <a:pt x="2"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0" name="Freeform 1740">
                    <a:extLst>
                      <a:ext uri="{FF2B5EF4-FFF2-40B4-BE49-F238E27FC236}">
                        <a16:creationId xmlns:a16="http://schemas.microsoft.com/office/drawing/2014/main" xmlns="" id="{68349395-8250-4987-806C-64E33909939E}"/>
                      </a:ext>
                    </a:extLst>
                  </p:cNvPr>
                  <p:cNvSpPr>
                    <a:spLocks/>
                  </p:cNvSpPr>
                  <p:nvPr/>
                </p:nvSpPr>
                <p:spPr bwMode="gray">
                  <a:xfrm>
                    <a:off x="3578752" y="2813888"/>
                    <a:ext cx="421628" cy="451693"/>
                  </a:xfrm>
                  <a:custGeom>
                    <a:avLst/>
                    <a:gdLst>
                      <a:gd name="T0" fmla="*/ 2147483647 w 379"/>
                      <a:gd name="T1" fmla="*/ 2147483647 h 406"/>
                      <a:gd name="T2" fmla="*/ 2147483647 w 379"/>
                      <a:gd name="T3" fmla="*/ 2147483647 h 406"/>
                      <a:gd name="T4" fmla="*/ 2147483647 w 379"/>
                      <a:gd name="T5" fmla="*/ 2147483647 h 406"/>
                      <a:gd name="T6" fmla="*/ 2147483647 w 379"/>
                      <a:gd name="T7" fmla="*/ 2147483647 h 406"/>
                      <a:gd name="T8" fmla="*/ 2147483647 w 379"/>
                      <a:gd name="T9" fmla="*/ 2147483647 h 406"/>
                      <a:gd name="T10" fmla="*/ 2147483647 w 379"/>
                      <a:gd name="T11" fmla="*/ 2147483647 h 406"/>
                      <a:gd name="T12" fmla="*/ 2147483647 w 379"/>
                      <a:gd name="T13" fmla="*/ 2147483647 h 406"/>
                      <a:gd name="T14" fmla="*/ 2147483647 w 379"/>
                      <a:gd name="T15" fmla="*/ 2147483647 h 406"/>
                      <a:gd name="T16" fmla="*/ 2147483647 w 379"/>
                      <a:gd name="T17" fmla="*/ 2147483647 h 406"/>
                      <a:gd name="T18" fmla="*/ 2147483647 w 379"/>
                      <a:gd name="T19" fmla="*/ 2147483647 h 406"/>
                      <a:gd name="T20" fmla="*/ 2147483647 w 379"/>
                      <a:gd name="T21" fmla="*/ 2147483647 h 406"/>
                      <a:gd name="T22" fmla="*/ 2147483647 w 379"/>
                      <a:gd name="T23" fmla="*/ 2147483647 h 406"/>
                      <a:gd name="T24" fmla="*/ 2147483647 w 379"/>
                      <a:gd name="T25" fmla="*/ 2147483647 h 406"/>
                      <a:gd name="T26" fmla="*/ 2147483647 w 379"/>
                      <a:gd name="T27" fmla="*/ 2147483647 h 406"/>
                      <a:gd name="T28" fmla="*/ 2147483647 w 379"/>
                      <a:gd name="T29" fmla="*/ 2147483647 h 406"/>
                      <a:gd name="T30" fmla="*/ 2147483647 w 379"/>
                      <a:gd name="T31" fmla="*/ 2147483647 h 406"/>
                      <a:gd name="T32" fmla="*/ 2147483647 w 379"/>
                      <a:gd name="T33" fmla="*/ 2147483647 h 406"/>
                      <a:gd name="T34" fmla="*/ 2147483647 w 379"/>
                      <a:gd name="T35" fmla="*/ 2147483647 h 406"/>
                      <a:gd name="T36" fmla="*/ 2147483647 w 379"/>
                      <a:gd name="T37" fmla="*/ 2147483647 h 406"/>
                      <a:gd name="T38" fmla="*/ 2147483647 w 379"/>
                      <a:gd name="T39" fmla="*/ 2147483647 h 406"/>
                      <a:gd name="T40" fmla="*/ 0 w 379"/>
                      <a:gd name="T41" fmla="*/ 2147483647 h 406"/>
                      <a:gd name="T42" fmla="*/ 2147483647 w 379"/>
                      <a:gd name="T43" fmla="*/ 2147483647 h 406"/>
                      <a:gd name="T44" fmla="*/ 2147483647 w 379"/>
                      <a:gd name="T45" fmla="*/ 2147483647 h 406"/>
                      <a:gd name="T46" fmla="*/ 2147483647 w 379"/>
                      <a:gd name="T47" fmla="*/ 2147483647 h 406"/>
                      <a:gd name="T48" fmla="*/ 2147483647 w 379"/>
                      <a:gd name="T49" fmla="*/ 2147483647 h 406"/>
                      <a:gd name="T50" fmla="*/ 2147483647 w 379"/>
                      <a:gd name="T51" fmla="*/ 2147483647 h 406"/>
                      <a:gd name="T52" fmla="*/ 2147483647 w 379"/>
                      <a:gd name="T53" fmla="*/ 2147483647 h 406"/>
                      <a:gd name="T54" fmla="*/ 2147483647 w 379"/>
                      <a:gd name="T55" fmla="*/ 2147483647 h 406"/>
                      <a:gd name="T56" fmla="*/ 2147483647 w 379"/>
                      <a:gd name="T57" fmla="*/ 2147483647 h 406"/>
                      <a:gd name="T58" fmla="*/ 2147483647 w 379"/>
                      <a:gd name="T59" fmla="*/ 2147483647 h 406"/>
                      <a:gd name="T60" fmla="*/ 2147483647 w 379"/>
                      <a:gd name="T61" fmla="*/ 2147483647 h 406"/>
                      <a:gd name="T62" fmla="*/ 2147483647 w 379"/>
                      <a:gd name="T63" fmla="*/ 2147483647 h 406"/>
                      <a:gd name="T64" fmla="*/ 2147483647 w 379"/>
                      <a:gd name="T65" fmla="*/ 2147483647 h 406"/>
                      <a:gd name="T66" fmla="*/ 2147483647 w 379"/>
                      <a:gd name="T67" fmla="*/ 2147483647 h 406"/>
                      <a:gd name="T68" fmla="*/ 2147483647 w 379"/>
                      <a:gd name="T69" fmla="*/ 2147483647 h 406"/>
                      <a:gd name="T70" fmla="*/ 2147483647 w 379"/>
                      <a:gd name="T71" fmla="*/ 2147483647 h 406"/>
                      <a:gd name="T72" fmla="*/ 2147483647 w 379"/>
                      <a:gd name="T73" fmla="*/ 2147483647 h 406"/>
                      <a:gd name="T74" fmla="*/ 2147483647 w 379"/>
                      <a:gd name="T75" fmla="*/ 2147483647 h 406"/>
                      <a:gd name="T76" fmla="*/ 2147483647 w 379"/>
                      <a:gd name="T77" fmla="*/ 2147483647 h 406"/>
                      <a:gd name="T78" fmla="*/ 2147483647 w 379"/>
                      <a:gd name="T79" fmla="*/ 2147483647 h 406"/>
                      <a:gd name="T80" fmla="*/ 2147483647 w 379"/>
                      <a:gd name="T81" fmla="*/ 2147483647 h 406"/>
                      <a:gd name="T82" fmla="*/ 2147483647 w 379"/>
                      <a:gd name="T83" fmla="*/ 2147483647 h 406"/>
                      <a:gd name="T84" fmla="*/ 2147483647 w 379"/>
                      <a:gd name="T85" fmla="*/ 2147483647 h 406"/>
                      <a:gd name="T86" fmla="*/ 2147483647 w 379"/>
                      <a:gd name="T87" fmla="*/ 2147483647 h 406"/>
                      <a:gd name="T88" fmla="*/ 2147483647 w 379"/>
                      <a:gd name="T89" fmla="*/ 2147483647 h 406"/>
                      <a:gd name="T90" fmla="*/ 2147483647 w 379"/>
                      <a:gd name="T91" fmla="*/ 2147483647 h 406"/>
                      <a:gd name="T92" fmla="*/ 2147483647 w 379"/>
                      <a:gd name="T93" fmla="*/ 2147483647 h 406"/>
                      <a:gd name="T94" fmla="*/ 2147483647 w 379"/>
                      <a:gd name="T95" fmla="*/ 2147483647 h 406"/>
                      <a:gd name="T96" fmla="*/ 2147483647 w 379"/>
                      <a:gd name="T97" fmla="*/ 2147483647 h 406"/>
                      <a:gd name="T98" fmla="*/ 2147483647 w 379"/>
                      <a:gd name="T99" fmla="*/ 2147483647 h 406"/>
                      <a:gd name="T100" fmla="*/ 2147483647 w 379"/>
                      <a:gd name="T101" fmla="*/ 2147483647 h 406"/>
                      <a:gd name="T102" fmla="*/ 2147483647 w 379"/>
                      <a:gd name="T103" fmla="*/ 2147483647 h 406"/>
                      <a:gd name="T104" fmla="*/ 2147483647 w 379"/>
                      <a:gd name="T105" fmla="*/ 2147483647 h 406"/>
                      <a:gd name="T106" fmla="*/ 2147483647 w 379"/>
                      <a:gd name="T107" fmla="*/ 2147483647 h 406"/>
                      <a:gd name="T108" fmla="*/ 2147483647 w 379"/>
                      <a:gd name="T109" fmla="*/ 2147483647 h 406"/>
                      <a:gd name="T110" fmla="*/ 2147483647 w 379"/>
                      <a:gd name="T111" fmla="*/ 2147483647 h 406"/>
                      <a:gd name="T112" fmla="*/ 2147483647 w 379"/>
                      <a:gd name="T113" fmla="*/ 2147483647 h 406"/>
                      <a:gd name="T114" fmla="*/ 2147483647 w 379"/>
                      <a:gd name="T115" fmla="*/ 2147483647 h 406"/>
                      <a:gd name="T116" fmla="*/ 2147483647 w 379"/>
                      <a:gd name="T117" fmla="*/ 2147483647 h 406"/>
                      <a:gd name="T118" fmla="*/ 2147483647 w 379"/>
                      <a:gd name="T119" fmla="*/ 2147483647 h 406"/>
                      <a:gd name="T120" fmla="*/ 2147483647 w 379"/>
                      <a:gd name="T121" fmla="*/ 2147483647 h 406"/>
                      <a:gd name="T122" fmla="*/ 2147483647 w 379"/>
                      <a:gd name="T123" fmla="*/ 2147483647 h 406"/>
                      <a:gd name="T124" fmla="*/ 2147483647 w 379"/>
                      <a:gd name="T125" fmla="*/ 2147483647 h 4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9" h="406">
                        <a:moveTo>
                          <a:pt x="185" y="174"/>
                        </a:moveTo>
                        <a:lnTo>
                          <a:pt x="186" y="176"/>
                        </a:lnTo>
                        <a:lnTo>
                          <a:pt x="186" y="177"/>
                        </a:lnTo>
                        <a:lnTo>
                          <a:pt x="188" y="179"/>
                        </a:lnTo>
                        <a:lnTo>
                          <a:pt x="188" y="181"/>
                        </a:lnTo>
                        <a:lnTo>
                          <a:pt x="189" y="183"/>
                        </a:lnTo>
                        <a:lnTo>
                          <a:pt x="192" y="184"/>
                        </a:lnTo>
                        <a:lnTo>
                          <a:pt x="193" y="186"/>
                        </a:lnTo>
                        <a:lnTo>
                          <a:pt x="191" y="187"/>
                        </a:lnTo>
                        <a:lnTo>
                          <a:pt x="191" y="188"/>
                        </a:lnTo>
                        <a:lnTo>
                          <a:pt x="191" y="190"/>
                        </a:lnTo>
                        <a:lnTo>
                          <a:pt x="189" y="190"/>
                        </a:lnTo>
                        <a:lnTo>
                          <a:pt x="191" y="191"/>
                        </a:lnTo>
                        <a:lnTo>
                          <a:pt x="191" y="193"/>
                        </a:lnTo>
                        <a:lnTo>
                          <a:pt x="191" y="194"/>
                        </a:lnTo>
                        <a:lnTo>
                          <a:pt x="191" y="195"/>
                        </a:lnTo>
                        <a:lnTo>
                          <a:pt x="191" y="197"/>
                        </a:lnTo>
                        <a:lnTo>
                          <a:pt x="191" y="198"/>
                        </a:lnTo>
                        <a:lnTo>
                          <a:pt x="191" y="200"/>
                        </a:lnTo>
                        <a:lnTo>
                          <a:pt x="191" y="202"/>
                        </a:lnTo>
                        <a:lnTo>
                          <a:pt x="191" y="203"/>
                        </a:lnTo>
                        <a:lnTo>
                          <a:pt x="193" y="203"/>
                        </a:lnTo>
                        <a:lnTo>
                          <a:pt x="194" y="204"/>
                        </a:lnTo>
                        <a:lnTo>
                          <a:pt x="195" y="205"/>
                        </a:lnTo>
                        <a:lnTo>
                          <a:pt x="195" y="207"/>
                        </a:lnTo>
                        <a:lnTo>
                          <a:pt x="193" y="208"/>
                        </a:lnTo>
                        <a:lnTo>
                          <a:pt x="192" y="210"/>
                        </a:lnTo>
                        <a:lnTo>
                          <a:pt x="191" y="212"/>
                        </a:lnTo>
                        <a:lnTo>
                          <a:pt x="189" y="210"/>
                        </a:lnTo>
                        <a:lnTo>
                          <a:pt x="189" y="208"/>
                        </a:lnTo>
                        <a:lnTo>
                          <a:pt x="191" y="207"/>
                        </a:lnTo>
                        <a:lnTo>
                          <a:pt x="189" y="207"/>
                        </a:lnTo>
                        <a:lnTo>
                          <a:pt x="188" y="207"/>
                        </a:lnTo>
                        <a:lnTo>
                          <a:pt x="186" y="207"/>
                        </a:lnTo>
                        <a:lnTo>
                          <a:pt x="185" y="207"/>
                        </a:lnTo>
                        <a:lnTo>
                          <a:pt x="185" y="206"/>
                        </a:lnTo>
                        <a:lnTo>
                          <a:pt x="186" y="205"/>
                        </a:lnTo>
                        <a:lnTo>
                          <a:pt x="186" y="204"/>
                        </a:lnTo>
                        <a:lnTo>
                          <a:pt x="185" y="203"/>
                        </a:lnTo>
                        <a:lnTo>
                          <a:pt x="184" y="204"/>
                        </a:lnTo>
                        <a:lnTo>
                          <a:pt x="183" y="205"/>
                        </a:lnTo>
                        <a:lnTo>
                          <a:pt x="181" y="207"/>
                        </a:lnTo>
                        <a:lnTo>
                          <a:pt x="181" y="206"/>
                        </a:lnTo>
                        <a:lnTo>
                          <a:pt x="179" y="205"/>
                        </a:lnTo>
                        <a:lnTo>
                          <a:pt x="178" y="205"/>
                        </a:lnTo>
                        <a:lnTo>
                          <a:pt x="178" y="207"/>
                        </a:lnTo>
                        <a:lnTo>
                          <a:pt x="176" y="207"/>
                        </a:lnTo>
                        <a:lnTo>
                          <a:pt x="175" y="208"/>
                        </a:lnTo>
                        <a:lnTo>
                          <a:pt x="174" y="209"/>
                        </a:lnTo>
                        <a:lnTo>
                          <a:pt x="174" y="211"/>
                        </a:lnTo>
                        <a:lnTo>
                          <a:pt x="174" y="212"/>
                        </a:lnTo>
                        <a:lnTo>
                          <a:pt x="175" y="214"/>
                        </a:lnTo>
                        <a:lnTo>
                          <a:pt x="176" y="215"/>
                        </a:lnTo>
                        <a:lnTo>
                          <a:pt x="177" y="216"/>
                        </a:lnTo>
                        <a:lnTo>
                          <a:pt x="178" y="216"/>
                        </a:lnTo>
                        <a:lnTo>
                          <a:pt x="180" y="218"/>
                        </a:lnTo>
                        <a:lnTo>
                          <a:pt x="180" y="219"/>
                        </a:lnTo>
                        <a:lnTo>
                          <a:pt x="180" y="221"/>
                        </a:lnTo>
                        <a:lnTo>
                          <a:pt x="178" y="223"/>
                        </a:lnTo>
                        <a:lnTo>
                          <a:pt x="177" y="223"/>
                        </a:lnTo>
                        <a:lnTo>
                          <a:pt x="176" y="223"/>
                        </a:lnTo>
                        <a:lnTo>
                          <a:pt x="174" y="223"/>
                        </a:lnTo>
                        <a:lnTo>
                          <a:pt x="174" y="225"/>
                        </a:lnTo>
                        <a:lnTo>
                          <a:pt x="174" y="226"/>
                        </a:lnTo>
                        <a:lnTo>
                          <a:pt x="173" y="227"/>
                        </a:lnTo>
                        <a:lnTo>
                          <a:pt x="171" y="229"/>
                        </a:lnTo>
                        <a:lnTo>
                          <a:pt x="172" y="231"/>
                        </a:lnTo>
                        <a:lnTo>
                          <a:pt x="173" y="231"/>
                        </a:lnTo>
                        <a:lnTo>
                          <a:pt x="174" y="231"/>
                        </a:lnTo>
                        <a:lnTo>
                          <a:pt x="174" y="232"/>
                        </a:lnTo>
                        <a:lnTo>
                          <a:pt x="174" y="233"/>
                        </a:lnTo>
                        <a:lnTo>
                          <a:pt x="174" y="234"/>
                        </a:lnTo>
                        <a:lnTo>
                          <a:pt x="174" y="235"/>
                        </a:lnTo>
                        <a:lnTo>
                          <a:pt x="172" y="235"/>
                        </a:lnTo>
                        <a:lnTo>
                          <a:pt x="171" y="235"/>
                        </a:lnTo>
                        <a:lnTo>
                          <a:pt x="169" y="235"/>
                        </a:lnTo>
                        <a:lnTo>
                          <a:pt x="168" y="235"/>
                        </a:lnTo>
                        <a:lnTo>
                          <a:pt x="166" y="235"/>
                        </a:lnTo>
                        <a:lnTo>
                          <a:pt x="165" y="235"/>
                        </a:lnTo>
                        <a:lnTo>
                          <a:pt x="164" y="236"/>
                        </a:lnTo>
                        <a:lnTo>
                          <a:pt x="164" y="238"/>
                        </a:lnTo>
                        <a:lnTo>
                          <a:pt x="163" y="239"/>
                        </a:lnTo>
                        <a:lnTo>
                          <a:pt x="163" y="240"/>
                        </a:lnTo>
                        <a:lnTo>
                          <a:pt x="164" y="241"/>
                        </a:lnTo>
                        <a:lnTo>
                          <a:pt x="164" y="242"/>
                        </a:lnTo>
                        <a:lnTo>
                          <a:pt x="166" y="244"/>
                        </a:lnTo>
                        <a:lnTo>
                          <a:pt x="167" y="245"/>
                        </a:lnTo>
                        <a:lnTo>
                          <a:pt x="168" y="245"/>
                        </a:lnTo>
                        <a:lnTo>
                          <a:pt x="170" y="245"/>
                        </a:lnTo>
                        <a:lnTo>
                          <a:pt x="171" y="245"/>
                        </a:lnTo>
                        <a:lnTo>
                          <a:pt x="171" y="247"/>
                        </a:lnTo>
                        <a:lnTo>
                          <a:pt x="171" y="248"/>
                        </a:lnTo>
                        <a:lnTo>
                          <a:pt x="172" y="250"/>
                        </a:lnTo>
                        <a:lnTo>
                          <a:pt x="172" y="252"/>
                        </a:lnTo>
                        <a:lnTo>
                          <a:pt x="172" y="253"/>
                        </a:lnTo>
                        <a:lnTo>
                          <a:pt x="171" y="255"/>
                        </a:lnTo>
                        <a:lnTo>
                          <a:pt x="169" y="255"/>
                        </a:lnTo>
                        <a:lnTo>
                          <a:pt x="168" y="255"/>
                        </a:lnTo>
                        <a:lnTo>
                          <a:pt x="166" y="256"/>
                        </a:lnTo>
                        <a:lnTo>
                          <a:pt x="165" y="258"/>
                        </a:lnTo>
                        <a:lnTo>
                          <a:pt x="164" y="259"/>
                        </a:lnTo>
                        <a:lnTo>
                          <a:pt x="164" y="261"/>
                        </a:lnTo>
                        <a:lnTo>
                          <a:pt x="162" y="261"/>
                        </a:lnTo>
                        <a:lnTo>
                          <a:pt x="161" y="261"/>
                        </a:lnTo>
                        <a:lnTo>
                          <a:pt x="161" y="262"/>
                        </a:lnTo>
                        <a:lnTo>
                          <a:pt x="161" y="264"/>
                        </a:lnTo>
                        <a:lnTo>
                          <a:pt x="161" y="266"/>
                        </a:lnTo>
                        <a:lnTo>
                          <a:pt x="161" y="268"/>
                        </a:lnTo>
                        <a:lnTo>
                          <a:pt x="161" y="269"/>
                        </a:lnTo>
                        <a:lnTo>
                          <a:pt x="161" y="271"/>
                        </a:lnTo>
                        <a:lnTo>
                          <a:pt x="161" y="273"/>
                        </a:lnTo>
                        <a:lnTo>
                          <a:pt x="161" y="274"/>
                        </a:lnTo>
                        <a:lnTo>
                          <a:pt x="161" y="276"/>
                        </a:lnTo>
                        <a:lnTo>
                          <a:pt x="161" y="278"/>
                        </a:lnTo>
                        <a:lnTo>
                          <a:pt x="161" y="279"/>
                        </a:lnTo>
                        <a:lnTo>
                          <a:pt x="162" y="280"/>
                        </a:lnTo>
                        <a:lnTo>
                          <a:pt x="164" y="280"/>
                        </a:lnTo>
                        <a:lnTo>
                          <a:pt x="165" y="280"/>
                        </a:lnTo>
                        <a:lnTo>
                          <a:pt x="166" y="279"/>
                        </a:lnTo>
                        <a:lnTo>
                          <a:pt x="167" y="278"/>
                        </a:lnTo>
                        <a:lnTo>
                          <a:pt x="168" y="278"/>
                        </a:lnTo>
                        <a:lnTo>
                          <a:pt x="169" y="280"/>
                        </a:lnTo>
                        <a:lnTo>
                          <a:pt x="168" y="281"/>
                        </a:lnTo>
                        <a:lnTo>
                          <a:pt x="168" y="283"/>
                        </a:lnTo>
                        <a:lnTo>
                          <a:pt x="170" y="284"/>
                        </a:lnTo>
                        <a:lnTo>
                          <a:pt x="171" y="285"/>
                        </a:lnTo>
                        <a:lnTo>
                          <a:pt x="171" y="286"/>
                        </a:lnTo>
                        <a:lnTo>
                          <a:pt x="171" y="287"/>
                        </a:lnTo>
                        <a:lnTo>
                          <a:pt x="172" y="287"/>
                        </a:lnTo>
                        <a:lnTo>
                          <a:pt x="173" y="287"/>
                        </a:lnTo>
                        <a:lnTo>
                          <a:pt x="174" y="287"/>
                        </a:lnTo>
                        <a:lnTo>
                          <a:pt x="174" y="289"/>
                        </a:lnTo>
                        <a:lnTo>
                          <a:pt x="174" y="290"/>
                        </a:lnTo>
                        <a:lnTo>
                          <a:pt x="172" y="292"/>
                        </a:lnTo>
                        <a:lnTo>
                          <a:pt x="171" y="293"/>
                        </a:lnTo>
                        <a:lnTo>
                          <a:pt x="171" y="295"/>
                        </a:lnTo>
                        <a:lnTo>
                          <a:pt x="171" y="297"/>
                        </a:lnTo>
                        <a:lnTo>
                          <a:pt x="171" y="298"/>
                        </a:lnTo>
                        <a:lnTo>
                          <a:pt x="171" y="300"/>
                        </a:lnTo>
                        <a:lnTo>
                          <a:pt x="171" y="302"/>
                        </a:lnTo>
                        <a:lnTo>
                          <a:pt x="171" y="304"/>
                        </a:lnTo>
                        <a:lnTo>
                          <a:pt x="171" y="306"/>
                        </a:lnTo>
                        <a:lnTo>
                          <a:pt x="170" y="306"/>
                        </a:lnTo>
                        <a:lnTo>
                          <a:pt x="169" y="306"/>
                        </a:lnTo>
                        <a:lnTo>
                          <a:pt x="169" y="307"/>
                        </a:lnTo>
                        <a:lnTo>
                          <a:pt x="168" y="309"/>
                        </a:lnTo>
                        <a:lnTo>
                          <a:pt x="164" y="311"/>
                        </a:lnTo>
                        <a:lnTo>
                          <a:pt x="160" y="313"/>
                        </a:lnTo>
                        <a:lnTo>
                          <a:pt x="154" y="314"/>
                        </a:lnTo>
                        <a:lnTo>
                          <a:pt x="148" y="316"/>
                        </a:lnTo>
                        <a:lnTo>
                          <a:pt x="146" y="319"/>
                        </a:lnTo>
                        <a:lnTo>
                          <a:pt x="145" y="321"/>
                        </a:lnTo>
                        <a:lnTo>
                          <a:pt x="144" y="325"/>
                        </a:lnTo>
                        <a:lnTo>
                          <a:pt x="142" y="328"/>
                        </a:lnTo>
                        <a:lnTo>
                          <a:pt x="139" y="328"/>
                        </a:lnTo>
                        <a:lnTo>
                          <a:pt x="136" y="328"/>
                        </a:lnTo>
                        <a:lnTo>
                          <a:pt x="134" y="328"/>
                        </a:lnTo>
                        <a:lnTo>
                          <a:pt x="129" y="326"/>
                        </a:lnTo>
                        <a:lnTo>
                          <a:pt x="129" y="324"/>
                        </a:lnTo>
                        <a:lnTo>
                          <a:pt x="129" y="323"/>
                        </a:lnTo>
                        <a:lnTo>
                          <a:pt x="125" y="323"/>
                        </a:lnTo>
                        <a:lnTo>
                          <a:pt x="123" y="323"/>
                        </a:lnTo>
                        <a:lnTo>
                          <a:pt x="122" y="322"/>
                        </a:lnTo>
                        <a:lnTo>
                          <a:pt x="121" y="321"/>
                        </a:lnTo>
                        <a:lnTo>
                          <a:pt x="120" y="320"/>
                        </a:lnTo>
                        <a:lnTo>
                          <a:pt x="119" y="319"/>
                        </a:lnTo>
                        <a:lnTo>
                          <a:pt x="117" y="319"/>
                        </a:lnTo>
                        <a:lnTo>
                          <a:pt x="116" y="319"/>
                        </a:lnTo>
                        <a:lnTo>
                          <a:pt x="114" y="319"/>
                        </a:lnTo>
                        <a:lnTo>
                          <a:pt x="112" y="317"/>
                        </a:lnTo>
                        <a:lnTo>
                          <a:pt x="112" y="315"/>
                        </a:lnTo>
                        <a:lnTo>
                          <a:pt x="110" y="313"/>
                        </a:lnTo>
                        <a:lnTo>
                          <a:pt x="109" y="313"/>
                        </a:lnTo>
                        <a:lnTo>
                          <a:pt x="107" y="313"/>
                        </a:lnTo>
                        <a:lnTo>
                          <a:pt x="101" y="314"/>
                        </a:lnTo>
                        <a:lnTo>
                          <a:pt x="94" y="316"/>
                        </a:lnTo>
                        <a:lnTo>
                          <a:pt x="92" y="316"/>
                        </a:lnTo>
                        <a:lnTo>
                          <a:pt x="90" y="316"/>
                        </a:lnTo>
                        <a:lnTo>
                          <a:pt x="88" y="317"/>
                        </a:lnTo>
                        <a:lnTo>
                          <a:pt x="88" y="319"/>
                        </a:lnTo>
                        <a:lnTo>
                          <a:pt x="88" y="322"/>
                        </a:lnTo>
                        <a:lnTo>
                          <a:pt x="87" y="323"/>
                        </a:lnTo>
                        <a:lnTo>
                          <a:pt x="84" y="323"/>
                        </a:lnTo>
                        <a:lnTo>
                          <a:pt x="80" y="323"/>
                        </a:lnTo>
                        <a:lnTo>
                          <a:pt x="71" y="323"/>
                        </a:lnTo>
                        <a:lnTo>
                          <a:pt x="69" y="328"/>
                        </a:lnTo>
                        <a:lnTo>
                          <a:pt x="67" y="333"/>
                        </a:lnTo>
                        <a:lnTo>
                          <a:pt x="66" y="338"/>
                        </a:lnTo>
                        <a:lnTo>
                          <a:pt x="64" y="342"/>
                        </a:lnTo>
                        <a:lnTo>
                          <a:pt x="60" y="342"/>
                        </a:lnTo>
                        <a:lnTo>
                          <a:pt x="57" y="343"/>
                        </a:lnTo>
                        <a:lnTo>
                          <a:pt x="55" y="345"/>
                        </a:lnTo>
                        <a:lnTo>
                          <a:pt x="54" y="346"/>
                        </a:lnTo>
                        <a:lnTo>
                          <a:pt x="53" y="347"/>
                        </a:lnTo>
                        <a:lnTo>
                          <a:pt x="52" y="348"/>
                        </a:lnTo>
                        <a:lnTo>
                          <a:pt x="51" y="349"/>
                        </a:lnTo>
                        <a:lnTo>
                          <a:pt x="46" y="348"/>
                        </a:lnTo>
                        <a:lnTo>
                          <a:pt x="44" y="347"/>
                        </a:lnTo>
                        <a:lnTo>
                          <a:pt x="41" y="345"/>
                        </a:lnTo>
                        <a:lnTo>
                          <a:pt x="41" y="347"/>
                        </a:lnTo>
                        <a:lnTo>
                          <a:pt x="40" y="348"/>
                        </a:lnTo>
                        <a:lnTo>
                          <a:pt x="39" y="349"/>
                        </a:lnTo>
                        <a:lnTo>
                          <a:pt x="39" y="350"/>
                        </a:lnTo>
                        <a:lnTo>
                          <a:pt x="39" y="352"/>
                        </a:lnTo>
                        <a:lnTo>
                          <a:pt x="37" y="353"/>
                        </a:lnTo>
                        <a:lnTo>
                          <a:pt x="33" y="356"/>
                        </a:lnTo>
                        <a:lnTo>
                          <a:pt x="29" y="357"/>
                        </a:lnTo>
                        <a:lnTo>
                          <a:pt x="26" y="358"/>
                        </a:lnTo>
                        <a:lnTo>
                          <a:pt x="21" y="359"/>
                        </a:lnTo>
                        <a:lnTo>
                          <a:pt x="17" y="359"/>
                        </a:lnTo>
                        <a:lnTo>
                          <a:pt x="13" y="360"/>
                        </a:lnTo>
                        <a:lnTo>
                          <a:pt x="9" y="361"/>
                        </a:lnTo>
                        <a:lnTo>
                          <a:pt x="8" y="362"/>
                        </a:lnTo>
                        <a:lnTo>
                          <a:pt x="7" y="363"/>
                        </a:lnTo>
                        <a:lnTo>
                          <a:pt x="4" y="364"/>
                        </a:lnTo>
                        <a:lnTo>
                          <a:pt x="3" y="364"/>
                        </a:lnTo>
                        <a:lnTo>
                          <a:pt x="2" y="364"/>
                        </a:lnTo>
                        <a:lnTo>
                          <a:pt x="1" y="364"/>
                        </a:lnTo>
                        <a:lnTo>
                          <a:pt x="0" y="364"/>
                        </a:lnTo>
                        <a:lnTo>
                          <a:pt x="0" y="375"/>
                        </a:lnTo>
                        <a:lnTo>
                          <a:pt x="2" y="375"/>
                        </a:lnTo>
                        <a:lnTo>
                          <a:pt x="4" y="376"/>
                        </a:lnTo>
                        <a:lnTo>
                          <a:pt x="6" y="376"/>
                        </a:lnTo>
                        <a:lnTo>
                          <a:pt x="9" y="375"/>
                        </a:lnTo>
                        <a:lnTo>
                          <a:pt x="9" y="374"/>
                        </a:lnTo>
                        <a:lnTo>
                          <a:pt x="9" y="373"/>
                        </a:lnTo>
                        <a:lnTo>
                          <a:pt x="9" y="372"/>
                        </a:lnTo>
                        <a:lnTo>
                          <a:pt x="9" y="371"/>
                        </a:lnTo>
                        <a:lnTo>
                          <a:pt x="13" y="375"/>
                        </a:lnTo>
                        <a:lnTo>
                          <a:pt x="16" y="377"/>
                        </a:lnTo>
                        <a:lnTo>
                          <a:pt x="18" y="381"/>
                        </a:lnTo>
                        <a:lnTo>
                          <a:pt x="19" y="387"/>
                        </a:lnTo>
                        <a:lnTo>
                          <a:pt x="21" y="385"/>
                        </a:lnTo>
                        <a:lnTo>
                          <a:pt x="24" y="384"/>
                        </a:lnTo>
                        <a:lnTo>
                          <a:pt x="29" y="384"/>
                        </a:lnTo>
                        <a:lnTo>
                          <a:pt x="29" y="383"/>
                        </a:lnTo>
                        <a:lnTo>
                          <a:pt x="29" y="380"/>
                        </a:lnTo>
                        <a:lnTo>
                          <a:pt x="29" y="378"/>
                        </a:lnTo>
                        <a:lnTo>
                          <a:pt x="29" y="377"/>
                        </a:lnTo>
                        <a:lnTo>
                          <a:pt x="31" y="377"/>
                        </a:lnTo>
                        <a:lnTo>
                          <a:pt x="32" y="377"/>
                        </a:lnTo>
                        <a:lnTo>
                          <a:pt x="34" y="376"/>
                        </a:lnTo>
                        <a:lnTo>
                          <a:pt x="36" y="376"/>
                        </a:lnTo>
                        <a:lnTo>
                          <a:pt x="37" y="375"/>
                        </a:lnTo>
                        <a:lnTo>
                          <a:pt x="39" y="375"/>
                        </a:lnTo>
                        <a:lnTo>
                          <a:pt x="40" y="375"/>
                        </a:lnTo>
                        <a:lnTo>
                          <a:pt x="41" y="375"/>
                        </a:lnTo>
                        <a:lnTo>
                          <a:pt x="43" y="374"/>
                        </a:lnTo>
                        <a:lnTo>
                          <a:pt x="44" y="372"/>
                        </a:lnTo>
                        <a:lnTo>
                          <a:pt x="45" y="368"/>
                        </a:lnTo>
                        <a:lnTo>
                          <a:pt x="49" y="368"/>
                        </a:lnTo>
                        <a:lnTo>
                          <a:pt x="51" y="369"/>
                        </a:lnTo>
                        <a:lnTo>
                          <a:pt x="53" y="371"/>
                        </a:lnTo>
                        <a:lnTo>
                          <a:pt x="55" y="371"/>
                        </a:lnTo>
                        <a:lnTo>
                          <a:pt x="57" y="371"/>
                        </a:lnTo>
                        <a:lnTo>
                          <a:pt x="60" y="370"/>
                        </a:lnTo>
                        <a:lnTo>
                          <a:pt x="62" y="370"/>
                        </a:lnTo>
                        <a:lnTo>
                          <a:pt x="64" y="371"/>
                        </a:lnTo>
                        <a:lnTo>
                          <a:pt x="67" y="373"/>
                        </a:lnTo>
                        <a:lnTo>
                          <a:pt x="71" y="376"/>
                        </a:lnTo>
                        <a:lnTo>
                          <a:pt x="74" y="380"/>
                        </a:lnTo>
                        <a:lnTo>
                          <a:pt x="77" y="384"/>
                        </a:lnTo>
                        <a:lnTo>
                          <a:pt x="81" y="382"/>
                        </a:lnTo>
                        <a:lnTo>
                          <a:pt x="84" y="382"/>
                        </a:lnTo>
                        <a:lnTo>
                          <a:pt x="85" y="383"/>
                        </a:lnTo>
                        <a:lnTo>
                          <a:pt x="87" y="387"/>
                        </a:lnTo>
                        <a:lnTo>
                          <a:pt x="88" y="387"/>
                        </a:lnTo>
                        <a:lnTo>
                          <a:pt x="88" y="389"/>
                        </a:lnTo>
                        <a:lnTo>
                          <a:pt x="88" y="390"/>
                        </a:lnTo>
                        <a:lnTo>
                          <a:pt x="90" y="390"/>
                        </a:lnTo>
                        <a:lnTo>
                          <a:pt x="91" y="390"/>
                        </a:lnTo>
                        <a:lnTo>
                          <a:pt x="93" y="390"/>
                        </a:lnTo>
                        <a:lnTo>
                          <a:pt x="99" y="385"/>
                        </a:lnTo>
                        <a:lnTo>
                          <a:pt x="102" y="383"/>
                        </a:lnTo>
                        <a:lnTo>
                          <a:pt x="107" y="380"/>
                        </a:lnTo>
                        <a:lnTo>
                          <a:pt x="107" y="378"/>
                        </a:lnTo>
                        <a:lnTo>
                          <a:pt x="107" y="376"/>
                        </a:lnTo>
                        <a:lnTo>
                          <a:pt x="107" y="375"/>
                        </a:lnTo>
                        <a:lnTo>
                          <a:pt x="107" y="371"/>
                        </a:lnTo>
                        <a:lnTo>
                          <a:pt x="110" y="370"/>
                        </a:lnTo>
                        <a:lnTo>
                          <a:pt x="112" y="368"/>
                        </a:lnTo>
                        <a:lnTo>
                          <a:pt x="116" y="366"/>
                        </a:lnTo>
                        <a:lnTo>
                          <a:pt x="119" y="364"/>
                        </a:lnTo>
                        <a:lnTo>
                          <a:pt x="127" y="365"/>
                        </a:lnTo>
                        <a:lnTo>
                          <a:pt x="133" y="365"/>
                        </a:lnTo>
                        <a:lnTo>
                          <a:pt x="138" y="366"/>
                        </a:lnTo>
                        <a:lnTo>
                          <a:pt x="142" y="368"/>
                        </a:lnTo>
                        <a:lnTo>
                          <a:pt x="144" y="368"/>
                        </a:lnTo>
                        <a:lnTo>
                          <a:pt x="145" y="370"/>
                        </a:lnTo>
                        <a:lnTo>
                          <a:pt x="145" y="375"/>
                        </a:lnTo>
                        <a:lnTo>
                          <a:pt x="148" y="376"/>
                        </a:lnTo>
                        <a:lnTo>
                          <a:pt x="150" y="377"/>
                        </a:lnTo>
                        <a:lnTo>
                          <a:pt x="153" y="380"/>
                        </a:lnTo>
                        <a:lnTo>
                          <a:pt x="155" y="384"/>
                        </a:lnTo>
                        <a:lnTo>
                          <a:pt x="155" y="383"/>
                        </a:lnTo>
                        <a:lnTo>
                          <a:pt x="155" y="382"/>
                        </a:lnTo>
                        <a:lnTo>
                          <a:pt x="155" y="380"/>
                        </a:lnTo>
                        <a:lnTo>
                          <a:pt x="164" y="380"/>
                        </a:lnTo>
                        <a:lnTo>
                          <a:pt x="164" y="381"/>
                        </a:lnTo>
                        <a:lnTo>
                          <a:pt x="164" y="384"/>
                        </a:lnTo>
                        <a:lnTo>
                          <a:pt x="164" y="386"/>
                        </a:lnTo>
                        <a:lnTo>
                          <a:pt x="164" y="387"/>
                        </a:lnTo>
                        <a:lnTo>
                          <a:pt x="167" y="387"/>
                        </a:lnTo>
                        <a:lnTo>
                          <a:pt x="171" y="389"/>
                        </a:lnTo>
                        <a:lnTo>
                          <a:pt x="175" y="390"/>
                        </a:lnTo>
                        <a:lnTo>
                          <a:pt x="178" y="390"/>
                        </a:lnTo>
                        <a:lnTo>
                          <a:pt x="180" y="388"/>
                        </a:lnTo>
                        <a:lnTo>
                          <a:pt x="180" y="385"/>
                        </a:lnTo>
                        <a:lnTo>
                          <a:pt x="180" y="383"/>
                        </a:lnTo>
                        <a:lnTo>
                          <a:pt x="178" y="380"/>
                        </a:lnTo>
                        <a:lnTo>
                          <a:pt x="181" y="380"/>
                        </a:lnTo>
                        <a:lnTo>
                          <a:pt x="185" y="380"/>
                        </a:lnTo>
                        <a:lnTo>
                          <a:pt x="188" y="380"/>
                        </a:lnTo>
                        <a:lnTo>
                          <a:pt x="191" y="380"/>
                        </a:lnTo>
                        <a:lnTo>
                          <a:pt x="192" y="381"/>
                        </a:lnTo>
                        <a:lnTo>
                          <a:pt x="193" y="382"/>
                        </a:lnTo>
                        <a:lnTo>
                          <a:pt x="194" y="383"/>
                        </a:lnTo>
                        <a:lnTo>
                          <a:pt x="195" y="384"/>
                        </a:lnTo>
                        <a:lnTo>
                          <a:pt x="195" y="385"/>
                        </a:lnTo>
                        <a:lnTo>
                          <a:pt x="195" y="386"/>
                        </a:lnTo>
                        <a:lnTo>
                          <a:pt x="195" y="387"/>
                        </a:lnTo>
                        <a:lnTo>
                          <a:pt x="204" y="397"/>
                        </a:lnTo>
                        <a:lnTo>
                          <a:pt x="209" y="397"/>
                        </a:lnTo>
                        <a:lnTo>
                          <a:pt x="213" y="396"/>
                        </a:lnTo>
                        <a:lnTo>
                          <a:pt x="215" y="395"/>
                        </a:lnTo>
                        <a:lnTo>
                          <a:pt x="215" y="394"/>
                        </a:lnTo>
                        <a:lnTo>
                          <a:pt x="213" y="393"/>
                        </a:lnTo>
                        <a:lnTo>
                          <a:pt x="210" y="390"/>
                        </a:lnTo>
                        <a:lnTo>
                          <a:pt x="210" y="388"/>
                        </a:lnTo>
                        <a:lnTo>
                          <a:pt x="210" y="387"/>
                        </a:lnTo>
                        <a:lnTo>
                          <a:pt x="207" y="386"/>
                        </a:lnTo>
                        <a:lnTo>
                          <a:pt x="204" y="386"/>
                        </a:lnTo>
                        <a:lnTo>
                          <a:pt x="202" y="386"/>
                        </a:lnTo>
                        <a:lnTo>
                          <a:pt x="200" y="387"/>
                        </a:lnTo>
                        <a:lnTo>
                          <a:pt x="200" y="386"/>
                        </a:lnTo>
                        <a:lnTo>
                          <a:pt x="199" y="386"/>
                        </a:lnTo>
                        <a:lnTo>
                          <a:pt x="197" y="387"/>
                        </a:lnTo>
                        <a:lnTo>
                          <a:pt x="197" y="384"/>
                        </a:lnTo>
                        <a:lnTo>
                          <a:pt x="201" y="383"/>
                        </a:lnTo>
                        <a:lnTo>
                          <a:pt x="205" y="382"/>
                        </a:lnTo>
                        <a:lnTo>
                          <a:pt x="208" y="381"/>
                        </a:lnTo>
                        <a:lnTo>
                          <a:pt x="210" y="380"/>
                        </a:lnTo>
                        <a:lnTo>
                          <a:pt x="211" y="383"/>
                        </a:lnTo>
                        <a:lnTo>
                          <a:pt x="213" y="387"/>
                        </a:lnTo>
                        <a:lnTo>
                          <a:pt x="216" y="389"/>
                        </a:lnTo>
                        <a:lnTo>
                          <a:pt x="220" y="390"/>
                        </a:lnTo>
                        <a:lnTo>
                          <a:pt x="221" y="389"/>
                        </a:lnTo>
                        <a:lnTo>
                          <a:pt x="222" y="387"/>
                        </a:lnTo>
                        <a:lnTo>
                          <a:pt x="223" y="387"/>
                        </a:lnTo>
                        <a:lnTo>
                          <a:pt x="225" y="388"/>
                        </a:lnTo>
                        <a:lnTo>
                          <a:pt x="228" y="389"/>
                        </a:lnTo>
                        <a:lnTo>
                          <a:pt x="229" y="391"/>
                        </a:lnTo>
                        <a:lnTo>
                          <a:pt x="230" y="394"/>
                        </a:lnTo>
                        <a:lnTo>
                          <a:pt x="238" y="393"/>
                        </a:lnTo>
                        <a:lnTo>
                          <a:pt x="247" y="392"/>
                        </a:lnTo>
                        <a:lnTo>
                          <a:pt x="256" y="392"/>
                        </a:lnTo>
                        <a:lnTo>
                          <a:pt x="262" y="394"/>
                        </a:lnTo>
                        <a:lnTo>
                          <a:pt x="265" y="397"/>
                        </a:lnTo>
                        <a:lnTo>
                          <a:pt x="268" y="400"/>
                        </a:lnTo>
                        <a:lnTo>
                          <a:pt x="272" y="403"/>
                        </a:lnTo>
                        <a:lnTo>
                          <a:pt x="275" y="406"/>
                        </a:lnTo>
                        <a:lnTo>
                          <a:pt x="276" y="406"/>
                        </a:lnTo>
                        <a:lnTo>
                          <a:pt x="278" y="405"/>
                        </a:lnTo>
                        <a:lnTo>
                          <a:pt x="278" y="403"/>
                        </a:lnTo>
                        <a:lnTo>
                          <a:pt x="281" y="402"/>
                        </a:lnTo>
                        <a:lnTo>
                          <a:pt x="283" y="401"/>
                        </a:lnTo>
                        <a:lnTo>
                          <a:pt x="284" y="400"/>
                        </a:lnTo>
                        <a:lnTo>
                          <a:pt x="285" y="400"/>
                        </a:lnTo>
                        <a:lnTo>
                          <a:pt x="288" y="399"/>
                        </a:lnTo>
                        <a:lnTo>
                          <a:pt x="292" y="399"/>
                        </a:lnTo>
                        <a:lnTo>
                          <a:pt x="294" y="400"/>
                        </a:lnTo>
                        <a:lnTo>
                          <a:pt x="297" y="400"/>
                        </a:lnTo>
                        <a:lnTo>
                          <a:pt x="298" y="400"/>
                        </a:lnTo>
                        <a:lnTo>
                          <a:pt x="299" y="399"/>
                        </a:lnTo>
                        <a:lnTo>
                          <a:pt x="300" y="398"/>
                        </a:lnTo>
                        <a:lnTo>
                          <a:pt x="301" y="397"/>
                        </a:lnTo>
                        <a:lnTo>
                          <a:pt x="303" y="396"/>
                        </a:lnTo>
                        <a:lnTo>
                          <a:pt x="306" y="396"/>
                        </a:lnTo>
                        <a:lnTo>
                          <a:pt x="308" y="397"/>
                        </a:lnTo>
                        <a:lnTo>
                          <a:pt x="311" y="397"/>
                        </a:lnTo>
                        <a:lnTo>
                          <a:pt x="312" y="397"/>
                        </a:lnTo>
                        <a:lnTo>
                          <a:pt x="314" y="395"/>
                        </a:lnTo>
                        <a:lnTo>
                          <a:pt x="316" y="393"/>
                        </a:lnTo>
                        <a:lnTo>
                          <a:pt x="317" y="390"/>
                        </a:lnTo>
                        <a:lnTo>
                          <a:pt x="326" y="390"/>
                        </a:lnTo>
                        <a:lnTo>
                          <a:pt x="330" y="389"/>
                        </a:lnTo>
                        <a:lnTo>
                          <a:pt x="333" y="387"/>
                        </a:lnTo>
                        <a:lnTo>
                          <a:pt x="335" y="384"/>
                        </a:lnTo>
                        <a:lnTo>
                          <a:pt x="336" y="382"/>
                        </a:lnTo>
                        <a:lnTo>
                          <a:pt x="337" y="377"/>
                        </a:lnTo>
                        <a:lnTo>
                          <a:pt x="338" y="375"/>
                        </a:lnTo>
                        <a:lnTo>
                          <a:pt x="340" y="373"/>
                        </a:lnTo>
                        <a:lnTo>
                          <a:pt x="341" y="370"/>
                        </a:lnTo>
                        <a:lnTo>
                          <a:pt x="344" y="368"/>
                        </a:lnTo>
                        <a:lnTo>
                          <a:pt x="342" y="368"/>
                        </a:lnTo>
                        <a:lnTo>
                          <a:pt x="341" y="368"/>
                        </a:lnTo>
                        <a:lnTo>
                          <a:pt x="344" y="368"/>
                        </a:lnTo>
                        <a:lnTo>
                          <a:pt x="339" y="368"/>
                        </a:lnTo>
                        <a:lnTo>
                          <a:pt x="337" y="368"/>
                        </a:lnTo>
                        <a:lnTo>
                          <a:pt x="331" y="368"/>
                        </a:lnTo>
                        <a:lnTo>
                          <a:pt x="326" y="367"/>
                        </a:lnTo>
                        <a:lnTo>
                          <a:pt x="322" y="366"/>
                        </a:lnTo>
                        <a:lnTo>
                          <a:pt x="320" y="364"/>
                        </a:lnTo>
                        <a:lnTo>
                          <a:pt x="318" y="364"/>
                        </a:lnTo>
                        <a:lnTo>
                          <a:pt x="317" y="362"/>
                        </a:lnTo>
                        <a:lnTo>
                          <a:pt x="317" y="358"/>
                        </a:lnTo>
                        <a:lnTo>
                          <a:pt x="313" y="358"/>
                        </a:lnTo>
                        <a:lnTo>
                          <a:pt x="311" y="358"/>
                        </a:lnTo>
                        <a:lnTo>
                          <a:pt x="311" y="357"/>
                        </a:lnTo>
                        <a:lnTo>
                          <a:pt x="311" y="354"/>
                        </a:lnTo>
                        <a:lnTo>
                          <a:pt x="311" y="352"/>
                        </a:lnTo>
                        <a:lnTo>
                          <a:pt x="313" y="352"/>
                        </a:lnTo>
                        <a:lnTo>
                          <a:pt x="317" y="352"/>
                        </a:lnTo>
                        <a:lnTo>
                          <a:pt x="322" y="347"/>
                        </a:lnTo>
                        <a:lnTo>
                          <a:pt x="324" y="343"/>
                        </a:lnTo>
                        <a:lnTo>
                          <a:pt x="327" y="339"/>
                        </a:lnTo>
                        <a:lnTo>
                          <a:pt x="336" y="338"/>
                        </a:lnTo>
                        <a:lnTo>
                          <a:pt x="340" y="337"/>
                        </a:lnTo>
                        <a:lnTo>
                          <a:pt x="344" y="335"/>
                        </a:lnTo>
                        <a:lnTo>
                          <a:pt x="345" y="334"/>
                        </a:lnTo>
                        <a:lnTo>
                          <a:pt x="345" y="332"/>
                        </a:lnTo>
                        <a:lnTo>
                          <a:pt x="344" y="332"/>
                        </a:lnTo>
                        <a:lnTo>
                          <a:pt x="345" y="330"/>
                        </a:lnTo>
                        <a:lnTo>
                          <a:pt x="349" y="329"/>
                        </a:lnTo>
                        <a:lnTo>
                          <a:pt x="353" y="328"/>
                        </a:lnTo>
                        <a:lnTo>
                          <a:pt x="353" y="327"/>
                        </a:lnTo>
                        <a:lnTo>
                          <a:pt x="354" y="325"/>
                        </a:lnTo>
                        <a:lnTo>
                          <a:pt x="355" y="323"/>
                        </a:lnTo>
                        <a:lnTo>
                          <a:pt x="356" y="323"/>
                        </a:lnTo>
                        <a:lnTo>
                          <a:pt x="358" y="323"/>
                        </a:lnTo>
                        <a:lnTo>
                          <a:pt x="359" y="323"/>
                        </a:lnTo>
                        <a:lnTo>
                          <a:pt x="361" y="320"/>
                        </a:lnTo>
                        <a:lnTo>
                          <a:pt x="363" y="316"/>
                        </a:lnTo>
                        <a:lnTo>
                          <a:pt x="364" y="312"/>
                        </a:lnTo>
                        <a:lnTo>
                          <a:pt x="366" y="309"/>
                        </a:lnTo>
                        <a:lnTo>
                          <a:pt x="367" y="305"/>
                        </a:lnTo>
                        <a:lnTo>
                          <a:pt x="368" y="302"/>
                        </a:lnTo>
                        <a:lnTo>
                          <a:pt x="373" y="297"/>
                        </a:lnTo>
                        <a:lnTo>
                          <a:pt x="375" y="293"/>
                        </a:lnTo>
                        <a:lnTo>
                          <a:pt x="376" y="287"/>
                        </a:lnTo>
                        <a:lnTo>
                          <a:pt x="378" y="281"/>
                        </a:lnTo>
                        <a:lnTo>
                          <a:pt x="379" y="278"/>
                        </a:lnTo>
                        <a:lnTo>
                          <a:pt x="369" y="268"/>
                        </a:lnTo>
                        <a:lnTo>
                          <a:pt x="367" y="265"/>
                        </a:lnTo>
                        <a:lnTo>
                          <a:pt x="366" y="261"/>
                        </a:lnTo>
                        <a:lnTo>
                          <a:pt x="363" y="257"/>
                        </a:lnTo>
                        <a:lnTo>
                          <a:pt x="359" y="255"/>
                        </a:lnTo>
                        <a:lnTo>
                          <a:pt x="357" y="254"/>
                        </a:lnTo>
                        <a:lnTo>
                          <a:pt x="354" y="252"/>
                        </a:lnTo>
                        <a:lnTo>
                          <a:pt x="345" y="249"/>
                        </a:lnTo>
                        <a:lnTo>
                          <a:pt x="336" y="246"/>
                        </a:lnTo>
                        <a:lnTo>
                          <a:pt x="332" y="245"/>
                        </a:lnTo>
                        <a:lnTo>
                          <a:pt x="330" y="245"/>
                        </a:lnTo>
                        <a:lnTo>
                          <a:pt x="326" y="248"/>
                        </a:lnTo>
                        <a:lnTo>
                          <a:pt x="323" y="251"/>
                        </a:lnTo>
                        <a:lnTo>
                          <a:pt x="321" y="254"/>
                        </a:lnTo>
                        <a:lnTo>
                          <a:pt x="317" y="255"/>
                        </a:lnTo>
                        <a:lnTo>
                          <a:pt x="314" y="255"/>
                        </a:lnTo>
                        <a:lnTo>
                          <a:pt x="312" y="253"/>
                        </a:lnTo>
                        <a:lnTo>
                          <a:pt x="311" y="251"/>
                        </a:lnTo>
                        <a:lnTo>
                          <a:pt x="311" y="248"/>
                        </a:lnTo>
                        <a:lnTo>
                          <a:pt x="309" y="248"/>
                        </a:lnTo>
                        <a:lnTo>
                          <a:pt x="307" y="248"/>
                        </a:lnTo>
                        <a:lnTo>
                          <a:pt x="306" y="248"/>
                        </a:lnTo>
                        <a:lnTo>
                          <a:pt x="304" y="248"/>
                        </a:lnTo>
                        <a:lnTo>
                          <a:pt x="306" y="247"/>
                        </a:lnTo>
                        <a:lnTo>
                          <a:pt x="309" y="244"/>
                        </a:lnTo>
                        <a:lnTo>
                          <a:pt x="317" y="238"/>
                        </a:lnTo>
                        <a:lnTo>
                          <a:pt x="325" y="232"/>
                        </a:lnTo>
                        <a:lnTo>
                          <a:pt x="328" y="231"/>
                        </a:lnTo>
                        <a:lnTo>
                          <a:pt x="330" y="229"/>
                        </a:lnTo>
                        <a:lnTo>
                          <a:pt x="330" y="227"/>
                        </a:lnTo>
                        <a:lnTo>
                          <a:pt x="329" y="224"/>
                        </a:lnTo>
                        <a:lnTo>
                          <a:pt x="328" y="216"/>
                        </a:lnTo>
                        <a:lnTo>
                          <a:pt x="326" y="208"/>
                        </a:lnTo>
                        <a:lnTo>
                          <a:pt x="325" y="205"/>
                        </a:lnTo>
                        <a:lnTo>
                          <a:pt x="323" y="203"/>
                        </a:lnTo>
                        <a:lnTo>
                          <a:pt x="321" y="201"/>
                        </a:lnTo>
                        <a:lnTo>
                          <a:pt x="317" y="197"/>
                        </a:lnTo>
                        <a:lnTo>
                          <a:pt x="320" y="197"/>
                        </a:lnTo>
                        <a:lnTo>
                          <a:pt x="322" y="197"/>
                        </a:lnTo>
                        <a:lnTo>
                          <a:pt x="323" y="197"/>
                        </a:lnTo>
                        <a:lnTo>
                          <a:pt x="325" y="197"/>
                        </a:lnTo>
                        <a:lnTo>
                          <a:pt x="327" y="197"/>
                        </a:lnTo>
                        <a:lnTo>
                          <a:pt x="326" y="190"/>
                        </a:lnTo>
                        <a:lnTo>
                          <a:pt x="323" y="184"/>
                        </a:lnTo>
                        <a:lnTo>
                          <a:pt x="321" y="178"/>
                        </a:lnTo>
                        <a:lnTo>
                          <a:pt x="320" y="171"/>
                        </a:lnTo>
                        <a:lnTo>
                          <a:pt x="320" y="170"/>
                        </a:lnTo>
                        <a:lnTo>
                          <a:pt x="320" y="167"/>
                        </a:lnTo>
                        <a:lnTo>
                          <a:pt x="320" y="165"/>
                        </a:lnTo>
                        <a:lnTo>
                          <a:pt x="320" y="164"/>
                        </a:lnTo>
                        <a:lnTo>
                          <a:pt x="319" y="165"/>
                        </a:lnTo>
                        <a:lnTo>
                          <a:pt x="319" y="163"/>
                        </a:lnTo>
                        <a:lnTo>
                          <a:pt x="320" y="161"/>
                        </a:lnTo>
                        <a:lnTo>
                          <a:pt x="322" y="161"/>
                        </a:lnTo>
                        <a:lnTo>
                          <a:pt x="323" y="161"/>
                        </a:lnTo>
                        <a:lnTo>
                          <a:pt x="323" y="156"/>
                        </a:lnTo>
                        <a:lnTo>
                          <a:pt x="322" y="152"/>
                        </a:lnTo>
                        <a:lnTo>
                          <a:pt x="320" y="149"/>
                        </a:lnTo>
                        <a:lnTo>
                          <a:pt x="320" y="145"/>
                        </a:lnTo>
                        <a:lnTo>
                          <a:pt x="318" y="142"/>
                        </a:lnTo>
                        <a:lnTo>
                          <a:pt x="318" y="139"/>
                        </a:lnTo>
                        <a:lnTo>
                          <a:pt x="318" y="136"/>
                        </a:lnTo>
                        <a:lnTo>
                          <a:pt x="317" y="132"/>
                        </a:lnTo>
                        <a:lnTo>
                          <a:pt x="316" y="132"/>
                        </a:lnTo>
                        <a:lnTo>
                          <a:pt x="315" y="132"/>
                        </a:lnTo>
                        <a:lnTo>
                          <a:pt x="314" y="132"/>
                        </a:lnTo>
                        <a:lnTo>
                          <a:pt x="314" y="130"/>
                        </a:lnTo>
                        <a:lnTo>
                          <a:pt x="314" y="129"/>
                        </a:lnTo>
                        <a:lnTo>
                          <a:pt x="314" y="128"/>
                        </a:lnTo>
                        <a:lnTo>
                          <a:pt x="314" y="126"/>
                        </a:lnTo>
                        <a:lnTo>
                          <a:pt x="313" y="126"/>
                        </a:lnTo>
                        <a:lnTo>
                          <a:pt x="311" y="126"/>
                        </a:lnTo>
                        <a:lnTo>
                          <a:pt x="306" y="116"/>
                        </a:lnTo>
                        <a:lnTo>
                          <a:pt x="303" y="112"/>
                        </a:lnTo>
                        <a:lnTo>
                          <a:pt x="301" y="110"/>
                        </a:lnTo>
                        <a:lnTo>
                          <a:pt x="298" y="109"/>
                        </a:lnTo>
                        <a:lnTo>
                          <a:pt x="294" y="108"/>
                        </a:lnTo>
                        <a:lnTo>
                          <a:pt x="292" y="107"/>
                        </a:lnTo>
                        <a:lnTo>
                          <a:pt x="290" y="103"/>
                        </a:lnTo>
                        <a:lnTo>
                          <a:pt x="290" y="98"/>
                        </a:lnTo>
                        <a:lnTo>
                          <a:pt x="291" y="93"/>
                        </a:lnTo>
                        <a:lnTo>
                          <a:pt x="292" y="90"/>
                        </a:lnTo>
                        <a:lnTo>
                          <a:pt x="291" y="85"/>
                        </a:lnTo>
                        <a:lnTo>
                          <a:pt x="290" y="79"/>
                        </a:lnTo>
                        <a:lnTo>
                          <a:pt x="289" y="73"/>
                        </a:lnTo>
                        <a:lnTo>
                          <a:pt x="288" y="67"/>
                        </a:lnTo>
                        <a:lnTo>
                          <a:pt x="289" y="63"/>
                        </a:lnTo>
                        <a:lnTo>
                          <a:pt x="290" y="60"/>
                        </a:lnTo>
                        <a:lnTo>
                          <a:pt x="291" y="56"/>
                        </a:lnTo>
                        <a:lnTo>
                          <a:pt x="292" y="51"/>
                        </a:lnTo>
                        <a:lnTo>
                          <a:pt x="290" y="38"/>
                        </a:lnTo>
                        <a:lnTo>
                          <a:pt x="287" y="23"/>
                        </a:lnTo>
                        <a:lnTo>
                          <a:pt x="285" y="16"/>
                        </a:lnTo>
                        <a:lnTo>
                          <a:pt x="283" y="11"/>
                        </a:lnTo>
                        <a:lnTo>
                          <a:pt x="281" y="6"/>
                        </a:lnTo>
                        <a:lnTo>
                          <a:pt x="278" y="3"/>
                        </a:lnTo>
                        <a:lnTo>
                          <a:pt x="278" y="1"/>
                        </a:lnTo>
                        <a:lnTo>
                          <a:pt x="277" y="1"/>
                        </a:lnTo>
                        <a:lnTo>
                          <a:pt x="275" y="0"/>
                        </a:lnTo>
                        <a:lnTo>
                          <a:pt x="274" y="4"/>
                        </a:lnTo>
                        <a:lnTo>
                          <a:pt x="273" y="6"/>
                        </a:lnTo>
                        <a:lnTo>
                          <a:pt x="271" y="6"/>
                        </a:lnTo>
                        <a:lnTo>
                          <a:pt x="270" y="7"/>
                        </a:lnTo>
                        <a:lnTo>
                          <a:pt x="269" y="8"/>
                        </a:lnTo>
                        <a:lnTo>
                          <a:pt x="268" y="10"/>
                        </a:lnTo>
                        <a:lnTo>
                          <a:pt x="267" y="10"/>
                        </a:lnTo>
                        <a:lnTo>
                          <a:pt x="266" y="11"/>
                        </a:lnTo>
                        <a:lnTo>
                          <a:pt x="266" y="13"/>
                        </a:lnTo>
                        <a:lnTo>
                          <a:pt x="264" y="13"/>
                        </a:lnTo>
                        <a:lnTo>
                          <a:pt x="263" y="12"/>
                        </a:lnTo>
                        <a:lnTo>
                          <a:pt x="262" y="12"/>
                        </a:lnTo>
                        <a:lnTo>
                          <a:pt x="262" y="13"/>
                        </a:lnTo>
                        <a:lnTo>
                          <a:pt x="261" y="14"/>
                        </a:lnTo>
                        <a:lnTo>
                          <a:pt x="261" y="15"/>
                        </a:lnTo>
                        <a:lnTo>
                          <a:pt x="262" y="15"/>
                        </a:lnTo>
                        <a:lnTo>
                          <a:pt x="262" y="25"/>
                        </a:lnTo>
                        <a:lnTo>
                          <a:pt x="263" y="26"/>
                        </a:lnTo>
                        <a:lnTo>
                          <a:pt x="264" y="28"/>
                        </a:lnTo>
                        <a:lnTo>
                          <a:pt x="264" y="30"/>
                        </a:lnTo>
                        <a:lnTo>
                          <a:pt x="262" y="32"/>
                        </a:lnTo>
                        <a:lnTo>
                          <a:pt x="261" y="32"/>
                        </a:lnTo>
                        <a:lnTo>
                          <a:pt x="259" y="32"/>
                        </a:lnTo>
                        <a:lnTo>
                          <a:pt x="258" y="32"/>
                        </a:lnTo>
                        <a:lnTo>
                          <a:pt x="257" y="32"/>
                        </a:lnTo>
                        <a:lnTo>
                          <a:pt x="252" y="32"/>
                        </a:lnTo>
                        <a:lnTo>
                          <a:pt x="252" y="33"/>
                        </a:lnTo>
                        <a:lnTo>
                          <a:pt x="252" y="34"/>
                        </a:lnTo>
                        <a:lnTo>
                          <a:pt x="251" y="35"/>
                        </a:lnTo>
                        <a:lnTo>
                          <a:pt x="249" y="36"/>
                        </a:lnTo>
                        <a:lnTo>
                          <a:pt x="248" y="37"/>
                        </a:lnTo>
                        <a:lnTo>
                          <a:pt x="247" y="37"/>
                        </a:lnTo>
                        <a:lnTo>
                          <a:pt x="246" y="36"/>
                        </a:lnTo>
                        <a:lnTo>
                          <a:pt x="245" y="36"/>
                        </a:lnTo>
                        <a:lnTo>
                          <a:pt x="244" y="36"/>
                        </a:lnTo>
                        <a:lnTo>
                          <a:pt x="243" y="38"/>
                        </a:lnTo>
                        <a:lnTo>
                          <a:pt x="242" y="39"/>
                        </a:lnTo>
                        <a:lnTo>
                          <a:pt x="240" y="41"/>
                        </a:lnTo>
                        <a:lnTo>
                          <a:pt x="238" y="41"/>
                        </a:lnTo>
                        <a:lnTo>
                          <a:pt x="236" y="41"/>
                        </a:lnTo>
                        <a:lnTo>
                          <a:pt x="235" y="41"/>
                        </a:lnTo>
                        <a:lnTo>
                          <a:pt x="233" y="41"/>
                        </a:lnTo>
                        <a:lnTo>
                          <a:pt x="233" y="43"/>
                        </a:lnTo>
                        <a:lnTo>
                          <a:pt x="231" y="44"/>
                        </a:lnTo>
                        <a:lnTo>
                          <a:pt x="230" y="45"/>
                        </a:lnTo>
                        <a:lnTo>
                          <a:pt x="228" y="46"/>
                        </a:lnTo>
                        <a:lnTo>
                          <a:pt x="226" y="46"/>
                        </a:lnTo>
                        <a:lnTo>
                          <a:pt x="225" y="47"/>
                        </a:lnTo>
                        <a:lnTo>
                          <a:pt x="223" y="48"/>
                        </a:lnTo>
                        <a:lnTo>
                          <a:pt x="222" y="50"/>
                        </a:lnTo>
                        <a:lnTo>
                          <a:pt x="221" y="51"/>
                        </a:lnTo>
                        <a:lnTo>
                          <a:pt x="220" y="51"/>
                        </a:lnTo>
                        <a:lnTo>
                          <a:pt x="220" y="53"/>
                        </a:lnTo>
                        <a:lnTo>
                          <a:pt x="219" y="53"/>
                        </a:lnTo>
                        <a:lnTo>
                          <a:pt x="218" y="52"/>
                        </a:lnTo>
                        <a:lnTo>
                          <a:pt x="217" y="51"/>
                        </a:lnTo>
                        <a:lnTo>
                          <a:pt x="215" y="53"/>
                        </a:lnTo>
                        <a:lnTo>
                          <a:pt x="214" y="55"/>
                        </a:lnTo>
                        <a:lnTo>
                          <a:pt x="214" y="56"/>
                        </a:lnTo>
                        <a:lnTo>
                          <a:pt x="214" y="58"/>
                        </a:lnTo>
                        <a:lnTo>
                          <a:pt x="214" y="59"/>
                        </a:lnTo>
                        <a:lnTo>
                          <a:pt x="215" y="59"/>
                        </a:lnTo>
                        <a:lnTo>
                          <a:pt x="217" y="61"/>
                        </a:lnTo>
                        <a:lnTo>
                          <a:pt x="215" y="62"/>
                        </a:lnTo>
                        <a:lnTo>
                          <a:pt x="214" y="63"/>
                        </a:lnTo>
                        <a:lnTo>
                          <a:pt x="214" y="64"/>
                        </a:lnTo>
                        <a:lnTo>
                          <a:pt x="211" y="66"/>
                        </a:lnTo>
                        <a:lnTo>
                          <a:pt x="209" y="67"/>
                        </a:lnTo>
                        <a:lnTo>
                          <a:pt x="206" y="69"/>
                        </a:lnTo>
                        <a:lnTo>
                          <a:pt x="204" y="71"/>
                        </a:lnTo>
                        <a:lnTo>
                          <a:pt x="204" y="72"/>
                        </a:lnTo>
                        <a:lnTo>
                          <a:pt x="204" y="73"/>
                        </a:lnTo>
                        <a:lnTo>
                          <a:pt x="204" y="74"/>
                        </a:lnTo>
                        <a:lnTo>
                          <a:pt x="203" y="74"/>
                        </a:lnTo>
                        <a:lnTo>
                          <a:pt x="202" y="74"/>
                        </a:lnTo>
                        <a:lnTo>
                          <a:pt x="201" y="75"/>
                        </a:lnTo>
                        <a:lnTo>
                          <a:pt x="200" y="77"/>
                        </a:lnTo>
                        <a:lnTo>
                          <a:pt x="198" y="78"/>
                        </a:lnTo>
                        <a:lnTo>
                          <a:pt x="197" y="79"/>
                        </a:lnTo>
                        <a:lnTo>
                          <a:pt x="197" y="80"/>
                        </a:lnTo>
                        <a:lnTo>
                          <a:pt x="197" y="81"/>
                        </a:lnTo>
                        <a:lnTo>
                          <a:pt x="196" y="83"/>
                        </a:lnTo>
                        <a:lnTo>
                          <a:pt x="195" y="85"/>
                        </a:lnTo>
                        <a:lnTo>
                          <a:pt x="192" y="87"/>
                        </a:lnTo>
                        <a:lnTo>
                          <a:pt x="191" y="87"/>
                        </a:lnTo>
                        <a:lnTo>
                          <a:pt x="192" y="91"/>
                        </a:lnTo>
                        <a:lnTo>
                          <a:pt x="193" y="92"/>
                        </a:lnTo>
                        <a:lnTo>
                          <a:pt x="195" y="93"/>
                        </a:lnTo>
                        <a:lnTo>
                          <a:pt x="194" y="98"/>
                        </a:lnTo>
                        <a:lnTo>
                          <a:pt x="193" y="101"/>
                        </a:lnTo>
                        <a:lnTo>
                          <a:pt x="192" y="104"/>
                        </a:lnTo>
                        <a:lnTo>
                          <a:pt x="191" y="107"/>
                        </a:lnTo>
                        <a:lnTo>
                          <a:pt x="192" y="108"/>
                        </a:lnTo>
                        <a:lnTo>
                          <a:pt x="193" y="111"/>
                        </a:lnTo>
                        <a:lnTo>
                          <a:pt x="194" y="114"/>
                        </a:lnTo>
                        <a:lnTo>
                          <a:pt x="195" y="116"/>
                        </a:lnTo>
                        <a:lnTo>
                          <a:pt x="196" y="116"/>
                        </a:lnTo>
                        <a:lnTo>
                          <a:pt x="197" y="116"/>
                        </a:lnTo>
                        <a:lnTo>
                          <a:pt x="197" y="118"/>
                        </a:lnTo>
                        <a:lnTo>
                          <a:pt x="197" y="119"/>
                        </a:lnTo>
                        <a:lnTo>
                          <a:pt x="197" y="122"/>
                        </a:lnTo>
                        <a:lnTo>
                          <a:pt x="197" y="126"/>
                        </a:lnTo>
                        <a:lnTo>
                          <a:pt x="199" y="124"/>
                        </a:lnTo>
                        <a:lnTo>
                          <a:pt x="200" y="124"/>
                        </a:lnTo>
                        <a:lnTo>
                          <a:pt x="202" y="125"/>
                        </a:lnTo>
                        <a:lnTo>
                          <a:pt x="204" y="126"/>
                        </a:lnTo>
                        <a:lnTo>
                          <a:pt x="204" y="122"/>
                        </a:lnTo>
                        <a:lnTo>
                          <a:pt x="204" y="120"/>
                        </a:lnTo>
                        <a:lnTo>
                          <a:pt x="206" y="119"/>
                        </a:lnTo>
                        <a:lnTo>
                          <a:pt x="210" y="119"/>
                        </a:lnTo>
                        <a:lnTo>
                          <a:pt x="211" y="118"/>
                        </a:lnTo>
                        <a:lnTo>
                          <a:pt x="211" y="119"/>
                        </a:lnTo>
                        <a:lnTo>
                          <a:pt x="212" y="121"/>
                        </a:lnTo>
                        <a:lnTo>
                          <a:pt x="213" y="124"/>
                        </a:lnTo>
                        <a:lnTo>
                          <a:pt x="214" y="126"/>
                        </a:lnTo>
                        <a:lnTo>
                          <a:pt x="213" y="126"/>
                        </a:lnTo>
                        <a:lnTo>
                          <a:pt x="212" y="127"/>
                        </a:lnTo>
                        <a:lnTo>
                          <a:pt x="211" y="129"/>
                        </a:lnTo>
                        <a:lnTo>
                          <a:pt x="210" y="129"/>
                        </a:lnTo>
                        <a:lnTo>
                          <a:pt x="210" y="130"/>
                        </a:lnTo>
                        <a:lnTo>
                          <a:pt x="210" y="131"/>
                        </a:lnTo>
                        <a:lnTo>
                          <a:pt x="210" y="132"/>
                        </a:lnTo>
                        <a:lnTo>
                          <a:pt x="207" y="132"/>
                        </a:lnTo>
                        <a:lnTo>
                          <a:pt x="206" y="132"/>
                        </a:lnTo>
                        <a:lnTo>
                          <a:pt x="205" y="132"/>
                        </a:lnTo>
                        <a:lnTo>
                          <a:pt x="204" y="132"/>
                        </a:lnTo>
                        <a:lnTo>
                          <a:pt x="204" y="136"/>
                        </a:lnTo>
                        <a:lnTo>
                          <a:pt x="204" y="138"/>
                        </a:lnTo>
                        <a:lnTo>
                          <a:pt x="203" y="138"/>
                        </a:lnTo>
                        <a:lnTo>
                          <a:pt x="202" y="139"/>
                        </a:lnTo>
                        <a:lnTo>
                          <a:pt x="201" y="140"/>
                        </a:lnTo>
                        <a:lnTo>
                          <a:pt x="200" y="141"/>
                        </a:lnTo>
                        <a:lnTo>
                          <a:pt x="200" y="142"/>
                        </a:lnTo>
                        <a:lnTo>
                          <a:pt x="200" y="144"/>
                        </a:lnTo>
                        <a:lnTo>
                          <a:pt x="200" y="148"/>
                        </a:lnTo>
                        <a:lnTo>
                          <a:pt x="200" y="150"/>
                        </a:lnTo>
                        <a:lnTo>
                          <a:pt x="198" y="152"/>
                        </a:lnTo>
                        <a:lnTo>
                          <a:pt x="196" y="153"/>
                        </a:lnTo>
                        <a:lnTo>
                          <a:pt x="195" y="155"/>
                        </a:lnTo>
                        <a:lnTo>
                          <a:pt x="193" y="158"/>
                        </a:lnTo>
                        <a:lnTo>
                          <a:pt x="192" y="161"/>
                        </a:lnTo>
                        <a:lnTo>
                          <a:pt x="191" y="171"/>
                        </a:lnTo>
                        <a:lnTo>
                          <a:pt x="189" y="171"/>
                        </a:lnTo>
                        <a:lnTo>
                          <a:pt x="188" y="171"/>
                        </a:lnTo>
                        <a:lnTo>
                          <a:pt x="186" y="171"/>
                        </a:lnTo>
                        <a:lnTo>
                          <a:pt x="185" y="171"/>
                        </a:lnTo>
                        <a:lnTo>
                          <a:pt x="185" y="17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1" name="Freeform 1742">
                    <a:extLst>
                      <a:ext uri="{FF2B5EF4-FFF2-40B4-BE49-F238E27FC236}">
                        <a16:creationId xmlns:a16="http://schemas.microsoft.com/office/drawing/2014/main" xmlns="" id="{8442C844-9318-41C9-B5EE-168030DB1E44}"/>
                      </a:ext>
                    </a:extLst>
                  </p:cNvPr>
                  <p:cNvSpPr>
                    <a:spLocks/>
                  </p:cNvSpPr>
                  <p:nvPr/>
                </p:nvSpPr>
                <p:spPr bwMode="gray">
                  <a:xfrm>
                    <a:off x="3730049" y="3347910"/>
                    <a:ext cx="8900" cy="11125"/>
                  </a:xfrm>
                  <a:custGeom>
                    <a:avLst/>
                    <a:gdLst>
                      <a:gd name="T0" fmla="*/ 0 w 8"/>
                      <a:gd name="T1" fmla="*/ 0 h 10"/>
                      <a:gd name="T2" fmla="*/ 0 w 8"/>
                      <a:gd name="T3" fmla="*/ 2147483647 h 10"/>
                      <a:gd name="T4" fmla="*/ 0 w 8"/>
                      <a:gd name="T5" fmla="*/ 2147483647 h 10"/>
                      <a:gd name="T6" fmla="*/ 0 w 8"/>
                      <a:gd name="T7" fmla="*/ 2147483647 h 10"/>
                      <a:gd name="T8" fmla="*/ 2147483647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0 h 10"/>
                      <a:gd name="T20" fmla="*/ 2147483647 w 8"/>
                      <a:gd name="T21" fmla="*/ 0 h 10"/>
                      <a:gd name="T22" fmla="*/ 2147483647 w 8"/>
                      <a:gd name="T23" fmla="*/ 0 h 10"/>
                      <a:gd name="T24" fmla="*/ 2147483647 w 8"/>
                      <a:gd name="T25" fmla="*/ 0 h 10"/>
                      <a:gd name="T26" fmla="*/ 0 w 8"/>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10">
                        <a:moveTo>
                          <a:pt x="0" y="0"/>
                        </a:moveTo>
                        <a:lnTo>
                          <a:pt x="0" y="2"/>
                        </a:lnTo>
                        <a:lnTo>
                          <a:pt x="0" y="4"/>
                        </a:lnTo>
                        <a:lnTo>
                          <a:pt x="0" y="8"/>
                        </a:lnTo>
                        <a:lnTo>
                          <a:pt x="2" y="10"/>
                        </a:lnTo>
                        <a:lnTo>
                          <a:pt x="6" y="9"/>
                        </a:lnTo>
                        <a:lnTo>
                          <a:pt x="7" y="7"/>
                        </a:lnTo>
                        <a:lnTo>
                          <a:pt x="8" y="5"/>
                        </a:lnTo>
                        <a:lnTo>
                          <a:pt x="8" y="4"/>
                        </a:lnTo>
                        <a:lnTo>
                          <a:pt x="6" y="0"/>
                        </a:lnTo>
                        <a:lnTo>
                          <a:pt x="4"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2" name="Freeform 1744">
                    <a:extLst>
                      <a:ext uri="{FF2B5EF4-FFF2-40B4-BE49-F238E27FC236}">
                        <a16:creationId xmlns:a16="http://schemas.microsoft.com/office/drawing/2014/main" xmlns="" id="{23CE87EC-FC53-42D2-95F3-1AD651760DD7}"/>
                      </a:ext>
                    </a:extLst>
                  </p:cNvPr>
                  <p:cNvSpPr>
                    <a:spLocks/>
                  </p:cNvSpPr>
                  <p:nvPr/>
                </p:nvSpPr>
                <p:spPr bwMode="gray">
                  <a:xfrm>
                    <a:off x="3730049" y="3334560"/>
                    <a:ext cx="1113" cy="3337"/>
                  </a:xfrm>
                  <a:custGeom>
                    <a:avLst/>
                    <a:gdLst>
                      <a:gd name="T0" fmla="*/ 0 w 1"/>
                      <a:gd name="T1" fmla="*/ 0 h 3"/>
                      <a:gd name="T2" fmla="*/ 0 w 1"/>
                      <a:gd name="T3" fmla="*/ 0 h 3"/>
                      <a:gd name="T4" fmla="*/ 0 w 1"/>
                      <a:gd name="T5" fmla="*/ 2147483647 h 3"/>
                      <a:gd name="T6" fmla="*/ 0 w 1"/>
                      <a:gd name="T7" fmla="*/ 2147483647 h 3"/>
                      <a:gd name="T8" fmla="*/ 2147483647 w 1"/>
                      <a:gd name="T9" fmla="*/ 2147483647 h 3"/>
                      <a:gd name="T10" fmla="*/ 2147483647 w 1"/>
                      <a:gd name="T11" fmla="*/ 2147483647 h 3"/>
                      <a:gd name="T12" fmla="*/ 0 w 1"/>
                      <a:gd name="T13" fmla="*/ 2147483647 h 3"/>
                      <a:gd name="T14" fmla="*/ 0 w 1"/>
                      <a:gd name="T15" fmla="*/ 0 h 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 h="3">
                        <a:moveTo>
                          <a:pt x="0" y="0"/>
                        </a:moveTo>
                        <a:lnTo>
                          <a:pt x="0" y="0"/>
                        </a:lnTo>
                        <a:lnTo>
                          <a:pt x="0" y="1"/>
                        </a:lnTo>
                        <a:lnTo>
                          <a:pt x="0" y="3"/>
                        </a:lnTo>
                        <a:lnTo>
                          <a:pt x="1" y="3"/>
                        </a:lnTo>
                        <a:lnTo>
                          <a:pt x="1" y="2"/>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3" name="Freeform 1746">
                    <a:extLst>
                      <a:ext uri="{FF2B5EF4-FFF2-40B4-BE49-F238E27FC236}">
                        <a16:creationId xmlns:a16="http://schemas.microsoft.com/office/drawing/2014/main" xmlns="" id="{5919E75F-A6F8-4098-98E8-BE23465C5308}"/>
                      </a:ext>
                    </a:extLst>
                  </p:cNvPr>
                  <p:cNvSpPr>
                    <a:spLocks/>
                  </p:cNvSpPr>
                  <p:nvPr/>
                </p:nvSpPr>
                <p:spPr bwMode="gray">
                  <a:xfrm>
                    <a:off x="3711137" y="3324546"/>
                    <a:ext cx="11125" cy="10013"/>
                  </a:xfrm>
                  <a:custGeom>
                    <a:avLst/>
                    <a:gdLst>
                      <a:gd name="T0" fmla="*/ 2147483647 w 10"/>
                      <a:gd name="T1" fmla="*/ 0 h 9"/>
                      <a:gd name="T2" fmla="*/ 2147483647 w 10"/>
                      <a:gd name="T3" fmla="*/ 2147483647 h 9"/>
                      <a:gd name="T4" fmla="*/ 2147483647 w 10"/>
                      <a:gd name="T5" fmla="*/ 2147483647 h 9"/>
                      <a:gd name="T6" fmla="*/ 0 w 10"/>
                      <a:gd name="T7" fmla="*/ 2147483647 h 9"/>
                      <a:gd name="T8" fmla="*/ 2147483647 w 10"/>
                      <a:gd name="T9" fmla="*/ 2147483647 h 9"/>
                      <a:gd name="T10" fmla="*/ 2147483647 w 10"/>
                      <a:gd name="T11" fmla="*/ 2147483647 h 9"/>
                      <a:gd name="T12" fmla="*/ 2147483647 w 10"/>
                      <a:gd name="T13" fmla="*/ 2147483647 h 9"/>
                      <a:gd name="T14" fmla="*/ 2147483647 w 10"/>
                      <a:gd name="T15" fmla="*/ 2147483647 h 9"/>
                      <a:gd name="T16" fmla="*/ 2147483647 w 10"/>
                      <a:gd name="T17" fmla="*/ 2147483647 h 9"/>
                      <a:gd name="T18" fmla="*/ 2147483647 w 10"/>
                      <a:gd name="T19" fmla="*/ 2147483647 h 9"/>
                      <a:gd name="T20" fmla="*/ 2147483647 w 10"/>
                      <a:gd name="T21" fmla="*/ 2147483647 h 9"/>
                      <a:gd name="T22" fmla="*/ 2147483647 w 10"/>
                      <a:gd name="T23" fmla="*/ 2147483647 h 9"/>
                      <a:gd name="T24" fmla="*/ 2147483647 w 10"/>
                      <a:gd name="T25" fmla="*/ 2147483647 h 9"/>
                      <a:gd name="T26" fmla="*/ 2147483647 w 10"/>
                      <a:gd name="T27" fmla="*/ 0 h 9"/>
                      <a:gd name="T28" fmla="*/ 2147483647 w 10"/>
                      <a:gd name="T29" fmla="*/ 0 h 9"/>
                      <a:gd name="T30" fmla="*/ 2147483647 w 10"/>
                      <a:gd name="T31" fmla="*/ 0 h 9"/>
                      <a:gd name="T32" fmla="*/ 2147483647 w 10"/>
                      <a:gd name="T33" fmla="*/ 0 h 9"/>
                      <a:gd name="T34" fmla="*/ 2147483647 w 10"/>
                      <a:gd name="T35" fmla="*/ 0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 h="9">
                        <a:moveTo>
                          <a:pt x="7" y="0"/>
                        </a:moveTo>
                        <a:lnTo>
                          <a:pt x="4" y="2"/>
                        </a:lnTo>
                        <a:lnTo>
                          <a:pt x="1" y="4"/>
                        </a:lnTo>
                        <a:lnTo>
                          <a:pt x="0" y="6"/>
                        </a:lnTo>
                        <a:lnTo>
                          <a:pt x="1" y="7"/>
                        </a:lnTo>
                        <a:lnTo>
                          <a:pt x="3" y="9"/>
                        </a:lnTo>
                        <a:lnTo>
                          <a:pt x="7" y="9"/>
                        </a:lnTo>
                        <a:lnTo>
                          <a:pt x="7" y="8"/>
                        </a:lnTo>
                        <a:lnTo>
                          <a:pt x="9" y="7"/>
                        </a:lnTo>
                        <a:lnTo>
                          <a:pt x="10" y="5"/>
                        </a:lnTo>
                        <a:lnTo>
                          <a:pt x="10" y="3"/>
                        </a:lnTo>
                        <a:lnTo>
                          <a:pt x="10" y="2"/>
                        </a:lnTo>
                        <a:lnTo>
                          <a:pt x="10" y="0"/>
                        </a:lnTo>
                        <a:lnTo>
                          <a:pt x="9" y="0"/>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4" name="Freeform 1748">
                    <a:extLst>
                      <a:ext uri="{FF2B5EF4-FFF2-40B4-BE49-F238E27FC236}">
                        <a16:creationId xmlns:a16="http://schemas.microsoft.com/office/drawing/2014/main" xmlns="" id="{F69244AD-3F8D-4F4E-B750-3768B05CC25C}"/>
                      </a:ext>
                    </a:extLst>
                  </p:cNvPr>
                  <p:cNvSpPr>
                    <a:spLocks/>
                  </p:cNvSpPr>
                  <p:nvPr/>
                </p:nvSpPr>
                <p:spPr bwMode="gray">
                  <a:xfrm>
                    <a:off x="3743398" y="3313421"/>
                    <a:ext cx="5563" cy="3337"/>
                  </a:xfrm>
                  <a:custGeom>
                    <a:avLst/>
                    <a:gdLst>
                      <a:gd name="T0" fmla="*/ 0 w 5"/>
                      <a:gd name="T1" fmla="*/ 0 h 3"/>
                      <a:gd name="T2" fmla="*/ 0 w 5"/>
                      <a:gd name="T3" fmla="*/ 2147483647 h 3"/>
                      <a:gd name="T4" fmla="*/ 2147483647 w 5"/>
                      <a:gd name="T5" fmla="*/ 2147483647 h 3"/>
                      <a:gd name="T6" fmla="*/ 2147483647 w 5"/>
                      <a:gd name="T7" fmla="*/ 2147483647 h 3"/>
                      <a:gd name="T8" fmla="*/ 2147483647 w 5"/>
                      <a:gd name="T9" fmla="*/ 0 h 3"/>
                      <a:gd name="T10" fmla="*/ 0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0" y="0"/>
                        </a:moveTo>
                        <a:lnTo>
                          <a:pt x="0" y="3"/>
                        </a:lnTo>
                        <a:lnTo>
                          <a:pt x="4" y="3"/>
                        </a:lnTo>
                        <a:lnTo>
                          <a:pt x="5" y="2"/>
                        </a:lnTo>
                        <a:lnTo>
                          <a:pt x="4"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5" name="Freeform 1750">
                    <a:extLst>
                      <a:ext uri="{FF2B5EF4-FFF2-40B4-BE49-F238E27FC236}">
                        <a16:creationId xmlns:a16="http://schemas.microsoft.com/office/drawing/2014/main" xmlns="" id="{3154B7F5-C532-4C44-9ECB-457542CB5B7E}"/>
                      </a:ext>
                    </a:extLst>
                  </p:cNvPr>
                  <p:cNvSpPr>
                    <a:spLocks/>
                  </p:cNvSpPr>
                  <p:nvPr/>
                </p:nvSpPr>
                <p:spPr bwMode="gray">
                  <a:xfrm>
                    <a:off x="3747848" y="2912904"/>
                    <a:ext cx="2225" cy="2225"/>
                  </a:xfrm>
                  <a:custGeom>
                    <a:avLst/>
                    <a:gdLst>
                      <a:gd name="T0" fmla="*/ 2147483647 w 2"/>
                      <a:gd name="T1" fmla="*/ 2147483647 h 2"/>
                      <a:gd name="T2" fmla="*/ 2147483647 w 2"/>
                      <a:gd name="T3" fmla="*/ 2147483647 h 2"/>
                      <a:gd name="T4" fmla="*/ 2147483647 w 2"/>
                      <a:gd name="T5" fmla="*/ 2147483647 h 2"/>
                      <a:gd name="T6" fmla="*/ 0 w 2"/>
                      <a:gd name="T7" fmla="*/ 2147483647 h 2"/>
                      <a:gd name="T8" fmla="*/ 0 w 2"/>
                      <a:gd name="T9" fmla="*/ 2147483647 h 2"/>
                      <a:gd name="T10" fmla="*/ 0 w 2"/>
                      <a:gd name="T11" fmla="*/ 2147483647 h 2"/>
                      <a:gd name="T12" fmla="*/ 0 w 2"/>
                      <a:gd name="T13" fmla="*/ 0 h 2"/>
                      <a:gd name="T14" fmla="*/ 2147483647 w 2"/>
                      <a:gd name="T15" fmla="*/ 0 h 2"/>
                      <a:gd name="T16" fmla="*/ 2147483647 w 2"/>
                      <a:gd name="T17" fmla="*/ 2147483647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2">
                        <a:moveTo>
                          <a:pt x="2" y="2"/>
                        </a:moveTo>
                        <a:lnTo>
                          <a:pt x="2" y="2"/>
                        </a:lnTo>
                        <a:lnTo>
                          <a:pt x="1" y="2"/>
                        </a:lnTo>
                        <a:lnTo>
                          <a:pt x="0" y="2"/>
                        </a:lnTo>
                        <a:lnTo>
                          <a:pt x="0" y="1"/>
                        </a:lnTo>
                        <a:lnTo>
                          <a:pt x="0" y="0"/>
                        </a:lnTo>
                        <a:lnTo>
                          <a:pt x="1" y="0"/>
                        </a:lnTo>
                        <a:lnTo>
                          <a:pt x="2" y="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6" name="Freeform 1752">
                    <a:extLst>
                      <a:ext uri="{FF2B5EF4-FFF2-40B4-BE49-F238E27FC236}">
                        <a16:creationId xmlns:a16="http://schemas.microsoft.com/office/drawing/2014/main" xmlns="" id="{2EAA8228-043A-4196-AF9A-C48969F6B6D2}"/>
                      </a:ext>
                    </a:extLst>
                  </p:cNvPr>
                  <p:cNvSpPr>
                    <a:spLocks/>
                  </p:cNvSpPr>
                  <p:nvPr/>
                </p:nvSpPr>
                <p:spPr bwMode="gray">
                  <a:xfrm>
                    <a:off x="3730049" y="2907341"/>
                    <a:ext cx="24475" cy="26701"/>
                  </a:xfrm>
                  <a:custGeom>
                    <a:avLst/>
                    <a:gdLst>
                      <a:gd name="T0" fmla="*/ 2147483647 w 22"/>
                      <a:gd name="T1" fmla="*/ 0 h 24"/>
                      <a:gd name="T2" fmla="*/ 2147483647 w 22"/>
                      <a:gd name="T3" fmla="*/ 2147483647 h 24"/>
                      <a:gd name="T4" fmla="*/ 2147483647 w 22"/>
                      <a:gd name="T5" fmla="*/ 2147483647 h 24"/>
                      <a:gd name="T6" fmla="*/ 2147483647 w 22"/>
                      <a:gd name="T7" fmla="*/ 2147483647 h 24"/>
                      <a:gd name="T8" fmla="*/ 2147483647 w 22"/>
                      <a:gd name="T9" fmla="*/ 2147483647 h 24"/>
                      <a:gd name="T10" fmla="*/ 2147483647 w 22"/>
                      <a:gd name="T11" fmla="*/ 2147483647 h 24"/>
                      <a:gd name="T12" fmla="*/ 2147483647 w 22"/>
                      <a:gd name="T13" fmla="*/ 2147483647 h 24"/>
                      <a:gd name="T14" fmla="*/ 2147483647 w 22"/>
                      <a:gd name="T15" fmla="*/ 2147483647 h 24"/>
                      <a:gd name="T16" fmla="*/ 2147483647 w 22"/>
                      <a:gd name="T17" fmla="*/ 2147483647 h 24"/>
                      <a:gd name="T18" fmla="*/ 0 w 22"/>
                      <a:gd name="T19" fmla="*/ 2147483647 h 24"/>
                      <a:gd name="T20" fmla="*/ 0 w 22"/>
                      <a:gd name="T21" fmla="*/ 2147483647 h 24"/>
                      <a:gd name="T22" fmla="*/ 0 w 22"/>
                      <a:gd name="T23" fmla="*/ 2147483647 h 24"/>
                      <a:gd name="T24" fmla="*/ 0 w 22"/>
                      <a:gd name="T25" fmla="*/ 2147483647 h 24"/>
                      <a:gd name="T26" fmla="*/ 0 w 22"/>
                      <a:gd name="T27" fmla="*/ 2147483647 h 24"/>
                      <a:gd name="T28" fmla="*/ 0 w 22"/>
                      <a:gd name="T29" fmla="*/ 2147483647 h 24"/>
                      <a:gd name="T30" fmla="*/ 2147483647 w 22"/>
                      <a:gd name="T31" fmla="*/ 2147483647 h 24"/>
                      <a:gd name="T32" fmla="*/ 2147483647 w 22"/>
                      <a:gd name="T33" fmla="*/ 2147483647 h 24"/>
                      <a:gd name="T34" fmla="*/ 2147483647 w 22"/>
                      <a:gd name="T35" fmla="*/ 2147483647 h 24"/>
                      <a:gd name="T36" fmla="*/ 2147483647 w 22"/>
                      <a:gd name="T37" fmla="*/ 2147483647 h 24"/>
                      <a:gd name="T38" fmla="*/ 2147483647 w 22"/>
                      <a:gd name="T39" fmla="*/ 2147483647 h 24"/>
                      <a:gd name="T40" fmla="*/ 2147483647 w 22"/>
                      <a:gd name="T41" fmla="*/ 2147483647 h 24"/>
                      <a:gd name="T42" fmla="*/ 2147483647 w 22"/>
                      <a:gd name="T43" fmla="*/ 2147483647 h 24"/>
                      <a:gd name="T44" fmla="*/ 2147483647 w 22"/>
                      <a:gd name="T45" fmla="*/ 2147483647 h 24"/>
                      <a:gd name="T46" fmla="*/ 2147483647 w 22"/>
                      <a:gd name="T47" fmla="*/ 2147483647 h 24"/>
                      <a:gd name="T48" fmla="*/ 2147483647 w 22"/>
                      <a:gd name="T49" fmla="*/ 2147483647 h 24"/>
                      <a:gd name="T50" fmla="*/ 2147483647 w 22"/>
                      <a:gd name="T51" fmla="*/ 2147483647 h 24"/>
                      <a:gd name="T52" fmla="*/ 2147483647 w 22"/>
                      <a:gd name="T53" fmla="*/ 2147483647 h 24"/>
                      <a:gd name="T54" fmla="*/ 2147483647 w 22"/>
                      <a:gd name="T55" fmla="*/ 2147483647 h 24"/>
                      <a:gd name="T56" fmla="*/ 2147483647 w 22"/>
                      <a:gd name="T57" fmla="*/ 2147483647 h 24"/>
                      <a:gd name="T58" fmla="*/ 2147483647 w 22"/>
                      <a:gd name="T59" fmla="*/ 2147483647 h 24"/>
                      <a:gd name="T60" fmla="*/ 2147483647 w 22"/>
                      <a:gd name="T61" fmla="*/ 2147483647 h 24"/>
                      <a:gd name="T62" fmla="*/ 2147483647 w 22"/>
                      <a:gd name="T63" fmla="*/ 2147483647 h 24"/>
                      <a:gd name="T64" fmla="*/ 2147483647 w 22"/>
                      <a:gd name="T65" fmla="*/ 2147483647 h 24"/>
                      <a:gd name="T66" fmla="*/ 2147483647 w 22"/>
                      <a:gd name="T67" fmla="*/ 0 h 24"/>
                      <a:gd name="T68" fmla="*/ 2147483647 w 22"/>
                      <a:gd name="T69" fmla="*/ 0 h 24"/>
                      <a:gd name="T70" fmla="*/ 2147483647 w 22"/>
                      <a:gd name="T71" fmla="*/ 0 h 24"/>
                      <a:gd name="T72" fmla="*/ 2147483647 w 22"/>
                      <a:gd name="T73" fmla="*/ 0 h 24"/>
                      <a:gd name="T74" fmla="*/ 2147483647 w 22"/>
                      <a:gd name="T75" fmla="*/ 0 h 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2" h="24">
                        <a:moveTo>
                          <a:pt x="18" y="0"/>
                        </a:moveTo>
                        <a:lnTo>
                          <a:pt x="17" y="1"/>
                        </a:lnTo>
                        <a:lnTo>
                          <a:pt x="15" y="2"/>
                        </a:lnTo>
                        <a:lnTo>
                          <a:pt x="13" y="3"/>
                        </a:lnTo>
                        <a:lnTo>
                          <a:pt x="12" y="6"/>
                        </a:lnTo>
                        <a:lnTo>
                          <a:pt x="8" y="7"/>
                        </a:lnTo>
                        <a:lnTo>
                          <a:pt x="5" y="6"/>
                        </a:lnTo>
                        <a:lnTo>
                          <a:pt x="3" y="6"/>
                        </a:lnTo>
                        <a:lnTo>
                          <a:pt x="1" y="7"/>
                        </a:lnTo>
                        <a:lnTo>
                          <a:pt x="0" y="9"/>
                        </a:lnTo>
                        <a:lnTo>
                          <a:pt x="0" y="13"/>
                        </a:lnTo>
                        <a:lnTo>
                          <a:pt x="0" y="16"/>
                        </a:lnTo>
                        <a:lnTo>
                          <a:pt x="0" y="19"/>
                        </a:lnTo>
                        <a:lnTo>
                          <a:pt x="0" y="23"/>
                        </a:lnTo>
                        <a:lnTo>
                          <a:pt x="1" y="23"/>
                        </a:lnTo>
                        <a:lnTo>
                          <a:pt x="3" y="23"/>
                        </a:lnTo>
                        <a:lnTo>
                          <a:pt x="4" y="24"/>
                        </a:lnTo>
                        <a:lnTo>
                          <a:pt x="5" y="24"/>
                        </a:lnTo>
                        <a:lnTo>
                          <a:pt x="6" y="23"/>
                        </a:lnTo>
                        <a:lnTo>
                          <a:pt x="8" y="21"/>
                        </a:lnTo>
                        <a:lnTo>
                          <a:pt x="9" y="21"/>
                        </a:lnTo>
                        <a:lnTo>
                          <a:pt x="10" y="21"/>
                        </a:lnTo>
                        <a:lnTo>
                          <a:pt x="12" y="19"/>
                        </a:lnTo>
                        <a:lnTo>
                          <a:pt x="13" y="19"/>
                        </a:lnTo>
                        <a:lnTo>
                          <a:pt x="14" y="17"/>
                        </a:lnTo>
                        <a:lnTo>
                          <a:pt x="15" y="16"/>
                        </a:lnTo>
                        <a:lnTo>
                          <a:pt x="16" y="16"/>
                        </a:lnTo>
                        <a:lnTo>
                          <a:pt x="18" y="13"/>
                        </a:lnTo>
                        <a:lnTo>
                          <a:pt x="21" y="10"/>
                        </a:lnTo>
                        <a:lnTo>
                          <a:pt x="22" y="5"/>
                        </a:lnTo>
                        <a:lnTo>
                          <a:pt x="22" y="0"/>
                        </a:lnTo>
                        <a:lnTo>
                          <a:pt x="21" y="0"/>
                        </a:lnTo>
                        <a:lnTo>
                          <a:pt x="20" y="0"/>
                        </a:lnTo>
                        <a:lnTo>
                          <a:pt x="19" y="0"/>
                        </a:lnTo>
                        <a:lnTo>
                          <a:pt x="18"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7" name="Freeform 1754">
                    <a:extLst>
                      <a:ext uri="{FF2B5EF4-FFF2-40B4-BE49-F238E27FC236}">
                        <a16:creationId xmlns:a16="http://schemas.microsoft.com/office/drawing/2014/main" xmlns="" id="{39656A9D-F4DF-4326-8F20-313944869D16}"/>
                      </a:ext>
                    </a:extLst>
                  </p:cNvPr>
                  <p:cNvSpPr>
                    <a:spLocks/>
                  </p:cNvSpPr>
                  <p:nvPr/>
                </p:nvSpPr>
                <p:spPr bwMode="gray">
                  <a:xfrm>
                    <a:off x="4730162" y="2833913"/>
                    <a:ext cx="36712" cy="92341"/>
                  </a:xfrm>
                  <a:custGeom>
                    <a:avLst/>
                    <a:gdLst>
                      <a:gd name="T0" fmla="*/ 2147483647 w 33"/>
                      <a:gd name="T1" fmla="*/ 2147483647 h 83"/>
                      <a:gd name="T2" fmla="*/ 2147483647 w 33"/>
                      <a:gd name="T3" fmla="*/ 2147483647 h 83"/>
                      <a:gd name="T4" fmla="*/ 2147483647 w 33"/>
                      <a:gd name="T5" fmla="*/ 2147483647 h 83"/>
                      <a:gd name="T6" fmla="*/ 2147483647 w 33"/>
                      <a:gd name="T7" fmla="*/ 2147483647 h 83"/>
                      <a:gd name="T8" fmla="*/ 2147483647 w 33"/>
                      <a:gd name="T9" fmla="*/ 2147483647 h 83"/>
                      <a:gd name="T10" fmla="*/ 2147483647 w 33"/>
                      <a:gd name="T11" fmla="*/ 2147483647 h 83"/>
                      <a:gd name="T12" fmla="*/ 2147483647 w 33"/>
                      <a:gd name="T13" fmla="*/ 2147483647 h 83"/>
                      <a:gd name="T14" fmla="*/ 0 w 33"/>
                      <a:gd name="T15" fmla="*/ 2147483647 h 83"/>
                      <a:gd name="T16" fmla="*/ 0 w 33"/>
                      <a:gd name="T17" fmla="*/ 2147483647 h 83"/>
                      <a:gd name="T18" fmla="*/ 0 w 33"/>
                      <a:gd name="T19" fmla="*/ 2147483647 h 83"/>
                      <a:gd name="T20" fmla="*/ 0 w 33"/>
                      <a:gd name="T21" fmla="*/ 2147483647 h 83"/>
                      <a:gd name="T22" fmla="*/ 2147483647 w 33"/>
                      <a:gd name="T23" fmla="*/ 2147483647 h 83"/>
                      <a:gd name="T24" fmla="*/ 2147483647 w 33"/>
                      <a:gd name="T25" fmla="*/ 2147483647 h 83"/>
                      <a:gd name="T26" fmla="*/ 2147483647 w 33"/>
                      <a:gd name="T27" fmla="*/ 2147483647 h 83"/>
                      <a:gd name="T28" fmla="*/ 2147483647 w 33"/>
                      <a:gd name="T29" fmla="*/ 2147483647 h 83"/>
                      <a:gd name="T30" fmla="*/ 2147483647 w 33"/>
                      <a:gd name="T31" fmla="*/ 2147483647 h 83"/>
                      <a:gd name="T32" fmla="*/ 2147483647 w 33"/>
                      <a:gd name="T33" fmla="*/ 2147483647 h 83"/>
                      <a:gd name="T34" fmla="*/ 2147483647 w 33"/>
                      <a:gd name="T35" fmla="*/ 2147483647 h 83"/>
                      <a:gd name="T36" fmla="*/ 2147483647 w 33"/>
                      <a:gd name="T37" fmla="*/ 2147483647 h 83"/>
                      <a:gd name="T38" fmla="*/ 2147483647 w 33"/>
                      <a:gd name="T39" fmla="*/ 2147483647 h 83"/>
                      <a:gd name="T40" fmla="*/ 2147483647 w 33"/>
                      <a:gd name="T41" fmla="*/ 2147483647 h 83"/>
                      <a:gd name="T42" fmla="*/ 2147483647 w 33"/>
                      <a:gd name="T43" fmla="*/ 2147483647 h 83"/>
                      <a:gd name="T44" fmla="*/ 2147483647 w 33"/>
                      <a:gd name="T45" fmla="*/ 2147483647 h 83"/>
                      <a:gd name="T46" fmla="*/ 2147483647 w 33"/>
                      <a:gd name="T47" fmla="*/ 2147483647 h 83"/>
                      <a:gd name="T48" fmla="*/ 2147483647 w 33"/>
                      <a:gd name="T49" fmla="*/ 2147483647 h 83"/>
                      <a:gd name="T50" fmla="*/ 2147483647 w 33"/>
                      <a:gd name="T51" fmla="*/ 2147483647 h 83"/>
                      <a:gd name="T52" fmla="*/ 2147483647 w 33"/>
                      <a:gd name="T53" fmla="*/ 2147483647 h 83"/>
                      <a:gd name="T54" fmla="*/ 2147483647 w 33"/>
                      <a:gd name="T55" fmla="*/ 2147483647 h 83"/>
                      <a:gd name="T56" fmla="*/ 2147483647 w 33"/>
                      <a:gd name="T57" fmla="*/ 2147483647 h 83"/>
                      <a:gd name="T58" fmla="*/ 2147483647 w 33"/>
                      <a:gd name="T59" fmla="*/ 2147483647 h 83"/>
                      <a:gd name="T60" fmla="*/ 2147483647 w 33"/>
                      <a:gd name="T61" fmla="*/ 2147483647 h 83"/>
                      <a:gd name="T62" fmla="*/ 2147483647 w 33"/>
                      <a:gd name="T63" fmla="*/ 0 h 83"/>
                      <a:gd name="T64" fmla="*/ 2147483647 w 33"/>
                      <a:gd name="T65" fmla="*/ 2147483647 h 83"/>
                      <a:gd name="T66" fmla="*/ 2147483647 w 33"/>
                      <a:gd name="T67" fmla="*/ 2147483647 h 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3" h="83">
                        <a:moveTo>
                          <a:pt x="16" y="22"/>
                        </a:moveTo>
                        <a:lnTo>
                          <a:pt x="15" y="24"/>
                        </a:lnTo>
                        <a:lnTo>
                          <a:pt x="14" y="27"/>
                        </a:lnTo>
                        <a:lnTo>
                          <a:pt x="14" y="29"/>
                        </a:lnTo>
                        <a:lnTo>
                          <a:pt x="13" y="32"/>
                        </a:lnTo>
                        <a:lnTo>
                          <a:pt x="12" y="32"/>
                        </a:lnTo>
                        <a:lnTo>
                          <a:pt x="11" y="32"/>
                        </a:lnTo>
                        <a:lnTo>
                          <a:pt x="10" y="32"/>
                        </a:lnTo>
                        <a:lnTo>
                          <a:pt x="9" y="32"/>
                        </a:lnTo>
                        <a:lnTo>
                          <a:pt x="7" y="37"/>
                        </a:lnTo>
                        <a:lnTo>
                          <a:pt x="6" y="41"/>
                        </a:lnTo>
                        <a:lnTo>
                          <a:pt x="4" y="45"/>
                        </a:lnTo>
                        <a:lnTo>
                          <a:pt x="2" y="47"/>
                        </a:lnTo>
                        <a:lnTo>
                          <a:pt x="1" y="50"/>
                        </a:lnTo>
                        <a:lnTo>
                          <a:pt x="0" y="52"/>
                        </a:lnTo>
                        <a:lnTo>
                          <a:pt x="0" y="55"/>
                        </a:lnTo>
                        <a:lnTo>
                          <a:pt x="0" y="57"/>
                        </a:lnTo>
                        <a:lnTo>
                          <a:pt x="0" y="72"/>
                        </a:lnTo>
                        <a:lnTo>
                          <a:pt x="0" y="78"/>
                        </a:lnTo>
                        <a:lnTo>
                          <a:pt x="0" y="83"/>
                        </a:lnTo>
                        <a:lnTo>
                          <a:pt x="1" y="83"/>
                        </a:lnTo>
                        <a:lnTo>
                          <a:pt x="2" y="83"/>
                        </a:lnTo>
                        <a:lnTo>
                          <a:pt x="3" y="83"/>
                        </a:lnTo>
                        <a:lnTo>
                          <a:pt x="4" y="83"/>
                        </a:lnTo>
                        <a:lnTo>
                          <a:pt x="5" y="82"/>
                        </a:lnTo>
                        <a:lnTo>
                          <a:pt x="6" y="80"/>
                        </a:lnTo>
                        <a:lnTo>
                          <a:pt x="7" y="78"/>
                        </a:lnTo>
                        <a:lnTo>
                          <a:pt x="7" y="75"/>
                        </a:lnTo>
                        <a:lnTo>
                          <a:pt x="6" y="73"/>
                        </a:lnTo>
                        <a:lnTo>
                          <a:pt x="6" y="70"/>
                        </a:lnTo>
                        <a:lnTo>
                          <a:pt x="8" y="67"/>
                        </a:lnTo>
                        <a:lnTo>
                          <a:pt x="9" y="64"/>
                        </a:lnTo>
                        <a:lnTo>
                          <a:pt x="10" y="60"/>
                        </a:lnTo>
                        <a:lnTo>
                          <a:pt x="13" y="57"/>
                        </a:lnTo>
                        <a:lnTo>
                          <a:pt x="13" y="47"/>
                        </a:lnTo>
                        <a:lnTo>
                          <a:pt x="13" y="46"/>
                        </a:lnTo>
                        <a:lnTo>
                          <a:pt x="14" y="45"/>
                        </a:lnTo>
                        <a:lnTo>
                          <a:pt x="15" y="43"/>
                        </a:lnTo>
                        <a:lnTo>
                          <a:pt x="16" y="42"/>
                        </a:lnTo>
                        <a:lnTo>
                          <a:pt x="18" y="42"/>
                        </a:lnTo>
                        <a:lnTo>
                          <a:pt x="19" y="42"/>
                        </a:lnTo>
                        <a:lnTo>
                          <a:pt x="20" y="42"/>
                        </a:lnTo>
                        <a:lnTo>
                          <a:pt x="21" y="40"/>
                        </a:lnTo>
                        <a:lnTo>
                          <a:pt x="21" y="38"/>
                        </a:lnTo>
                        <a:lnTo>
                          <a:pt x="20" y="37"/>
                        </a:lnTo>
                        <a:lnTo>
                          <a:pt x="20" y="35"/>
                        </a:lnTo>
                        <a:lnTo>
                          <a:pt x="22" y="31"/>
                        </a:lnTo>
                        <a:lnTo>
                          <a:pt x="24" y="27"/>
                        </a:lnTo>
                        <a:lnTo>
                          <a:pt x="25" y="22"/>
                        </a:lnTo>
                        <a:lnTo>
                          <a:pt x="26" y="18"/>
                        </a:lnTo>
                        <a:lnTo>
                          <a:pt x="26" y="16"/>
                        </a:lnTo>
                        <a:lnTo>
                          <a:pt x="27" y="15"/>
                        </a:lnTo>
                        <a:lnTo>
                          <a:pt x="28" y="14"/>
                        </a:lnTo>
                        <a:lnTo>
                          <a:pt x="29" y="12"/>
                        </a:lnTo>
                        <a:lnTo>
                          <a:pt x="31" y="10"/>
                        </a:lnTo>
                        <a:lnTo>
                          <a:pt x="31" y="8"/>
                        </a:lnTo>
                        <a:lnTo>
                          <a:pt x="31" y="5"/>
                        </a:lnTo>
                        <a:lnTo>
                          <a:pt x="33" y="3"/>
                        </a:lnTo>
                        <a:lnTo>
                          <a:pt x="32" y="3"/>
                        </a:lnTo>
                        <a:lnTo>
                          <a:pt x="31" y="2"/>
                        </a:lnTo>
                        <a:lnTo>
                          <a:pt x="30" y="1"/>
                        </a:lnTo>
                        <a:lnTo>
                          <a:pt x="29" y="0"/>
                        </a:lnTo>
                        <a:lnTo>
                          <a:pt x="24" y="5"/>
                        </a:lnTo>
                        <a:lnTo>
                          <a:pt x="22" y="10"/>
                        </a:lnTo>
                        <a:lnTo>
                          <a:pt x="19" y="16"/>
                        </a:lnTo>
                        <a:lnTo>
                          <a:pt x="16" y="2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8" name="Freeform 1756">
                    <a:extLst>
                      <a:ext uri="{FF2B5EF4-FFF2-40B4-BE49-F238E27FC236}">
                        <a16:creationId xmlns:a16="http://schemas.microsoft.com/office/drawing/2014/main" xmlns="" id="{1A82ACDB-9F27-48BF-A241-DC4DB5FFF29D}"/>
                      </a:ext>
                    </a:extLst>
                  </p:cNvPr>
                  <p:cNvSpPr>
                    <a:spLocks/>
                  </p:cNvSpPr>
                  <p:nvPr/>
                </p:nvSpPr>
                <p:spPr bwMode="gray">
                  <a:xfrm>
                    <a:off x="4805811" y="2782737"/>
                    <a:ext cx="45612" cy="86778"/>
                  </a:xfrm>
                  <a:custGeom>
                    <a:avLst/>
                    <a:gdLst>
                      <a:gd name="T0" fmla="*/ 2147483647 w 41"/>
                      <a:gd name="T1" fmla="*/ 2147483647 h 78"/>
                      <a:gd name="T2" fmla="*/ 2147483647 w 41"/>
                      <a:gd name="T3" fmla="*/ 2147483647 h 78"/>
                      <a:gd name="T4" fmla="*/ 2147483647 w 41"/>
                      <a:gd name="T5" fmla="*/ 2147483647 h 78"/>
                      <a:gd name="T6" fmla="*/ 2147483647 w 41"/>
                      <a:gd name="T7" fmla="*/ 2147483647 h 78"/>
                      <a:gd name="T8" fmla="*/ 2147483647 w 41"/>
                      <a:gd name="T9" fmla="*/ 0 h 78"/>
                      <a:gd name="T10" fmla="*/ 2147483647 w 41"/>
                      <a:gd name="T11" fmla="*/ 2147483647 h 78"/>
                      <a:gd name="T12" fmla="*/ 2147483647 w 41"/>
                      <a:gd name="T13" fmla="*/ 2147483647 h 78"/>
                      <a:gd name="T14" fmla="*/ 2147483647 w 41"/>
                      <a:gd name="T15" fmla="*/ 2147483647 h 78"/>
                      <a:gd name="T16" fmla="*/ 2147483647 w 41"/>
                      <a:gd name="T17" fmla="*/ 2147483647 h 78"/>
                      <a:gd name="T18" fmla="*/ 2147483647 w 41"/>
                      <a:gd name="T19" fmla="*/ 2147483647 h 78"/>
                      <a:gd name="T20" fmla="*/ 2147483647 w 41"/>
                      <a:gd name="T21" fmla="*/ 2147483647 h 78"/>
                      <a:gd name="T22" fmla="*/ 2147483647 w 41"/>
                      <a:gd name="T23" fmla="*/ 2147483647 h 78"/>
                      <a:gd name="T24" fmla="*/ 2147483647 w 41"/>
                      <a:gd name="T25" fmla="*/ 2147483647 h 78"/>
                      <a:gd name="T26" fmla="*/ 2147483647 w 41"/>
                      <a:gd name="T27" fmla="*/ 2147483647 h 78"/>
                      <a:gd name="T28" fmla="*/ 2147483647 w 41"/>
                      <a:gd name="T29" fmla="*/ 2147483647 h 78"/>
                      <a:gd name="T30" fmla="*/ 2147483647 w 41"/>
                      <a:gd name="T31" fmla="*/ 2147483647 h 78"/>
                      <a:gd name="T32" fmla="*/ 2147483647 w 41"/>
                      <a:gd name="T33" fmla="*/ 2147483647 h 78"/>
                      <a:gd name="T34" fmla="*/ 2147483647 w 41"/>
                      <a:gd name="T35" fmla="*/ 2147483647 h 78"/>
                      <a:gd name="T36" fmla="*/ 2147483647 w 41"/>
                      <a:gd name="T37" fmla="*/ 2147483647 h 78"/>
                      <a:gd name="T38" fmla="*/ 2147483647 w 41"/>
                      <a:gd name="T39" fmla="*/ 2147483647 h 78"/>
                      <a:gd name="T40" fmla="*/ 2147483647 w 41"/>
                      <a:gd name="T41" fmla="*/ 2147483647 h 78"/>
                      <a:gd name="T42" fmla="*/ 2147483647 w 41"/>
                      <a:gd name="T43" fmla="*/ 2147483647 h 78"/>
                      <a:gd name="T44" fmla="*/ 0 w 41"/>
                      <a:gd name="T45" fmla="*/ 2147483647 h 78"/>
                      <a:gd name="T46" fmla="*/ 0 w 41"/>
                      <a:gd name="T47" fmla="*/ 2147483647 h 78"/>
                      <a:gd name="T48" fmla="*/ 2147483647 w 41"/>
                      <a:gd name="T49" fmla="*/ 2147483647 h 78"/>
                      <a:gd name="T50" fmla="*/ 2147483647 w 41"/>
                      <a:gd name="T51" fmla="*/ 2147483647 h 78"/>
                      <a:gd name="T52" fmla="*/ 2147483647 w 41"/>
                      <a:gd name="T53" fmla="*/ 2147483647 h 78"/>
                      <a:gd name="T54" fmla="*/ 2147483647 w 41"/>
                      <a:gd name="T55" fmla="*/ 2147483647 h 78"/>
                      <a:gd name="T56" fmla="*/ 2147483647 w 41"/>
                      <a:gd name="T57" fmla="*/ 2147483647 h 78"/>
                      <a:gd name="T58" fmla="*/ 2147483647 w 41"/>
                      <a:gd name="T59" fmla="*/ 2147483647 h 78"/>
                      <a:gd name="T60" fmla="*/ 2147483647 w 41"/>
                      <a:gd name="T61" fmla="*/ 2147483647 h 78"/>
                      <a:gd name="T62" fmla="*/ 2147483647 w 41"/>
                      <a:gd name="T63" fmla="*/ 2147483647 h 78"/>
                      <a:gd name="T64" fmla="*/ 2147483647 w 41"/>
                      <a:gd name="T65" fmla="*/ 2147483647 h 78"/>
                      <a:gd name="T66" fmla="*/ 2147483647 w 41"/>
                      <a:gd name="T67" fmla="*/ 2147483647 h 78"/>
                      <a:gd name="T68" fmla="*/ 2147483647 w 41"/>
                      <a:gd name="T69" fmla="*/ 2147483647 h 78"/>
                      <a:gd name="T70" fmla="*/ 2147483647 w 41"/>
                      <a:gd name="T71" fmla="*/ 2147483647 h 78"/>
                      <a:gd name="T72" fmla="*/ 2147483647 w 41"/>
                      <a:gd name="T73" fmla="*/ 2147483647 h 78"/>
                      <a:gd name="T74" fmla="*/ 2147483647 w 41"/>
                      <a:gd name="T75" fmla="*/ 2147483647 h 78"/>
                      <a:gd name="T76" fmla="*/ 2147483647 w 41"/>
                      <a:gd name="T77" fmla="*/ 2147483647 h 78"/>
                      <a:gd name="T78" fmla="*/ 2147483647 w 41"/>
                      <a:gd name="T79" fmla="*/ 2147483647 h 78"/>
                      <a:gd name="T80" fmla="*/ 2147483647 w 41"/>
                      <a:gd name="T81" fmla="*/ 2147483647 h 78"/>
                      <a:gd name="T82" fmla="*/ 2147483647 w 41"/>
                      <a:gd name="T83" fmla="*/ 2147483647 h 78"/>
                      <a:gd name="T84" fmla="*/ 2147483647 w 41"/>
                      <a:gd name="T85" fmla="*/ 2147483647 h 78"/>
                      <a:gd name="T86" fmla="*/ 2147483647 w 41"/>
                      <a:gd name="T87" fmla="*/ 2147483647 h 78"/>
                      <a:gd name="T88" fmla="*/ 2147483647 w 41"/>
                      <a:gd name="T89" fmla="*/ 2147483647 h 78"/>
                      <a:gd name="T90" fmla="*/ 2147483647 w 41"/>
                      <a:gd name="T91" fmla="*/ 2147483647 h 78"/>
                      <a:gd name="T92" fmla="*/ 2147483647 w 41"/>
                      <a:gd name="T93" fmla="*/ 2147483647 h 78"/>
                      <a:gd name="T94" fmla="*/ 2147483647 w 41"/>
                      <a:gd name="T95" fmla="*/ 2147483647 h 78"/>
                      <a:gd name="T96" fmla="*/ 2147483647 w 41"/>
                      <a:gd name="T97" fmla="*/ 2147483647 h 78"/>
                      <a:gd name="T98" fmla="*/ 2147483647 w 41"/>
                      <a:gd name="T99" fmla="*/ 2147483647 h 78"/>
                      <a:gd name="T100" fmla="*/ 2147483647 w 41"/>
                      <a:gd name="T101" fmla="*/ 2147483647 h 78"/>
                      <a:gd name="T102" fmla="*/ 2147483647 w 41"/>
                      <a:gd name="T103" fmla="*/ 2147483647 h 78"/>
                      <a:gd name="T104" fmla="*/ 2147483647 w 41"/>
                      <a:gd name="T105" fmla="*/ 2147483647 h 78"/>
                      <a:gd name="T106" fmla="*/ 2147483647 w 41"/>
                      <a:gd name="T107" fmla="*/ 2147483647 h 78"/>
                      <a:gd name="T108" fmla="*/ 2147483647 w 41"/>
                      <a:gd name="T109" fmla="*/ 2147483647 h 78"/>
                      <a:gd name="T110" fmla="*/ 2147483647 w 41"/>
                      <a:gd name="T111" fmla="*/ 2147483647 h 78"/>
                      <a:gd name="T112" fmla="*/ 2147483647 w 41"/>
                      <a:gd name="T113" fmla="*/ 2147483647 h 78"/>
                      <a:gd name="T114" fmla="*/ 2147483647 w 41"/>
                      <a:gd name="T115" fmla="*/ 2147483647 h 78"/>
                      <a:gd name="T116" fmla="*/ 2147483647 w 41"/>
                      <a:gd name="T117" fmla="*/ 2147483647 h 78"/>
                      <a:gd name="T118" fmla="*/ 2147483647 w 41"/>
                      <a:gd name="T119" fmla="*/ 2147483647 h 78"/>
                      <a:gd name="T120" fmla="*/ 2147483647 w 41"/>
                      <a:gd name="T121" fmla="*/ 2147483647 h 78"/>
                      <a:gd name="T122" fmla="*/ 2147483647 w 41"/>
                      <a:gd name="T123" fmla="*/ 2147483647 h 78"/>
                      <a:gd name="T124" fmla="*/ 2147483647 w 41"/>
                      <a:gd name="T125" fmla="*/ 2147483647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 h="78">
                        <a:moveTo>
                          <a:pt x="37" y="19"/>
                        </a:moveTo>
                        <a:lnTo>
                          <a:pt x="37" y="16"/>
                        </a:lnTo>
                        <a:lnTo>
                          <a:pt x="38" y="12"/>
                        </a:lnTo>
                        <a:lnTo>
                          <a:pt x="40" y="10"/>
                        </a:lnTo>
                        <a:lnTo>
                          <a:pt x="40" y="9"/>
                        </a:lnTo>
                        <a:lnTo>
                          <a:pt x="40" y="6"/>
                        </a:lnTo>
                        <a:lnTo>
                          <a:pt x="41" y="4"/>
                        </a:lnTo>
                        <a:lnTo>
                          <a:pt x="41" y="2"/>
                        </a:lnTo>
                        <a:lnTo>
                          <a:pt x="39" y="0"/>
                        </a:lnTo>
                        <a:lnTo>
                          <a:pt x="37" y="0"/>
                        </a:lnTo>
                        <a:lnTo>
                          <a:pt x="36" y="0"/>
                        </a:lnTo>
                        <a:lnTo>
                          <a:pt x="35" y="1"/>
                        </a:lnTo>
                        <a:lnTo>
                          <a:pt x="33" y="2"/>
                        </a:lnTo>
                        <a:lnTo>
                          <a:pt x="32" y="3"/>
                        </a:lnTo>
                        <a:lnTo>
                          <a:pt x="30" y="4"/>
                        </a:lnTo>
                        <a:lnTo>
                          <a:pt x="29" y="4"/>
                        </a:lnTo>
                        <a:lnTo>
                          <a:pt x="29" y="3"/>
                        </a:lnTo>
                        <a:lnTo>
                          <a:pt x="27" y="3"/>
                        </a:lnTo>
                        <a:lnTo>
                          <a:pt x="27" y="5"/>
                        </a:lnTo>
                        <a:lnTo>
                          <a:pt x="27" y="6"/>
                        </a:lnTo>
                        <a:lnTo>
                          <a:pt x="22" y="7"/>
                        </a:lnTo>
                        <a:lnTo>
                          <a:pt x="20" y="8"/>
                        </a:lnTo>
                        <a:lnTo>
                          <a:pt x="20" y="9"/>
                        </a:lnTo>
                        <a:lnTo>
                          <a:pt x="17" y="9"/>
                        </a:lnTo>
                        <a:lnTo>
                          <a:pt x="16" y="11"/>
                        </a:lnTo>
                        <a:lnTo>
                          <a:pt x="15" y="13"/>
                        </a:lnTo>
                        <a:lnTo>
                          <a:pt x="13" y="15"/>
                        </a:lnTo>
                        <a:lnTo>
                          <a:pt x="11" y="16"/>
                        </a:lnTo>
                        <a:lnTo>
                          <a:pt x="10" y="17"/>
                        </a:lnTo>
                        <a:lnTo>
                          <a:pt x="10" y="19"/>
                        </a:lnTo>
                        <a:lnTo>
                          <a:pt x="10" y="20"/>
                        </a:lnTo>
                        <a:lnTo>
                          <a:pt x="10" y="22"/>
                        </a:lnTo>
                        <a:lnTo>
                          <a:pt x="9" y="24"/>
                        </a:lnTo>
                        <a:lnTo>
                          <a:pt x="6" y="26"/>
                        </a:lnTo>
                        <a:lnTo>
                          <a:pt x="4" y="27"/>
                        </a:lnTo>
                        <a:lnTo>
                          <a:pt x="3" y="29"/>
                        </a:lnTo>
                        <a:lnTo>
                          <a:pt x="3" y="31"/>
                        </a:lnTo>
                        <a:lnTo>
                          <a:pt x="3" y="32"/>
                        </a:lnTo>
                        <a:lnTo>
                          <a:pt x="0" y="32"/>
                        </a:lnTo>
                        <a:lnTo>
                          <a:pt x="0" y="33"/>
                        </a:lnTo>
                        <a:lnTo>
                          <a:pt x="0" y="35"/>
                        </a:lnTo>
                        <a:lnTo>
                          <a:pt x="1" y="36"/>
                        </a:lnTo>
                        <a:lnTo>
                          <a:pt x="3" y="38"/>
                        </a:lnTo>
                        <a:lnTo>
                          <a:pt x="3" y="42"/>
                        </a:lnTo>
                        <a:lnTo>
                          <a:pt x="5" y="43"/>
                        </a:lnTo>
                        <a:lnTo>
                          <a:pt x="6" y="44"/>
                        </a:lnTo>
                        <a:lnTo>
                          <a:pt x="6" y="45"/>
                        </a:lnTo>
                        <a:lnTo>
                          <a:pt x="6" y="48"/>
                        </a:lnTo>
                        <a:lnTo>
                          <a:pt x="5" y="48"/>
                        </a:lnTo>
                        <a:lnTo>
                          <a:pt x="5" y="49"/>
                        </a:lnTo>
                        <a:lnTo>
                          <a:pt x="4" y="50"/>
                        </a:lnTo>
                        <a:lnTo>
                          <a:pt x="3" y="52"/>
                        </a:lnTo>
                        <a:lnTo>
                          <a:pt x="3" y="53"/>
                        </a:lnTo>
                        <a:lnTo>
                          <a:pt x="3" y="55"/>
                        </a:lnTo>
                        <a:lnTo>
                          <a:pt x="3" y="57"/>
                        </a:lnTo>
                        <a:lnTo>
                          <a:pt x="5" y="62"/>
                        </a:lnTo>
                        <a:lnTo>
                          <a:pt x="6" y="66"/>
                        </a:lnTo>
                        <a:lnTo>
                          <a:pt x="6" y="68"/>
                        </a:lnTo>
                        <a:lnTo>
                          <a:pt x="7" y="68"/>
                        </a:lnTo>
                        <a:lnTo>
                          <a:pt x="8" y="68"/>
                        </a:lnTo>
                        <a:lnTo>
                          <a:pt x="9" y="68"/>
                        </a:lnTo>
                        <a:lnTo>
                          <a:pt x="10" y="68"/>
                        </a:lnTo>
                        <a:lnTo>
                          <a:pt x="10" y="69"/>
                        </a:lnTo>
                        <a:lnTo>
                          <a:pt x="10" y="70"/>
                        </a:lnTo>
                        <a:lnTo>
                          <a:pt x="10" y="71"/>
                        </a:lnTo>
                        <a:lnTo>
                          <a:pt x="9" y="71"/>
                        </a:lnTo>
                        <a:lnTo>
                          <a:pt x="8" y="72"/>
                        </a:lnTo>
                        <a:lnTo>
                          <a:pt x="7" y="74"/>
                        </a:lnTo>
                        <a:lnTo>
                          <a:pt x="6" y="74"/>
                        </a:lnTo>
                        <a:lnTo>
                          <a:pt x="7" y="76"/>
                        </a:lnTo>
                        <a:lnTo>
                          <a:pt x="8" y="77"/>
                        </a:lnTo>
                        <a:lnTo>
                          <a:pt x="6" y="78"/>
                        </a:lnTo>
                        <a:lnTo>
                          <a:pt x="9" y="77"/>
                        </a:lnTo>
                        <a:lnTo>
                          <a:pt x="11" y="76"/>
                        </a:lnTo>
                        <a:lnTo>
                          <a:pt x="14" y="75"/>
                        </a:lnTo>
                        <a:lnTo>
                          <a:pt x="16" y="74"/>
                        </a:lnTo>
                        <a:lnTo>
                          <a:pt x="16" y="72"/>
                        </a:lnTo>
                        <a:lnTo>
                          <a:pt x="15" y="71"/>
                        </a:lnTo>
                        <a:lnTo>
                          <a:pt x="15" y="69"/>
                        </a:lnTo>
                        <a:lnTo>
                          <a:pt x="16" y="68"/>
                        </a:lnTo>
                        <a:lnTo>
                          <a:pt x="16" y="67"/>
                        </a:lnTo>
                        <a:lnTo>
                          <a:pt x="17" y="63"/>
                        </a:lnTo>
                        <a:lnTo>
                          <a:pt x="19" y="60"/>
                        </a:lnTo>
                        <a:lnTo>
                          <a:pt x="20" y="58"/>
                        </a:lnTo>
                        <a:lnTo>
                          <a:pt x="22" y="58"/>
                        </a:lnTo>
                        <a:lnTo>
                          <a:pt x="25" y="57"/>
                        </a:lnTo>
                        <a:lnTo>
                          <a:pt x="27" y="55"/>
                        </a:lnTo>
                        <a:lnTo>
                          <a:pt x="29" y="55"/>
                        </a:lnTo>
                        <a:lnTo>
                          <a:pt x="29" y="53"/>
                        </a:lnTo>
                        <a:lnTo>
                          <a:pt x="28" y="52"/>
                        </a:lnTo>
                        <a:lnTo>
                          <a:pt x="27" y="52"/>
                        </a:lnTo>
                        <a:lnTo>
                          <a:pt x="28" y="48"/>
                        </a:lnTo>
                        <a:lnTo>
                          <a:pt x="29" y="45"/>
                        </a:lnTo>
                        <a:lnTo>
                          <a:pt x="33" y="43"/>
                        </a:lnTo>
                        <a:lnTo>
                          <a:pt x="37" y="42"/>
                        </a:lnTo>
                        <a:lnTo>
                          <a:pt x="35" y="42"/>
                        </a:lnTo>
                        <a:lnTo>
                          <a:pt x="36" y="40"/>
                        </a:lnTo>
                        <a:lnTo>
                          <a:pt x="36" y="39"/>
                        </a:lnTo>
                        <a:lnTo>
                          <a:pt x="37" y="38"/>
                        </a:lnTo>
                        <a:lnTo>
                          <a:pt x="36" y="38"/>
                        </a:lnTo>
                        <a:lnTo>
                          <a:pt x="35" y="36"/>
                        </a:lnTo>
                        <a:lnTo>
                          <a:pt x="32" y="35"/>
                        </a:lnTo>
                        <a:lnTo>
                          <a:pt x="29" y="35"/>
                        </a:lnTo>
                        <a:lnTo>
                          <a:pt x="29" y="32"/>
                        </a:lnTo>
                        <a:lnTo>
                          <a:pt x="29" y="29"/>
                        </a:lnTo>
                        <a:lnTo>
                          <a:pt x="29" y="25"/>
                        </a:lnTo>
                        <a:lnTo>
                          <a:pt x="29" y="22"/>
                        </a:lnTo>
                        <a:lnTo>
                          <a:pt x="30" y="20"/>
                        </a:lnTo>
                        <a:lnTo>
                          <a:pt x="30" y="19"/>
                        </a:lnTo>
                        <a:lnTo>
                          <a:pt x="29" y="19"/>
                        </a:lnTo>
                        <a:lnTo>
                          <a:pt x="31" y="17"/>
                        </a:lnTo>
                        <a:lnTo>
                          <a:pt x="32" y="18"/>
                        </a:lnTo>
                        <a:lnTo>
                          <a:pt x="35" y="18"/>
                        </a:lnTo>
                        <a:lnTo>
                          <a:pt x="37" y="1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79" name="Freeform 1758">
                    <a:extLst>
                      <a:ext uri="{FF2B5EF4-FFF2-40B4-BE49-F238E27FC236}">
                        <a16:creationId xmlns:a16="http://schemas.microsoft.com/office/drawing/2014/main" xmlns="" id="{EB7EBAFC-C298-4DE5-9498-9031B964402B}"/>
                      </a:ext>
                    </a:extLst>
                  </p:cNvPr>
                  <p:cNvSpPr>
                    <a:spLocks/>
                  </p:cNvSpPr>
                  <p:nvPr/>
                </p:nvSpPr>
                <p:spPr bwMode="gray">
                  <a:xfrm>
                    <a:off x="4500993" y="1874901"/>
                    <a:ext cx="491714" cy="1121445"/>
                  </a:xfrm>
                  <a:custGeom>
                    <a:avLst/>
                    <a:gdLst>
                      <a:gd name="T0" fmla="*/ 2147483647 w 442"/>
                      <a:gd name="T1" fmla="*/ 2147483647 h 1008"/>
                      <a:gd name="T2" fmla="*/ 2147483647 w 442"/>
                      <a:gd name="T3" fmla="*/ 2147483647 h 1008"/>
                      <a:gd name="T4" fmla="*/ 2147483647 w 442"/>
                      <a:gd name="T5" fmla="*/ 2147483647 h 1008"/>
                      <a:gd name="T6" fmla="*/ 2147483647 w 442"/>
                      <a:gd name="T7" fmla="*/ 2147483647 h 1008"/>
                      <a:gd name="T8" fmla="*/ 2147483647 w 442"/>
                      <a:gd name="T9" fmla="*/ 2147483647 h 1008"/>
                      <a:gd name="T10" fmla="*/ 2147483647 w 442"/>
                      <a:gd name="T11" fmla="*/ 2147483647 h 1008"/>
                      <a:gd name="T12" fmla="*/ 2147483647 w 442"/>
                      <a:gd name="T13" fmla="*/ 2147483647 h 1008"/>
                      <a:gd name="T14" fmla="*/ 2147483647 w 442"/>
                      <a:gd name="T15" fmla="*/ 2147483647 h 1008"/>
                      <a:gd name="T16" fmla="*/ 2147483647 w 442"/>
                      <a:gd name="T17" fmla="*/ 2147483647 h 1008"/>
                      <a:gd name="T18" fmla="*/ 2147483647 w 442"/>
                      <a:gd name="T19" fmla="*/ 2147483647 h 1008"/>
                      <a:gd name="T20" fmla="*/ 2147483647 w 442"/>
                      <a:gd name="T21" fmla="*/ 2147483647 h 1008"/>
                      <a:gd name="T22" fmla="*/ 2147483647 w 442"/>
                      <a:gd name="T23" fmla="*/ 2147483647 h 1008"/>
                      <a:gd name="T24" fmla="*/ 2147483647 w 442"/>
                      <a:gd name="T25" fmla="*/ 2147483647 h 1008"/>
                      <a:gd name="T26" fmla="*/ 2147483647 w 442"/>
                      <a:gd name="T27" fmla="*/ 2147483647 h 1008"/>
                      <a:gd name="T28" fmla="*/ 2147483647 w 442"/>
                      <a:gd name="T29" fmla="*/ 2147483647 h 1008"/>
                      <a:gd name="T30" fmla="*/ 2147483647 w 442"/>
                      <a:gd name="T31" fmla="*/ 2147483647 h 1008"/>
                      <a:gd name="T32" fmla="*/ 2147483647 w 442"/>
                      <a:gd name="T33" fmla="*/ 2147483647 h 1008"/>
                      <a:gd name="T34" fmla="*/ 2147483647 w 442"/>
                      <a:gd name="T35" fmla="*/ 2147483647 h 1008"/>
                      <a:gd name="T36" fmla="*/ 2147483647 w 442"/>
                      <a:gd name="T37" fmla="*/ 2147483647 h 1008"/>
                      <a:gd name="T38" fmla="*/ 2147483647 w 442"/>
                      <a:gd name="T39" fmla="*/ 2147483647 h 1008"/>
                      <a:gd name="T40" fmla="*/ 2147483647 w 442"/>
                      <a:gd name="T41" fmla="*/ 2147483647 h 1008"/>
                      <a:gd name="T42" fmla="*/ 2147483647 w 442"/>
                      <a:gd name="T43" fmla="*/ 2147483647 h 1008"/>
                      <a:gd name="T44" fmla="*/ 2147483647 w 442"/>
                      <a:gd name="T45" fmla="*/ 2147483647 h 1008"/>
                      <a:gd name="T46" fmla="*/ 2147483647 w 442"/>
                      <a:gd name="T47" fmla="*/ 2147483647 h 1008"/>
                      <a:gd name="T48" fmla="*/ 2147483647 w 442"/>
                      <a:gd name="T49" fmla="*/ 2147483647 h 1008"/>
                      <a:gd name="T50" fmla="*/ 2147483647 w 442"/>
                      <a:gd name="T51" fmla="*/ 2147483647 h 1008"/>
                      <a:gd name="T52" fmla="*/ 2147483647 w 442"/>
                      <a:gd name="T53" fmla="*/ 2147483647 h 1008"/>
                      <a:gd name="T54" fmla="*/ 2147483647 w 442"/>
                      <a:gd name="T55" fmla="*/ 2147483647 h 1008"/>
                      <a:gd name="T56" fmla="*/ 2147483647 w 442"/>
                      <a:gd name="T57" fmla="*/ 2147483647 h 1008"/>
                      <a:gd name="T58" fmla="*/ 2147483647 w 442"/>
                      <a:gd name="T59" fmla="*/ 2147483647 h 1008"/>
                      <a:gd name="T60" fmla="*/ 2147483647 w 442"/>
                      <a:gd name="T61" fmla="*/ 2147483647 h 1008"/>
                      <a:gd name="T62" fmla="*/ 2147483647 w 442"/>
                      <a:gd name="T63" fmla="*/ 2147483647 h 1008"/>
                      <a:gd name="T64" fmla="*/ 2147483647 w 442"/>
                      <a:gd name="T65" fmla="*/ 2147483647 h 1008"/>
                      <a:gd name="T66" fmla="*/ 2147483647 w 442"/>
                      <a:gd name="T67" fmla="*/ 2147483647 h 1008"/>
                      <a:gd name="T68" fmla="*/ 2147483647 w 442"/>
                      <a:gd name="T69" fmla="*/ 2147483647 h 1008"/>
                      <a:gd name="T70" fmla="*/ 2147483647 w 442"/>
                      <a:gd name="T71" fmla="*/ 2147483647 h 1008"/>
                      <a:gd name="T72" fmla="*/ 2147483647 w 442"/>
                      <a:gd name="T73" fmla="*/ 2147483647 h 1008"/>
                      <a:gd name="T74" fmla="*/ 2147483647 w 442"/>
                      <a:gd name="T75" fmla="*/ 2147483647 h 1008"/>
                      <a:gd name="T76" fmla="*/ 2147483647 w 442"/>
                      <a:gd name="T77" fmla="*/ 2147483647 h 1008"/>
                      <a:gd name="T78" fmla="*/ 2147483647 w 442"/>
                      <a:gd name="T79" fmla="*/ 2147483647 h 1008"/>
                      <a:gd name="T80" fmla="*/ 2147483647 w 442"/>
                      <a:gd name="T81" fmla="*/ 2147483647 h 1008"/>
                      <a:gd name="T82" fmla="*/ 2147483647 w 442"/>
                      <a:gd name="T83" fmla="*/ 2147483647 h 1008"/>
                      <a:gd name="T84" fmla="*/ 2147483647 w 442"/>
                      <a:gd name="T85" fmla="*/ 2147483647 h 1008"/>
                      <a:gd name="T86" fmla="*/ 2147483647 w 442"/>
                      <a:gd name="T87" fmla="*/ 2147483647 h 1008"/>
                      <a:gd name="T88" fmla="*/ 2147483647 w 442"/>
                      <a:gd name="T89" fmla="*/ 2147483647 h 1008"/>
                      <a:gd name="T90" fmla="*/ 2147483647 w 442"/>
                      <a:gd name="T91" fmla="*/ 2147483647 h 1008"/>
                      <a:gd name="T92" fmla="*/ 2147483647 w 442"/>
                      <a:gd name="T93" fmla="*/ 2147483647 h 1008"/>
                      <a:gd name="T94" fmla="*/ 2147483647 w 442"/>
                      <a:gd name="T95" fmla="*/ 2147483647 h 1008"/>
                      <a:gd name="T96" fmla="*/ 2147483647 w 442"/>
                      <a:gd name="T97" fmla="*/ 2147483647 h 1008"/>
                      <a:gd name="T98" fmla="*/ 2147483647 w 442"/>
                      <a:gd name="T99" fmla="*/ 2147483647 h 1008"/>
                      <a:gd name="T100" fmla="*/ 2147483647 w 442"/>
                      <a:gd name="T101" fmla="*/ 2147483647 h 1008"/>
                      <a:gd name="T102" fmla="*/ 2147483647 w 442"/>
                      <a:gd name="T103" fmla="*/ 2147483647 h 1008"/>
                      <a:gd name="T104" fmla="*/ 2147483647 w 442"/>
                      <a:gd name="T105" fmla="*/ 2147483647 h 1008"/>
                      <a:gd name="T106" fmla="*/ 2147483647 w 442"/>
                      <a:gd name="T107" fmla="*/ 2147483647 h 1008"/>
                      <a:gd name="T108" fmla="*/ 2147483647 w 442"/>
                      <a:gd name="T109" fmla="*/ 2147483647 h 1008"/>
                      <a:gd name="T110" fmla="*/ 2147483647 w 442"/>
                      <a:gd name="T111" fmla="*/ 2147483647 h 1008"/>
                      <a:gd name="T112" fmla="*/ 2147483647 w 442"/>
                      <a:gd name="T113" fmla="*/ 2147483647 h 1008"/>
                      <a:gd name="T114" fmla="*/ 2147483647 w 442"/>
                      <a:gd name="T115" fmla="*/ 2147483647 h 1008"/>
                      <a:gd name="T116" fmla="*/ 2147483647 w 442"/>
                      <a:gd name="T117" fmla="*/ 2147483647 h 1008"/>
                      <a:gd name="T118" fmla="*/ 2147483647 w 442"/>
                      <a:gd name="T119" fmla="*/ 2147483647 h 1008"/>
                      <a:gd name="T120" fmla="*/ 2147483647 w 442"/>
                      <a:gd name="T121" fmla="*/ 2147483647 h 10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42" h="1008">
                        <a:moveTo>
                          <a:pt x="438" y="217"/>
                        </a:moveTo>
                        <a:lnTo>
                          <a:pt x="435" y="213"/>
                        </a:lnTo>
                        <a:lnTo>
                          <a:pt x="431" y="200"/>
                        </a:lnTo>
                        <a:lnTo>
                          <a:pt x="428" y="194"/>
                        </a:lnTo>
                        <a:lnTo>
                          <a:pt x="419" y="187"/>
                        </a:lnTo>
                        <a:lnTo>
                          <a:pt x="419" y="175"/>
                        </a:lnTo>
                        <a:lnTo>
                          <a:pt x="422" y="165"/>
                        </a:lnTo>
                        <a:lnTo>
                          <a:pt x="425" y="155"/>
                        </a:lnTo>
                        <a:lnTo>
                          <a:pt x="422" y="149"/>
                        </a:lnTo>
                        <a:lnTo>
                          <a:pt x="419" y="139"/>
                        </a:lnTo>
                        <a:lnTo>
                          <a:pt x="422" y="139"/>
                        </a:lnTo>
                        <a:lnTo>
                          <a:pt x="422" y="135"/>
                        </a:lnTo>
                        <a:lnTo>
                          <a:pt x="423" y="133"/>
                        </a:lnTo>
                        <a:lnTo>
                          <a:pt x="424" y="131"/>
                        </a:lnTo>
                        <a:lnTo>
                          <a:pt x="425" y="129"/>
                        </a:lnTo>
                        <a:lnTo>
                          <a:pt x="425" y="126"/>
                        </a:lnTo>
                        <a:lnTo>
                          <a:pt x="424" y="125"/>
                        </a:lnTo>
                        <a:lnTo>
                          <a:pt x="423" y="123"/>
                        </a:lnTo>
                        <a:lnTo>
                          <a:pt x="422" y="120"/>
                        </a:lnTo>
                        <a:lnTo>
                          <a:pt x="421" y="119"/>
                        </a:lnTo>
                        <a:lnTo>
                          <a:pt x="419" y="119"/>
                        </a:lnTo>
                        <a:lnTo>
                          <a:pt x="417" y="121"/>
                        </a:lnTo>
                        <a:lnTo>
                          <a:pt x="415" y="121"/>
                        </a:lnTo>
                        <a:lnTo>
                          <a:pt x="415" y="119"/>
                        </a:lnTo>
                        <a:lnTo>
                          <a:pt x="416" y="116"/>
                        </a:lnTo>
                        <a:lnTo>
                          <a:pt x="415" y="113"/>
                        </a:lnTo>
                        <a:lnTo>
                          <a:pt x="412" y="108"/>
                        </a:lnTo>
                        <a:lnTo>
                          <a:pt x="410" y="102"/>
                        </a:lnTo>
                        <a:lnTo>
                          <a:pt x="409" y="97"/>
                        </a:lnTo>
                        <a:lnTo>
                          <a:pt x="409" y="96"/>
                        </a:lnTo>
                        <a:lnTo>
                          <a:pt x="410" y="96"/>
                        </a:lnTo>
                        <a:lnTo>
                          <a:pt x="410" y="95"/>
                        </a:lnTo>
                        <a:lnTo>
                          <a:pt x="409" y="94"/>
                        </a:lnTo>
                        <a:lnTo>
                          <a:pt x="409" y="92"/>
                        </a:lnTo>
                        <a:lnTo>
                          <a:pt x="409" y="90"/>
                        </a:lnTo>
                        <a:lnTo>
                          <a:pt x="408" y="88"/>
                        </a:lnTo>
                        <a:lnTo>
                          <a:pt x="406" y="84"/>
                        </a:lnTo>
                        <a:lnTo>
                          <a:pt x="405" y="79"/>
                        </a:lnTo>
                        <a:lnTo>
                          <a:pt x="406" y="75"/>
                        </a:lnTo>
                        <a:lnTo>
                          <a:pt x="407" y="70"/>
                        </a:lnTo>
                        <a:lnTo>
                          <a:pt x="406" y="65"/>
                        </a:lnTo>
                        <a:lnTo>
                          <a:pt x="404" y="61"/>
                        </a:lnTo>
                        <a:lnTo>
                          <a:pt x="402" y="58"/>
                        </a:lnTo>
                        <a:lnTo>
                          <a:pt x="399" y="55"/>
                        </a:lnTo>
                        <a:lnTo>
                          <a:pt x="397" y="52"/>
                        </a:lnTo>
                        <a:lnTo>
                          <a:pt x="395" y="50"/>
                        </a:lnTo>
                        <a:lnTo>
                          <a:pt x="395" y="47"/>
                        </a:lnTo>
                        <a:lnTo>
                          <a:pt x="395" y="45"/>
                        </a:lnTo>
                        <a:lnTo>
                          <a:pt x="393" y="42"/>
                        </a:lnTo>
                        <a:lnTo>
                          <a:pt x="391" y="42"/>
                        </a:lnTo>
                        <a:lnTo>
                          <a:pt x="390" y="42"/>
                        </a:lnTo>
                        <a:lnTo>
                          <a:pt x="388" y="42"/>
                        </a:lnTo>
                        <a:lnTo>
                          <a:pt x="386" y="42"/>
                        </a:lnTo>
                        <a:lnTo>
                          <a:pt x="384" y="40"/>
                        </a:lnTo>
                        <a:lnTo>
                          <a:pt x="381" y="39"/>
                        </a:lnTo>
                        <a:lnTo>
                          <a:pt x="379" y="37"/>
                        </a:lnTo>
                        <a:lnTo>
                          <a:pt x="376" y="35"/>
                        </a:lnTo>
                        <a:lnTo>
                          <a:pt x="374" y="34"/>
                        </a:lnTo>
                        <a:lnTo>
                          <a:pt x="374" y="33"/>
                        </a:lnTo>
                        <a:lnTo>
                          <a:pt x="373" y="32"/>
                        </a:lnTo>
                        <a:lnTo>
                          <a:pt x="371" y="32"/>
                        </a:lnTo>
                        <a:lnTo>
                          <a:pt x="368" y="30"/>
                        </a:lnTo>
                        <a:lnTo>
                          <a:pt x="366" y="30"/>
                        </a:lnTo>
                        <a:lnTo>
                          <a:pt x="365" y="30"/>
                        </a:lnTo>
                        <a:lnTo>
                          <a:pt x="364" y="30"/>
                        </a:lnTo>
                        <a:lnTo>
                          <a:pt x="360" y="27"/>
                        </a:lnTo>
                        <a:lnTo>
                          <a:pt x="358" y="26"/>
                        </a:lnTo>
                        <a:lnTo>
                          <a:pt x="356" y="24"/>
                        </a:lnTo>
                        <a:lnTo>
                          <a:pt x="354" y="23"/>
                        </a:lnTo>
                        <a:lnTo>
                          <a:pt x="350" y="18"/>
                        </a:lnTo>
                        <a:lnTo>
                          <a:pt x="349" y="12"/>
                        </a:lnTo>
                        <a:lnTo>
                          <a:pt x="347" y="7"/>
                        </a:lnTo>
                        <a:lnTo>
                          <a:pt x="345" y="3"/>
                        </a:lnTo>
                        <a:lnTo>
                          <a:pt x="343" y="2"/>
                        </a:lnTo>
                        <a:lnTo>
                          <a:pt x="342" y="0"/>
                        </a:lnTo>
                        <a:lnTo>
                          <a:pt x="341" y="0"/>
                        </a:lnTo>
                        <a:lnTo>
                          <a:pt x="339" y="0"/>
                        </a:lnTo>
                        <a:lnTo>
                          <a:pt x="338" y="2"/>
                        </a:lnTo>
                        <a:lnTo>
                          <a:pt x="337" y="3"/>
                        </a:lnTo>
                        <a:lnTo>
                          <a:pt x="335" y="3"/>
                        </a:lnTo>
                        <a:lnTo>
                          <a:pt x="333" y="5"/>
                        </a:lnTo>
                        <a:lnTo>
                          <a:pt x="330" y="6"/>
                        </a:lnTo>
                        <a:lnTo>
                          <a:pt x="326" y="6"/>
                        </a:lnTo>
                        <a:lnTo>
                          <a:pt x="328" y="11"/>
                        </a:lnTo>
                        <a:lnTo>
                          <a:pt x="331" y="16"/>
                        </a:lnTo>
                        <a:lnTo>
                          <a:pt x="334" y="21"/>
                        </a:lnTo>
                        <a:lnTo>
                          <a:pt x="335" y="26"/>
                        </a:lnTo>
                        <a:lnTo>
                          <a:pt x="335" y="29"/>
                        </a:lnTo>
                        <a:lnTo>
                          <a:pt x="334" y="32"/>
                        </a:lnTo>
                        <a:lnTo>
                          <a:pt x="333" y="34"/>
                        </a:lnTo>
                        <a:lnTo>
                          <a:pt x="331" y="35"/>
                        </a:lnTo>
                        <a:lnTo>
                          <a:pt x="331" y="39"/>
                        </a:lnTo>
                        <a:lnTo>
                          <a:pt x="330" y="42"/>
                        </a:lnTo>
                        <a:lnTo>
                          <a:pt x="329" y="45"/>
                        </a:lnTo>
                        <a:lnTo>
                          <a:pt x="328" y="49"/>
                        </a:lnTo>
                        <a:lnTo>
                          <a:pt x="326" y="51"/>
                        </a:lnTo>
                        <a:lnTo>
                          <a:pt x="326" y="52"/>
                        </a:lnTo>
                        <a:lnTo>
                          <a:pt x="326" y="54"/>
                        </a:lnTo>
                        <a:lnTo>
                          <a:pt x="325" y="54"/>
                        </a:lnTo>
                        <a:lnTo>
                          <a:pt x="324" y="54"/>
                        </a:lnTo>
                        <a:lnTo>
                          <a:pt x="322" y="55"/>
                        </a:lnTo>
                        <a:lnTo>
                          <a:pt x="320" y="56"/>
                        </a:lnTo>
                        <a:lnTo>
                          <a:pt x="319" y="56"/>
                        </a:lnTo>
                        <a:lnTo>
                          <a:pt x="316" y="54"/>
                        </a:lnTo>
                        <a:lnTo>
                          <a:pt x="312" y="52"/>
                        </a:lnTo>
                        <a:lnTo>
                          <a:pt x="308" y="50"/>
                        </a:lnTo>
                        <a:lnTo>
                          <a:pt x="304" y="47"/>
                        </a:lnTo>
                        <a:lnTo>
                          <a:pt x="301" y="45"/>
                        </a:lnTo>
                        <a:lnTo>
                          <a:pt x="296" y="42"/>
                        </a:lnTo>
                        <a:lnTo>
                          <a:pt x="294" y="42"/>
                        </a:lnTo>
                        <a:lnTo>
                          <a:pt x="291" y="41"/>
                        </a:lnTo>
                        <a:lnTo>
                          <a:pt x="289" y="41"/>
                        </a:lnTo>
                        <a:lnTo>
                          <a:pt x="286" y="42"/>
                        </a:lnTo>
                        <a:lnTo>
                          <a:pt x="283" y="42"/>
                        </a:lnTo>
                        <a:lnTo>
                          <a:pt x="279" y="41"/>
                        </a:lnTo>
                        <a:lnTo>
                          <a:pt x="276" y="41"/>
                        </a:lnTo>
                        <a:lnTo>
                          <a:pt x="271" y="42"/>
                        </a:lnTo>
                        <a:lnTo>
                          <a:pt x="269" y="44"/>
                        </a:lnTo>
                        <a:lnTo>
                          <a:pt x="269" y="47"/>
                        </a:lnTo>
                        <a:lnTo>
                          <a:pt x="267" y="55"/>
                        </a:lnTo>
                        <a:lnTo>
                          <a:pt x="266" y="63"/>
                        </a:lnTo>
                        <a:lnTo>
                          <a:pt x="265" y="66"/>
                        </a:lnTo>
                        <a:lnTo>
                          <a:pt x="264" y="68"/>
                        </a:lnTo>
                        <a:lnTo>
                          <a:pt x="261" y="69"/>
                        </a:lnTo>
                        <a:lnTo>
                          <a:pt x="259" y="70"/>
                        </a:lnTo>
                        <a:lnTo>
                          <a:pt x="254" y="75"/>
                        </a:lnTo>
                        <a:lnTo>
                          <a:pt x="252" y="73"/>
                        </a:lnTo>
                        <a:lnTo>
                          <a:pt x="249" y="70"/>
                        </a:lnTo>
                        <a:lnTo>
                          <a:pt x="245" y="68"/>
                        </a:lnTo>
                        <a:lnTo>
                          <a:pt x="242" y="68"/>
                        </a:lnTo>
                        <a:lnTo>
                          <a:pt x="240" y="68"/>
                        </a:lnTo>
                        <a:lnTo>
                          <a:pt x="238" y="69"/>
                        </a:lnTo>
                        <a:lnTo>
                          <a:pt x="237" y="71"/>
                        </a:lnTo>
                        <a:lnTo>
                          <a:pt x="235" y="72"/>
                        </a:lnTo>
                        <a:lnTo>
                          <a:pt x="232" y="75"/>
                        </a:lnTo>
                        <a:lnTo>
                          <a:pt x="229" y="78"/>
                        </a:lnTo>
                        <a:lnTo>
                          <a:pt x="229" y="79"/>
                        </a:lnTo>
                        <a:lnTo>
                          <a:pt x="228" y="82"/>
                        </a:lnTo>
                        <a:lnTo>
                          <a:pt x="227" y="90"/>
                        </a:lnTo>
                        <a:lnTo>
                          <a:pt x="226" y="94"/>
                        </a:lnTo>
                        <a:lnTo>
                          <a:pt x="225" y="97"/>
                        </a:lnTo>
                        <a:lnTo>
                          <a:pt x="223" y="100"/>
                        </a:lnTo>
                        <a:lnTo>
                          <a:pt x="222" y="101"/>
                        </a:lnTo>
                        <a:lnTo>
                          <a:pt x="222" y="103"/>
                        </a:lnTo>
                        <a:lnTo>
                          <a:pt x="221" y="106"/>
                        </a:lnTo>
                        <a:lnTo>
                          <a:pt x="219" y="109"/>
                        </a:lnTo>
                        <a:lnTo>
                          <a:pt x="219" y="110"/>
                        </a:lnTo>
                        <a:lnTo>
                          <a:pt x="217" y="110"/>
                        </a:lnTo>
                        <a:lnTo>
                          <a:pt x="216" y="110"/>
                        </a:lnTo>
                        <a:lnTo>
                          <a:pt x="214" y="110"/>
                        </a:lnTo>
                        <a:lnTo>
                          <a:pt x="212" y="110"/>
                        </a:lnTo>
                        <a:lnTo>
                          <a:pt x="212" y="112"/>
                        </a:lnTo>
                        <a:lnTo>
                          <a:pt x="210" y="113"/>
                        </a:lnTo>
                        <a:lnTo>
                          <a:pt x="209" y="114"/>
                        </a:lnTo>
                        <a:lnTo>
                          <a:pt x="209" y="116"/>
                        </a:lnTo>
                        <a:lnTo>
                          <a:pt x="207" y="119"/>
                        </a:lnTo>
                        <a:lnTo>
                          <a:pt x="208" y="121"/>
                        </a:lnTo>
                        <a:lnTo>
                          <a:pt x="210" y="124"/>
                        </a:lnTo>
                        <a:lnTo>
                          <a:pt x="212" y="127"/>
                        </a:lnTo>
                        <a:lnTo>
                          <a:pt x="214" y="129"/>
                        </a:lnTo>
                        <a:lnTo>
                          <a:pt x="216" y="132"/>
                        </a:lnTo>
                        <a:lnTo>
                          <a:pt x="217" y="136"/>
                        </a:lnTo>
                        <a:lnTo>
                          <a:pt x="219" y="139"/>
                        </a:lnTo>
                        <a:lnTo>
                          <a:pt x="218" y="141"/>
                        </a:lnTo>
                        <a:lnTo>
                          <a:pt x="216" y="144"/>
                        </a:lnTo>
                        <a:lnTo>
                          <a:pt x="213" y="147"/>
                        </a:lnTo>
                        <a:lnTo>
                          <a:pt x="212" y="149"/>
                        </a:lnTo>
                        <a:lnTo>
                          <a:pt x="211" y="150"/>
                        </a:lnTo>
                        <a:lnTo>
                          <a:pt x="207" y="151"/>
                        </a:lnTo>
                        <a:lnTo>
                          <a:pt x="205" y="154"/>
                        </a:lnTo>
                        <a:lnTo>
                          <a:pt x="203" y="155"/>
                        </a:lnTo>
                        <a:lnTo>
                          <a:pt x="203" y="158"/>
                        </a:lnTo>
                        <a:lnTo>
                          <a:pt x="203" y="160"/>
                        </a:lnTo>
                        <a:lnTo>
                          <a:pt x="202" y="161"/>
                        </a:lnTo>
                        <a:lnTo>
                          <a:pt x="200" y="165"/>
                        </a:lnTo>
                        <a:lnTo>
                          <a:pt x="198" y="167"/>
                        </a:lnTo>
                        <a:lnTo>
                          <a:pt x="196" y="168"/>
                        </a:lnTo>
                        <a:lnTo>
                          <a:pt x="195" y="170"/>
                        </a:lnTo>
                        <a:lnTo>
                          <a:pt x="193" y="172"/>
                        </a:lnTo>
                        <a:lnTo>
                          <a:pt x="188" y="175"/>
                        </a:lnTo>
                        <a:lnTo>
                          <a:pt x="184" y="179"/>
                        </a:lnTo>
                        <a:lnTo>
                          <a:pt x="182" y="183"/>
                        </a:lnTo>
                        <a:lnTo>
                          <a:pt x="183" y="187"/>
                        </a:lnTo>
                        <a:lnTo>
                          <a:pt x="183" y="189"/>
                        </a:lnTo>
                        <a:lnTo>
                          <a:pt x="183" y="192"/>
                        </a:lnTo>
                        <a:lnTo>
                          <a:pt x="183" y="199"/>
                        </a:lnTo>
                        <a:lnTo>
                          <a:pt x="183" y="204"/>
                        </a:lnTo>
                        <a:lnTo>
                          <a:pt x="183" y="206"/>
                        </a:lnTo>
                        <a:lnTo>
                          <a:pt x="180" y="208"/>
                        </a:lnTo>
                        <a:lnTo>
                          <a:pt x="176" y="210"/>
                        </a:lnTo>
                        <a:lnTo>
                          <a:pt x="171" y="212"/>
                        </a:lnTo>
                        <a:lnTo>
                          <a:pt x="167" y="213"/>
                        </a:lnTo>
                        <a:lnTo>
                          <a:pt x="165" y="213"/>
                        </a:lnTo>
                        <a:lnTo>
                          <a:pt x="163" y="212"/>
                        </a:lnTo>
                        <a:lnTo>
                          <a:pt x="161" y="212"/>
                        </a:lnTo>
                        <a:lnTo>
                          <a:pt x="158" y="213"/>
                        </a:lnTo>
                        <a:lnTo>
                          <a:pt x="156" y="214"/>
                        </a:lnTo>
                        <a:lnTo>
                          <a:pt x="155" y="216"/>
                        </a:lnTo>
                        <a:lnTo>
                          <a:pt x="155" y="220"/>
                        </a:lnTo>
                        <a:lnTo>
                          <a:pt x="155" y="226"/>
                        </a:lnTo>
                        <a:lnTo>
                          <a:pt x="156" y="229"/>
                        </a:lnTo>
                        <a:lnTo>
                          <a:pt x="156" y="233"/>
                        </a:lnTo>
                        <a:lnTo>
                          <a:pt x="156" y="242"/>
                        </a:lnTo>
                        <a:lnTo>
                          <a:pt x="155" y="251"/>
                        </a:lnTo>
                        <a:lnTo>
                          <a:pt x="155" y="255"/>
                        </a:lnTo>
                        <a:lnTo>
                          <a:pt x="155" y="258"/>
                        </a:lnTo>
                        <a:lnTo>
                          <a:pt x="155" y="262"/>
                        </a:lnTo>
                        <a:lnTo>
                          <a:pt x="154" y="267"/>
                        </a:lnTo>
                        <a:lnTo>
                          <a:pt x="153" y="271"/>
                        </a:lnTo>
                        <a:lnTo>
                          <a:pt x="151" y="274"/>
                        </a:lnTo>
                        <a:lnTo>
                          <a:pt x="147" y="280"/>
                        </a:lnTo>
                        <a:lnTo>
                          <a:pt x="143" y="286"/>
                        </a:lnTo>
                        <a:lnTo>
                          <a:pt x="135" y="299"/>
                        </a:lnTo>
                        <a:lnTo>
                          <a:pt x="133" y="306"/>
                        </a:lnTo>
                        <a:lnTo>
                          <a:pt x="130" y="312"/>
                        </a:lnTo>
                        <a:lnTo>
                          <a:pt x="127" y="317"/>
                        </a:lnTo>
                        <a:lnTo>
                          <a:pt x="126" y="319"/>
                        </a:lnTo>
                        <a:lnTo>
                          <a:pt x="124" y="321"/>
                        </a:lnTo>
                        <a:lnTo>
                          <a:pt x="125" y="322"/>
                        </a:lnTo>
                        <a:lnTo>
                          <a:pt x="126" y="324"/>
                        </a:lnTo>
                        <a:lnTo>
                          <a:pt x="129" y="326"/>
                        </a:lnTo>
                        <a:lnTo>
                          <a:pt x="131" y="328"/>
                        </a:lnTo>
                        <a:lnTo>
                          <a:pt x="134" y="329"/>
                        </a:lnTo>
                        <a:lnTo>
                          <a:pt x="135" y="332"/>
                        </a:lnTo>
                        <a:lnTo>
                          <a:pt x="138" y="336"/>
                        </a:lnTo>
                        <a:lnTo>
                          <a:pt x="141" y="340"/>
                        </a:lnTo>
                        <a:lnTo>
                          <a:pt x="142" y="344"/>
                        </a:lnTo>
                        <a:lnTo>
                          <a:pt x="140" y="348"/>
                        </a:lnTo>
                        <a:lnTo>
                          <a:pt x="138" y="355"/>
                        </a:lnTo>
                        <a:lnTo>
                          <a:pt x="137" y="360"/>
                        </a:lnTo>
                        <a:lnTo>
                          <a:pt x="136" y="366"/>
                        </a:lnTo>
                        <a:lnTo>
                          <a:pt x="134" y="369"/>
                        </a:lnTo>
                        <a:lnTo>
                          <a:pt x="132" y="371"/>
                        </a:lnTo>
                        <a:lnTo>
                          <a:pt x="127" y="367"/>
                        </a:lnTo>
                        <a:lnTo>
                          <a:pt x="123" y="366"/>
                        </a:lnTo>
                        <a:lnTo>
                          <a:pt x="119" y="365"/>
                        </a:lnTo>
                        <a:lnTo>
                          <a:pt x="116" y="363"/>
                        </a:lnTo>
                        <a:lnTo>
                          <a:pt x="113" y="362"/>
                        </a:lnTo>
                        <a:lnTo>
                          <a:pt x="110" y="362"/>
                        </a:lnTo>
                        <a:lnTo>
                          <a:pt x="106" y="362"/>
                        </a:lnTo>
                        <a:lnTo>
                          <a:pt x="101" y="362"/>
                        </a:lnTo>
                        <a:lnTo>
                          <a:pt x="99" y="363"/>
                        </a:lnTo>
                        <a:lnTo>
                          <a:pt x="96" y="365"/>
                        </a:lnTo>
                        <a:lnTo>
                          <a:pt x="94" y="365"/>
                        </a:lnTo>
                        <a:lnTo>
                          <a:pt x="91" y="367"/>
                        </a:lnTo>
                        <a:lnTo>
                          <a:pt x="89" y="367"/>
                        </a:lnTo>
                        <a:lnTo>
                          <a:pt x="86" y="367"/>
                        </a:lnTo>
                        <a:lnTo>
                          <a:pt x="77" y="377"/>
                        </a:lnTo>
                        <a:lnTo>
                          <a:pt x="75" y="379"/>
                        </a:lnTo>
                        <a:lnTo>
                          <a:pt x="74" y="381"/>
                        </a:lnTo>
                        <a:lnTo>
                          <a:pt x="72" y="382"/>
                        </a:lnTo>
                        <a:lnTo>
                          <a:pt x="70" y="384"/>
                        </a:lnTo>
                        <a:lnTo>
                          <a:pt x="68" y="386"/>
                        </a:lnTo>
                        <a:lnTo>
                          <a:pt x="66" y="387"/>
                        </a:lnTo>
                        <a:lnTo>
                          <a:pt x="64" y="389"/>
                        </a:lnTo>
                        <a:lnTo>
                          <a:pt x="64" y="391"/>
                        </a:lnTo>
                        <a:lnTo>
                          <a:pt x="64" y="392"/>
                        </a:lnTo>
                        <a:lnTo>
                          <a:pt x="65" y="395"/>
                        </a:lnTo>
                        <a:lnTo>
                          <a:pt x="65" y="397"/>
                        </a:lnTo>
                        <a:lnTo>
                          <a:pt x="64" y="400"/>
                        </a:lnTo>
                        <a:lnTo>
                          <a:pt x="63" y="402"/>
                        </a:lnTo>
                        <a:lnTo>
                          <a:pt x="62" y="403"/>
                        </a:lnTo>
                        <a:lnTo>
                          <a:pt x="60" y="405"/>
                        </a:lnTo>
                        <a:lnTo>
                          <a:pt x="58" y="407"/>
                        </a:lnTo>
                        <a:lnTo>
                          <a:pt x="59" y="409"/>
                        </a:lnTo>
                        <a:lnTo>
                          <a:pt x="61" y="412"/>
                        </a:lnTo>
                        <a:lnTo>
                          <a:pt x="63" y="415"/>
                        </a:lnTo>
                        <a:lnTo>
                          <a:pt x="64" y="419"/>
                        </a:lnTo>
                        <a:lnTo>
                          <a:pt x="64" y="424"/>
                        </a:lnTo>
                        <a:lnTo>
                          <a:pt x="64" y="425"/>
                        </a:lnTo>
                        <a:lnTo>
                          <a:pt x="64" y="426"/>
                        </a:lnTo>
                        <a:lnTo>
                          <a:pt x="62" y="431"/>
                        </a:lnTo>
                        <a:lnTo>
                          <a:pt x="62" y="436"/>
                        </a:lnTo>
                        <a:lnTo>
                          <a:pt x="61" y="445"/>
                        </a:lnTo>
                        <a:lnTo>
                          <a:pt x="61" y="446"/>
                        </a:lnTo>
                        <a:lnTo>
                          <a:pt x="60" y="447"/>
                        </a:lnTo>
                        <a:lnTo>
                          <a:pt x="58" y="449"/>
                        </a:lnTo>
                        <a:lnTo>
                          <a:pt x="58" y="452"/>
                        </a:lnTo>
                        <a:lnTo>
                          <a:pt x="59" y="458"/>
                        </a:lnTo>
                        <a:lnTo>
                          <a:pt x="61" y="463"/>
                        </a:lnTo>
                        <a:lnTo>
                          <a:pt x="63" y="469"/>
                        </a:lnTo>
                        <a:lnTo>
                          <a:pt x="63" y="470"/>
                        </a:lnTo>
                        <a:lnTo>
                          <a:pt x="64" y="471"/>
                        </a:lnTo>
                        <a:lnTo>
                          <a:pt x="65" y="474"/>
                        </a:lnTo>
                        <a:lnTo>
                          <a:pt x="65" y="480"/>
                        </a:lnTo>
                        <a:lnTo>
                          <a:pt x="64" y="486"/>
                        </a:lnTo>
                        <a:lnTo>
                          <a:pt x="63" y="492"/>
                        </a:lnTo>
                        <a:lnTo>
                          <a:pt x="61" y="506"/>
                        </a:lnTo>
                        <a:lnTo>
                          <a:pt x="59" y="511"/>
                        </a:lnTo>
                        <a:lnTo>
                          <a:pt x="58" y="516"/>
                        </a:lnTo>
                        <a:lnTo>
                          <a:pt x="60" y="520"/>
                        </a:lnTo>
                        <a:lnTo>
                          <a:pt x="62" y="526"/>
                        </a:lnTo>
                        <a:lnTo>
                          <a:pt x="67" y="532"/>
                        </a:lnTo>
                        <a:lnTo>
                          <a:pt x="70" y="535"/>
                        </a:lnTo>
                        <a:lnTo>
                          <a:pt x="71" y="536"/>
                        </a:lnTo>
                        <a:lnTo>
                          <a:pt x="74" y="536"/>
                        </a:lnTo>
                        <a:lnTo>
                          <a:pt x="76" y="535"/>
                        </a:lnTo>
                        <a:lnTo>
                          <a:pt x="77" y="535"/>
                        </a:lnTo>
                        <a:lnTo>
                          <a:pt x="80" y="542"/>
                        </a:lnTo>
                        <a:lnTo>
                          <a:pt x="82" y="549"/>
                        </a:lnTo>
                        <a:lnTo>
                          <a:pt x="83" y="555"/>
                        </a:lnTo>
                        <a:lnTo>
                          <a:pt x="84" y="558"/>
                        </a:lnTo>
                        <a:lnTo>
                          <a:pt x="84" y="559"/>
                        </a:lnTo>
                        <a:lnTo>
                          <a:pt x="83" y="562"/>
                        </a:lnTo>
                        <a:lnTo>
                          <a:pt x="80" y="569"/>
                        </a:lnTo>
                        <a:lnTo>
                          <a:pt x="77" y="575"/>
                        </a:lnTo>
                        <a:lnTo>
                          <a:pt x="75" y="577"/>
                        </a:lnTo>
                        <a:lnTo>
                          <a:pt x="74" y="578"/>
                        </a:lnTo>
                        <a:lnTo>
                          <a:pt x="66" y="576"/>
                        </a:lnTo>
                        <a:lnTo>
                          <a:pt x="61" y="577"/>
                        </a:lnTo>
                        <a:lnTo>
                          <a:pt x="56" y="579"/>
                        </a:lnTo>
                        <a:lnTo>
                          <a:pt x="55" y="581"/>
                        </a:lnTo>
                        <a:lnTo>
                          <a:pt x="55" y="582"/>
                        </a:lnTo>
                        <a:lnTo>
                          <a:pt x="55" y="583"/>
                        </a:lnTo>
                        <a:lnTo>
                          <a:pt x="55" y="587"/>
                        </a:lnTo>
                        <a:lnTo>
                          <a:pt x="57" y="591"/>
                        </a:lnTo>
                        <a:lnTo>
                          <a:pt x="59" y="595"/>
                        </a:lnTo>
                        <a:lnTo>
                          <a:pt x="61" y="599"/>
                        </a:lnTo>
                        <a:lnTo>
                          <a:pt x="61" y="603"/>
                        </a:lnTo>
                        <a:lnTo>
                          <a:pt x="62" y="607"/>
                        </a:lnTo>
                        <a:lnTo>
                          <a:pt x="62" y="611"/>
                        </a:lnTo>
                        <a:lnTo>
                          <a:pt x="62" y="615"/>
                        </a:lnTo>
                        <a:lnTo>
                          <a:pt x="61" y="619"/>
                        </a:lnTo>
                        <a:lnTo>
                          <a:pt x="60" y="622"/>
                        </a:lnTo>
                        <a:lnTo>
                          <a:pt x="58" y="624"/>
                        </a:lnTo>
                        <a:lnTo>
                          <a:pt x="56" y="627"/>
                        </a:lnTo>
                        <a:lnTo>
                          <a:pt x="55" y="629"/>
                        </a:lnTo>
                        <a:lnTo>
                          <a:pt x="53" y="632"/>
                        </a:lnTo>
                        <a:lnTo>
                          <a:pt x="51" y="635"/>
                        </a:lnTo>
                        <a:lnTo>
                          <a:pt x="50" y="636"/>
                        </a:lnTo>
                        <a:lnTo>
                          <a:pt x="48" y="638"/>
                        </a:lnTo>
                        <a:lnTo>
                          <a:pt x="48" y="643"/>
                        </a:lnTo>
                        <a:lnTo>
                          <a:pt x="47" y="648"/>
                        </a:lnTo>
                        <a:lnTo>
                          <a:pt x="45" y="652"/>
                        </a:lnTo>
                        <a:lnTo>
                          <a:pt x="41" y="655"/>
                        </a:lnTo>
                        <a:lnTo>
                          <a:pt x="39" y="656"/>
                        </a:lnTo>
                        <a:lnTo>
                          <a:pt x="37" y="656"/>
                        </a:lnTo>
                        <a:lnTo>
                          <a:pt x="35" y="656"/>
                        </a:lnTo>
                        <a:lnTo>
                          <a:pt x="32" y="658"/>
                        </a:lnTo>
                        <a:lnTo>
                          <a:pt x="33" y="660"/>
                        </a:lnTo>
                        <a:lnTo>
                          <a:pt x="34" y="663"/>
                        </a:lnTo>
                        <a:lnTo>
                          <a:pt x="35" y="665"/>
                        </a:lnTo>
                        <a:lnTo>
                          <a:pt x="35" y="668"/>
                        </a:lnTo>
                        <a:lnTo>
                          <a:pt x="33" y="669"/>
                        </a:lnTo>
                        <a:lnTo>
                          <a:pt x="31" y="669"/>
                        </a:lnTo>
                        <a:lnTo>
                          <a:pt x="29" y="670"/>
                        </a:lnTo>
                        <a:lnTo>
                          <a:pt x="29" y="671"/>
                        </a:lnTo>
                        <a:lnTo>
                          <a:pt x="27" y="674"/>
                        </a:lnTo>
                        <a:lnTo>
                          <a:pt x="26" y="676"/>
                        </a:lnTo>
                        <a:lnTo>
                          <a:pt x="26" y="680"/>
                        </a:lnTo>
                        <a:lnTo>
                          <a:pt x="26" y="687"/>
                        </a:lnTo>
                        <a:lnTo>
                          <a:pt x="25" y="693"/>
                        </a:lnTo>
                        <a:lnTo>
                          <a:pt x="26" y="704"/>
                        </a:lnTo>
                        <a:lnTo>
                          <a:pt x="27" y="714"/>
                        </a:lnTo>
                        <a:lnTo>
                          <a:pt x="27" y="719"/>
                        </a:lnTo>
                        <a:lnTo>
                          <a:pt x="25" y="723"/>
                        </a:lnTo>
                        <a:lnTo>
                          <a:pt x="23" y="725"/>
                        </a:lnTo>
                        <a:lnTo>
                          <a:pt x="19" y="726"/>
                        </a:lnTo>
                        <a:lnTo>
                          <a:pt x="17" y="723"/>
                        </a:lnTo>
                        <a:lnTo>
                          <a:pt x="15" y="720"/>
                        </a:lnTo>
                        <a:lnTo>
                          <a:pt x="14" y="717"/>
                        </a:lnTo>
                        <a:lnTo>
                          <a:pt x="13" y="716"/>
                        </a:lnTo>
                        <a:lnTo>
                          <a:pt x="10" y="717"/>
                        </a:lnTo>
                        <a:lnTo>
                          <a:pt x="8" y="718"/>
                        </a:lnTo>
                        <a:lnTo>
                          <a:pt x="3" y="723"/>
                        </a:lnTo>
                        <a:lnTo>
                          <a:pt x="3" y="728"/>
                        </a:lnTo>
                        <a:lnTo>
                          <a:pt x="3" y="733"/>
                        </a:lnTo>
                        <a:lnTo>
                          <a:pt x="3" y="741"/>
                        </a:lnTo>
                        <a:lnTo>
                          <a:pt x="3" y="749"/>
                        </a:lnTo>
                        <a:lnTo>
                          <a:pt x="3" y="756"/>
                        </a:lnTo>
                        <a:lnTo>
                          <a:pt x="3" y="763"/>
                        </a:lnTo>
                        <a:lnTo>
                          <a:pt x="3" y="768"/>
                        </a:lnTo>
                        <a:lnTo>
                          <a:pt x="3" y="771"/>
                        </a:lnTo>
                        <a:lnTo>
                          <a:pt x="2" y="771"/>
                        </a:lnTo>
                        <a:lnTo>
                          <a:pt x="1" y="771"/>
                        </a:lnTo>
                        <a:lnTo>
                          <a:pt x="0" y="771"/>
                        </a:lnTo>
                        <a:lnTo>
                          <a:pt x="0" y="772"/>
                        </a:lnTo>
                        <a:lnTo>
                          <a:pt x="0" y="773"/>
                        </a:lnTo>
                        <a:lnTo>
                          <a:pt x="0" y="774"/>
                        </a:lnTo>
                        <a:lnTo>
                          <a:pt x="3" y="776"/>
                        </a:lnTo>
                        <a:lnTo>
                          <a:pt x="8" y="780"/>
                        </a:lnTo>
                        <a:lnTo>
                          <a:pt x="11" y="782"/>
                        </a:lnTo>
                        <a:lnTo>
                          <a:pt x="13" y="784"/>
                        </a:lnTo>
                        <a:lnTo>
                          <a:pt x="14" y="784"/>
                        </a:lnTo>
                        <a:lnTo>
                          <a:pt x="16" y="784"/>
                        </a:lnTo>
                        <a:lnTo>
                          <a:pt x="18" y="781"/>
                        </a:lnTo>
                        <a:lnTo>
                          <a:pt x="20" y="778"/>
                        </a:lnTo>
                        <a:lnTo>
                          <a:pt x="22" y="777"/>
                        </a:lnTo>
                        <a:lnTo>
                          <a:pt x="25" y="777"/>
                        </a:lnTo>
                        <a:lnTo>
                          <a:pt x="25" y="778"/>
                        </a:lnTo>
                        <a:lnTo>
                          <a:pt x="25" y="780"/>
                        </a:lnTo>
                        <a:lnTo>
                          <a:pt x="27" y="780"/>
                        </a:lnTo>
                        <a:lnTo>
                          <a:pt x="29" y="780"/>
                        </a:lnTo>
                        <a:lnTo>
                          <a:pt x="30" y="780"/>
                        </a:lnTo>
                        <a:lnTo>
                          <a:pt x="32" y="780"/>
                        </a:lnTo>
                        <a:lnTo>
                          <a:pt x="32" y="785"/>
                        </a:lnTo>
                        <a:lnTo>
                          <a:pt x="32" y="788"/>
                        </a:lnTo>
                        <a:lnTo>
                          <a:pt x="32" y="794"/>
                        </a:lnTo>
                        <a:lnTo>
                          <a:pt x="32" y="796"/>
                        </a:lnTo>
                        <a:lnTo>
                          <a:pt x="30" y="797"/>
                        </a:lnTo>
                        <a:lnTo>
                          <a:pt x="29" y="798"/>
                        </a:lnTo>
                        <a:lnTo>
                          <a:pt x="29" y="800"/>
                        </a:lnTo>
                        <a:lnTo>
                          <a:pt x="29" y="801"/>
                        </a:lnTo>
                        <a:lnTo>
                          <a:pt x="29" y="802"/>
                        </a:lnTo>
                        <a:lnTo>
                          <a:pt x="29" y="803"/>
                        </a:lnTo>
                        <a:lnTo>
                          <a:pt x="25" y="803"/>
                        </a:lnTo>
                        <a:lnTo>
                          <a:pt x="25" y="807"/>
                        </a:lnTo>
                        <a:lnTo>
                          <a:pt x="25" y="811"/>
                        </a:lnTo>
                        <a:lnTo>
                          <a:pt x="25" y="815"/>
                        </a:lnTo>
                        <a:lnTo>
                          <a:pt x="25" y="819"/>
                        </a:lnTo>
                        <a:lnTo>
                          <a:pt x="25" y="823"/>
                        </a:lnTo>
                        <a:lnTo>
                          <a:pt x="24" y="824"/>
                        </a:lnTo>
                        <a:lnTo>
                          <a:pt x="24" y="825"/>
                        </a:lnTo>
                        <a:lnTo>
                          <a:pt x="25" y="825"/>
                        </a:lnTo>
                        <a:lnTo>
                          <a:pt x="25" y="845"/>
                        </a:lnTo>
                        <a:lnTo>
                          <a:pt x="26" y="848"/>
                        </a:lnTo>
                        <a:lnTo>
                          <a:pt x="27" y="849"/>
                        </a:lnTo>
                        <a:lnTo>
                          <a:pt x="28" y="852"/>
                        </a:lnTo>
                        <a:lnTo>
                          <a:pt x="29" y="854"/>
                        </a:lnTo>
                        <a:lnTo>
                          <a:pt x="31" y="854"/>
                        </a:lnTo>
                        <a:lnTo>
                          <a:pt x="32" y="854"/>
                        </a:lnTo>
                        <a:lnTo>
                          <a:pt x="34" y="854"/>
                        </a:lnTo>
                        <a:lnTo>
                          <a:pt x="35" y="854"/>
                        </a:lnTo>
                        <a:lnTo>
                          <a:pt x="35" y="863"/>
                        </a:lnTo>
                        <a:lnTo>
                          <a:pt x="36" y="869"/>
                        </a:lnTo>
                        <a:lnTo>
                          <a:pt x="38" y="874"/>
                        </a:lnTo>
                        <a:lnTo>
                          <a:pt x="41" y="880"/>
                        </a:lnTo>
                        <a:lnTo>
                          <a:pt x="41" y="882"/>
                        </a:lnTo>
                        <a:lnTo>
                          <a:pt x="41" y="884"/>
                        </a:lnTo>
                        <a:lnTo>
                          <a:pt x="41" y="885"/>
                        </a:lnTo>
                        <a:lnTo>
                          <a:pt x="41" y="887"/>
                        </a:lnTo>
                        <a:lnTo>
                          <a:pt x="42" y="889"/>
                        </a:lnTo>
                        <a:lnTo>
                          <a:pt x="45" y="890"/>
                        </a:lnTo>
                        <a:lnTo>
                          <a:pt x="47" y="890"/>
                        </a:lnTo>
                        <a:lnTo>
                          <a:pt x="48" y="890"/>
                        </a:lnTo>
                        <a:lnTo>
                          <a:pt x="50" y="895"/>
                        </a:lnTo>
                        <a:lnTo>
                          <a:pt x="51" y="899"/>
                        </a:lnTo>
                        <a:lnTo>
                          <a:pt x="51" y="909"/>
                        </a:lnTo>
                        <a:lnTo>
                          <a:pt x="52" y="909"/>
                        </a:lnTo>
                        <a:lnTo>
                          <a:pt x="55" y="909"/>
                        </a:lnTo>
                        <a:lnTo>
                          <a:pt x="57" y="909"/>
                        </a:lnTo>
                        <a:lnTo>
                          <a:pt x="58" y="909"/>
                        </a:lnTo>
                        <a:lnTo>
                          <a:pt x="61" y="909"/>
                        </a:lnTo>
                        <a:lnTo>
                          <a:pt x="61" y="912"/>
                        </a:lnTo>
                        <a:lnTo>
                          <a:pt x="61" y="916"/>
                        </a:lnTo>
                        <a:lnTo>
                          <a:pt x="61" y="918"/>
                        </a:lnTo>
                        <a:lnTo>
                          <a:pt x="61" y="920"/>
                        </a:lnTo>
                        <a:lnTo>
                          <a:pt x="62" y="920"/>
                        </a:lnTo>
                        <a:lnTo>
                          <a:pt x="63" y="920"/>
                        </a:lnTo>
                        <a:lnTo>
                          <a:pt x="64" y="922"/>
                        </a:lnTo>
                        <a:lnTo>
                          <a:pt x="62" y="922"/>
                        </a:lnTo>
                        <a:lnTo>
                          <a:pt x="61" y="922"/>
                        </a:lnTo>
                        <a:lnTo>
                          <a:pt x="60" y="923"/>
                        </a:lnTo>
                        <a:lnTo>
                          <a:pt x="58" y="925"/>
                        </a:lnTo>
                        <a:lnTo>
                          <a:pt x="58" y="922"/>
                        </a:lnTo>
                        <a:lnTo>
                          <a:pt x="55" y="922"/>
                        </a:lnTo>
                        <a:lnTo>
                          <a:pt x="53" y="923"/>
                        </a:lnTo>
                        <a:lnTo>
                          <a:pt x="51" y="924"/>
                        </a:lnTo>
                        <a:lnTo>
                          <a:pt x="52" y="928"/>
                        </a:lnTo>
                        <a:lnTo>
                          <a:pt x="55" y="932"/>
                        </a:lnTo>
                        <a:lnTo>
                          <a:pt x="57" y="935"/>
                        </a:lnTo>
                        <a:lnTo>
                          <a:pt x="58" y="938"/>
                        </a:lnTo>
                        <a:lnTo>
                          <a:pt x="58" y="941"/>
                        </a:lnTo>
                        <a:lnTo>
                          <a:pt x="58" y="942"/>
                        </a:lnTo>
                        <a:lnTo>
                          <a:pt x="57" y="942"/>
                        </a:lnTo>
                        <a:lnTo>
                          <a:pt x="56" y="942"/>
                        </a:lnTo>
                        <a:lnTo>
                          <a:pt x="55" y="942"/>
                        </a:lnTo>
                        <a:lnTo>
                          <a:pt x="54" y="942"/>
                        </a:lnTo>
                        <a:lnTo>
                          <a:pt x="53" y="942"/>
                        </a:lnTo>
                        <a:lnTo>
                          <a:pt x="52" y="942"/>
                        </a:lnTo>
                        <a:lnTo>
                          <a:pt x="51" y="942"/>
                        </a:lnTo>
                        <a:lnTo>
                          <a:pt x="47" y="939"/>
                        </a:lnTo>
                        <a:lnTo>
                          <a:pt x="45" y="939"/>
                        </a:lnTo>
                        <a:lnTo>
                          <a:pt x="44" y="940"/>
                        </a:lnTo>
                        <a:lnTo>
                          <a:pt x="45" y="942"/>
                        </a:lnTo>
                        <a:lnTo>
                          <a:pt x="48" y="948"/>
                        </a:lnTo>
                        <a:lnTo>
                          <a:pt x="51" y="954"/>
                        </a:lnTo>
                        <a:lnTo>
                          <a:pt x="51" y="955"/>
                        </a:lnTo>
                        <a:lnTo>
                          <a:pt x="51" y="956"/>
                        </a:lnTo>
                        <a:lnTo>
                          <a:pt x="51" y="957"/>
                        </a:lnTo>
                        <a:lnTo>
                          <a:pt x="51" y="958"/>
                        </a:lnTo>
                        <a:lnTo>
                          <a:pt x="53" y="961"/>
                        </a:lnTo>
                        <a:lnTo>
                          <a:pt x="56" y="965"/>
                        </a:lnTo>
                        <a:lnTo>
                          <a:pt x="60" y="968"/>
                        </a:lnTo>
                        <a:lnTo>
                          <a:pt x="61" y="970"/>
                        </a:lnTo>
                        <a:lnTo>
                          <a:pt x="61" y="971"/>
                        </a:lnTo>
                        <a:lnTo>
                          <a:pt x="60" y="972"/>
                        </a:lnTo>
                        <a:lnTo>
                          <a:pt x="60" y="973"/>
                        </a:lnTo>
                        <a:lnTo>
                          <a:pt x="61" y="974"/>
                        </a:lnTo>
                        <a:lnTo>
                          <a:pt x="61" y="984"/>
                        </a:lnTo>
                        <a:lnTo>
                          <a:pt x="60" y="984"/>
                        </a:lnTo>
                        <a:lnTo>
                          <a:pt x="58" y="984"/>
                        </a:lnTo>
                        <a:lnTo>
                          <a:pt x="58" y="985"/>
                        </a:lnTo>
                        <a:lnTo>
                          <a:pt x="58" y="987"/>
                        </a:lnTo>
                        <a:lnTo>
                          <a:pt x="58" y="989"/>
                        </a:lnTo>
                        <a:lnTo>
                          <a:pt x="58" y="990"/>
                        </a:lnTo>
                        <a:lnTo>
                          <a:pt x="57" y="992"/>
                        </a:lnTo>
                        <a:lnTo>
                          <a:pt x="57" y="994"/>
                        </a:lnTo>
                        <a:lnTo>
                          <a:pt x="58" y="996"/>
                        </a:lnTo>
                        <a:lnTo>
                          <a:pt x="57" y="998"/>
                        </a:lnTo>
                        <a:lnTo>
                          <a:pt x="56" y="999"/>
                        </a:lnTo>
                        <a:lnTo>
                          <a:pt x="55" y="999"/>
                        </a:lnTo>
                        <a:lnTo>
                          <a:pt x="55" y="1000"/>
                        </a:lnTo>
                        <a:lnTo>
                          <a:pt x="55" y="1001"/>
                        </a:lnTo>
                        <a:lnTo>
                          <a:pt x="55" y="999"/>
                        </a:lnTo>
                        <a:lnTo>
                          <a:pt x="55" y="1000"/>
                        </a:lnTo>
                        <a:lnTo>
                          <a:pt x="56" y="1001"/>
                        </a:lnTo>
                        <a:lnTo>
                          <a:pt x="57" y="1002"/>
                        </a:lnTo>
                        <a:lnTo>
                          <a:pt x="58" y="1003"/>
                        </a:lnTo>
                        <a:lnTo>
                          <a:pt x="62" y="1005"/>
                        </a:lnTo>
                        <a:lnTo>
                          <a:pt x="68" y="1007"/>
                        </a:lnTo>
                        <a:lnTo>
                          <a:pt x="76" y="1008"/>
                        </a:lnTo>
                        <a:lnTo>
                          <a:pt x="84" y="1006"/>
                        </a:lnTo>
                        <a:lnTo>
                          <a:pt x="86" y="1003"/>
                        </a:lnTo>
                        <a:lnTo>
                          <a:pt x="89" y="1003"/>
                        </a:lnTo>
                        <a:lnTo>
                          <a:pt x="91" y="1005"/>
                        </a:lnTo>
                        <a:lnTo>
                          <a:pt x="94" y="1006"/>
                        </a:lnTo>
                        <a:lnTo>
                          <a:pt x="96" y="1006"/>
                        </a:lnTo>
                        <a:lnTo>
                          <a:pt x="101" y="1006"/>
                        </a:lnTo>
                        <a:lnTo>
                          <a:pt x="102" y="1006"/>
                        </a:lnTo>
                        <a:lnTo>
                          <a:pt x="103" y="1006"/>
                        </a:lnTo>
                        <a:lnTo>
                          <a:pt x="103" y="1003"/>
                        </a:lnTo>
                        <a:lnTo>
                          <a:pt x="105" y="1003"/>
                        </a:lnTo>
                        <a:lnTo>
                          <a:pt x="106" y="1005"/>
                        </a:lnTo>
                        <a:lnTo>
                          <a:pt x="108" y="1006"/>
                        </a:lnTo>
                        <a:lnTo>
                          <a:pt x="110" y="1006"/>
                        </a:lnTo>
                        <a:lnTo>
                          <a:pt x="110" y="1005"/>
                        </a:lnTo>
                        <a:lnTo>
                          <a:pt x="112" y="1002"/>
                        </a:lnTo>
                        <a:lnTo>
                          <a:pt x="114" y="999"/>
                        </a:lnTo>
                        <a:lnTo>
                          <a:pt x="115" y="996"/>
                        </a:lnTo>
                        <a:lnTo>
                          <a:pt x="116" y="996"/>
                        </a:lnTo>
                        <a:lnTo>
                          <a:pt x="117" y="994"/>
                        </a:lnTo>
                        <a:lnTo>
                          <a:pt x="118" y="993"/>
                        </a:lnTo>
                        <a:lnTo>
                          <a:pt x="119" y="993"/>
                        </a:lnTo>
                        <a:lnTo>
                          <a:pt x="119" y="992"/>
                        </a:lnTo>
                        <a:lnTo>
                          <a:pt x="119" y="990"/>
                        </a:lnTo>
                        <a:lnTo>
                          <a:pt x="119" y="988"/>
                        </a:lnTo>
                        <a:lnTo>
                          <a:pt x="119" y="987"/>
                        </a:lnTo>
                        <a:lnTo>
                          <a:pt x="117" y="987"/>
                        </a:lnTo>
                        <a:lnTo>
                          <a:pt x="116" y="987"/>
                        </a:lnTo>
                        <a:lnTo>
                          <a:pt x="115" y="987"/>
                        </a:lnTo>
                        <a:lnTo>
                          <a:pt x="113" y="983"/>
                        </a:lnTo>
                        <a:lnTo>
                          <a:pt x="113" y="979"/>
                        </a:lnTo>
                        <a:lnTo>
                          <a:pt x="112" y="974"/>
                        </a:lnTo>
                        <a:lnTo>
                          <a:pt x="112" y="970"/>
                        </a:lnTo>
                        <a:lnTo>
                          <a:pt x="113" y="970"/>
                        </a:lnTo>
                        <a:lnTo>
                          <a:pt x="114" y="970"/>
                        </a:lnTo>
                        <a:lnTo>
                          <a:pt x="115" y="970"/>
                        </a:lnTo>
                        <a:lnTo>
                          <a:pt x="115" y="969"/>
                        </a:lnTo>
                        <a:lnTo>
                          <a:pt x="115" y="968"/>
                        </a:lnTo>
                        <a:lnTo>
                          <a:pt x="119" y="968"/>
                        </a:lnTo>
                        <a:lnTo>
                          <a:pt x="121" y="966"/>
                        </a:lnTo>
                        <a:lnTo>
                          <a:pt x="122" y="965"/>
                        </a:lnTo>
                        <a:lnTo>
                          <a:pt x="124" y="963"/>
                        </a:lnTo>
                        <a:lnTo>
                          <a:pt x="126" y="961"/>
                        </a:lnTo>
                        <a:lnTo>
                          <a:pt x="127" y="961"/>
                        </a:lnTo>
                        <a:lnTo>
                          <a:pt x="131" y="960"/>
                        </a:lnTo>
                        <a:lnTo>
                          <a:pt x="134" y="958"/>
                        </a:lnTo>
                        <a:lnTo>
                          <a:pt x="135" y="958"/>
                        </a:lnTo>
                        <a:lnTo>
                          <a:pt x="135" y="953"/>
                        </a:lnTo>
                        <a:lnTo>
                          <a:pt x="136" y="952"/>
                        </a:lnTo>
                        <a:lnTo>
                          <a:pt x="138" y="951"/>
                        </a:lnTo>
                        <a:lnTo>
                          <a:pt x="144" y="949"/>
                        </a:lnTo>
                        <a:lnTo>
                          <a:pt x="150" y="948"/>
                        </a:lnTo>
                        <a:lnTo>
                          <a:pt x="156" y="948"/>
                        </a:lnTo>
                        <a:lnTo>
                          <a:pt x="160" y="948"/>
                        </a:lnTo>
                        <a:lnTo>
                          <a:pt x="163" y="948"/>
                        </a:lnTo>
                        <a:lnTo>
                          <a:pt x="165" y="949"/>
                        </a:lnTo>
                        <a:lnTo>
                          <a:pt x="168" y="951"/>
                        </a:lnTo>
                        <a:lnTo>
                          <a:pt x="171" y="951"/>
                        </a:lnTo>
                        <a:lnTo>
                          <a:pt x="172" y="949"/>
                        </a:lnTo>
                        <a:lnTo>
                          <a:pt x="173" y="948"/>
                        </a:lnTo>
                        <a:lnTo>
                          <a:pt x="174" y="948"/>
                        </a:lnTo>
                        <a:lnTo>
                          <a:pt x="175" y="952"/>
                        </a:lnTo>
                        <a:lnTo>
                          <a:pt x="176" y="954"/>
                        </a:lnTo>
                        <a:lnTo>
                          <a:pt x="177" y="954"/>
                        </a:lnTo>
                        <a:lnTo>
                          <a:pt x="181" y="954"/>
                        </a:lnTo>
                        <a:lnTo>
                          <a:pt x="182" y="954"/>
                        </a:lnTo>
                        <a:lnTo>
                          <a:pt x="183" y="954"/>
                        </a:lnTo>
                        <a:lnTo>
                          <a:pt x="184" y="952"/>
                        </a:lnTo>
                        <a:lnTo>
                          <a:pt x="185" y="949"/>
                        </a:lnTo>
                        <a:lnTo>
                          <a:pt x="185" y="947"/>
                        </a:lnTo>
                        <a:lnTo>
                          <a:pt x="186" y="944"/>
                        </a:lnTo>
                        <a:lnTo>
                          <a:pt x="187" y="943"/>
                        </a:lnTo>
                        <a:lnTo>
                          <a:pt x="188" y="942"/>
                        </a:lnTo>
                        <a:lnTo>
                          <a:pt x="189" y="942"/>
                        </a:lnTo>
                        <a:lnTo>
                          <a:pt x="190" y="942"/>
                        </a:lnTo>
                        <a:lnTo>
                          <a:pt x="192" y="939"/>
                        </a:lnTo>
                        <a:lnTo>
                          <a:pt x="193" y="936"/>
                        </a:lnTo>
                        <a:lnTo>
                          <a:pt x="194" y="933"/>
                        </a:lnTo>
                        <a:lnTo>
                          <a:pt x="196" y="932"/>
                        </a:lnTo>
                        <a:lnTo>
                          <a:pt x="196" y="927"/>
                        </a:lnTo>
                        <a:lnTo>
                          <a:pt x="196" y="926"/>
                        </a:lnTo>
                        <a:lnTo>
                          <a:pt x="196" y="925"/>
                        </a:lnTo>
                        <a:lnTo>
                          <a:pt x="198" y="923"/>
                        </a:lnTo>
                        <a:lnTo>
                          <a:pt x="200" y="920"/>
                        </a:lnTo>
                        <a:lnTo>
                          <a:pt x="203" y="919"/>
                        </a:lnTo>
                        <a:lnTo>
                          <a:pt x="206" y="916"/>
                        </a:lnTo>
                        <a:lnTo>
                          <a:pt x="206" y="913"/>
                        </a:lnTo>
                        <a:lnTo>
                          <a:pt x="206" y="909"/>
                        </a:lnTo>
                        <a:lnTo>
                          <a:pt x="206" y="906"/>
                        </a:lnTo>
                        <a:lnTo>
                          <a:pt x="206" y="903"/>
                        </a:lnTo>
                        <a:lnTo>
                          <a:pt x="206" y="900"/>
                        </a:lnTo>
                        <a:lnTo>
                          <a:pt x="207" y="898"/>
                        </a:lnTo>
                        <a:lnTo>
                          <a:pt x="208" y="896"/>
                        </a:lnTo>
                        <a:lnTo>
                          <a:pt x="209" y="894"/>
                        </a:lnTo>
                        <a:lnTo>
                          <a:pt x="210" y="887"/>
                        </a:lnTo>
                        <a:lnTo>
                          <a:pt x="210" y="880"/>
                        </a:lnTo>
                        <a:lnTo>
                          <a:pt x="211" y="874"/>
                        </a:lnTo>
                        <a:lnTo>
                          <a:pt x="212" y="868"/>
                        </a:lnTo>
                        <a:lnTo>
                          <a:pt x="213" y="865"/>
                        </a:lnTo>
                        <a:lnTo>
                          <a:pt x="216" y="863"/>
                        </a:lnTo>
                        <a:lnTo>
                          <a:pt x="218" y="860"/>
                        </a:lnTo>
                        <a:lnTo>
                          <a:pt x="219" y="858"/>
                        </a:lnTo>
                        <a:lnTo>
                          <a:pt x="218" y="853"/>
                        </a:lnTo>
                        <a:lnTo>
                          <a:pt x="217" y="849"/>
                        </a:lnTo>
                        <a:lnTo>
                          <a:pt x="216" y="846"/>
                        </a:lnTo>
                        <a:lnTo>
                          <a:pt x="216" y="842"/>
                        </a:lnTo>
                        <a:lnTo>
                          <a:pt x="218" y="840"/>
                        </a:lnTo>
                        <a:lnTo>
                          <a:pt x="220" y="838"/>
                        </a:lnTo>
                        <a:lnTo>
                          <a:pt x="222" y="836"/>
                        </a:lnTo>
                        <a:lnTo>
                          <a:pt x="222" y="832"/>
                        </a:lnTo>
                        <a:lnTo>
                          <a:pt x="221" y="830"/>
                        </a:lnTo>
                        <a:lnTo>
                          <a:pt x="219" y="829"/>
                        </a:lnTo>
                        <a:lnTo>
                          <a:pt x="217" y="827"/>
                        </a:lnTo>
                        <a:lnTo>
                          <a:pt x="216" y="825"/>
                        </a:lnTo>
                        <a:lnTo>
                          <a:pt x="216" y="824"/>
                        </a:lnTo>
                        <a:lnTo>
                          <a:pt x="216" y="823"/>
                        </a:lnTo>
                        <a:lnTo>
                          <a:pt x="216" y="821"/>
                        </a:lnTo>
                        <a:lnTo>
                          <a:pt x="217" y="820"/>
                        </a:lnTo>
                        <a:lnTo>
                          <a:pt x="218" y="820"/>
                        </a:lnTo>
                        <a:lnTo>
                          <a:pt x="219" y="819"/>
                        </a:lnTo>
                        <a:lnTo>
                          <a:pt x="217" y="818"/>
                        </a:lnTo>
                        <a:lnTo>
                          <a:pt x="216" y="817"/>
                        </a:lnTo>
                        <a:lnTo>
                          <a:pt x="217" y="816"/>
                        </a:lnTo>
                        <a:lnTo>
                          <a:pt x="219" y="816"/>
                        </a:lnTo>
                        <a:lnTo>
                          <a:pt x="221" y="816"/>
                        </a:lnTo>
                        <a:lnTo>
                          <a:pt x="222" y="816"/>
                        </a:lnTo>
                        <a:lnTo>
                          <a:pt x="222" y="814"/>
                        </a:lnTo>
                        <a:lnTo>
                          <a:pt x="221" y="813"/>
                        </a:lnTo>
                        <a:lnTo>
                          <a:pt x="221" y="811"/>
                        </a:lnTo>
                        <a:lnTo>
                          <a:pt x="222" y="809"/>
                        </a:lnTo>
                        <a:lnTo>
                          <a:pt x="222" y="807"/>
                        </a:lnTo>
                        <a:lnTo>
                          <a:pt x="222" y="806"/>
                        </a:lnTo>
                        <a:lnTo>
                          <a:pt x="221" y="804"/>
                        </a:lnTo>
                        <a:lnTo>
                          <a:pt x="219" y="803"/>
                        </a:lnTo>
                        <a:lnTo>
                          <a:pt x="219" y="800"/>
                        </a:lnTo>
                        <a:lnTo>
                          <a:pt x="221" y="799"/>
                        </a:lnTo>
                        <a:lnTo>
                          <a:pt x="222" y="796"/>
                        </a:lnTo>
                        <a:lnTo>
                          <a:pt x="222" y="794"/>
                        </a:lnTo>
                        <a:lnTo>
                          <a:pt x="222" y="790"/>
                        </a:lnTo>
                        <a:lnTo>
                          <a:pt x="221" y="787"/>
                        </a:lnTo>
                        <a:lnTo>
                          <a:pt x="221" y="784"/>
                        </a:lnTo>
                        <a:lnTo>
                          <a:pt x="222" y="780"/>
                        </a:lnTo>
                        <a:lnTo>
                          <a:pt x="223" y="780"/>
                        </a:lnTo>
                        <a:lnTo>
                          <a:pt x="225" y="778"/>
                        </a:lnTo>
                        <a:lnTo>
                          <a:pt x="226" y="777"/>
                        </a:lnTo>
                        <a:lnTo>
                          <a:pt x="224" y="775"/>
                        </a:lnTo>
                        <a:lnTo>
                          <a:pt x="222" y="771"/>
                        </a:lnTo>
                        <a:lnTo>
                          <a:pt x="221" y="767"/>
                        </a:lnTo>
                        <a:lnTo>
                          <a:pt x="219" y="764"/>
                        </a:lnTo>
                        <a:lnTo>
                          <a:pt x="221" y="764"/>
                        </a:lnTo>
                        <a:lnTo>
                          <a:pt x="222" y="764"/>
                        </a:lnTo>
                        <a:lnTo>
                          <a:pt x="223" y="766"/>
                        </a:lnTo>
                        <a:lnTo>
                          <a:pt x="226" y="766"/>
                        </a:lnTo>
                        <a:lnTo>
                          <a:pt x="228" y="765"/>
                        </a:lnTo>
                        <a:lnTo>
                          <a:pt x="229" y="764"/>
                        </a:lnTo>
                        <a:lnTo>
                          <a:pt x="229" y="761"/>
                        </a:lnTo>
                        <a:lnTo>
                          <a:pt x="233" y="761"/>
                        </a:lnTo>
                        <a:lnTo>
                          <a:pt x="234" y="761"/>
                        </a:lnTo>
                        <a:lnTo>
                          <a:pt x="235" y="761"/>
                        </a:lnTo>
                        <a:lnTo>
                          <a:pt x="235" y="759"/>
                        </a:lnTo>
                        <a:lnTo>
                          <a:pt x="235" y="758"/>
                        </a:lnTo>
                        <a:lnTo>
                          <a:pt x="238" y="758"/>
                        </a:lnTo>
                        <a:lnTo>
                          <a:pt x="240" y="759"/>
                        </a:lnTo>
                        <a:lnTo>
                          <a:pt x="241" y="758"/>
                        </a:lnTo>
                        <a:lnTo>
                          <a:pt x="245" y="754"/>
                        </a:lnTo>
                        <a:lnTo>
                          <a:pt x="246" y="754"/>
                        </a:lnTo>
                        <a:lnTo>
                          <a:pt x="248" y="754"/>
                        </a:lnTo>
                        <a:lnTo>
                          <a:pt x="248" y="753"/>
                        </a:lnTo>
                        <a:lnTo>
                          <a:pt x="248" y="752"/>
                        </a:lnTo>
                        <a:lnTo>
                          <a:pt x="250" y="750"/>
                        </a:lnTo>
                        <a:lnTo>
                          <a:pt x="251" y="750"/>
                        </a:lnTo>
                        <a:lnTo>
                          <a:pt x="253" y="750"/>
                        </a:lnTo>
                        <a:lnTo>
                          <a:pt x="254" y="749"/>
                        </a:lnTo>
                        <a:lnTo>
                          <a:pt x="254" y="748"/>
                        </a:lnTo>
                        <a:lnTo>
                          <a:pt x="256" y="746"/>
                        </a:lnTo>
                        <a:lnTo>
                          <a:pt x="257" y="744"/>
                        </a:lnTo>
                        <a:lnTo>
                          <a:pt x="257" y="742"/>
                        </a:lnTo>
                        <a:lnTo>
                          <a:pt x="260" y="744"/>
                        </a:lnTo>
                        <a:lnTo>
                          <a:pt x="262" y="745"/>
                        </a:lnTo>
                        <a:lnTo>
                          <a:pt x="263" y="747"/>
                        </a:lnTo>
                        <a:lnTo>
                          <a:pt x="264" y="749"/>
                        </a:lnTo>
                        <a:lnTo>
                          <a:pt x="268" y="742"/>
                        </a:lnTo>
                        <a:lnTo>
                          <a:pt x="273" y="737"/>
                        </a:lnTo>
                        <a:lnTo>
                          <a:pt x="278" y="733"/>
                        </a:lnTo>
                        <a:lnTo>
                          <a:pt x="283" y="728"/>
                        </a:lnTo>
                        <a:lnTo>
                          <a:pt x="283" y="727"/>
                        </a:lnTo>
                        <a:lnTo>
                          <a:pt x="283" y="726"/>
                        </a:lnTo>
                        <a:lnTo>
                          <a:pt x="283" y="725"/>
                        </a:lnTo>
                        <a:lnTo>
                          <a:pt x="283" y="722"/>
                        </a:lnTo>
                        <a:lnTo>
                          <a:pt x="283" y="719"/>
                        </a:lnTo>
                        <a:lnTo>
                          <a:pt x="283" y="716"/>
                        </a:lnTo>
                        <a:lnTo>
                          <a:pt x="284" y="716"/>
                        </a:lnTo>
                        <a:lnTo>
                          <a:pt x="285" y="718"/>
                        </a:lnTo>
                        <a:lnTo>
                          <a:pt x="286" y="719"/>
                        </a:lnTo>
                        <a:lnTo>
                          <a:pt x="286" y="720"/>
                        </a:lnTo>
                        <a:lnTo>
                          <a:pt x="286" y="721"/>
                        </a:lnTo>
                        <a:lnTo>
                          <a:pt x="286" y="722"/>
                        </a:lnTo>
                        <a:lnTo>
                          <a:pt x="286" y="723"/>
                        </a:lnTo>
                        <a:lnTo>
                          <a:pt x="289" y="722"/>
                        </a:lnTo>
                        <a:lnTo>
                          <a:pt x="291" y="721"/>
                        </a:lnTo>
                        <a:lnTo>
                          <a:pt x="296" y="716"/>
                        </a:lnTo>
                        <a:lnTo>
                          <a:pt x="296" y="715"/>
                        </a:lnTo>
                        <a:lnTo>
                          <a:pt x="296" y="714"/>
                        </a:lnTo>
                        <a:lnTo>
                          <a:pt x="296" y="713"/>
                        </a:lnTo>
                        <a:lnTo>
                          <a:pt x="294" y="709"/>
                        </a:lnTo>
                        <a:lnTo>
                          <a:pt x="292" y="707"/>
                        </a:lnTo>
                        <a:lnTo>
                          <a:pt x="289" y="706"/>
                        </a:lnTo>
                        <a:lnTo>
                          <a:pt x="283" y="706"/>
                        </a:lnTo>
                        <a:lnTo>
                          <a:pt x="283" y="709"/>
                        </a:lnTo>
                        <a:lnTo>
                          <a:pt x="284" y="709"/>
                        </a:lnTo>
                        <a:lnTo>
                          <a:pt x="285" y="710"/>
                        </a:lnTo>
                        <a:lnTo>
                          <a:pt x="286" y="711"/>
                        </a:lnTo>
                        <a:lnTo>
                          <a:pt x="286" y="713"/>
                        </a:lnTo>
                        <a:lnTo>
                          <a:pt x="286" y="712"/>
                        </a:lnTo>
                        <a:lnTo>
                          <a:pt x="285" y="711"/>
                        </a:lnTo>
                        <a:lnTo>
                          <a:pt x="284" y="710"/>
                        </a:lnTo>
                        <a:lnTo>
                          <a:pt x="283" y="709"/>
                        </a:lnTo>
                        <a:lnTo>
                          <a:pt x="281" y="709"/>
                        </a:lnTo>
                        <a:lnTo>
                          <a:pt x="280" y="709"/>
                        </a:lnTo>
                        <a:lnTo>
                          <a:pt x="280" y="710"/>
                        </a:lnTo>
                        <a:lnTo>
                          <a:pt x="280" y="712"/>
                        </a:lnTo>
                        <a:lnTo>
                          <a:pt x="280" y="714"/>
                        </a:lnTo>
                        <a:lnTo>
                          <a:pt x="280" y="713"/>
                        </a:lnTo>
                        <a:lnTo>
                          <a:pt x="278" y="711"/>
                        </a:lnTo>
                        <a:lnTo>
                          <a:pt x="277" y="711"/>
                        </a:lnTo>
                        <a:lnTo>
                          <a:pt x="276" y="712"/>
                        </a:lnTo>
                        <a:lnTo>
                          <a:pt x="274" y="713"/>
                        </a:lnTo>
                        <a:lnTo>
                          <a:pt x="274" y="709"/>
                        </a:lnTo>
                        <a:lnTo>
                          <a:pt x="282" y="704"/>
                        </a:lnTo>
                        <a:lnTo>
                          <a:pt x="289" y="698"/>
                        </a:lnTo>
                        <a:lnTo>
                          <a:pt x="296" y="691"/>
                        </a:lnTo>
                        <a:lnTo>
                          <a:pt x="302" y="683"/>
                        </a:lnTo>
                        <a:lnTo>
                          <a:pt x="302" y="679"/>
                        </a:lnTo>
                        <a:lnTo>
                          <a:pt x="302" y="678"/>
                        </a:lnTo>
                        <a:lnTo>
                          <a:pt x="302" y="675"/>
                        </a:lnTo>
                        <a:lnTo>
                          <a:pt x="302" y="671"/>
                        </a:lnTo>
                        <a:lnTo>
                          <a:pt x="303" y="671"/>
                        </a:lnTo>
                        <a:lnTo>
                          <a:pt x="304" y="671"/>
                        </a:lnTo>
                        <a:lnTo>
                          <a:pt x="305" y="671"/>
                        </a:lnTo>
                        <a:lnTo>
                          <a:pt x="306" y="671"/>
                        </a:lnTo>
                        <a:lnTo>
                          <a:pt x="306" y="670"/>
                        </a:lnTo>
                        <a:lnTo>
                          <a:pt x="306" y="669"/>
                        </a:lnTo>
                        <a:lnTo>
                          <a:pt x="306" y="668"/>
                        </a:lnTo>
                        <a:lnTo>
                          <a:pt x="304" y="664"/>
                        </a:lnTo>
                        <a:lnTo>
                          <a:pt x="301" y="659"/>
                        </a:lnTo>
                        <a:lnTo>
                          <a:pt x="297" y="655"/>
                        </a:lnTo>
                        <a:lnTo>
                          <a:pt x="293" y="652"/>
                        </a:lnTo>
                        <a:lnTo>
                          <a:pt x="291" y="653"/>
                        </a:lnTo>
                        <a:lnTo>
                          <a:pt x="290" y="653"/>
                        </a:lnTo>
                        <a:lnTo>
                          <a:pt x="290" y="652"/>
                        </a:lnTo>
                        <a:lnTo>
                          <a:pt x="288" y="651"/>
                        </a:lnTo>
                        <a:lnTo>
                          <a:pt x="287" y="649"/>
                        </a:lnTo>
                        <a:lnTo>
                          <a:pt x="286" y="646"/>
                        </a:lnTo>
                        <a:lnTo>
                          <a:pt x="286" y="645"/>
                        </a:lnTo>
                        <a:lnTo>
                          <a:pt x="286" y="643"/>
                        </a:lnTo>
                        <a:lnTo>
                          <a:pt x="284" y="642"/>
                        </a:lnTo>
                        <a:lnTo>
                          <a:pt x="282" y="640"/>
                        </a:lnTo>
                        <a:lnTo>
                          <a:pt x="280" y="638"/>
                        </a:lnTo>
                        <a:lnTo>
                          <a:pt x="280" y="637"/>
                        </a:lnTo>
                        <a:lnTo>
                          <a:pt x="280" y="636"/>
                        </a:lnTo>
                        <a:lnTo>
                          <a:pt x="280" y="635"/>
                        </a:lnTo>
                        <a:lnTo>
                          <a:pt x="279" y="633"/>
                        </a:lnTo>
                        <a:lnTo>
                          <a:pt x="277" y="631"/>
                        </a:lnTo>
                        <a:lnTo>
                          <a:pt x="275" y="630"/>
                        </a:lnTo>
                        <a:lnTo>
                          <a:pt x="274" y="629"/>
                        </a:lnTo>
                        <a:lnTo>
                          <a:pt x="271" y="629"/>
                        </a:lnTo>
                        <a:lnTo>
                          <a:pt x="270" y="627"/>
                        </a:lnTo>
                        <a:lnTo>
                          <a:pt x="269" y="624"/>
                        </a:lnTo>
                        <a:lnTo>
                          <a:pt x="268" y="622"/>
                        </a:lnTo>
                        <a:lnTo>
                          <a:pt x="267" y="619"/>
                        </a:lnTo>
                        <a:lnTo>
                          <a:pt x="265" y="619"/>
                        </a:lnTo>
                        <a:lnTo>
                          <a:pt x="264" y="619"/>
                        </a:lnTo>
                        <a:lnTo>
                          <a:pt x="263" y="619"/>
                        </a:lnTo>
                        <a:lnTo>
                          <a:pt x="261" y="619"/>
                        </a:lnTo>
                        <a:lnTo>
                          <a:pt x="259" y="621"/>
                        </a:lnTo>
                        <a:lnTo>
                          <a:pt x="258" y="623"/>
                        </a:lnTo>
                        <a:lnTo>
                          <a:pt x="257" y="624"/>
                        </a:lnTo>
                        <a:lnTo>
                          <a:pt x="257" y="626"/>
                        </a:lnTo>
                        <a:lnTo>
                          <a:pt x="256" y="626"/>
                        </a:lnTo>
                        <a:lnTo>
                          <a:pt x="254" y="625"/>
                        </a:lnTo>
                        <a:lnTo>
                          <a:pt x="254" y="623"/>
                        </a:lnTo>
                        <a:lnTo>
                          <a:pt x="254" y="622"/>
                        </a:lnTo>
                        <a:lnTo>
                          <a:pt x="254" y="621"/>
                        </a:lnTo>
                        <a:lnTo>
                          <a:pt x="254" y="616"/>
                        </a:lnTo>
                        <a:lnTo>
                          <a:pt x="252" y="615"/>
                        </a:lnTo>
                        <a:lnTo>
                          <a:pt x="250" y="614"/>
                        </a:lnTo>
                        <a:lnTo>
                          <a:pt x="245" y="609"/>
                        </a:lnTo>
                        <a:lnTo>
                          <a:pt x="244" y="607"/>
                        </a:lnTo>
                        <a:lnTo>
                          <a:pt x="243" y="603"/>
                        </a:lnTo>
                        <a:lnTo>
                          <a:pt x="242" y="600"/>
                        </a:lnTo>
                        <a:lnTo>
                          <a:pt x="241" y="597"/>
                        </a:lnTo>
                        <a:lnTo>
                          <a:pt x="240" y="581"/>
                        </a:lnTo>
                        <a:lnTo>
                          <a:pt x="241" y="567"/>
                        </a:lnTo>
                        <a:lnTo>
                          <a:pt x="242" y="554"/>
                        </a:lnTo>
                        <a:lnTo>
                          <a:pt x="241" y="542"/>
                        </a:lnTo>
                        <a:lnTo>
                          <a:pt x="241" y="541"/>
                        </a:lnTo>
                        <a:lnTo>
                          <a:pt x="241" y="540"/>
                        </a:lnTo>
                        <a:lnTo>
                          <a:pt x="241" y="538"/>
                        </a:lnTo>
                        <a:lnTo>
                          <a:pt x="242" y="538"/>
                        </a:lnTo>
                        <a:lnTo>
                          <a:pt x="243" y="538"/>
                        </a:lnTo>
                        <a:lnTo>
                          <a:pt x="244" y="538"/>
                        </a:lnTo>
                        <a:lnTo>
                          <a:pt x="245" y="538"/>
                        </a:lnTo>
                        <a:lnTo>
                          <a:pt x="245" y="539"/>
                        </a:lnTo>
                        <a:lnTo>
                          <a:pt x="246" y="540"/>
                        </a:lnTo>
                        <a:lnTo>
                          <a:pt x="248" y="541"/>
                        </a:lnTo>
                        <a:lnTo>
                          <a:pt x="248" y="542"/>
                        </a:lnTo>
                        <a:lnTo>
                          <a:pt x="249" y="542"/>
                        </a:lnTo>
                        <a:lnTo>
                          <a:pt x="250" y="542"/>
                        </a:lnTo>
                        <a:lnTo>
                          <a:pt x="251" y="542"/>
                        </a:lnTo>
                        <a:lnTo>
                          <a:pt x="249" y="535"/>
                        </a:lnTo>
                        <a:lnTo>
                          <a:pt x="247" y="526"/>
                        </a:lnTo>
                        <a:lnTo>
                          <a:pt x="247" y="517"/>
                        </a:lnTo>
                        <a:lnTo>
                          <a:pt x="248" y="510"/>
                        </a:lnTo>
                        <a:lnTo>
                          <a:pt x="251" y="503"/>
                        </a:lnTo>
                        <a:lnTo>
                          <a:pt x="253" y="503"/>
                        </a:lnTo>
                        <a:lnTo>
                          <a:pt x="254" y="503"/>
                        </a:lnTo>
                        <a:lnTo>
                          <a:pt x="254" y="502"/>
                        </a:lnTo>
                        <a:lnTo>
                          <a:pt x="254" y="501"/>
                        </a:lnTo>
                        <a:lnTo>
                          <a:pt x="254" y="500"/>
                        </a:lnTo>
                        <a:lnTo>
                          <a:pt x="253" y="498"/>
                        </a:lnTo>
                        <a:lnTo>
                          <a:pt x="252" y="497"/>
                        </a:lnTo>
                        <a:lnTo>
                          <a:pt x="251" y="497"/>
                        </a:lnTo>
                        <a:lnTo>
                          <a:pt x="250" y="495"/>
                        </a:lnTo>
                        <a:lnTo>
                          <a:pt x="250" y="493"/>
                        </a:lnTo>
                        <a:lnTo>
                          <a:pt x="250" y="492"/>
                        </a:lnTo>
                        <a:lnTo>
                          <a:pt x="248" y="490"/>
                        </a:lnTo>
                        <a:lnTo>
                          <a:pt x="248" y="486"/>
                        </a:lnTo>
                        <a:lnTo>
                          <a:pt x="247" y="483"/>
                        </a:lnTo>
                        <a:lnTo>
                          <a:pt x="245" y="481"/>
                        </a:lnTo>
                        <a:lnTo>
                          <a:pt x="246" y="481"/>
                        </a:lnTo>
                        <a:lnTo>
                          <a:pt x="248" y="481"/>
                        </a:lnTo>
                        <a:lnTo>
                          <a:pt x="249" y="481"/>
                        </a:lnTo>
                        <a:lnTo>
                          <a:pt x="248" y="481"/>
                        </a:lnTo>
                        <a:lnTo>
                          <a:pt x="251" y="481"/>
                        </a:lnTo>
                        <a:lnTo>
                          <a:pt x="254" y="483"/>
                        </a:lnTo>
                        <a:lnTo>
                          <a:pt x="259" y="484"/>
                        </a:lnTo>
                        <a:lnTo>
                          <a:pt x="264" y="484"/>
                        </a:lnTo>
                        <a:lnTo>
                          <a:pt x="264" y="482"/>
                        </a:lnTo>
                        <a:lnTo>
                          <a:pt x="266" y="480"/>
                        </a:lnTo>
                        <a:lnTo>
                          <a:pt x="267" y="478"/>
                        </a:lnTo>
                        <a:lnTo>
                          <a:pt x="269" y="474"/>
                        </a:lnTo>
                        <a:lnTo>
                          <a:pt x="270" y="471"/>
                        </a:lnTo>
                        <a:lnTo>
                          <a:pt x="271" y="467"/>
                        </a:lnTo>
                        <a:lnTo>
                          <a:pt x="271" y="464"/>
                        </a:lnTo>
                        <a:lnTo>
                          <a:pt x="272" y="463"/>
                        </a:lnTo>
                        <a:lnTo>
                          <a:pt x="273" y="462"/>
                        </a:lnTo>
                        <a:lnTo>
                          <a:pt x="274" y="462"/>
                        </a:lnTo>
                        <a:lnTo>
                          <a:pt x="274" y="460"/>
                        </a:lnTo>
                        <a:lnTo>
                          <a:pt x="274" y="459"/>
                        </a:lnTo>
                        <a:lnTo>
                          <a:pt x="274" y="458"/>
                        </a:lnTo>
                        <a:lnTo>
                          <a:pt x="276" y="458"/>
                        </a:lnTo>
                        <a:lnTo>
                          <a:pt x="277" y="458"/>
                        </a:lnTo>
                        <a:lnTo>
                          <a:pt x="278" y="458"/>
                        </a:lnTo>
                        <a:lnTo>
                          <a:pt x="280" y="458"/>
                        </a:lnTo>
                        <a:lnTo>
                          <a:pt x="282" y="456"/>
                        </a:lnTo>
                        <a:lnTo>
                          <a:pt x="283" y="454"/>
                        </a:lnTo>
                        <a:lnTo>
                          <a:pt x="283" y="451"/>
                        </a:lnTo>
                        <a:lnTo>
                          <a:pt x="283" y="445"/>
                        </a:lnTo>
                        <a:lnTo>
                          <a:pt x="281" y="445"/>
                        </a:lnTo>
                        <a:lnTo>
                          <a:pt x="280" y="445"/>
                        </a:lnTo>
                        <a:lnTo>
                          <a:pt x="280" y="442"/>
                        </a:lnTo>
                        <a:lnTo>
                          <a:pt x="283" y="439"/>
                        </a:lnTo>
                        <a:lnTo>
                          <a:pt x="286" y="436"/>
                        </a:lnTo>
                        <a:lnTo>
                          <a:pt x="290" y="432"/>
                        </a:lnTo>
                        <a:lnTo>
                          <a:pt x="293" y="429"/>
                        </a:lnTo>
                        <a:lnTo>
                          <a:pt x="296" y="430"/>
                        </a:lnTo>
                        <a:lnTo>
                          <a:pt x="298" y="430"/>
                        </a:lnTo>
                        <a:lnTo>
                          <a:pt x="301" y="431"/>
                        </a:lnTo>
                        <a:lnTo>
                          <a:pt x="302" y="429"/>
                        </a:lnTo>
                        <a:lnTo>
                          <a:pt x="302" y="426"/>
                        </a:lnTo>
                        <a:lnTo>
                          <a:pt x="303" y="426"/>
                        </a:lnTo>
                        <a:lnTo>
                          <a:pt x="304" y="425"/>
                        </a:lnTo>
                        <a:lnTo>
                          <a:pt x="305" y="424"/>
                        </a:lnTo>
                        <a:lnTo>
                          <a:pt x="306" y="422"/>
                        </a:lnTo>
                        <a:lnTo>
                          <a:pt x="306" y="420"/>
                        </a:lnTo>
                        <a:lnTo>
                          <a:pt x="306" y="416"/>
                        </a:lnTo>
                        <a:lnTo>
                          <a:pt x="306" y="415"/>
                        </a:lnTo>
                        <a:lnTo>
                          <a:pt x="307" y="415"/>
                        </a:lnTo>
                        <a:lnTo>
                          <a:pt x="308" y="414"/>
                        </a:lnTo>
                        <a:lnTo>
                          <a:pt x="309" y="413"/>
                        </a:lnTo>
                        <a:lnTo>
                          <a:pt x="309" y="412"/>
                        </a:lnTo>
                        <a:lnTo>
                          <a:pt x="309" y="411"/>
                        </a:lnTo>
                        <a:lnTo>
                          <a:pt x="309" y="410"/>
                        </a:lnTo>
                        <a:lnTo>
                          <a:pt x="311" y="410"/>
                        </a:lnTo>
                        <a:lnTo>
                          <a:pt x="312" y="410"/>
                        </a:lnTo>
                        <a:lnTo>
                          <a:pt x="314" y="410"/>
                        </a:lnTo>
                        <a:lnTo>
                          <a:pt x="315" y="408"/>
                        </a:lnTo>
                        <a:lnTo>
                          <a:pt x="316" y="407"/>
                        </a:lnTo>
                        <a:lnTo>
                          <a:pt x="326" y="407"/>
                        </a:lnTo>
                        <a:lnTo>
                          <a:pt x="328" y="398"/>
                        </a:lnTo>
                        <a:lnTo>
                          <a:pt x="333" y="392"/>
                        </a:lnTo>
                        <a:lnTo>
                          <a:pt x="339" y="389"/>
                        </a:lnTo>
                        <a:lnTo>
                          <a:pt x="348" y="384"/>
                        </a:lnTo>
                        <a:lnTo>
                          <a:pt x="347" y="382"/>
                        </a:lnTo>
                        <a:lnTo>
                          <a:pt x="347" y="380"/>
                        </a:lnTo>
                        <a:lnTo>
                          <a:pt x="348" y="377"/>
                        </a:lnTo>
                        <a:lnTo>
                          <a:pt x="352" y="377"/>
                        </a:lnTo>
                        <a:lnTo>
                          <a:pt x="355" y="376"/>
                        </a:lnTo>
                        <a:lnTo>
                          <a:pt x="357" y="374"/>
                        </a:lnTo>
                        <a:lnTo>
                          <a:pt x="359" y="369"/>
                        </a:lnTo>
                        <a:lnTo>
                          <a:pt x="359" y="365"/>
                        </a:lnTo>
                        <a:lnTo>
                          <a:pt x="358" y="360"/>
                        </a:lnTo>
                        <a:lnTo>
                          <a:pt x="357" y="355"/>
                        </a:lnTo>
                        <a:lnTo>
                          <a:pt x="361" y="351"/>
                        </a:lnTo>
                        <a:lnTo>
                          <a:pt x="365" y="345"/>
                        </a:lnTo>
                        <a:lnTo>
                          <a:pt x="369" y="341"/>
                        </a:lnTo>
                        <a:lnTo>
                          <a:pt x="370" y="340"/>
                        </a:lnTo>
                        <a:lnTo>
                          <a:pt x="371" y="339"/>
                        </a:lnTo>
                        <a:lnTo>
                          <a:pt x="372" y="339"/>
                        </a:lnTo>
                        <a:lnTo>
                          <a:pt x="374" y="339"/>
                        </a:lnTo>
                        <a:lnTo>
                          <a:pt x="375" y="337"/>
                        </a:lnTo>
                        <a:lnTo>
                          <a:pt x="376" y="334"/>
                        </a:lnTo>
                        <a:lnTo>
                          <a:pt x="376" y="329"/>
                        </a:lnTo>
                        <a:lnTo>
                          <a:pt x="375" y="327"/>
                        </a:lnTo>
                        <a:lnTo>
                          <a:pt x="374" y="326"/>
                        </a:lnTo>
                        <a:lnTo>
                          <a:pt x="374" y="325"/>
                        </a:lnTo>
                        <a:lnTo>
                          <a:pt x="374" y="324"/>
                        </a:lnTo>
                        <a:lnTo>
                          <a:pt x="374" y="319"/>
                        </a:lnTo>
                        <a:lnTo>
                          <a:pt x="372" y="319"/>
                        </a:lnTo>
                        <a:lnTo>
                          <a:pt x="371" y="319"/>
                        </a:lnTo>
                        <a:lnTo>
                          <a:pt x="369" y="319"/>
                        </a:lnTo>
                        <a:lnTo>
                          <a:pt x="368" y="318"/>
                        </a:lnTo>
                        <a:lnTo>
                          <a:pt x="367" y="317"/>
                        </a:lnTo>
                        <a:lnTo>
                          <a:pt x="367" y="307"/>
                        </a:lnTo>
                        <a:lnTo>
                          <a:pt x="365" y="307"/>
                        </a:lnTo>
                        <a:lnTo>
                          <a:pt x="364" y="307"/>
                        </a:lnTo>
                        <a:lnTo>
                          <a:pt x="363" y="307"/>
                        </a:lnTo>
                        <a:lnTo>
                          <a:pt x="361" y="307"/>
                        </a:lnTo>
                        <a:lnTo>
                          <a:pt x="361" y="306"/>
                        </a:lnTo>
                        <a:lnTo>
                          <a:pt x="362" y="305"/>
                        </a:lnTo>
                        <a:lnTo>
                          <a:pt x="362" y="304"/>
                        </a:lnTo>
                        <a:lnTo>
                          <a:pt x="361" y="303"/>
                        </a:lnTo>
                        <a:lnTo>
                          <a:pt x="367" y="296"/>
                        </a:lnTo>
                        <a:lnTo>
                          <a:pt x="371" y="290"/>
                        </a:lnTo>
                        <a:lnTo>
                          <a:pt x="373" y="282"/>
                        </a:lnTo>
                        <a:lnTo>
                          <a:pt x="374" y="271"/>
                        </a:lnTo>
                        <a:lnTo>
                          <a:pt x="375" y="273"/>
                        </a:lnTo>
                        <a:lnTo>
                          <a:pt x="377" y="274"/>
                        </a:lnTo>
                        <a:lnTo>
                          <a:pt x="379" y="274"/>
                        </a:lnTo>
                        <a:lnTo>
                          <a:pt x="383" y="274"/>
                        </a:lnTo>
                        <a:lnTo>
                          <a:pt x="381" y="271"/>
                        </a:lnTo>
                        <a:lnTo>
                          <a:pt x="380" y="267"/>
                        </a:lnTo>
                        <a:lnTo>
                          <a:pt x="378" y="264"/>
                        </a:lnTo>
                        <a:lnTo>
                          <a:pt x="376" y="262"/>
                        </a:lnTo>
                        <a:lnTo>
                          <a:pt x="381" y="261"/>
                        </a:lnTo>
                        <a:lnTo>
                          <a:pt x="384" y="260"/>
                        </a:lnTo>
                        <a:lnTo>
                          <a:pt x="386" y="258"/>
                        </a:lnTo>
                        <a:lnTo>
                          <a:pt x="385" y="258"/>
                        </a:lnTo>
                        <a:lnTo>
                          <a:pt x="386" y="258"/>
                        </a:lnTo>
                        <a:lnTo>
                          <a:pt x="386" y="257"/>
                        </a:lnTo>
                        <a:lnTo>
                          <a:pt x="386" y="255"/>
                        </a:lnTo>
                        <a:lnTo>
                          <a:pt x="385" y="254"/>
                        </a:lnTo>
                        <a:lnTo>
                          <a:pt x="384" y="253"/>
                        </a:lnTo>
                        <a:lnTo>
                          <a:pt x="383" y="251"/>
                        </a:lnTo>
                        <a:lnTo>
                          <a:pt x="388" y="251"/>
                        </a:lnTo>
                        <a:lnTo>
                          <a:pt x="391" y="249"/>
                        </a:lnTo>
                        <a:lnTo>
                          <a:pt x="397" y="246"/>
                        </a:lnTo>
                        <a:lnTo>
                          <a:pt x="397" y="245"/>
                        </a:lnTo>
                        <a:lnTo>
                          <a:pt x="397" y="244"/>
                        </a:lnTo>
                        <a:lnTo>
                          <a:pt x="397" y="243"/>
                        </a:lnTo>
                        <a:lnTo>
                          <a:pt x="397" y="242"/>
                        </a:lnTo>
                        <a:lnTo>
                          <a:pt x="399" y="242"/>
                        </a:lnTo>
                        <a:lnTo>
                          <a:pt x="399" y="240"/>
                        </a:lnTo>
                        <a:lnTo>
                          <a:pt x="399" y="235"/>
                        </a:lnTo>
                        <a:lnTo>
                          <a:pt x="399" y="230"/>
                        </a:lnTo>
                        <a:lnTo>
                          <a:pt x="399" y="226"/>
                        </a:lnTo>
                        <a:lnTo>
                          <a:pt x="402" y="226"/>
                        </a:lnTo>
                        <a:lnTo>
                          <a:pt x="402" y="227"/>
                        </a:lnTo>
                        <a:lnTo>
                          <a:pt x="402" y="228"/>
                        </a:lnTo>
                        <a:lnTo>
                          <a:pt x="402" y="229"/>
                        </a:lnTo>
                        <a:lnTo>
                          <a:pt x="402" y="231"/>
                        </a:lnTo>
                        <a:lnTo>
                          <a:pt x="402" y="232"/>
                        </a:lnTo>
                        <a:lnTo>
                          <a:pt x="403" y="232"/>
                        </a:lnTo>
                        <a:lnTo>
                          <a:pt x="404" y="232"/>
                        </a:lnTo>
                        <a:lnTo>
                          <a:pt x="406" y="232"/>
                        </a:lnTo>
                        <a:lnTo>
                          <a:pt x="406" y="231"/>
                        </a:lnTo>
                        <a:lnTo>
                          <a:pt x="407" y="229"/>
                        </a:lnTo>
                        <a:lnTo>
                          <a:pt x="408" y="227"/>
                        </a:lnTo>
                        <a:lnTo>
                          <a:pt x="409" y="226"/>
                        </a:lnTo>
                        <a:lnTo>
                          <a:pt x="412" y="226"/>
                        </a:lnTo>
                        <a:lnTo>
                          <a:pt x="412" y="227"/>
                        </a:lnTo>
                        <a:lnTo>
                          <a:pt x="412" y="228"/>
                        </a:lnTo>
                        <a:lnTo>
                          <a:pt x="412" y="229"/>
                        </a:lnTo>
                        <a:lnTo>
                          <a:pt x="413" y="231"/>
                        </a:lnTo>
                        <a:lnTo>
                          <a:pt x="414" y="232"/>
                        </a:lnTo>
                        <a:lnTo>
                          <a:pt x="416" y="232"/>
                        </a:lnTo>
                        <a:lnTo>
                          <a:pt x="422" y="226"/>
                        </a:lnTo>
                        <a:lnTo>
                          <a:pt x="422" y="227"/>
                        </a:lnTo>
                        <a:lnTo>
                          <a:pt x="423" y="227"/>
                        </a:lnTo>
                        <a:lnTo>
                          <a:pt x="425" y="229"/>
                        </a:lnTo>
                        <a:lnTo>
                          <a:pt x="426" y="229"/>
                        </a:lnTo>
                        <a:lnTo>
                          <a:pt x="428" y="229"/>
                        </a:lnTo>
                        <a:lnTo>
                          <a:pt x="429" y="228"/>
                        </a:lnTo>
                        <a:lnTo>
                          <a:pt x="430" y="226"/>
                        </a:lnTo>
                        <a:lnTo>
                          <a:pt x="432" y="223"/>
                        </a:lnTo>
                        <a:lnTo>
                          <a:pt x="435" y="223"/>
                        </a:lnTo>
                        <a:lnTo>
                          <a:pt x="436" y="223"/>
                        </a:lnTo>
                        <a:lnTo>
                          <a:pt x="437" y="224"/>
                        </a:lnTo>
                        <a:lnTo>
                          <a:pt x="437" y="225"/>
                        </a:lnTo>
                        <a:lnTo>
                          <a:pt x="438" y="226"/>
                        </a:lnTo>
                        <a:lnTo>
                          <a:pt x="439" y="226"/>
                        </a:lnTo>
                        <a:lnTo>
                          <a:pt x="440" y="226"/>
                        </a:lnTo>
                        <a:lnTo>
                          <a:pt x="442" y="226"/>
                        </a:lnTo>
                        <a:lnTo>
                          <a:pt x="438" y="21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0" name="Freeform 1760">
                    <a:extLst>
                      <a:ext uri="{FF2B5EF4-FFF2-40B4-BE49-F238E27FC236}">
                        <a16:creationId xmlns:a16="http://schemas.microsoft.com/office/drawing/2014/main" xmlns="" id="{9579B17E-6C80-4494-AE44-BC07099D71F6}"/>
                      </a:ext>
                    </a:extLst>
                  </p:cNvPr>
                  <p:cNvSpPr>
                    <a:spLocks/>
                  </p:cNvSpPr>
                  <p:nvPr/>
                </p:nvSpPr>
                <p:spPr bwMode="gray">
                  <a:xfrm>
                    <a:off x="4558842" y="2664807"/>
                    <a:ext cx="76761" cy="75653"/>
                  </a:xfrm>
                  <a:custGeom>
                    <a:avLst/>
                    <a:gdLst>
                      <a:gd name="T0" fmla="*/ 2147483647 w 69"/>
                      <a:gd name="T1" fmla="*/ 2147483647 h 68"/>
                      <a:gd name="T2" fmla="*/ 2147483647 w 69"/>
                      <a:gd name="T3" fmla="*/ 2147483647 h 68"/>
                      <a:gd name="T4" fmla="*/ 2147483647 w 69"/>
                      <a:gd name="T5" fmla="*/ 2147483647 h 68"/>
                      <a:gd name="T6" fmla="*/ 2147483647 w 69"/>
                      <a:gd name="T7" fmla="*/ 2147483647 h 68"/>
                      <a:gd name="T8" fmla="*/ 2147483647 w 69"/>
                      <a:gd name="T9" fmla="*/ 2147483647 h 68"/>
                      <a:gd name="T10" fmla="*/ 2147483647 w 69"/>
                      <a:gd name="T11" fmla="*/ 2147483647 h 68"/>
                      <a:gd name="T12" fmla="*/ 2147483647 w 69"/>
                      <a:gd name="T13" fmla="*/ 2147483647 h 68"/>
                      <a:gd name="T14" fmla="*/ 2147483647 w 69"/>
                      <a:gd name="T15" fmla="*/ 2147483647 h 68"/>
                      <a:gd name="T16" fmla="*/ 2147483647 w 69"/>
                      <a:gd name="T17" fmla="*/ 2147483647 h 68"/>
                      <a:gd name="T18" fmla="*/ 2147483647 w 69"/>
                      <a:gd name="T19" fmla="*/ 2147483647 h 68"/>
                      <a:gd name="T20" fmla="*/ 2147483647 w 69"/>
                      <a:gd name="T21" fmla="*/ 2147483647 h 68"/>
                      <a:gd name="T22" fmla="*/ 2147483647 w 69"/>
                      <a:gd name="T23" fmla="*/ 2147483647 h 68"/>
                      <a:gd name="T24" fmla="*/ 2147483647 w 69"/>
                      <a:gd name="T25" fmla="*/ 2147483647 h 68"/>
                      <a:gd name="T26" fmla="*/ 2147483647 w 69"/>
                      <a:gd name="T27" fmla="*/ 2147483647 h 68"/>
                      <a:gd name="T28" fmla="*/ 2147483647 w 69"/>
                      <a:gd name="T29" fmla="*/ 2147483647 h 68"/>
                      <a:gd name="T30" fmla="*/ 2147483647 w 69"/>
                      <a:gd name="T31" fmla="*/ 2147483647 h 68"/>
                      <a:gd name="T32" fmla="*/ 2147483647 w 69"/>
                      <a:gd name="T33" fmla="*/ 2147483647 h 68"/>
                      <a:gd name="T34" fmla="*/ 2147483647 w 69"/>
                      <a:gd name="T35" fmla="*/ 2147483647 h 68"/>
                      <a:gd name="T36" fmla="*/ 2147483647 w 69"/>
                      <a:gd name="T37" fmla="*/ 2147483647 h 68"/>
                      <a:gd name="T38" fmla="*/ 2147483647 w 69"/>
                      <a:gd name="T39" fmla="*/ 2147483647 h 68"/>
                      <a:gd name="T40" fmla="*/ 2147483647 w 69"/>
                      <a:gd name="T41" fmla="*/ 2147483647 h 68"/>
                      <a:gd name="T42" fmla="*/ 2147483647 w 69"/>
                      <a:gd name="T43" fmla="*/ 2147483647 h 68"/>
                      <a:gd name="T44" fmla="*/ 2147483647 w 69"/>
                      <a:gd name="T45" fmla="*/ 2147483647 h 68"/>
                      <a:gd name="T46" fmla="*/ 2147483647 w 69"/>
                      <a:gd name="T47" fmla="*/ 2147483647 h 68"/>
                      <a:gd name="T48" fmla="*/ 2147483647 w 69"/>
                      <a:gd name="T49" fmla="*/ 2147483647 h 68"/>
                      <a:gd name="T50" fmla="*/ 2147483647 w 69"/>
                      <a:gd name="T51" fmla="*/ 2147483647 h 68"/>
                      <a:gd name="T52" fmla="*/ 2147483647 w 69"/>
                      <a:gd name="T53" fmla="*/ 2147483647 h 68"/>
                      <a:gd name="T54" fmla="*/ 2147483647 w 69"/>
                      <a:gd name="T55" fmla="*/ 2147483647 h 68"/>
                      <a:gd name="T56" fmla="*/ 2147483647 w 69"/>
                      <a:gd name="T57" fmla="*/ 2147483647 h 68"/>
                      <a:gd name="T58" fmla="*/ 2147483647 w 69"/>
                      <a:gd name="T59" fmla="*/ 2147483647 h 68"/>
                      <a:gd name="T60" fmla="*/ 2147483647 w 69"/>
                      <a:gd name="T61" fmla="*/ 2147483647 h 68"/>
                      <a:gd name="T62" fmla="*/ 2147483647 w 69"/>
                      <a:gd name="T63" fmla="*/ 2147483647 h 68"/>
                      <a:gd name="T64" fmla="*/ 2147483647 w 69"/>
                      <a:gd name="T65" fmla="*/ 2147483647 h 68"/>
                      <a:gd name="T66" fmla="*/ 2147483647 w 69"/>
                      <a:gd name="T67" fmla="*/ 0 h 68"/>
                      <a:gd name="T68" fmla="*/ 2147483647 w 69"/>
                      <a:gd name="T69" fmla="*/ 0 h 68"/>
                      <a:gd name="T70" fmla="*/ 2147483647 w 69"/>
                      <a:gd name="T71" fmla="*/ 0 h 68"/>
                      <a:gd name="T72" fmla="*/ 2147483647 w 69"/>
                      <a:gd name="T73" fmla="*/ 2147483647 h 68"/>
                      <a:gd name="T74" fmla="*/ 2147483647 w 69"/>
                      <a:gd name="T75" fmla="*/ 2147483647 h 68"/>
                      <a:gd name="T76" fmla="*/ 2147483647 w 69"/>
                      <a:gd name="T77" fmla="*/ 2147483647 h 68"/>
                      <a:gd name="T78" fmla="*/ 2147483647 w 69"/>
                      <a:gd name="T79" fmla="*/ 2147483647 h 68"/>
                      <a:gd name="T80" fmla="*/ 2147483647 w 69"/>
                      <a:gd name="T81" fmla="*/ 2147483647 h 68"/>
                      <a:gd name="T82" fmla="*/ 2147483647 w 69"/>
                      <a:gd name="T83" fmla="*/ 2147483647 h 68"/>
                      <a:gd name="T84" fmla="*/ 2147483647 w 69"/>
                      <a:gd name="T85" fmla="*/ 2147483647 h 68"/>
                      <a:gd name="T86" fmla="*/ 2147483647 w 69"/>
                      <a:gd name="T87" fmla="*/ 2147483647 h 68"/>
                      <a:gd name="T88" fmla="*/ 2147483647 w 69"/>
                      <a:gd name="T89" fmla="*/ 2147483647 h 68"/>
                      <a:gd name="T90" fmla="*/ 2147483647 w 69"/>
                      <a:gd name="T91" fmla="*/ 2147483647 h 6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9" h="68">
                        <a:moveTo>
                          <a:pt x="67" y="26"/>
                        </a:moveTo>
                        <a:lnTo>
                          <a:pt x="67" y="26"/>
                        </a:lnTo>
                        <a:lnTo>
                          <a:pt x="65" y="31"/>
                        </a:lnTo>
                        <a:lnTo>
                          <a:pt x="63" y="34"/>
                        </a:lnTo>
                        <a:lnTo>
                          <a:pt x="62" y="37"/>
                        </a:lnTo>
                        <a:lnTo>
                          <a:pt x="60" y="40"/>
                        </a:lnTo>
                        <a:lnTo>
                          <a:pt x="59" y="40"/>
                        </a:lnTo>
                        <a:lnTo>
                          <a:pt x="58" y="40"/>
                        </a:lnTo>
                        <a:lnTo>
                          <a:pt x="58" y="42"/>
                        </a:lnTo>
                        <a:lnTo>
                          <a:pt x="59" y="44"/>
                        </a:lnTo>
                        <a:lnTo>
                          <a:pt x="60" y="46"/>
                        </a:lnTo>
                        <a:lnTo>
                          <a:pt x="60" y="49"/>
                        </a:lnTo>
                        <a:lnTo>
                          <a:pt x="57" y="50"/>
                        </a:lnTo>
                        <a:lnTo>
                          <a:pt x="54" y="50"/>
                        </a:lnTo>
                        <a:lnTo>
                          <a:pt x="50" y="49"/>
                        </a:lnTo>
                        <a:lnTo>
                          <a:pt x="45" y="49"/>
                        </a:lnTo>
                        <a:lnTo>
                          <a:pt x="43" y="51"/>
                        </a:lnTo>
                        <a:lnTo>
                          <a:pt x="42" y="54"/>
                        </a:lnTo>
                        <a:lnTo>
                          <a:pt x="42" y="59"/>
                        </a:lnTo>
                        <a:lnTo>
                          <a:pt x="39" y="59"/>
                        </a:lnTo>
                        <a:lnTo>
                          <a:pt x="37" y="61"/>
                        </a:lnTo>
                        <a:lnTo>
                          <a:pt x="36" y="63"/>
                        </a:lnTo>
                        <a:lnTo>
                          <a:pt x="35" y="65"/>
                        </a:lnTo>
                        <a:lnTo>
                          <a:pt x="35" y="64"/>
                        </a:lnTo>
                        <a:lnTo>
                          <a:pt x="34" y="65"/>
                        </a:lnTo>
                        <a:lnTo>
                          <a:pt x="33" y="65"/>
                        </a:lnTo>
                        <a:lnTo>
                          <a:pt x="33" y="64"/>
                        </a:lnTo>
                        <a:lnTo>
                          <a:pt x="33" y="62"/>
                        </a:lnTo>
                        <a:lnTo>
                          <a:pt x="33" y="60"/>
                        </a:lnTo>
                        <a:lnTo>
                          <a:pt x="33" y="59"/>
                        </a:lnTo>
                        <a:lnTo>
                          <a:pt x="34" y="55"/>
                        </a:lnTo>
                        <a:lnTo>
                          <a:pt x="34" y="52"/>
                        </a:lnTo>
                        <a:lnTo>
                          <a:pt x="35" y="51"/>
                        </a:lnTo>
                        <a:lnTo>
                          <a:pt x="34" y="50"/>
                        </a:lnTo>
                        <a:lnTo>
                          <a:pt x="33" y="49"/>
                        </a:lnTo>
                        <a:lnTo>
                          <a:pt x="32" y="50"/>
                        </a:lnTo>
                        <a:lnTo>
                          <a:pt x="31" y="52"/>
                        </a:lnTo>
                        <a:lnTo>
                          <a:pt x="30" y="52"/>
                        </a:lnTo>
                        <a:lnTo>
                          <a:pt x="29" y="52"/>
                        </a:lnTo>
                        <a:lnTo>
                          <a:pt x="28" y="52"/>
                        </a:lnTo>
                        <a:lnTo>
                          <a:pt x="27" y="52"/>
                        </a:lnTo>
                        <a:lnTo>
                          <a:pt x="26" y="52"/>
                        </a:lnTo>
                        <a:lnTo>
                          <a:pt x="26" y="62"/>
                        </a:lnTo>
                        <a:lnTo>
                          <a:pt x="24" y="63"/>
                        </a:lnTo>
                        <a:lnTo>
                          <a:pt x="21" y="64"/>
                        </a:lnTo>
                        <a:lnTo>
                          <a:pt x="14" y="65"/>
                        </a:lnTo>
                        <a:lnTo>
                          <a:pt x="7" y="67"/>
                        </a:lnTo>
                        <a:lnTo>
                          <a:pt x="0" y="68"/>
                        </a:lnTo>
                        <a:lnTo>
                          <a:pt x="3" y="64"/>
                        </a:lnTo>
                        <a:lnTo>
                          <a:pt x="6" y="61"/>
                        </a:lnTo>
                        <a:lnTo>
                          <a:pt x="9" y="58"/>
                        </a:lnTo>
                        <a:lnTo>
                          <a:pt x="13" y="55"/>
                        </a:lnTo>
                        <a:lnTo>
                          <a:pt x="13" y="53"/>
                        </a:lnTo>
                        <a:lnTo>
                          <a:pt x="13" y="52"/>
                        </a:lnTo>
                        <a:lnTo>
                          <a:pt x="13" y="51"/>
                        </a:lnTo>
                        <a:lnTo>
                          <a:pt x="13" y="49"/>
                        </a:lnTo>
                        <a:lnTo>
                          <a:pt x="11" y="49"/>
                        </a:lnTo>
                        <a:lnTo>
                          <a:pt x="11" y="48"/>
                        </a:lnTo>
                        <a:lnTo>
                          <a:pt x="10" y="46"/>
                        </a:lnTo>
                        <a:lnTo>
                          <a:pt x="10" y="43"/>
                        </a:lnTo>
                        <a:lnTo>
                          <a:pt x="12" y="38"/>
                        </a:lnTo>
                        <a:lnTo>
                          <a:pt x="14" y="35"/>
                        </a:lnTo>
                        <a:lnTo>
                          <a:pt x="17" y="31"/>
                        </a:lnTo>
                        <a:lnTo>
                          <a:pt x="19" y="26"/>
                        </a:lnTo>
                        <a:lnTo>
                          <a:pt x="19" y="24"/>
                        </a:lnTo>
                        <a:lnTo>
                          <a:pt x="19" y="23"/>
                        </a:lnTo>
                        <a:lnTo>
                          <a:pt x="21" y="21"/>
                        </a:lnTo>
                        <a:lnTo>
                          <a:pt x="23" y="20"/>
                        </a:lnTo>
                        <a:lnTo>
                          <a:pt x="26" y="19"/>
                        </a:lnTo>
                        <a:lnTo>
                          <a:pt x="30" y="19"/>
                        </a:lnTo>
                        <a:lnTo>
                          <a:pt x="30" y="24"/>
                        </a:lnTo>
                        <a:lnTo>
                          <a:pt x="31" y="26"/>
                        </a:lnTo>
                        <a:lnTo>
                          <a:pt x="33" y="26"/>
                        </a:lnTo>
                        <a:lnTo>
                          <a:pt x="33" y="27"/>
                        </a:lnTo>
                        <a:lnTo>
                          <a:pt x="34" y="28"/>
                        </a:lnTo>
                        <a:lnTo>
                          <a:pt x="35" y="26"/>
                        </a:lnTo>
                        <a:lnTo>
                          <a:pt x="36" y="26"/>
                        </a:lnTo>
                        <a:lnTo>
                          <a:pt x="37" y="26"/>
                        </a:lnTo>
                        <a:lnTo>
                          <a:pt x="39" y="26"/>
                        </a:lnTo>
                        <a:lnTo>
                          <a:pt x="36" y="21"/>
                        </a:lnTo>
                        <a:lnTo>
                          <a:pt x="34" y="15"/>
                        </a:lnTo>
                        <a:lnTo>
                          <a:pt x="32" y="11"/>
                        </a:lnTo>
                        <a:lnTo>
                          <a:pt x="33" y="6"/>
                        </a:lnTo>
                        <a:lnTo>
                          <a:pt x="34" y="4"/>
                        </a:lnTo>
                        <a:lnTo>
                          <a:pt x="35" y="1"/>
                        </a:lnTo>
                        <a:lnTo>
                          <a:pt x="35" y="0"/>
                        </a:lnTo>
                        <a:lnTo>
                          <a:pt x="36" y="1"/>
                        </a:lnTo>
                        <a:lnTo>
                          <a:pt x="37" y="2"/>
                        </a:lnTo>
                        <a:lnTo>
                          <a:pt x="38" y="3"/>
                        </a:lnTo>
                        <a:lnTo>
                          <a:pt x="39" y="4"/>
                        </a:lnTo>
                        <a:lnTo>
                          <a:pt x="41" y="3"/>
                        </a:lnTo>
                        <a:lnTo>
                          <a:pt x="42" y="2"/>
                        </a:lnTo>
                        <a:lnTo>
                          <a:pt x="43" y="1"/>
                        </a:lnTo>
                        <a:lnTo>
                          <a:pt x="45" y="0"/>
                        </a:lnTo>
                        <a:lnTo>
                          <a:pt x="46" y="0"/>
                        </a:lnTo>
                        <a:lnTo>
                          <a:pt x="51" y="0"/>
                        </a:lnTo>
                        <a:lnTo>
                          <a:pt x="56" y="0"/>
                        </a:lnTo>
                        <a:lnTo>
                          <a:pt x="57" y="0"/>
                        </a:lnTo>
                        <a:lnTo>
                          <a:pt x="58" y="0"/>
                        </a:lnTo>
                        <a:lnTo>
                          <a:pt x="59" y="1"/>
                        </a:lnTo>
                        <a:lnTo>
                          <a:pt x="60" y="2"/>
                        </a:lnTo>
                        <a:lnTo>
                          <a:pt x="60" y="3"/>
                        </a:lnTo>
                        <a:lnTo>
                          <a:pt x="60" y="4"/>
                        </a:lnTo>
                        <a:lnTo>
                          <a:pt x="63" y="4"/>
                        </a:lnTo>
                        <a:lnTo>
                          <a:pt x="63" y="6"/>
                        </a:lnTo>
                        <a:lnTo>
                          <a:pt x="63" y="9"/>
                        </a:lnTo>
                        <a:lnTo>
                          <a:pt x="65" y="9"/>
                        </a:lnTo>
                        <a:lnTo>
                          <a:pt x="66" y="9"/>
                        </a:lnTo>
                        <a:lnTo>
                          <a:pt x="67" y="9"/>
                        </a:lnTo>
                        <a:lnTo>
                          <a:pt x="67" y="12"/>
                        </a:lnTo>
                        <a:lnTo>
                          <a:pt x="67" y="14"/>
                        </a:lnTo>
                        <a:lnTo>
                          <a:pt x="67" y="15"/>
                        </a:lnTo>
                        <a:lnTo>
                          <a:pt x="67" y="17"/>
                        </a:lnTo>
                        <a:lnTo>
                          <a:pt x="65" y="17"/>
                        </a:lnTo>
                        <a:lnTo>
                          <a:pt x="64" y="18"/>
                        </a:lnTo>
                        <a:lnTo>
                          <a:pt x="63" y="18"/>
                        </a:lnTo>
                        <a:lnTo>
                          <a:pt x="63" y="19"/>
                        </a:lnTo>
                        <a:lnTo>
                          <a:pt x="62" y="20"/>
                        </a:lnTo>
                        <a:lnTo>
                          <a:pt x="62" y="21"/>
                        </a:lnTo>
                        <a:lnTo>
                          <a:pt x="63" y="22"/>
                        </a:lnTo>
                        <a:lnTo>
                          <a:pt x="63" y="23"/>
                        </a:lnTo>
                        <a:lnTo>
                          <a:pt x="63" y="24"/>
                        </a:lnTo>
                        <a:lnTo>
                          <a:pt x="63" y="26"/>
                        </a:lnTo>
                        <a:lnTo>
                          <a:pt x="65" y="24"/>
                        </a:lnTo>
                        <a:lnTo>
                          <a:pt x="68" y="24"/>
                        </a:lnTo>
                        <a:lnTo>
                          <a:pt x="69" y="24"/>
                        </a:lnTo>
                        <a:lnTo>
                          <a:pt x="69" y="25"/>
                        </a:lnTo>
                        <a:lnTo>
                          <a:pt x="67" y="2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1" name="Freeform 1762">
                    <a:extLst>
                      <a:ext uri="{FF2B5EF4-FFF2-40B4-BE49-F238E27FC236}">
                        <a16:creationId xmlns:a16="http://schemas.microsoft.com/office/drawing/2014/main" xmlns="" id="{4AB524E7-60AF-457E-AEB3-9DC83612D192}"/>
                      </a:ext>
                    </a:extLst>
                  </p:cNvPr>
                  <p:cNvSpPr>
                    <a:spLocks/>
                  </p:cNvSpPr>
                  <p:nvPr/>
                </p:nvSpPr>
                <p:spPr bwMode="gray">
                  <a:xfrm>
                    <a:off x="4637828" y="2707084"/>
                    <a:ext cx="40049" cy="82328"/>
                  </a:xfrm>
                  <a:custGeom>
                    <a:avLst/>
                    <a:gdLst>
                      <a:gd name="T0" fmla="*/ 2147483647 w 36"/>
                      <a:gd name="T1" fmla="*/ 2147483647 h 74"/>
                      <a:gd name="T2" fmla="*/ 2147483647 w 36"/>
                      <a:gd name="T3" fmla="*/ 2147483647 h 74"/>
                      <a:gd name="T4" fmla="*/ 2147483647 w 36"/>
                      <a:gd name="T5" fmla="*/ 2147483647 h 74"/>
                      <a:gd name="T6" fmla="*/ 2147483647 w 36"/>
                      <a:gd name="T7" fmla="*/ 2147483647 h 74"/>
                      <a:gd name="T8" fmla="*/ 2147483647 w 36"/>
                      <a:gd name="T9" fmla="*/ 2147483647 h 74"/>
                      <a:gd name="T10" fmla="*/ 2147483647 w 36"/>
                      <a:gd name="T11" fmla="*/ 2147483647 h 74"/>
                      <a:gd name="T12" fmla="*/ 2147483647 w 36"/>
                      <a:gd name="T13" fmla="*/ 2147483647 h 74"/>
                      <a:gd name="T14" fmla="*/ 2147483647 w 36"/>
                      <a:gd name="T15" fmla="*/ 2147483647 h 74"/>
                      <a:gd name="T16" fmla="*/ 2147483647 w 36"/>
                      <a:gd name="T17" fmla="*/ 2147483647 h 74"/>
                      <a:gd name="T18" fmla="*/ 2147483647 w 36"/>
                      <a:gd name="T19" fmla="*/ 2147483647 h 74"/>
                      <a:gd name="T20" fmla="*/ 2147483647 w 36"/>
                      <a:gd name="T21" fmla="*/ 2147483647 h 74"/>
                      <a:gd name="T22" fmla="*/ 2147483647 w 36"/>
                      <a:gd name="T23" fmla="*/ 2147483647 h 74"/>
                      <a:gd name="T24" fmla="*/ 2147483647 w 36"/>
                      <a:gd name="T25" fmla="*/ 2147483647 h 74"/>
                      <a:gd name="T26" fmla="*/ 2147483647 w 36"/>
                      <a:gd name="T27" fmla="*/ 2147483647 h 74"/>
                      <a:gd name="T28" fmla="*/ 2147483647 w 36"/>
                      <a:gd name="T29" fmla="*/ 2147483647 h 74"/>
                      <a:gd name="T30" fmla="*/ 2147483647 w 36"/>
                      <a:gd name="T31" fmla="*/ 2147483647 h 74"/>
                      <a:gd name="T32" fmla="*/ 2147483647 w 36"/>
                      <a:gd name="T33" fmla="*/ 2147483647 h 74"/>
                      <a:gd name="T34" fmla="*/ 2147483647 w 36"/>
                      <a:gd name="T35" fmla="*/ 2147483647 h 74"/>
                      <a:gd name="T36" fmla="*/ 2147483647 w 36"/>
                      <a:gd name="T37" fmla="*/ 2147483647 h 74"/>
                      <a:gd name="T38" fmla="*/ 2147483647 w 36"/>
                      <a:gd name="T39" fmla="*/ 2147483647 h 74"/>
                      <a:gd name="T40" fmla="*/ 2147483647 w 36"/>
                      <a:gd name="T41" fmla="*/ 2147483647 h 74"/>
                      <a:gd name="T42" fmla="*/ 2147483647 w 36"/>
                      <a:gd name="T43" fmla="*/ 2147483647 h 74"/>
                      <a:gd name="T44" fmla="*/ 2147483647 w 36"/>
                      <a:gd name="T45" fmla="*/ 2147483647 h 74"/>
                      <a:gd name="T46" fmla="*/ 2147483647 w 36"/>
                      <a:gd name="T47" fmla="*/ 2147483647 h 74"/>
                      <a:gd name="T48" fmla="*/ 2147483647 w 36"/>
                      <a:gd name="T49" fmla="*/ 2147483647 h 74"/>
                      <a:gd name="T50" fmla="*/ 2147483647 w 36"/>
                      <a:gd name="T51" fmla="*/ 2147483647 h 74"/>
                      <a:gd name="T52" fmla="*/ 0 w 36"/>
                      <a:gd name="T53" fmla="*/ 2147483647 h 74"/>
                      <a:gd name="T54" fmla="*/ 2147483647 w 36"/>
                      <a:gd name="T55" fmla="*/ 2147483647 h 74"/>
                      <a:gd name="T56" fmla="*/ 2147483647 w 36"/>
                      <a:gd name="T57" fmla="*/ 2147483647 h 74"/>
                      <a:gd name="T58" fmla="*/ 2147483647 w 36"/>
                      <a:gd name="T59" fmla="*/ 2147483647 h 74"/>
                      <a:gd name="T60" fmla="*/ 2147483647 w 36"/>
                      <a:gd name="T61" fmla="*/ 2147483647 h 74"/>
                      <a:gd name="T62" fmla="*/ 2147483647 w 36"/>
                      <a:gd name="T63" fmla="*/ 2147483647 h 74"/>
                      <a:gd name="T64" fmla="*/ 2147483647 w 36"/>
                      <a:gd name="T65" fmla="*/ 2147483647 h 74"/>
                      <a:gd name="T66" fmla="*/ 2147483647 w 36"/>
                      <a:gd name="T67" fmla="*/ 2147483647 h 74"/>
                      <a:gd name="T68" fmla="*/ 2147483647 w 36"/>
                      <a:gd name="T69" fmla="*/ 2147483647 h 74"/>
                      <a:gd name="T70" fmla="*/ 2147483647 w 36"/>
                      <a:gd name="T71" fmla="*/ 0 h 74"/>
                      <a:gd name="T72" fmla="*/ 2147483647 w 36"/>
                      <a:gd name="T73" fmla="*/ 2147483647 h 74"/>
                      <a:gd name="T74" fmla="*/ 2147483647 w 36"/>
                      <a:gd name="T75" fmla="*/ 2147483647 h 74"/>
                      <a:gd name="T76" fmla="*/ 2147483647 w 36"/>
                      <a:gd name="T77" fmla="*/ 2147483647 h 74"/>
                      <a:gd name="T78" fmla="*/ 2147483647 w 36"/>
                      <a:gd name="T79" fmla="*/ 2147483647 h 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 h="74">
                        <a:moveTo>
                          <a:pt x="35" y="6"/>
                        </a:moveTo>
                        <a:lnTo>
                          <a:pt x="35" y="16"/>
                        </a:lnTo>
                        <a:lnTo>
                          <a:pt x="32" y="20"/>
                        </a:lnTo>
                        <a:lnTo>
                          <a:pt x="30" y="21"/>
                        </a:lnTo>
                        <a:lnTo>
                          <a:pt x="28" y="24"/>
                        </a:lnTo>
                        <a:lnTo>
                          <a:pt x="27" y="27"/>
                        </a:lnTo>
                        <a:lnTo>
                          <a:pt x="26" y="29"/>
                        </a:lnTo>
                        <a:lnTo>
                          <a:pt x="24" y="30"/>
                        </a:lnTo>
                        <a:lnTo>
                          <a:pt x="23" y="32"/>
                        </a:lnTo>
                        <a:lnTo>
                          <a:pt x="21" y="35"/>
                        </a:lnTo>
                        <a:lnTo>
                          <a:pt x="19" y="39"/>
                        </a:lnTo>
                        <a:lnTo>
                          <a:pt x="18" y="44"/>
                        </a:lnTo>
                        <a:lnTo>
                          <a:pt x="16" y="49"/>
                        </a:lnTo>
                        <a:lnTo>
                          <a:pt x="15" y="51"/>
                        </a:lnTo>
                        <a:lnTo>
                          <a:pt x="14" y="52"/>
                        </a:lnTo>
                        <a:lnTo>
                          <a:pt x="13" y="54"/>
                        </a:lnTo>
                        <a:lnTo>
                          <a:pt x="13" y="56"/>
                        </a:lnTo>
                        <a:lnTo>
                          <a:pt x="12" y="59"/>
                        </a:lnTo>
                        <a:lnTo>
                          <a:pt x="10" y="62"/>
                        </a:lnTo>
                        <a:lnTo>
                          <a:pt x="9" y="65"/>
                        </a:lnTo>
                        <a:lnTo>
                          <a:pt x="7" y="68"/>
                        </a:lnTo>
                        <a:lnTo>
                          <a:pt x="5" y="71"/>
                        </a:lnTo>
                        <a:lnTo>
                          <a:pt x="3" y="72"/>
                        </a:lnTo>
                        <a:lnTo>
                          <a:pt x="1" y="74"/>
                        </a:lnTo>
                        <a:lnTo>
                          <a:pt x="0" y="72"/>
                        </a:lnTo>
                        <a:lnTo>
                          <a:pt x="1" y="69"/>
                        </a:lnTo>
                        <a:lnTo>
                          <a:pt x="4" y="62"/>
                        </a:lnTo>
                        <a:lnTo>
                          <a:pt x="5" y="58"/>
                        </a:lnTo>
                        <a:lnTo>
                          <a:pt x="7" y="56"/>
                        </a:lnTo>
                        <a:lnTo>
                          <a:pt x="12" y="39"/>
                        </a:lnTo>
                        <a:lnTo>
                          <a:pt x="16" y="24"/>
                        </a:lnTo>
                        <a:lnTo>
                          <a:pt x="22" y="11"/>
                        </a:lnTo>
                        <a:lnTo>
                          <a:pt x="26" y="5"/>
                        </a:lnTo>
                        <a:lnTo>
                          <a:pt x="32" y="0"/>
                        </a:lnTo>
                        <a:lnTo>
                          <a:pt x="35" y="3"/>
                        </a:lnTo>
                        <a:lnTo>
                          <a:pt x="36" y="5"/>
                        </a:lnTo>
                        <a:lnTo>
                          <a:pt x="36" y="7"/>
                        </a:lnTo>
                        <a:lnTo>
                          <a:pt x="35" y="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2" name="Freeform 1764">
                    <a:extLst>
                      <a:ext uri="{FF2B5EF4-FFF2-40B4-BE49-F238E27FC236}">
                        <a16:creationId xmlns:a16="http://schemas.microsoft.com/office/drawing/2014/main" xmlns="" id="{BE1E8859-FDC1-4779-B3FE-FBC1D7C973AA}"/>
                      </a:ext>
                    </a:extLst>
                  </p:cNvPr>
                  <p:cNvSpPr>
                    <a:spLocks/>
                  </p:cNvSpPr>
                  <p:nvPr/>
                </p:nvSpPr>
                <p:spPr bwMode="gray">
                  <a:xfrm>
                    <a:off x="4692338" y="2668145"/>
                    <a:ext cx="28925" cy="8901"/>
                  </a:xfrm>
                  <a:custGeom>
                    <a:avLst/>
                    <a:gdLst>
                      <a:gd name="T0" fmla="*/ 2147483647 w 26"/>
                      <a:gd name="T1" fmla="*/ 2147483647 h 8"/>
                      <a:gd name="T2" fmla="*/ 2147483647 w 26"/>
                      <a:gd name="T3" fmla="*/ 2147483647 h 8"/>
                      <a:gd name="T4" fmla="*/ 2147483647 w 26"/>
                      <a:gd name="T5" fmla="*/ 2147483647 h 8"/>
                      <a:gd name="T6" fmla="*/ 2147483647 w 26"/>
                      <a:gd name="T7" fmla="*/ 2147483647 h 8"/>
                      <a:gd name="T8" fmla="*/ 2147483647 w 26"/>
                      <a:gd name="T9" fmla="*/ 2147483647 h 8"/>
                      <a:gd name="T10" fmla="*/ 2147483647 w 26"/>
                      <a:gd name="T11" fmla="*/ 2147483647 h 8"/>
                      <a:gd name="T12" fmla="*/ 2147483647 w 26"/>
                      <a:gd name="T13" fmla="*/ 2147483647 h 8"/>
                      <a:gd name="T14" fmla="*/ 2147483647 w 26"/>
                      <a:gd name="T15" fmla="*/ 2147483647 h 8"/>
                      <a:gd name="T16" fmla="*/ 2147483647 w 26"/>
                      <a:gd name="T17" fmla="*/ 2147483647 h 8"/>
                      <a:gd name="T18" fmla="*/ 2147483647 w 26"/>
                      <a:gd name="T19" fmla="*/ 2147483647 h 8"/>
                      <a:gd name="T20" fmla="*/ 2147483647 w 26"/>
                      <a:gd name="T21" fmla="*/ 2147483647 h 8"/>
                      <a:gd name="T22" fmla="*/ 0 w 26"/>
                      <a:gd name="T23" fmla="*/ 2147483647 h 8"/>
                      <a:gd name="T24" fmla="*/ 0 w 26"/>
                      <a:gd name="T25" fmla="*/ 2147483647 h 8"/>
                      <a:gd name="T26" fmla="*/ 0 w 26"/>
                      <a:gd name="T27" fmla="*/ 2147483647 h 8"/>
                      <a:gd name="T28" fmla="*/ 0 w 26"/>
                      <a:gd name="T29" fmla="*/ 2147483647 h 8"/>
                      <a:gd name="T30" fmla="*/ 2147483647 w 26"/>
                      <a:gd name="T31" fmla="*/ 2147483647 h 8"/>
                      <a:gd name="T32" fmla="*/ 2147483647 w 26"/>
                      <a:gd name="T33" fmla="*/ 2147483647 h 8"/>
                      <a:gd name="T34" fmla="*/ 2147483647 w 26"/>
                      <a:gd name="T35" fmla="*/ 2147483647 h 8"/>
                      <a:gd name="T36" fmla="*/ 2147483647 w 26"/>
                      <a:gd name="T37" fmla="*/ 2147483647 h 8"/>
                      <a:gd name="T38" fmla="*/ 2147483647 w 26"/>
                      <a:gd name="T39" fmla="*/ 0 h 8"/>
                      <a:gd name="T40" fmla="*/ 2147483647 w 26"/>
                      <a:gd name="T41" fmla="*/ 0 h 8"/>
                      <a:gd name="T42" fmla="*/ 2147483647 w 26"/>
                      <a:gd name="T43" fmla="*/ 0 h 8"/>
                      <a:gd name="T44" fmla="*/ 2147483647 w 26"/>
                      <a:gd name="T45" fmla="*/ 0 h 8"/>
                      <a:gd name="T46" fmla="*/ 2147483647 w 26"/>
                      <a:gd name="T47" fmla="*/ 0 h 8"/>
                      <a:gd name="T48" fmla="*/ 2147483647 w 26"/>
                      <a:gd name="T49" fmla="*/ 0 h 8"/>
                      <a:gd name="T50" fmla="*/ 2147483647 w 26"/>
                      <a:gd name="T51" fmla="*/ 0 h 8"/>
                      <a:gd name="T52" fmla="*/ 2147483647 w 26"/>
                      <a:gd name="T53" fmla="*/ 0 h 8"/>
                      <a:gd name="T54" fmla="*/ 2147483647 w 26"/>
                      <a:gd name="T55" fmla="*/ 0 h 8"/>
                      <a:gd name="T56" fmla="*/ 2147483647 w 26"/>
                      <a:gd name="T57" fmla="*/ 0 h 8"/>
                      <a:gd name="T58" fmla="*/ 2147483647 w 26"/>
                      <a:gd name="T59" fmla="*/ 2147483647 h 8"/>
                      <a:gd name="T60" fmla="*/ 2147483647 w 26"/>
                      <a:gd name="T61" fmla="*/ 2147483647 h 8"/>
                      <a:gd name="T62" fmla="*/ 2147483647 w 26"/>
                      <a:gd name="T63" fmla="*/ 2147483647 h 8"/>
                      <a:gd name="T64" fmla="*/ 2147483647 w 26"/>
                      <a:gd name="T65" fmla="*/ 2147483647 h 8"/>
                      <a:gd name="T66" fmla="*/ 2147483647 w 26"/>
                      <a:gd name="T67" fmla="*/ 2147483647 h 8"/>
                      <a:gd name="T68" fmla="*/ 2147483647 w 26"/>
                      <a:gd name="T69" fmla="*/ 2147483647 h 8"/>
                      <a:gd name="T70" fmla="*/ 2147483647 w 26"/>
                      <a:gd name="T71" fmla="*/ 2147483647 h 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6" h="8">
                        <a:moveTo>
                          <a:pt x="13" y="5"/>
                        </a:moveTo>
                        <a:lnTo>
                          <a:pt x="11" y="5"/>
                        </a:lnTo>
                        <a:lnTo>
                          <a:pt x="10" y="4"/>
                        </a:lnTo>
                        <a:lnTo>
                          <a:pt x="8" y="2"/>
                        </a:lnTo>
                        <a:lnTo>
                          <a:pt x="6" y="2"/>
                        </a:lnTo>
                        <a:lnTo>
                          <a:pt x="5" y="2"/>
                        </a:lnTo>
                        <a:lnTo>
                          <a:pt x="3" y="2"/>
                        </a:lnTo>
                        <a:lnTo>
                          <a:pt x="3" y="5"/>
                        </a:lnTo>
                        <a:lnTo>
                          <a:pt x="1" y="5"/>
                        </a:lnTo>
                        <a:lnTo>
                          <a:pt x="0" y="4"/>
                        </a:lnTo>
                        <a:lnTo>
                          <a:pt x="0" y="2"/>
                        </a:lnTo>
                        <a:lnTo>
                          <a:pt x="1" y="2"/>
                        </a:lnTo>
                        <a:lnTo>
                          <a:pt x="3" y="2"/>
                        </a:lnTo>
                        <a:lnTo>
                          <a:pt x="3" y="1"/>
                        </a:lnTo>
                        <a:lnTo>
                          <a:pt x="3" y="0"/>
                        </a:lnTo>
                        <a:lnTo>
                          <a:pt x="5" y="0"/>
                        </a:lnTo>
                        <a:lnTo>
                          <a:pt x="6" y="0"/>
                        </a:lnTo>
                        <a:lnTo>
                          <a:pt x="9" y="0"/>
                        </a:lnTo>
                        <a:lnTo>
                          <a:pt x="13" y="0"/>
                        </a:lnTo>
                        <a:lnTo>
                          <a:pt x="17" y="0"/>
                        </a:lnTo>
                        <a:lnTo>
                          <a:pt x="20" y="0"/>
                        </a:lnTo>
                        <a:lnTo>
                          <a:pt x="23" y="2"/>
                        </a:lnTo>
                        <a:lnTo>
                          <a:pt x="26" y="3"/>
                        </a:lnTo>
                        <a:lnTo>
                          <a:pt x="26" y="5"/>
                        </a:lnTo>
                        <a:lnTo>
                          <a:pt x="24" y="6"/>
                        </a:lnTo>
                        <a:lnTo>
                          <a:pt x="22" y="6"/>
                        </a:lnTo>
                        <a:lnTo>
                          <a:pt x="19" y="8"/>
                        </a:lnTo>
                        <a:lnTo>
                          <a:pt x="13" y="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3" name="Freeform 1766">
                    <a:extLst>
                      <a:ext uri="{FF2B5EF4-FFF2-40B4-BE49-F238E27FC236}">
                        <a16:creationId xmlns:a16="http://schemas.microsoft.com/office/drawing/2014/main" xmlns="" id="{6FCFC831-CE58-466C-A64E-509BE7E4740B}"/>
                      </a:ext>
                    </a:extLst>
                  </p:cNvPr>
                  <p:cNvSpPr>
                    <a:spLocks/>
                  </p:cNvSpPr>
                  <p:nvPr/>
                </p:nvSpPr>
                <p:spPr bwMode="gray">
                  <a:xfrm>
                    <a:off x="4804698" y="2668145"/>
                    <a:ext cx="5563" cy="3337"/>
                  </a:xfrm>
                  <a:custGeom>
                    <a:avLst/>
                    <a:gdLst>
                      <a:gd name="T0" fmla="*/ 2147483647 w 5"/>
                      <a:gd name="T1" fmla="*/ 2147483647 h 3"/>
                      <a:gd name="T2" fmla="*/ 0 w 5"/>
                      <a:gd name="T3" fmla="*/ 2147483647 h 3"/>
                      <a:gd name="T4" fmla="*/ 0 w 5"/>
                      <a:gd name="T5" fmla="*/ 2147483647 h 3"/>
                      <a:gd name="T6" fmla="*/ 0 w 5"/>
                      <a:gd name="T7" fmla="*/ 0 h 3"/>
                      <a:gd name="T8" fmla="*/ 2147483647 w 5"/>
                      <a:gd name="T9" fmla="*/ 0 h 3"/>
                      <a:gd name="T10" fmla="*/ 2147483647 w 5"/>
                      <a:gd name="T11" fmla="*/ 2147483647 h 3"/>
                      <a:gd name="T12" fmla="*/ 2147483647 w 5"/>
                      <a:gd name="T13" fmla="*/ 2147483647 h 3"/>
                      <a:gd name="T14" fmla="*/ 2147483647 w 5"/>
                      <a:gd name="T15" fmla="*/ 2147483647 h 3"/>
                      <a:gd name="T16" fmla="*/ 2147483647 w 5"/>
                      <a:gd name="T17" fmla="*/ 2147483647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
                        <a:moveTo>
                          <a:pt x="1" y="3"/>
                        </a:moveTo>
                        <a:lnTo>
                          <a:pt x="0" y="2"/>
                        </a:lnTo>
                        <a:lnTo>
                          <a:pt x="0" y="1"/>
                        </a:lnTo>
                        <a:lnTo>
                          <a:pt x="0" y="0"/>
                        </a:lnTo>
                        <a:lnTo>
                          <a:pt x="1" y="0"/>
                        </a:lnTo>
                        <a:lnTo>
                          <a:pt x="3" y="2"/>
                        </a:lnTo>
                        <a:lnTo>
                          <a:pt x="5" y="3"/>
                        </a:lnTo>
                        <a:lnTo>
                          <a:pt x="4" y="3"/>
                        </a:lnTo>
                        <a:lnTo>
                          <a:pt x="1"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4" name="Freeform 1768">
                    <a:extLst>
                      <a:ext uri="{FF2B5EF4-FFF2-40B4-BE49-F238E27FC236}">
                        <a16:creationId xmlns:a16="http://schemas.microsoft.com/office/drawing/2014/main" xmlns="" id="{C77E3558-52C5-412A-A413-5172BD5D0F8E}"/>
                      </a:ext>
                    </a:extLst>
                  </p:cNvPr>
                  <p:cNvSpPr>
                    <a:spLocks/>
                  </p:cNvSpPr>
                  <p:nvPr/>
                </p:nvSpPr>
                <p:spPr bwMode="gray">
                  <a:xfrm>
                    <a:off x="4804698" y="2661469"/>
                    <a:ext cx="1113" cy="3337"/>
                  </a:xfrm>
                  <a:custGeom>
                    <a:avLst/>
                    <a:gdLst>
                      <a:gd name="T0" fmla="*/ 2147483647 w 1"/>
                      <a:gd name="T1" fmla="*/ 0 h 3"/>
                      <a:gd name="T2" fmla="*/ 2147483647 w 1"/>
                      <a:gd name="T3" fmla="*/ 2147483647 h 3"/>
                      <a:gd name="T4" fmla="*/ 0 w 1"/>
                      <a:gd name="T5" fmla="*/ 2147483647 h 3"/>
                      <a:gd name="T6" fmla="*/ 0 w 1"/>
                      <a:gd name="T7" fmla="*/ 2147483647 h 3"/>
                      <a:gd name="T8" fmla="*/ 0 w 1"/>
                      <a:gd name="T9" fmla="*/ 0 h 3"/>
                      <a:gd name="T10" fmla="*/ 2147483647 w 1"/>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3">
                        <a:moveTo>
                          <a:pt x="1" y="0"/>
                        </a:moveTo>
                        <a:lnTo>
                          <a:pt x="1" y="3"/>
                        </a:lnTo>
                        <a:lnTo>
                          <a:pt x="0" y="3"/>
                        </a:lnTo>
                        <a:lnTo>
                          <a:pt x="0" y="2"/>
                        </a:lnTo>
                        <a:lnTo>
                          <a:pt x="0"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5" name="Freeform 1771">
                    <a:extLst>
                      <a:ext uri="{FF2B5EF4-FFF2-40B4-BE49-F238E27FC236}">
                        <a16:creationId xmlns:a16="http://schemas.microsoft.com/office/drawing/2014/main" xmlns="" id="{53274E78-9576-4F5E-A4AC-BF16E3C547C4}"/>
                      </a:ext>
                    </a:extLst>
                  </p:cNvPr>
                  <p:cNvSpPr>
                    <a:spLocks/>
                  </p:cNvSpPr>
                  <p:nvPr/>
                </p:nvSpPr>
                <p:spPr bwMode="gray">
                  <a:xfrm>
                    <a:off x="4724600" y="2645894"/>
                    <a:ext cx="74535" cy="28926"/>
                  </a:xfrm>
                  <a:custGeom>
                    <a:avLst/>
                    <a:gdLst>
                      <a:gd name="T0" fmla="*/ 2147483647 w 67"/>
                      <a:gd name="T1" fmla="*/ 2147483647 h 26"/>
                      <a:gd name="T2" fmla="*/ 2147483647 w 67"/>
                      <a:gd name="T3" fmla="*/ 2147483647 h 26"/>
                      <a:gd name="T4" fmla="*/ 2147483647 w 67"/>
                      <a:gd name="T5" fmla="*/ 2147483647 h 26"/>
                      <a:gd name="T6" fmla="*/ 2147483647 w 67"/>
                      <a:gd name="T7" fmla="*/ 2147483647 h 26"/>
                      <a:gd name="T8" fmla="*/ 2147483647 w 67"/>
                      <a:gd name="T9" fmla="*/ 2147483647 h 26"/>
                      <a:gd name="T10" fmla="*/ 2147483647 w 67"/>
                      <a:gd name="T11" fmla="*/ 2147483647 h 26"/>
                      <a:gd name="T12" fmla="*/ 2147483647 w 67"/>
                      <a:gd name="T13" fmla="*/ 2147483647 h 26"/>
                      <a:gd name="T14" fmla="*/ 2147483647 w 67"/>
                      <a:gd name="T15" fmla="*/ 2147483647 h 26"/>
                      <a:gd name="T16" fmla="*/ 2147483647 w 67"/>
                      <a:gd name="T17" fmla="*/ 2147483647 h 26"/>
                      <a:gd name="T18" fmla="*/ 2147483647 w 67"/>
                      <a:gd name="T19" fmla="*/ 2147483647 h 26"/>
                      <a:gd name="T20" fmla="*/ 2147483647 w 67"/>
                      <a:gd name="T21" fmla="*/ 2147483647 h 26"/>
                      <a:gd name="T22" fmla="*/ 2147483647 w 67"/>
                      <a:gd name="T23" fmla="*/ 2147483647 h 26"/>
                      <a:gd name="T24" fmla="*/ 2147483647 w 67"/>
                      <a:gd name="T25" fmla="*/ 2147483647 h 26"/>
                      <a:gd name="T26" fmla="*/ 2147483647 w 67"/>
                      <a:gd name="T27" fmla="*/ 2147483647 h 26"/>
                      <a:gd name="T28" fmla="*/ 2147483647 w 67"/>
                      <a:gd name="T29" fmla="*/ 2147483647 h 26"/>
                      <a:gd name="T30" fmla="*/ 2147483647 w 67"/>
                      <a:gd name="T31" fmla="*/ 2147483647 h 26"/>
                      <a:gd name="T32" fmla="*/ 2147483647 w 67"/>
                      <a:gd name="T33" fmla="*/ 2147483647 h 26"/>
                      <a:gd name="T34" fmla="*/ 2147483647 w 67"/>
                      <a:gd name="T35" fmla="*/ 2147483647 h 26"/>
                      <a:gd name="T36" fmla="*/ 2147483647 w 67"/>
                      <a:gd name="T37" fmla="*/ 2147483647 h 26"/>
                      <a:gd name="T38" fmla="*/ 2147483647 w 67"/>
                      <a:gd name="T39" fmla="*/ 2147483647 h 26"/>
                      <a:gd name="T40" fmla="*/ 2147483647 w 67"/>
                      <a:gd name="T41" fmla="*/ 2147483647 h 26"/>
                      <a:gd name="T42" fmla="*/ 2147483647 w 67"/>
                      <a:gd name="T43" fmla="*/ 2147483647 h 26"/>
                      <a:gd name="T44" fmla="*/ 2147483647 w 67"/>
                      <a:gd name="T45" fmla="*/ 2147483647 h 26"/>
                      <a:gd name="T46" fmla="*/ 2147483647 w 67"/>
                      <a:gd name="T47" fmla="*/ 2147483647 h 26"/>
                      <a:gd name="T48" fmla="*/ 2147483647 w 67"/>
                      <a:gd name="T49" fmla="*/ 2147483647 h 26"/>
                      <a:gd name="T50" fmla="*/ 2147483647 w 67"/>
                      <a:gd name="T51" fmla="*/ 2147483647 h 26"/>
                      <a:gd name="T52" fmla="*/ 2147483647 w 67"/>
                      <a:gd name="T53" fmla="*/ 2147483647 h 26"/>
                      <a:gd name="T54" fmla="*/ 2147483647 w 67"/>
                      <a:gd name="T55" fmla="*/ 2147483647 h 26"/>
                      <a:gd name="T56" fmla="*/ 2147483647 w 67"/>
                      <a:gd name="T57" fmla="*/ 2147483647 h 26"/>
                      <a:gd name="T58" fmla="*/ 2147483647 w 67"/>
                      <a:gd name="T59" fmla="*/ 2147483647 h 26"/>
                      <a:gd name="T60" fmla="*/ 2147483647 w 67"/>
                      <a:gd name="T61" fmla="*/ 2147483647 h 26"/>
                      <a:gd name="T62" fmla="*/ 2147483647 w 67"/>
                      <a:gd name="T63" fmla="*/ 2147483647 h 26"/>
                      <a:gd name="T64" fmla="*/ 2147483647 w 67"/>
                      <a:gd name="T65" fmla="*/ 2147483647 h 26"/>
                      <a:gd name="T66" fmla="*/ 2147483647 w 67"/>
                      <a:gd name="T67" fmla="*/ 2147483647 h 26"/>
                      <a:gd name="T68" fmla="*/ 2147483647 w 67"/>
                      <a:gd name="T69" fmla="*/ 2147483647 h 26"/>
                      <a:gd name="T70" fmla="*/ 2147483647 w 67"/>
                      <a:gd name="T71" fmla="*/ 2147483647 h 26"/>
                      <a:gd name="T72" fmla="*/ 2147483647 w 67"/>
                      <a:gd name="T73" fmla="*/ 2147483647 h 26"/>
                      <a:gd name="T74" fmla="*/ 2147483647 w 67"/>
                      <a:gd name="T75" fmla="*/ 2147483647 h 26"/>
                      <a:gd name="T76" fmla="*/ 0 w 67"/>
                      <a:gd name="T77" fmla="*/ 2147483647 h 26"/>
                      <a:gd name="T78" fmla="*/ 0 w 67"/>
                      <a:gd name="T79" fmla="*/ 2147483647 h 26"/>
                      <a:gd name="T80" fmla="*/ 2147483647 w 67"/>
                      <a:gd name="T81" fmla="*/ 2147483647 h 26"/>
                      <a:gd name="T82" fmla="*/ 2147483647 w 67"/>
                      <a:gd name="T83" fmla="*/ 2147483647 h 26"/>
                      <a:gd name="T84" fmla="*/ 2147483647 w 67"/>
                      <a:gd name="T85" fmla="*/ 2147483647 h 26"/>
                      <a:gd name="T86" fmla="*/ 2147483647 w 67"/>
                      <a:gd name="T87" fmla="*/ 0 h 26"/>
                      <a:gd name="T88" fmla="*/ 2147483647 w 67"/>
                      <a:gd name="T89" fmla="*/ 0 h 26"/>
                      <a:gd name="T90" fmla="*/ 2147483647 w 67"/>
                      <a:gd name="T91" fmla="*/ 0 h 26"/>
                      <a:gd name="T92" fmla="*/ 2147483647 w 67"/>
                      <a:gd name="T93" fmla="*/ 2147483647 h 26"/>
                      <a:gd name="T94" fmla="*/ 2147483647 w 67"/>
                      <a:gd name="T95" fmla="*/ 2147483647 h 26"/>
                      <a:gd name="T96" fmla="*/ 2147483647 w 67"/>
                      <a:gd name="T97" fmla="*/ 2147483647 h 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7" h="26">
                        <a:moveTo>
                          <a:pt x="51" y="4"/>
                        </a:moveTo>
                        <a:lnTo>
                          <a:pt x="51" y="4"/>
                        </a:lnTo>
                        <a:lnTo>
                          <a:pt x="51" y="6"/>
                        </a:lnTo>
                        <a:lnTo>
                          <a:pt x="51" y="7"/>
                        </a:lnTo>
                        <a:lnTo>
                          <a:pt x="56" y="7"/>
                        </a:lnTo>
                        <a:lnTo>
                          <a:pt x="58" y="7"/>
                        </a:lnTo>
                        <a:lnTo>
                          <a:pt x="58" y="11"/>
                        </a:lnTo>
                        <a:lnTo>
                          <a:pt x="59" y="13"/>
                        </a:lnTo>
                        <a:lnTo>
                          <a:pt x="60" y="16"/>
                        </a:lnTo>
                        <a:lnTo>
                          <a:pt x="62" y="20"/>
                        </a:lnTo>
                        <a:lnTo>
                          <a:pt x="63" y="20"/>
                        </a:lnTo>
                        <a:lnTo>
                          <a:pt x="65" y="20"/>
                        </a:lnTo>
                        <a:lnTo>
                          <a:pt x="64" y="19"/>
                        </a:lnTo>
                        <a:lnTo>
                          <a:pt x="63" y="16"/>
                        </a:lnTo>
                        <a:lnTo>
                          <a:pt x="62" y="14"/>
                        </a:lnTo>
                        <a:lnTo>
                          <a:pt x="62" y="13"/>
                        </a:lnTo>
                        <a:lnTo>
                          <a:pt x="63" y="13"/>
                        </a:lnTo>
                        <a:lnTo>
                          <a:pt x="64" y="15"/>
                        </a:lnTo>
                        <a:lnTo>
                          <a:pt x="65" y="20"/>
                        </a:lnTo>
                        <a:lnTo>
                          <a:pt x="66" y="20"/>
                        </a:lnTo>
                        <a:lnTo>
                          <a:pt x="67" y="20"/>
                        </a:lnTo>
                        <a:lnTo>
                          <a:pt x="66" y="22"/>
                        </a:lnTo>
                        <a:lnTo>
                          <a:pt x="63" y="23"/>
                        </a:lnTo>
                        <a:lnTo>
                          <a:pt x="61" y="24"/>
                        </a:lnTo>
                        <a:lnTo>
                          <a:pt x="58" y="26"/>
                        </a:lnTo>
                        <a:lnTo>
                          <a:pt x="57" y="26"/>
                        </a:lnTo>
                        <a:lnTo>
                          <a:pt x="55" y="26"/>
                        </a:lnTo>
                        <a:lnTo>
                          <a:pt x="56" y="26"/>
                        </a:lnTo>
                        <a:lnTo>
                          <a:pt x="55" y="26"/>
                        </a:lnTo>
                        <a:lnTo>
                          <a:pt x="54" y="26"/>
                        </a:lnTo>
                        <a:lnTo>
                          <a:pt x="53" y="26"/>
                        </a:lnTo>
                        <a:lnTo>
                          <a:pt x="52" y="26"/>
                        </a:lnTo>
                        <a:lnTo>
                          <a:pt x="51" y="26"/>
                        </a:lnTo>
                        <a:lnTo>
                          <a:pt x="50" y="25"/>
                        </a:lnTo>
                        <a:lnTo>
                          <a:pt x="49" y="23"/>
                        </a:lnTo>
                        <a:lnTo>
                          <a:pt x="48" y="23"/>
                        </a:lnTo>
                        <a:lnTo>
                          <a:pt x="46" y="23"/>
                        </a:lnTo>
                        <a:lnTo>
                          <a:pt x="45" y="23"/>
                        </a:lnTo>
                        <a:lnTo>
                          <a:pt x="45" y="22"/>
                        </a:lnTo>
                        <a:lnTo>
                          <a:pt x="45" y="21"/>
                        </a:lnTo>
                        <a:lnTo>
                          <a:pt x="45" y="16"/>
                        </a:lnTo>
                        <a:lnTo>
                          <a:pt x="42" y="16"/>
                        </a:lnTo>
                        <a:lnTo>
                          <a:pt x="41" y="15"/>
                        </a:lnTo>
                        <a:lnTo>
                          <a:pt x="40" y="13"/>
                        </a:lnTo>
                        <a:lnTo>
                          <a:pt x="39" y="13"/>
                        </a:lnTo>
                        <a:lnTo>
                          <a:pt x="37" y="13"/>
                        </a:lnTo>
                        <a:lnTo>
                          <a:pt x="36" y="14"/>
                        </a:lnTo>
                        <a:lnTo>
                          <a:pt x="34" y="14"/>
                        </a:lnTo>
                        <a:lnTo>
                          <a:pt x="32" y="13"/>
                        </a:lnTo>
                        <a:lnTo>
                          <a:pt x="30" y="12"/>
                        </a:lnTo>
                        <a:lnTo>
                          <a:pt x="29" y="11"/>
                        </a:lnTo>
                        <a:lnTo>
                          <a:pt x="28" y="8"/>
                        </a:lnTo>
                        <a:lnTo>
                          <a:pt x="26" y="7"/>
                        </a:lnTo>
                        <a:lnTo>
                          <a:pt x="23" y="8"/>
                        </a:lnTo>
                        <a:lnTo>
                          <a:pt x="21" y="9"/>
                        </a:lnTo>
                        <a:lnTo>
                          <a:pt x="18" y="10"/>
                        </a:lnTo>
                        <a:lnTo>
                          <a:pt x="17" y="11"/>
                        </a:lnTo>
                        <a:lnTo>
                          <a:pt x="15" y="11"/>
                        </a:lnTo>
                        <a:lnTo>
                          <a:pt x="12" y="10"/>
                        </a:lnTo>
                        <a:lnTo>
                          <a:pt x="12" y="9"/>
                        </a:lnTo>
                        <a:lnTo>
                          <a:pt x="9" y="7"/>
                        </a:lnTo>
                        <a:lnTo>
                          <a:pt x="6" y="8"/>
                        </a:lnTo>
                        <a:lnTo>
                          <a:pt x="5" y="9"/>
                        </a:lnTo>
                        <a:lnTo>
                          <a:pt x="2" y="10"/>
                        </a:lnTo>
                        <a:lnTo>
                          <a:pt x="0" y="11"/>
                        </a:lnTo>
                        <a:lnTo>
                          <a:pt x="0" y="10"/>
                        </a:lnTo>
                        <a:lnTo>
                          <a:pt x="0" y="9"/>
                        </a:lnTo>
                        <a:lnTo>
                          <a:pt x="0" y="8"/>
                        </a:lnTo>
                        <a:lnTo>
                          <a:pt x="0" y="7"/>
                        </a:lnTo>
                        <a:lnTo>
                          <a:pt x="2" y="7"/>
                        </a:lnTo>
                        <a:lnTo>
                          <a:pt x="3" y="7"/>
                        </a:lnTo>
                        <a:lnTo>
                          <a:pt x="6" y="7"/>
                        </a:lnTo>
                        <a:lnTo>
                          <a:pt x="11" y="5"/>
                        </a:lnTo>
                        <a:lnTo>
                          <a:pt x="12" y="3"/>
                        </a:lnTo>
                        <a:lnTo>
                          <a:pt x="12" y="0"/>
                        </a:lnTo>
                        <a:lnTo>
                          <a:pt x="19" y="0"/>
                        </a:lnTo>
                        <a:lnTo>
                          <a:pt x="23" y="0"/>
                        </a:lnTo>
                        <a:lnTo>
                          <a:pt x="28" y="0"/>
                        </a:lnTo>
                        <a:lnTo>
                          <a:pt x="32" y="0"/>
                        </a:lnTo>
                        <a:lnTo>
                          <a:pt x="36" y="2"/>
                        </a:lnTo>
                        <a:lnTo>
                          <a:pt x="38" y="3"/>
                        </a:lnTo>
                        <a:lnTo>
                          <a:pt x="41" y="6"/>
                        </a:lnTo>
                        <a:lnTo>
                          <a:pt x="44" y="7"/>
                        </a:lnTo>
                        <a:lnTo>
                          <a:pt x="47" y="6"/>
                        </a:lnTo>
                        <a:lnTo>
                          <a:pt x="51" y="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6" name="Freeform 1773">
                    <a:extLst>
                      <a:ext uri="{FF2B5EF4-FFF2-40B4-BE49-F238E27FC236}">
                        <a16:creationId xmlns:a16="http://schemas.microsoft.com/office/drawing/2014/main" xmlns="" id="{B1BC7180-0493-432B-923C-F80E32A47D41}"/>
                      </a:ext>
                    </a:extLst>
                  </p:cNvPr>
                  <p:cNvSpPr>
                    <a:spLocks/>
                  </p:cNvSpPr>
                  <p:nvPr/>
                </p:nvSpPr>
                <p:spPr bwMode="gray">
                  <a:xfrm>
                    <a:off x="4785786" y="2111873"/>
                    <a:ext cx="6675" cy="21138"/>
                  </a:xfrm>
                  <a:custGeom>
                    <a:avLst/>
                    <a:gdLst>
                      <a:gd name="T0" fmla="*/ 2147483647 w 6"/>
                      <a:gd name="T1" fmla="*/ 2147483647 h 19"/>
                      <a:gd name="T2" fmla="*/ 2147483647 w 6"/>
                      <a:gd name="T3" fmla="*/ 2147483647 h 19"/>
                      <a:gd name="T4" fmla="*/ 2147483647 w 6"/>
                      <a:gd name="T5" fmla="*/ 2147483647 h 19"/>
                      <a:gd name="T6" fmla="*/ 2147483647 w 6"/>
                      <a:gd name="T7" fmla="*/ 2147483647 h 19"/>
                      <a:gd name="T8" fmla="*/ 2147483647 w 6"/>
                      <a:gd name="T9" fmla="*/ 2147483647 h 19"/>
                      <a:gd name="T10" fmla="*/ 2147483647 w 6"/>
                      <a:gd name="T11" fmla="*/ 2147483647 h 19"/>
                      <a:gd name="T12" fmla="*/ 2147483647 w 6"/>
                      <a:gd name="T13" fmla="*/ 2147483647 h 19"/>
                      <a:gd name="T14" fmla="*/ 2147483647 w 6"/>
                      <a:gd name="T15" fmla="*/ 2147483647 h 19"/>
                      <a:gd name="T16" fmla="*/ 2147483647 w 6"/>
                      <a:gd name="T17" fmla="*/ 2147483647 h 19"/>
                      <a:gd name="T18" fmla="*/ 0 w 6"/>
                      <a:gd name="T19" fmla="*/ 2147483647 h 19"/>
                      <a:gd name="T20" fmla="*/ 0 w 6"/>
                      <a:gd name="T21" fmla="*/ 2147483647 h 19"/>
                      <a:gd name="T22" fmla="*/ 0 w 6"/>
                      <a:gd name="T23" fmla="*/ 2147483647 h 19"/>
                      <a:gd name="T24" fmla="*/ 2147483647 w 6"/>
                      <a:gd name="T25" fmla="*/ 2147483647 h 19"/>
                      <a:gd name="T26" fmla="*/ 2147483647 w 6"/>
                      <a:gd name="T27" fmla="*/ 0 h 19"/>
                      <a:gd name="T28" fmla="*/ 2147483647 w 6"/>
                      <a:gd name="T29" fmla="*/ 2147483647 h 19"/>
                      <a:gd name="T30" fmla="*/ 2147483647 w 6"/>
                      <a:gd name="T31" fmla="*/ 2147483647 h 19"/>
                      <a:gd name="T32" fmla="*/ 2147483647 w 6"/>
                      <a:gd name="T33" fmla="*/ 2147483647 h 19"/>
                      <a:gd name="T34" fmla="*/ 2147483647 w 6"/>
                      <a:gd name="T35" fmla="*/ 2147483647 h 19"/>
                      <a:gd name="T36" fmla="*/ 2147483647 w 6"/>
                      <a:gd name="T37" fmla="*/ 2147483647 h 19"/>
                      <a:gd name="T38" fmla="*/ 2147483647 w 6"/>
                      <a:gd name="T39" fmla="*/ 2147483647 h 19"/>
                      <a:gd name="T40" fmla="*/ 2147483647 w 6"/>
                      <a:gd name="T41" fmla="*/ 2147483647 h 19"/>
                      <a:gd name="T42" fmla="*/ 2147483647 w 6"/>
                      <a:gd name="T43" fmla="*/ 2147483647 h 19"/>
                      <a:gd name="T44" fmla="*/ 2147483647 w 6"/>
                      <a:gd name="T45" fmla="*/ 2147483647 h 19"/>
                      <a:gd name="T46" fmla="*/ 2147483647 w 6"/>
                      <a:gd name="T47" fmla="*/ 2147483647 h 19"/>
                      <a:gd name="T48" fmla="*/ 2147483647 w 6"/>
                      <a:gd name="T49" fmla="*/ 2147483647 h 19"/>
                      <a:gd name="T50" fmla="*/ 2147483647 w 6"/>
                      <a:gd name="T51" fmla="*/ 2147483647 h 19"/>
                      <a:gd name="T52" fmla="*/ 2147483647 w 6"/>
                      <a:gd name="T53" fmla="*/ 2147483647 h 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 h="19">
                        <a:moveTo>
                          <a:pt x="5" y="16"/>
                        </a:moveTo>
                        <a:lnTo>
                          <a:pt x="4" y="16"/>
                        </a:lnTo>
                        <a:lnTo>
                          <a:pt x="4" y="18"/>
                        </a:lnTo>
                        <a:lnTo>
                          <a:pt x="3" y="19"/>
                        </a:lnTo>
                        <a:lnTo>
                          <a:pt x="2" y="19"/>
                        </a:lnTo>
                        <a:lnTo>
                          <a:pt x="2" y="17"/>
                        </a:lnTo>
                        <a:lnTo>
                          <a:pt x="2" y="16"/>
                        </a:lnTo>
                        <a:lnTo>
                          <a:pt x="1" y="13"/>
                        </a:lnTo>
                        <a:lnTo>
                          <a:pt x="0" y="11"/>
                        </a:lnTo>
                        <a:lnTo>
                          <a:pt x="0" y="9"/>
                        </a:lnTo>
                        <a:lnTo>
                          <a:pt x="0" y="6"/>
                        </a:lnTo>
                        <a:lnTo>
                          <a:pt x="1" y="3"/>
                        </a:lnTo>
                        <a:lnTo>
                          <a:pt x="2" y="0"/>
                        </a:lnTo>
                        <a:lnTo>
                          <a:pt x="3" y="1"/>
                        </a:lnTo>
                        <a:lnTo>
                          <a:pt x="4" y="2"/>
                        </a:lnTo>
                        <a:lnTo>
                          <a:pt x="4" y="3"/>
                        </a:lnTo>
                        <a:lnTo>
                          <a:pt x="5" y="4"/>
                        </a:lnTo>
                        <a:lnTo>
                          <a:pt x="5" y="6"/>
                        </a:lnTo>
                        <a:lnTo>
                          <a:pt x="5" y="7"/>
                        </a:lnTo>
                        <a:lnTo>
                          <a:pt x="5" y="8"/>
                        </a:lnTo>
                        <a:lnTo>
                          <a:pt x="5" y="10"/>
                        </a:lnTo>
                        <a:lnTo>
                          <a:pt x="5" y="11"/>
                        </a:lnTo>
                        <a:lnTo>
                          <a:pt x="6" y="13"/>
                        </a:lnTo>
                        <a:lnTo>
                          <a:pt x="6" y="14"/>
                        </a:lnTo>
                        <a:lnTo>
                          <a:pt x="5" y="1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7" name="Freeform 1775">
                    <a:extLst>
                      <a:ext uri="{FF2B5EF4-FFF2-40B4-BE49-F238E27FC236}">
                        <a16:creationId xmlns:a16="http://schemas.microsoft.com/office/drawing/2014/main" xmlns="" id="{DDD1812D-3811-4303-96B9-B92D01AF1751}"/>
                      </a:ext>
                    </a:extLst>
                  </p:cNvPr>
                  <p:cNvSpPr>
                    <a:spLocks/>
                  </p:cNvSpPr>
                  <p:nvPr/>
                </p:nvSpPr>
                <p:spPr bwMode="gray">
                  <a:xfrm>
                    <a:off x="4803585" y="2143024"/>
                    <a:ext cx="5563" cy="6675"/>
                  </a:xfrm>
                  <a:custGeom>
                    <a:avLst/>
                    <a:gdLst>
                      <a:gd name="T0" fmla="*/ 2147483647 w 5"/>
                      <a:gd name="T1" fmla="*/ 2147483647 h 6"/>
                      <a:gd name="T2" fmla="*/ 2147483647 w 5"/>
                      <a:gd name="T3" fmla="*/ 2147483647 h 6"/>
                      <a:gd name="T4" fmla="*/ 0 w 5"/>
                      <a:gd name="T5" fmla="*/ 2147483647 h 6"/>
                      <a:gd name="T6" fmla="*/ 2147483647 w 5"/>
                      <a:gd name="T7" fmla="*/ 2147483647 h 6"/>
                      <a:gd name="T8" fmla="*/ 2147483647 w 5"/>
                      <a:gd name="T9" fmla="*/ 0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 h="6">
                        <a:moveTo>
                          <a:pt x="2" y="5"/>
                        </a:moveTo>
                        <a:lnTo>
                          <a:pt x="1" y="4"/>
                        </a:lnTo>
                        <a:lnTo>
                          <a:pt x="0" y="3"/>
                        </a:lnTo>
                        <a:lnTo>
                          <a:pt x="1" y="2"/>
                        </a:lnTo>
                        <a:lnTo>
                          <a:pt x="2" y="0"/>
                        </a:lnTo>
                        <a:lnTo>
                          <a:pt x="3" y="2"/>
                        </a:lnTo>
                        <a:lnTo>
                          <a:pt x="4" y="4"/>
                        </a:lnTo>
                        <a:lnTo>
                          <a:pt x="5" y="6"/>
                        </a:lnTo>
                        <a:lnTo>
                          <a:pt x="4" y="6"/>
                        </a:lnTo>
                        <a:lnTo>
                          <a:pt x="2" y="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8" name="Freeform 1777">
                    <a:extLst>
                      <a:ext uri="{FF2B5EF4-FFF2-40B4-BE49-F238E27FC236}">
                        <a16:creationId xmlns:a16="http://schemas.microsoft.com/office/drawing/2014/main" xmlns="" id="{01C471E5-A0E6-47F2-93DA-9220636E7AC0}"/>
                      </a:ext>
                    </a:extLst>
                  </p:cNvPr>
                  <p:cNvSpPr>
                    <a:spLocks/>
                  </p:cNvSpPr>
                  <p:nvPr/>
                </p:nvSpPr>
                <p:spPr bwMode="gray">
                  <a:xfrm>
                    <a:off x="3357369" y="4434865"/>
                    <a:ext cx="10013" cy="5563"/>
                  </a:xfrm>
                  <a:custGeom>
                    <a:avLst/>
                    <a:gdLst>
                      <a:gd name="T0" fmla="*/ 2147483647 w 9"/>
                      <a:gd name="T1" fmla="*/ 2147483647 h 5"/>
                      <a:gd name="T2" fmla="*/ 2147483647 w 9"/>
                      <a:gd name="T3" fmla="*/ 2147483647 h 5"/>
                      <a:gd name="T4" fmla="*/ 2147483647 w 9"/>
                      <a:gd name="T5" fmla="*/ 2147483647 h 5"/>
                      <a:gd name="T6" fmla="*/ 2147483647 w 9"/>
                      <a:gd name="T7" fmla="*/ 0 h 5"/>
                      <a:gd name="T8" fmla="*/ 2147483647 w 9"/>
                      <a:gd name="T9" fmla="*/ 0 h 5"/>
                      <a:gd name="T10" fmla="*/ 2147483647 w 9"/>
                      <a:gd name="T11" fmla="*/ 0 h 5"/>
                      <a:gd name="T12" fmla="*/ 2147483647 w 9"/>
                      <a:gd name="T13" fmla="*/ 2147483647 h 5"/>
                      <a:gd name="T14" fmla="*/ 0 w 9"/>
                      <a:gd name="T15" fmla="*/ 2147483647 h 5"/>
                      <a:gd name="T16" fmla="*/ 2147483647 w 9"/>
                      <a:gd name="T17" fmla="*/ 2147483647 h 5"/>
                      <a:gd name="T18" fmla="*/ 2147483647 w 9"/>
                      <a:gd name="T19" fmla="*/ 2147483647 h 5"/>
                      <a:gd name="T20" fmla="*/ 2147483647 w 9"/>
                      <a:gd name="T21" fmla="*/ 2147483647 h 5"/>
                      <a:gd name="T22" fmla="*/ 2147483647 w 9"/>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 h="5">
                        <a:moveTo>
                          <a:pt x="9" y="2"/>
                        </a:moveTo>
                        <a:lnTo>
                          <a:pt x="9" y="2"/>
                        </a:lnTo>
                        <a:lnTo>
                          <a:pt x="7" y="1"/>
                        </a:lnTo>
                        <a:lnTo>
                          <a:pt x="6" y="0"/>
                        </a:lnTo>
                        <a:lnTo>
                          <a:pt x="2" y="0"/>
                        </a:lnTo>
                        <a:lnTo>
                          <a:pt x="1" y="1"/>
                        </a:lnTo>
                        <a:lnTo>
                          <a:pt x="0" y="2"/>
                        </a:lnTo>
                        <a:lnTo>
                          <a:pt x="3" y="5"/>
                        </a:lnTo>
                        <a:lnTo>
                          <a:pt x="5" y="5"/>
                        </a:lnTo>
                        <a:lnTo>
                          <a:pt x="7" y="4"/>
                        </a:lnTo>
                        <a:lnTo>
                          <a:pt x="9" y="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89" name="Freeform 1779">
                    <a:extLst>
                      <a:ext uri="{FF2B5EF4-FFF2-40B4-BE49-F238E27FC236}">
                        <a16:creationId xmlns:a16="http://schemas.microsoft.com/office/drawing/2014/main" xmlns="" id="{01EFBD50-1D7A-486E-BF55-892A31E23B79}"/>
                      </a:ext>
                    </a:extLst>
                  </p:cNvPr>
                  <p:cNvSpPr>
                    <a:spLocks/>
                  </p:cNvSpPr>
                  <p:nvPr/>
                </p:nvSpPr>
                <p:spPr bwMode="gray">
                  <a:xfrm>
                    <a:off x="3216085" y="4333624"/>
                    <a:ext cx="6675" cy="15575"/>
                  </a:xfrm>
                  <a:custGeom>
                    <a:avLst/>
                    <a:gdLst>
                      <a:gd name="T0" fmla="*/ 2147483647 w 6"/>
                      <a:gd name="T1" fmla="*/ 2147483647 h 14"/>
                      <a:gd name="T2" fmla="*/ 2147483647 w 6"/>
                      <a:gd name="T3" fmla="*/ 2147483647 h 14"/>
                      <a:gd name="T4" fmla="*/ 2147483647 w 6"/>
                      <a:gd name="T5" fmla="*/ 2147483647 h 14"/>
                      <a:gd name="T6" fmla="*/ 2147483647 w 6"/>
                      <a:gd name="T7" fmla="*/ 2147483647 h 14"/>
                      <a:gd name="T8" fmla="*/ 2147483647 w 6"/>
                      <a:gd name="T9" fmla="*/ 2147483647 h 14"/>
                      <a:gd name="T10" fmla="*/ 2147483647 w 6"/>
                      <a:gd name="T11" fmla="*/ 2147483647 h 14"/>
                      <a:gd name="T12" fmla="*/ 2147483647 w 6"/>
                      <a:gd name="T13" fmla="*/ 2147483647 h 14"/>
                      <a:gd name="T14" fmla="*/ 2147483647 w 6"/>
                      <a:gd name="T15" fmla="*/ 2147483647 h 14"/>
                      <a:gd name="T16" fmla="*/ 2147483647 w 6"/>
                      <a:gd name="T17" fmla="*/ 2147483647 h 14"/>
                      <a:gd name="T18" fmla="*/ 2147483647 w 6"/>
                      <a:gd name="T19" fmla="*/ 2147483647 h 14"/>
                      <a:gd name="T20" fmla="*/ 2147483647 w 6"/>
                      <a:gd name="T21" fmla="*/ 2147483647 h 14"/>
                      <a:gd name="T22" fmla="*/ 2147483647 w 6"/>
                      <a:gd name="T23" fmla="*/ 0 h 14"/>
                      <a:gd name="T24" fmla="*/ 0 w 6"/>
                      <a:gd name="T25" fmla="*/ 2147483647 h 14"/>
                      <a:gd name="T26" fmla="*/ 0 w 6"/>
                      <a:gd name="T27" fmla="*/ 2147483647 h 14"/>
                      <a:gd name="T28" fmla="*/ 0 w 6"/>
                      <a:gd name="T29" fmla="*/ 2147483647 h 14"/>
                      <a:gd name="T30" fmla="*/ 2147483647 w 6"/>
                      <a:gd name="T31" fmla="*/ 2147483647 h 14"/>
                      <a:gd name="T32" fmla="*/ 2147483647 w 6"/>
                      <a:gd name="T33" fmla="*/ 2147483647 h 14"/>
                      <a:gd name="T34" fmla="*/ 2147483647 w 6"/>
                      <a:gd name="T35" fmla="*/ 2147483647 h 14"/>
                      <a:gd name="T36" fmla="*/ 2147483647 w 6"/>
                      <a:gd name="T37" fmla="*/ 2147483647 h 14"/>
                      <a:gd name="T38" fmla="*/ 2147483647 w 6"/>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 h="14">
                        <a:moveTo>
                          <a:pt x="4" y="14"/>
                        </a:moveTo>
                        <a:lnTo>
                          <a:pt x="4" y="12"/>
                        </a:lnTo>
                        <a:lnTo>
                          <a:pt x="4" y="11"/>
                        </a:lnTo>
                        <a:lnTo>
                          <a:pt x="6" y="10"/>
                        </a:lnTo>
                        <a:lnTo>
                          <a:pt x="6" y="8"/>
                        </a:lnTo>
                        <a:lnTo>
                          <a:pt x="5" y="5"/>
                        </a:lnTo>
                        <a:lnTo>
                          <a:pt x="4" y="4"/>
                        </a:lnTo>
                        <a:lnTo>
                          <a:pt x="3" y="4"/>
                        </a:lnTo>
                        <a:lnTo>
                          <a:pt x="1" y="3"/>
                        </a:lnTo>
                        <a:lnTo>
                          <a:pt x="1" y="0"/>
                        </a:lnTo>
                        <a:lnTo>
                          <a:pt x="0" y="3"/>
                        </a:lnTo>
                        <a:lnTo>
                          <a:pt x="0" y="4"/>
                        </a:lnTo>
                        <a:lnTo>
                          <a:pt x="0" y="6"/>
                        </a:lnTo>
                        <a:lnTo>
                          <a:pt x="1" y="8"/>
                        </a:lnTo>
                        <a:lnTo>
                          <a:pt x="1" y="10"/>
                        </a:lnTo>
                        <a:lnTo>
                          <a:pt x="1" y="11"/>
                        </a:lnTo>
                        <a:lnTo>
                          <a:pt x="2" y="12"/>
                        </a:lnTo>
                        <a:lnTo>
                          <a:pt x="4" y="1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0" name="Freeform 1781">
                    <a:extLst>
                      <a:ext uri="{FF2B5EF4-FFF2-40B4-BE49-F238E27FC236}">
                        <a16:creationId xmlns:a16="http://schemas.microsoft.com/office/drawing/2014/main" xmlns="" id="{7EDC3623-789D-4374-9F9A-96009F17131D}"/>
                      </a:ext>
                    </a:extLst>
                  </p:cNvPr>
                  <p:cNvSpPr>
                    <a:spLocks/>
                  </p:cNvSpPr>
                  <p:nvPr/>
                </p:nvSpPr>
                <p:spPr bwMode="gray">
                  <a:xfrm>
                    <a:off x="3123750" y="3673885"/>
                    <a:ext cx="767607" cy="664189"/>
                  </a:xfrm>
                  <a:custGeom>
                    <a:avLst/>
                    <a:gdLst>
                      <a:gd name="T0" fmla="*/ 2147483647 w 690"/>
                      <a:gd name="T1" fmla="*/ 2147483647 h 597"/>
                      <a:gd name="T2" fmla="*/ 2147483647 w 690"/>
                      <a:gd name="T3" fmla="*/ 2147483647 h 597"/>
                      <a:gd name="T4" fmla="*/ 2147483647 w 690"/>
                      <a:gd name="T5" fmla="*/ 2147483647 h 597"/>
                      <a:gd name="T6" fmla="*/ 2147483647 w 690"/>
                      <a:gd name="T7" fmla="*/ 2147483647 h 597"/>
                      <a:gd name="T8" fmla="*/ 2147483647 w 690"/>
                      <a:gd name="T9" fmla="*/ 2147483647 h 597"/>
                      <a:gd name="T10" fmla="*/ 2147483647 w 690"/>
                      <a:gd name="T11" fmla="*/ 2147483647 h 597"/>
                      <a:gd name="T12" fmla="*/ 2147483647 w 690"/>
                      <a:gd name="T13" fmla="*/ 2147483647 h 597"/>
                      <a:gd name="T14" fmla="*/ 2147483647 w 690"/>
                      <a:gd name="T15" fmla="*/ 2147483647 h 597"/>
                      <a:gd name="T16" fmla="*/ 2147483647 w 690"/>
                      <a:gd name="T17" fmla="*/ 2147483647 h 597"/>
                      <a:gd name="T18" fmla="*/ 2147483647 w 690"/>
                      <a:gd name="T19" fmla="*/ 2147483647 h 597"/>
                      <a:gd name="T20" fmla="*/ 2147483647 w 690"/>
                      <a:gd name="T21" fmla="*/ 2147483647 h 597"/>
                      <a:gd name="T22" fmla="*/ 2147483647 w 690"/>
                      <a:gd name="T23" fmla="*/ 2147483647 h 597"/>
                      <a:gd name="T24" fmla="*/ 2147483647 w 690"/>
                      <a:gd name="T25" fmla="*/ 2147483647 h 597"/>
                      <a:gd name="T26" fmla="*/ 2147483647 w 690"/>
                      <a:gd name="T27" fmla="*/ 2147483647 h 597"/>
                      <a:gd name="T28" fmla="*/ 2147483647 w 690"/>
                      <a:gd name="T29" fmla="*/ 2147483647 h 597"/>
                      <a:gd name="T30" fmla="*/ 2147483647 w 690"/>
                      <a:gd name="T31" fmla="*/ 2147483647 h 597"/>
                      <a:gd name="T32" fmla="*/ 2147483647 w 690"/>
                      <a:gd name="T33" fmla="*/ 2147483647 h 597"/>
                      <a:gd name="T34" fmla="*/ 2147483647 w 690"/>
                      <a:gd name="T35" fmla="*/ 2147483647 h 597"/>
                      <a:gd name="T36" fmla="*/ 2147483647 w 690"/>
                      <a:gd name="T37" fmla="*/ 2147483647 h 597"/>
                      <a:gd name="T38" fmla="*/ 2147483647 w 690"/>
                      <a:gd name="T39" fmla="*/ 2147483647 h 597"/>
                      <a:gd name="T40" fmla="*/ 2147483647 w 690"/>
                      <a:gd name="T41" fmla="*/ 2147483647 h 597"/>
                      <a:gd name="T42" fmla="*/ 2147483647 w 690"/>
                      <a:gd name="T43" fmla="*/ 2147483647 h 597"/>
                      <a:gd name="T44" fmla="*/ 2147483647 w 690"/>
                      <a:gd name="T45" fmla="*/ 2147483647 h 597"/>
                      <a:gd name="T46" fmla="*/ 2147483647 w 690"/>
                      <a:gd name="T47" fmla="*/ 2147483647 h 597"/>
                      <a:gd name="T48" fmla="*/ 2147483647 w 690"/>
                      <a:gd name="T49" fmla="*/ 2147483647 h 597"/>
                      <a:gd name="T50" fmla="*/ 2147483647 w 690"/>
                      <a:gd name="T51" fmla="*/ 2147483647 h 597"/>
                      <a:gd name="T52" fmla="*/ 2147483647 w 690"/>
                      <a:gd name="T53" fmla="*/ 2147483647 h 597"/>
                      <a:gd name="T54" fmla="*/ 2147483647 w 690"/>
                      <a:gd name="T55" fmla="*/ 2147483647 h 597"/>
                      <a:gd name="T56" fmla="*/ 2147483647 w 690"/>
                      <a:gd name="T57" fmla="*/ 2147483647 h 597"/>
                      <a:gd name="T58" fmla="*/ 2147483647 w 690"/>
                      <a:gd name="T59" fmla="*/ 2147483647 h 597"/>
                      <a:gd name="T60" fmla="*/ 2147483647 w 690"/>
                      <a:gd name="T61" fmla="*/ 2147483647 h 597"/>
                      <a:gd name="T62" fmla="*/ 2147483647 w 690"/>
                      <a:gd name="T63" fmla="*/ 2147483647 h 597"/>
                      <a:gd name="T64" fmla="*/ 2147483647 w 690"/>
                      <a:gd name="T65" fmla="*/ 2147483647 h 597"/>
                      <a:gd name="T66" fmla="*/ 2147483647 w 690"/>
                      <a:gd name="T67" fmla="*/ 2147483647 h 597"/>
                      <a:gd name="T68" fmla="*/ 2147483647 w 690"/>
                      <a:gd name="T69" fmla="*/ 2147483647 h 597"/>
                      <a:gd name="T70" fmla="*/ 2147483647 w 690"/>
                      <a:gd name="T71" fmla="*/ 2147483647 h 597"/>
                      <a:gd name="T72" fmla="*/ 2147483647 w 690"/>
                      <a:gd name="T73" fmla="*/ 2147483647 h 597"/>
                      <a:gd name="T74" fmla="*/ 2147483647 w 690"/>
                      <a:gd name="T75" fmla="*/ 2147483647 h 597"/>
                      <a:gd name="T76" fmla="*/ 2147483647 w 690"/>
                      <a:gd name="T77" fmla="*/ 2147483647 h 597"/>
                      <a:gd name="T78" fmla="*/ 2147483647 w 690"/>
                      <a:gd name="T79" fmla="*/ 2147483647 h 597"/>
                      <a:gd name="T80" fmla="*/ 2147483647 w 690"/>
                      <a:gd name="T81" fmla="*/ 2147483647 h 597"/>
                      <a:gd name="T82" fmla="*/ 2147483647 w 690"/>
                      <a:gd name="T83" fmla="*/ 2147483647 h 597"/>
                      <a:gd name="T84" fmla="*/ 2147483647 w 690"/>
                      <a:gd name="T85" fmla="*/ 2147483647 h 597"/>
                      <a:gd name="T86" fmla="*/ 2147483647 w 690"/>
                      <a:gd name="T87" fmla="*/ 2147483647 h 597"/>
                      <a:gd name="T88" fmla="*/ 2147483647 w 690"/>
                      <a:gd name="T89" fmla="*/ 2147483647 h 597"/>
                      <a:gd name="T90" fmla="*/ 2147483647 w 690"/>
                      <a:gd name="T91" fmla="*/ 2147483647 h 597"/>
                      <a:gd name="T92" fmla="*/ 2147483647 w 690"/>
                      <a:gd name="T93" fmla="*/ 2147483647 h 597"/>
                      <a:gd name="T94" fmla="*/ 2147483647 w 690"/>
                      <a:gd name="T95" fmla="*/ 2147483647 h 597"/>
                      <a:gd name="T96" fmla="*/ 2147483647 w 690"/>
                      <a:gd name="T97" fmla="*/ 2147483647 h 597"/>
                      <a:gd name="T98" fmla="*/ 2147483647 w 690"/>
                      <a:gd name="T99" fmla="*/ 2147483647 h 597"/>
                      <a:gd name="T100" fmla="*/ 2147483647 w 690"/>
                      <a:gd name="T101" fmla="*/ 2147483647 h 597"/>
                      <a:gd name="T102" fmla="*/ 2147483647 w 690"/>
                      <a:gd name="T103" fmla="*/ 2147483647 h 597"/>
                      <a:gd name="T104" fmla="*/ 2147483647 w 690"/>
                      <a:gd name="T105" fmla="*/ 2147483647 h 597"/>
                      <a:gd name="T106" fmla="*/ 2147483647 w 690"/>
                      <a:gd name="T107" fmla="*/ 2147483647 h 597"/>
                      <a:gd name="T108" fmla="*/ 2147483647 w 690"/>
                      <a:gd name="T109" fmla="*/ 2147483647 h 597"/>
                      <a:gd name="T110" fmla="*/ 2147483647 w 690"/>
                      <a:gd name="T111" fmla="*/ 2147483647 h 597"/>
                      <a:gd name="T112" fmla="*/ 2147483647 w 690"/>
                      <a:gd name="T113" fmla="*/ 2147483647 h 597"/>
                      <a:gd name="T114" fmla="*/ 2147483647 w 690"/>
                      <a:gd name="T115" fmla="*/ 2147483647 h 597"/>
                      <a:gd name="T116" fmla="*/ 2147483647 w 690"/>
                      <a:gd name="T117" fmla="*/ 2147483647 h 597"/>
                      <a:gd name="T118" fmla="*/ 2147483647 w 690"/>
                      <a:gd name="T119" fmla="*/ 2147483647 h 5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90" h="597">
                        <a:moveTo>
                          <a:pt x="48" y="108"/>
                        </a:moveTo>
                        <a:lnTo>
                          <a:pt x="50" y="107"/>
                        </a:lnTo>
                        <a:lnTo>
                          <a:pt x="54" y="104"/>
                        </a:lnTo>
                        <a:lnTo>
                          <a:pt x="59" y="101"/>
                        </a:lnTo>
                        <a:lnTo>
                          <a:pt x="65" y="98"/>
                        </a:lnTo>
                        <a:lnTo>
                          <a:pt x="68" y="98"/>
                        </a:lnTo>
                        <a:lnTo>
                          <a:pt x="71" y="98"/>
                        </a:lnTo>
                        <a:lnTo>
                          <a:pt x="73" y="98"/>
                        </a:lnTo>
                        <a:lnTo>
                          <a:pt x="74" y="98"/>
                        </a:lnTo>
                        <a:lnTo>
                          <a:pt x="76" y="98"/>
                        </a:lnTo>
                        <a:lnTo>
                          <a:pt x="77" y="99"/>
                        </a:lnTo>
                        <a:lnTo>
                          <a:pt x="77" y="101"/>
                        </a:lnTo>
                        <a:lnTo>
                          <a:pt x="75" y="105"/>
                        </a:lnTo>
                        <a:lnTo>
                          <a:pt x="73" y="106"/>
                        </a:lnTo>
                        <a:lnTo>
                          <a:pt x="71" y="108"/>
                        </a:lnTo>
                        <a:lnTo>
                          <a:pt x="71" y="110"/>
                        </a:lnTo>
                        <a:lnTo>
                          <a:pt x="72" y="113"/>
                        </a:lnTo>
                        <a:lnTo>
                          <a:pt x="76" y="115"/>
                        </a:lnTo>
                        <a:lnTo>
                          <a:pt x="79" y="116"/>
                        </a:lnTo>
                        <a:lnTo>
                          <a:pt x="81" y="117"/>
                        </a:lnTo>
                        <a:lnTo>
                          <a:pt x="83" y="117"/>
                        </a:lnTo>
                        <a:lnTo>
                          <a:pt x="87" y="117"/>
                        </a:lnTo>
                        <a:lnTo>
                          <a:pt x="89" y="117"/>
                        </a:lnTo>
                        <a:lnTo>
                          <a:pt x="89" y="119"/>
                        </a:lnTo>
                        <a:lnTo>
                          <a:pt x="90" y="121"/>
                        </a:lnTo>
                        <a:lnTo>
                          <a:pt x="93" y="124"/>
                        </a:lnTo>
                        <a:lnTo>
                          <a:pt x="98" y="124"/>
                        </a:lnTo>
                        <a:lnTo>
                          <a:pt x="99" y="124"/>
                        </a:lnTo>
                        <a:lnTo>
                          <a:pt x="100" y="124"/>
                        </a:lnTo>
                        <a:lnTo>
                          <a:pt x="101" y="128"/>
                        </a:lnTo>
                        <a:lnTo>
                          <a:pt x="104" y="130"/>
                        </a:lnTo>
                        <a:lnTo>
                          <a:pt x="108" y="132"/>
                        </a:lnTo>
                        <a:lnTo>
                          <a:pt x="113" y="133"/>
                        </a:lnTo>
                        <a:lnTo>
                          <a:pt x="115" y="135"/>
                        </a:lnTo>
                        <a:lnTo>
                          <a:pt x="119" y="136"/>
                        </a:lnTo>
                        <a:lnTo>
                          <a:pt x="121" y="136"/>
                        </a:lnTo>
                        <a:lnTo>
                          <a:pt x="122" y="136"/>
                        </a:lnTo>
                        <a:lnTo>
                          <a:pt x="126" y="133"/>
                        </a:lnTo>
                        <a:lnTo>
                          <a:pt x="127" y="133"/>
                        </a:lnTo>
                        <a:lnTo>
                          <a:pt x="132" y="133"/>
                        </a:lnTo>
                        <a:lnTo>
                          <a:pt x="137" y="133"/>
                        </a:lnTo>
                        <a:lnTo>
                          <a:pt x="141" y="136"/>
                        </a:lnTo>
                        <a:lnTo>
                          <a:pt x="148" y="136"/>
                        </a:lnTo>
                        <a:lnTo>
                          <a:pt x="155" y="143"/>
                        </a:lnTo>
                        <a:lnTo>
                          <a:pt x="164" y="146"/>
                        </a:lnTo>
                        <a:lnTo>
                          <a:pt x="164" y="153"/>
                        </a:lnTo>
                        <a:lnTo>
                          <a:pt x="164" y="159"/>
                        </a:lnTo>
                        <a:lnTo>
                          <a:pt x="164" y="169"/>
                        </a:lnTo>
                        <a:lnTo>
                          <a:pt x="158" y="175"/>
                        </a:lnTo>
                        <a:lnTo>
                          <a:pt x="171" y="179"/>
                        </a:lnTo>
                        <a:lnTo>
                          <a:pt x="177" y="191"/>
                        </a:lnTo>
                        <a:lnTo>
                          <a:pt x="181" y="194"/>
                        </a:lnTo>
                        <a:lnTo>
                          <a:pt x="174" y="198"/>
                        </a:lnTo>
                        <a:lnTo>
                          <a:pt x="164" y="201"/>
                        </a:lnTo>
                        <a:lnTo>
                          <a:pt x="155" y="210"/>
                        </a:lnTo>
                        <a:lnTo>
                          <a:pt x="145" y="224"/>
                        </a:lnTo>
                        <a:lnTo>
                          <a:pt x="138" y="227"/>
                        </a:lnTo>
                        <a:lnTo>
                          <a:pt x="132" y="229"/>
                        </a:lnTo>
                        <a:lnTo>
                          <a:pt x="129" y="229"/>
                        </a:lnTo>
                        <a:lnTo>
                          <a:pt x="126" y="236"/>
                        </a:lnTo>
                        <a:lnTo>
                          <a:pt x="119" y="243"/>
                        </a:lnTo>
                        <a:lnTo>
                          <a:pt x="113" y="239"/>
                        </a:lnTo>
                        <a:lnTo>
                          <a:pt x="106" y="236"/>
                        </a:lnTo>
                        <a:lnTo>
                          <a:pt x="106" y="246"/>
                        </a:lnTo>
                        <a:lnTo>
                          <a:pt x="103" y="259"/>
                        </a:lnTo>
                        <a:lnTo>
                          <a:pt x="110" y="265"/>
                        </a:lnTo>
                        <a:lnTo>
                          <a:pt x="106" y="275"/>
                        </a:lnTo>
                        <a:lnTo>
                          <a:pt x="100" y="284"/>
                        </a:lnTo>
                        <a:lnTo>
                          <a:pt x="100" y="298"/>
                        </a:lnTo>
                        <a:lnTo>
                          <a:pt x="93" y="301"/>
                        </a:lnTo>
                        <a:lnTo>
                          <a:pt x="84" y="301"/>
                        </a:lnTo>
                        <a:lnTo>
                          <a:pt x="77" y="301"/>
                        </a:lnTo>
                        <a:lnTo>
                          <a:pt x="74" y="298"/>
                        </a:lnTo>
                        <a:lnTo>
                          <a:pt x="67" y="295"/>
                        </a:lnTo>
                        <a:lnTo>
                          <a:pt x="61" y="295"/>
                        </a:lnTo>
                        <a:lnTo>
                          <a:pt x="55" y="291"/>
                        </a:lnTo>
                        <a:lnTo>
                          <a:pt x="54" y="292"/>
                        </a:lnTo>
                        <a:lnTo>
                          <a:pt x="57" y="295"/>
                        </a:lnTo>
                        <a:lnTo>
                          <a:pt x="60" y="297"/>
                        </a:lnTo>
                        <a:lnTo>
                          <a:pt x="61" y="298"/>
                        </a:lnTo>
                        <a:lnTo>
                          <a:pt x="62" y="300"/>
                        </a:lnTo>
                        <a:lnTo>
                          <a:pt x="63" y="303"/>
                        </a:lnTo>
                        <a:lnTo>
                          <a:pt x="64" y="308"/>
                        </a:lnTo>
                        <a:lnTo>
                          <a:pt x="65" y="314"/>
                        </a:lnTo>
                        <a:lnTo>
                          <a:pt x="64" y="317"/>
                        </a:lnTo>
                        <a:lnTo>
                          <a:pt x="64" y="320"/>
                        </a:lnTo>
                        <a:lnTo>
                          <a:pt x="65" y="323"/>
                        </a:lnTo>
                        <a:lnTo>
                          <a:pt x="66" y="326"/>
                        </a:lnTo>
                        <a:lnTo>
                          <a:pt x="66" y="327"/>
                        </a:lnTo>
                        <a:lnTo>
                          <a:pt x="65" y="330"/>
                        </a:lnTo>
                        <a:lnTo>
                          <a:pt x="63" y="330"/>
                        </a:lnTo>
                        <a:lnTo>
                          <a:pt x="64" y="330"/>
                        </a:lnTo>
                        <a:lnTo>
                          <a:pt x="65" y="330"/>
                        </a:lnTo>
                        <a:lnTo>
                          <a:pt x="66" y="330"/>
                        </a:lnTo>
                        <a:lnTo>
                          <a:pt x="69" y="330"/>
                        </a:lnTo>
                        <a:lnTo>
                          <a:pt x="71" y="331"/>
                        </a:lnTo>
                        <a:lnTo>
                          <a:pt x="73" y="334"/>
                        </a:lnTo>
                        <a:lnTo>
                          <a:pt x="74" y="340"/>
                        </a:lnTo>
                        <a:lnTo>
                          <a:pt x="74" y="342"/>
                        </a:lnTo>
                        <a:lnTo>
                          <a:pt x="74" y="345"/>
                        </a:lnTo>
                        <a:lnTo>
                          <a:pt x="70" y="349"/>
                        </a:lnTo>
                        <a:lnTo>
                          <a:pt x="66" y="351"/>
                        </a:lnTo>
                        <a:lnTo>
                          <a:pt x="65" y="352"/>
                        </a:lnTo>
                        <a:lnTo>
                          <a:pt x="64" y="352"/>
                        </a:lnTo>
                        <a:lnTo>
                          <a:pt x="61" y="353"/>
                        </a:lnTo>
                        <a:lnTo>
                          <a:pt x="56" y="355"/>
                        </a:lnTo>
                        <a:lnTo>
                          <a:pt x="51" y="359"/>
                        </a:lnTo>
                        <a:lnTo>
                          <a:pt x="50" y="360"/>
                        </a:lnTo>
                        <a:lnTo>
                          <a:pt x="48" y="360"/>
                        </a:lnTo>
                        <a:lnTo>
                          <a:pt x="46" y="361"/>
                        </a:lnTo>
                        <a:lnTo>
                          <a:pt x="45" y="362"/>
                        </a:lnTo>
                        <a:lnTo>
                          <a:pt x="43" y="365"/>
                        </a:lnTo>
                        <a:lnTo>
                          <a:pt x="42" y="367"/>
                        </a:lnTo>
                        <a:lnTo>
                          <a:pt x="41" y="372"/>
                        </a:lnTo>
                        <a:lnTo>
                          <a:pt x="40" y="373"/>
                        </a:lnTo>
                        <a:lnTo>
                          <a:pt x="40" y="375"/>
                        </a:lnTo>
                        <a:lnTo>
                          <a:pt x="40" y="379"/>
                        </a:lnTo>
                        <a:lnTo>
                          <a:pt x="41" y="385"/>
                        </a:lnTo>
                        <a:lnTo>
                          <a:pt x="41" y="389"/>
                        </a:lnTo>
                        <a:lnTo>
                          <a:pt x="41" y="393"/>
                        </a:lnTo>
                        <a:lnTo>
                          <a:pt x="42" y="395"/>
                        </a:lnTo>
                        <a:lnTo>
                          <a:pt x="44" y="396"/>
                        </a:lnTo>
                        <a:lnTo>
                          <a:pt x="47" y="396"/>
                        </a:lnTo>
                        <a:lnTo>
                          <a:pt x="51" y="395"/>
                        </a:lnTo>
                        <a:lnTo>
                          <a:pt x="54" y="395"/>
                        </a:lnTo>
                        <a:lnTo>
                          <a:pt x="55" y="397"/>
                        </a:lnTo>
                        <a:lnTo>
                          <a:pt x="55" y="398"/>
                        </a:lnTo>
                        <a:lnTo>
                          <a:pt x="54" y="400"/>
                        </a:lnTo>
                        <a:lnTo>
                          <a:pt x="50" y="405"/>
                        </a:lnTo>
                        <a:lnTo>
                          <a:pt x="49" y="407"/>
                        </a:lnTo>
                        <a:lnTo>
                          <a:pt x="48" y="407"/>
                        </a:lnTo>
                        <a:lnTo>
                          <a:pt x="39" y="407"/>
                        </a:lnTo>
                        <a:lnTo>
                          <a:pt x="32" y="410"/>
                        </a:lnTo>
                        <a:lnTo>
                          <a:pt x="29" y="417"/>
                        </a:lnTo>
                        <a:lnTo>
                          <a:pt x="22" y="423"/>
                        </a:lnTo>
                        <a:lnTo>
                          <a:pt x="21" y="425"/>
                        </a:lnTo>
                        <a:lnTo>
                          <a:pt x="18" y="428"/>
                        </a:lnTo>
                        <a:lnTo>
                          <a:pt x="16" y="433"/>
                        </a:lnTo>
                        <a:lnTo>
                          <a:pt x="13" y="436"/>
                        </a:lnTo>
                        <a:lnTo>
                          <a:pt x="8" y="439"/>
                        </a:lnTo>
                        <a:lnTo>
                          <a:pt x="5" y="443"/>
                        </a:lnTo>
                        <a:lnTo>
                          <a:pt x="4" y="445"/>
                        </a:lnTo>
                        <a:lnTo>
                          <a:pt x="3" y="445"/>
                        </a:lnTo>
                        <a:lnTo>
                          <a:pt x="0" y="466"/>
                        </a:lnTo>
                        <a:lnTo>
                          <a:pt x="3" y="466"/>
                        </a:lnTo>
                        <a:lnTo>
                          <a:pt x="5" y="466"/>
                        </a:lnTo>
                        <a:lnTo>
                          <a:pt x="7" y="466"/>
                        </a:lnTo>
                        <a:lnTo>
                          <a:pt x="8" y="467"/>
                        </a:lnTo>
                        <a:lnTo>
                          <a:pt x="8" y="468"/>
                        </a:lnTo>
                        <a:lnTo>
                          <a:pt x="10" y="469"/>
                        </a:lnTo>
                        <a:lnTo>
                          <a:pt x="18" y="469"/>
                        </a:lnTo>
                        <a:lnTo>
                          <a:pt x="22" y="469"/>
                        </a:lnTo>
                        <a:lnTo>
                          <a:pt x="25" y="469"/>
                        </a:lnTo>
                        <a:lnTo>
                          <a:pt x="25" y="471"/>
                        </a:lnTo>
                        <a:lnTo>
                          <a:pt x="28" y="472"/>
                        </a:lnTo>
                        <a:lnTo>
                          <a:pt x="30" y="475"/>
                        </a:lnTo>
                        <a:lnTo>
                          <a:pt x="32" y="477"/>
                        </a:lnTo>
                        <a:lnTo>
                          <a:pt x="32" y="478"/>
                        </a:lnTo>
                        <a:lnTo>
                          <a:pt x="34" y="480"/>
                        </a:lnTo>
                        <a:lnTo>
                          <a:pt x="34" y="481"/>
                        </a:lnTo>
                        <a:lnTo>
                          <a:pt x="36" y="481"/>
                        </a:lnTo>
                        <a:lnTo>
                          <a:pt x="36" y="482"/>
                        </a:lnTo>
                        <a:lnTo>
                          <a:pt x="37" y="483"/>
                        </a:lnTo>
                        <a:lnTo>
                          <a:pt x="38" y="484"/>
                        </a:lnTo>
                        <a:lnTo>
                          <a:pt x="39" y="485"/>
                        </a:lnTo>
                        <a:lnTo>
                          <a:pt x="38" y="485"/>
                        </a:lnTo>
                        <a:lnTo>
                          <a:pt x="38" y="486"/>
                        </a:lnTo>
                        <a:lnTo>
                          <a:pt x="38" y="488"/>
                        </a:lnTo>
                        <a:lnTo>
                          <a:pt x="39" y="488"/>
                        </a:lnTo>
                        <a:lnTo>
                          <a:pt x="39" y="490"/>
                        </a:lnTo>
                        <a:lnTo>
                          <a:pt x="40" y="490"/>
                        </a:lnTo>
                        <a:lnTo>
                          <a:pt x="41" y="491"/>
                        </a:lnTo>
                        <a:lnTo>
                          <a:pt x="44" y="493"/>
                        </a:lnTo>
                        <a:lnTo>
                          <a:pt x="46" y="495"/>
                        </a:lnTo>
                        <a:lnTo>
                          <a:pt x="48" y="499"/>
                        </a:lnTo>
                        <a:lnTo>
                          <a:pt x="48" y="504"/>
                        </a:lnTo>
                        <a:lnTo>
                          <a:pt x="48" y="508"/>
                        </a:lnTo>
                        <a:lnTo>
                          <a:pt x="48" y="512"/>
                        </a:lnTo>
                        <a:lnTo>
                          <a:pt x="48" y="517"/>
                        </a:lnTo>
                        <a:lnTo>
                          <a:pt x="45" y="520"/>
                        </a:lnTo>
                        <a:lnTo>
                          <a:pt x="45" y="522"/>
                        </a:lnTo>
                        <a:lnTo>
                          <a:pt x="46" y="524"/>
                        </a:lnTo>
                        <a:lnTo>
                          <a:pt x="48" y="526"/>
                        </a:lnTo>
                        <a:lnTo>
                          <a:pt x="50" y="531"/>
                        </a:lnTo>
                        <a:lnTo>
                          <a:pt x="51" y="536"/>
                        </a:lnTo>
                        <a:lnTo>
                          <a:pt x="51" y="539"/>
                        </a:lnTo>
                        <a:lnTo>
                          <a:pt x="51" y="540"/>
                        </a:lnTo>
                        <a:lnTo>
                          <a:pt x="52" y="545"/>
                        </a:lnTo>
                        <a:lnTo>
                          <a:pt x="51" y="550"/>
                        </a:lnTo>
                        <a:lnTo>
                          <a:pt x="50" y="554"/>
                        </a:lnTo>
                        <a:lnTo>
                          <a:pt x="51" y="559"/>
                        </a:lnTo>
                        <a:lnTo>
                          <a:pt x="52" y="561"/>
                        </a:lnTo>
                        <a:lnTo>
                          <a:pt x="55" y="564"/>
                        </a:lnTo>
                        <a:lnTo>
                          <a:pt x="58" y="565"/>
                        </a:lnTo>
                        <a:lnTo>
                          <a:pt x="61" y="566"/>
                        </a:lnTo>
                        <a:lnTo>
                          <a:pt x="62" y="566"/>
                        </a:lnTo>
                        <a:lnTo>
                          <a:pt x="63" y="566"/>
                        </a:lnTo>
                        <a:lnTo>
                          <a:pt x="65" y="566"/>
                        </a:lnTo>
                        <a:lnTo>
                          <a:pt x="65" y="575"/>
                        </a:lnTo>
                        <a:lnTo>
                          <a:pt x="66" y="575"/>
                        </a:lnTo>
                        <a:lnTo>
                          <a:pt x="67" y="575"/>
                        </a:lnTo>
                        <a:lnTo>
                          <a:pt x="69" y="575"/>
                        </a:lnTo>
                        <a:lnTo>
                          <a:pt x="71" y="575"/>
                        </a:lnTo>
                        <a:lnTo>
                          <a:pt x="71" y="576"/>
                        </a:lnTo>
                        <a:lnTo>
                          <a:pt x="73" y="580"/>
                        </a:lnTo>
                        <a:lnTo>
                          <a:pt x="75" y="583"/>
                        </a:lnTo>
                        <a:lnTo>
                          <a:pt x="77" y="585"/>
                        </a:lnTo>
                        <a:lnTo>
                          <a:pt x="79" y="585"/>
                        </a:lnTo>
                        <a:lnTo>
                          <a:pt x="81" y="584"/>
                        </a:lnTo>
                        <a:lnTo>
                          <a:pt x="82" y="583"/>
                        </a:lnTo>
                        <a:lnTo>
                          <a:pt x="84" y="581"/>
                        </a:lnTo>
                        <a:lnTo>
                          <a:pt x="86" y="580"/>
                        </a:lnTo>
                        <a:lnTo>
                          <a:pt x="87" y="578"/>
                        </a:lnTo>
                        <a:lnTo>
                          <a:pt x="89" y="576"/>
                        </a:lnTo>
                        <a:lnTo>
                          <a:pt x="90" y="575"/>
                        </a:lnTo>
                        <a:lnTo>
                          <a:pt x="92" y="575"/>
                        </a:lnTo>
                        <a:lnTo>
                          <a:pt x="93" y="576"/>
                        </a:lnTo>
                        <a:lnTo>
                          <a:pt x="94" y="576"/>
                        </a:lnTo>
                        <a:lnTo>
                          <a:pt x="96" y="575"/>
                        </a:lnTo>
                        <a:lnTo>
                          <a:pt x="98" y="574"/>
                        </a:lnTo>
                        <a:lnTo>
                          <a:pt x="99" y="573"/>
                        </a:lnTo>
                        <a:lnTo>
                          <a:pt x="100" y="572"/>
                        </a:lnTo>
                        <a:lnTo>
                          <a:pt x="100" y="571"/>
                        </a:lnTo>
                        <a:lnTo>
                          <a:pt x="101" y="569"/>
                        </a:lnTo>
                        <a:lnTo>
                          <a:pt x="104" y="567"/>
                        </a:lnTo>
                        <a:lnTo>
                          <a:pt x="107" y="566"/>
                        </a:lnTo>
                        <a:lnTo>
                          <a:pt x="110" y="566"/>
                        </a:lnTo>
                        <a:lnTo>
                          <a:pt x="114" y="564"/>
                        </a:lnTo>
                        <a:lnTo>
                          <a:pt x="118" y="563"/>
                        </a:lnTo>
                        <a:lnTo>
                          <a:pt x="126" y="565"/>
                        </a:lnTo>
                        <a:lnTo>
                          <a:pt x="133" y="567"/>
                        </a:lnTo>
                        <a:lnTo>
                          <a:pt x="141" y="568"/>
                        </a:lnTo>
                        <a:lnTo>
                          <a:pt x="145" y="566"/>
                        </a:lnTo>
                        <a:lnTo>
                          <a:pt x="148" y="563"/>
                        </a:lnTo>
                        <a:lnTo>
                          <a:pt x="151" y="560"/>
                        </a:lnTo>
                        <a:lnTo>
                          <a:pt x="155" y="559"/>
                        </a:lnTo>
                        <a:lnTo>
                          <a:pt x="157" y="559"/>
                        </a:lnTo>
                        <a:lnTo>
                          <a:pt x="159" y="561"/>
                        </a:lnTo>
                        <a:lnTo>
                          <a:pt x="161" y="562"/>
                        </a:lnTo>
                        <a:lnTo>
                          <a:pt x="164" y="562"/>
                        </a:lnTo>
                        <a:lnTo>
                          <a:pt x="168" y="561"/>
                        </a:lnTo>
                        <a:lnTo>
                          <a:pt x="172" y="559"/>
                        </a:lnTo>
                        <a:lnTo>
                          <a:pt x="177" y="559"/>
                        </a:lnTo>
                        <a:lnTo>
                          <a:pt x="178" y="559"/>
                        </a:lnTo>
                        <a:lnTo>
                          <a:pt x="179" y="561"/>
                        </a:lnTo>
                        <a:lnTo>
                          <a:pt x="180" y="562"/>
                        </a:lnTo>
                        <a:lnTo>
                          <a:pt x="181" y="562"/>
                        </a:lnTo>
                        <a:lnTo>
                          <a:pt x="189" y="564"/>
                        </a:lnTo>
                        <a:lnTo>
                          <a:pt x="196" y="566"/>
                        </a:lnTo>
                        <a:lnTo>
                          <a:pt x="201" y="566"/>
                        </a:lnTo>
                        <a:lnTo>
                          <a:pt x="207" y="568"/>
                        </a:lnTo>
                        <a:lnTo>
                          <a:pt x="209" y="569"/>
                        </a:lnTo>
                        <a:lnTo>
                          <a:pt x="210" y="571"/>
                        </a:lnTo>
                        <a:lnTo>
                          <a:pt x="212" y="574"/>
                        </a:lnTo>
                        <a:lnTo>
                          <a:pt x="212" y="575"/>
                        </a:lnTo>
                        <a:lnTo>
                          <a:pt x="215" y="575"/>
                        </a:lnTo>
                        <a:lnTo>
                          <a:pt x="219" y="575"/>
                        </a:lnTo>
                        <a:lnTo>
                          <a:pt x="223" y="575"/>
                        </a:lnTo>
                        <a:lnTo>
                          <a:pt x="226" y="575"/>
                        </a:lnTo>
                        <a:lnTo>
                          <a:pt x="229" y="575"/>
                        </a:lnTo>
                        <a:lnTo>
                          <a:pt x="232" y="576"/>
                        </a:lnTo>
                        <a:lnTo>
                          <a:pt x="235" y="578"/>
                        </a:lnTo>
                        <a:lnTo>
                          <a:pt x="238" y="578"/>
                        </a:lnTo>
                        <a:lnTo>
                          <a:pt x="239" y="579"/>
                        </a:lnTo>
                        <a:lnTo>
                          <a:pt x="240" y="580"/>
                        </a:lnTo>
                        <a:lnTo>
                          <a:pt x="242" y="581"/>
                        </a:lnTo>
                        <a:lnTo>
                          <a:pt x="245" y="581"/>
                        </a:lnTo>
                        <a:lnTo>
                          <a:pt x="246" y="583"/>
                        </a:lnTo>
                        <a:lnTo>
                          <a:pt x="248" y="584"/>
                        </a:lnTo>
                        <a:lnTo>
                          <a:pt x="251" y="585"/>
                        </a:lnTo>
                        <a:lnTo>
                          <a:pt x="252" y="585"/>
                        </a:lnTo>
                        <a:lnTo>
                          <a:pt x="253" y="586"/>
                        </a:lnTo>
                        <a:lnTo>
                          <a:pt x="254" y="588"/>
                        </a:lnTo>
                        <a:lnTo>
                          <a:pt x="255" y="590"/>
                        </a:lnTo>
                        <a:lnTo>
                          <a:pt x="257" y="591"/>
                        </a:lnTo>
                        <a:lnTo>
                          <a:pt x="261" y="590"/>
                        </a:lnTo>
                        <a:lnTo>
                          <a:pt x="264" y="590"/>
                        </a:lnTo>
                        <a:lnTo>
                          <a:pt x="266" y="589"/>
                        </a:lnTo>
                        <a:lnTo>
                          <a:pt x="267" y="588"/>
                        </a:lnTo>
                        <a:lnTo>
                          <a:pt x="269" y="588"/>
                        </a:lnTo>
                        <a:lnTo>
                          <a:pt x="273" y="587"/>
                        </a:lnTo>
                        <a:lnTo>
                          <a:pt x="277" y="585"/>
                        </a:lnTo>
                        <a:lnTo>
                          <a:pt x="281" y="585"/>
                        </a:lnTo>
                        <a:lnTo>
                          <a:pt x="284" y="588"/>
                        </a:lnTo>
                        <a:lnTo>
                          <a:pt x="287" y="592"/>
                        </a:lnTo>
                        <a:lnTo>
                          <a:pt x="292" y="596"/>
                        </a:lnTo>
                        <a:lnTo>
                          <a:pt x="297" y="597"/>
                        </a:lnTo>
                        <a:lnTo>
                          <a:pt x="299" y="596"/>
                        </a:lnTo>
                        <a:lnTo>
                          <a:pt x="300" y="594"/>
                        </a:lnTo>
                        <a:lnTo>
                          <a:pt x="301" y="592"/>
                        </a:lnTo>
                        <a:lnTo>
                          <a:pt x="303" y="591"/>
                        </a:lnTo>
                        <a:lnTo>
                          <a:pt x="306" y="590"/>
                        </a:lnTo>
                        <a:lnTo>
                          <a:pt x="308" y="588"/>
                        </a:lnTo>
                        <a:lnTo>
                          <a:pt x="311" y="585"/>
                        </a:lnTo>
                        <a:lnTo>
                          <a:pt x="313" y="581"/>
                        </a:lnTo>
                        <a:lnTo>
                          <a:pt x="316" y="578"/>
                        </a:lnTo>
                        <a:lnTo>
                          <a:pt x="318" y="573"/>
                        </a:lnTo>
                        <a:lnTo>
                          <a:pt x="321" y="568"/>
                        </a:lnTo>
                        <a:lnTo>
                          <a:pt x="326" y="566"/>
                        </a:lnTo>
                        <a:lnTo>
                          <a:pt x="329" y="564"/>
                        </a:lnTo>
                        <a:lnTo>
                          <a:pt x="333" y="563"/>
                        </a:lnTo>
                        <a:lnTo>
                          <a:pt x="336" y="562"/>
                        </a:lnTo>
                        <a:lnTo>
                          <a:pt x="339" y="562"/>
                        </a:lnTo>
                        <a:lnTo>
                          <a:pt x="341" y="562"/>
                        </a:lnTo>
                        <a:lnTo>
                          <a:pt x="342" y="562"/>
                        </a:lnTo>
                        <a:lnTo>
                          <a:pt x="342" y="561"/>
                        </a:lnTo>
                        <a:lnTo>
                          <a:pt x="342" y="559"/>
                        </a:lnTo>
                        <a:lnTo>
                          <a:pt x="343" y="558"/>
                        </a:lnTo>
                        <a:lnTo>
                          <a:pt x="347" y="557"/>
                        </a:lnTo>
                        <a:lnTo>
                          <a:pt x="352" y="556"/>
                        </a:lnTo>
                        <a:lnTo>
                          <a:pt x="355" y="556"/>
                        </a:lnTo>
                        <a:lnTo>
                          <a:pt x="361" y="557"/>
                        </a:lnTo>
                        <a:lnTo>
                          <a:pt x="368" y="559"/>
                        </a:lnTo>
                        <a:lnTo>
                          <a:pt x="376" y="560"/>
                        </a:lnTo>
                        <a:lnTo>
                          <a:pt x="384" y="559"/>
                        </a:lnTo>
                        <a:lnTo>
                          <a:pt x="386" y="558"/>
                        </a:lnTo>
                        <a:lnTo>
                          <a:pt x="387" y="555"/>
                        </a:lnTo>
                        <a:lnTo>
                          <a:pt x="388" y="552"/>
                        </a:lnTo>
                        <a:lnTo>
                          <a:pt x="388" y="549"/>
                        </a:lnTo>
                        <a:lnTo>
                          <a:pt x="386" y="551"/>
                        </a:lnTo>
                        <a:lnTo>
                          <a:pt x="384" y="552"/>
                        </a:lnTo>
                        <a:lnTo>
                          <a:pt x="383" y="552"/>
                        </a:lnTo>
                        <a:lnTo>
                          <a:pt x="381" y="552"/>
                        </a:lnTo>
                        <a:lnTo>
                          <a:pt x="381" y="550"/>
                        </a:lnTo>
                        <a:lnTo>
                          <a:pt x="381" y="549"/>
                        </a:lnTo>
                        <a:lnTo>
                          <a:pt x="382" y="547"/>
                        </a:lnTo>
                        <a:lnTo>
                          <a:pt x="384" y="546"/>
                        </a:lnTo>
                        <a:lnTo>
                          <a:pt x="387" y="544"/>
                        </a:lnTo>
                        <a:lnTo>
                          <a:pt x="388" y="542"/>
                        </a:lnTo>
                        <a:lnTo>
                          <a:pt x="388" y="541"/>
                        </a:lnTo>
                        <a:lnTo>
                          <a:pt x="388" y="536"/>
                        </a:lnTo>
                        <a:lnTo>
                          <a:pt x="393" y="536"/>
                        </a:lnTo>
                        <a:lnTo>
                          <a:pt x="395" y="532"/>
                        </a:lnTo>
                        <a:lnTo>
                          <a:pt x="396" y="527"/>
                        </a:lnTo>
                        <a:lnTo>
                          <a:pt x="397" y="524"/>
                        </a:lnTo>
                        <a:lnTo>
                          <a:pt x="400" y="523"/>
                        </a:lnTo>
                        <a:lnTo>
                          <a:pt x="400" y="520"/>
                        </a:lnTo>
                        <a:lnTo>
                          <a:pt x="402" y="520"/>
                        </a:lnTo>
                        <a:lnTo>
                          <a:pt x="404" y="520"/>
                        </a:lnTo>
                        <a:lnTo>
                          <a:pt x="405" y="520"/>
                        </a:lnTo>
                        <a:lnTo>
                          <a:pt x="407" y="520"/>
                        </a:lnTo>
                        <a:lnTo>
                          <a:pt x="408" y="517"/>
                        </a:lnTo>
                        <a:lnTo>
                          <a:pt x="412" y="513"/>
                        </a:lnTo>
                        <a:lnTo>
                          <a:pt x="414" y="509"/>
                        </a:lnTo>
                        <a:lnTo>
                          <a:pt x="416" y="507"/>
                        </a:lnTo>
                        <a:lnTo>
                          <a:pt x="419" y="506"/>
                        </a:lnTo>
                        <a:lnTo>
                          <a:pt x="421" y="506"/>
                        </a:lnTo>
                        <a:lnTo>
                          <a:pt x="424" y="507"/>
                        </a:lnTo>
                        <a:lnTo>
                          <a:pt x="426" y="507"/>
                        </a:lnTo>
                        <a:lnTo>
                          <a:pt x="426" y="504"/>
                        </a:lnTo>
                        <a:lnTo>
                          <a:pt x="428" y="504"/>
                        </a:lnTo>
                        <a:lnTo>
                          <a:pt x="429" y="504"/>
                        </a:lnTo>
                        <a:lnTo>
                          <a:pt x="431" y="504"/>
                        </a:lnTo>
                        <a:lnTo>
                          <a:pt x="433" y="504"/>
                        </a:lnTo>
                        <a:lnTo>
                          <a:pt x="433" y="503"/>
                        </a:lnTo>
                        <a:lnTo>
                          <a:pt x="433" y="502"/>
                        </a:lnTo>
                        <a:lnTo>
                          <a:pt x="433" y="501"/>
                        </a:lnTo>
                        <a:lnTo>
                          <a:pt x="433" y="500"/>
                        </a:lnTo>
                        <a:lnTo>
                          <a:pt x="437" y="500"/>
                        </a:lnTo>
                        <a:lnTo>
                          <a:pt x="438" y="500"/>
                        </a:lnTo>
                        <a:lnTo>
                          <a:pt x="442" y="500"/>
                        </a:lnTo>
                        <a:lnTo>
                          <a:pt x="448" y="498"/>
                        </a:lnTo>
                        <a:lnTo>
                          <a:pt x="452" y="496"/>
                        </a:lnTo>
                        <a:lnTo>
                          <a:pt x="455" y="494"/>
                        </a:lnTo>
                        <a:lnTo>
                          <a:pt x="459" y="491"/>
                        </a:lnTo>
                        <a:lnTo>
                          <a:pt x="459" y="489"/>
                        </a:lnTo>
                        <a:lnTo>
                          <a:pt x="460" y="488"/>
                        </a:lnTo>
                        <a:lnTo>
                          <a:pt x="460" y="487"/>
                        </a:lnTo>
                        <a:lnTo>
                          <a:pt x="459" y="485"/>
                        </a:lnTo>
                        <a:lnTo>
                          <a:pt x="457" y="484"/>
                        </a:lnTo>
                        <a:lnTo>
                          <a:pt x="453" y="481"/>
                        </a:lnTo>
                        <a:lnTo>
                          <a:pt x="449" y="478"/>
                        </a:lnTo>
                        <a:lnTo>
                          <a:pt x="445" y="475"/>
                        </a:lnTo>
                        <a:lnTo>
                          <a:pt x="443" y="472"/>
                        </a:lnTo>
                        <a:lnTo>
                          <a:pt x="441" y="468"/>
                        </a:lnTo>
                        <a:lnTo>
                          <a:pt x="439" y="458"/>
                        </a:lnTo>
                        <a:lnTo>
                          <a:pt x="439" y="446"/>
                        </a:lnTo>
                        <a:lnTo>
                          <a:pt x="438" y="436"/>
                        </a:lnTo>
                        <a:lnTo>
                          <a:pt x="442" y="429"/>
                        </a:lnTo>
                        <a:lnTo>
                          <a:pt x="446" y="424"/>
                        </a:lnTo>
                        <a:lnTo>
                          <a:pt x="450" y="420"/>
                        </a:lnTo>
                        <a:lnTo>
                          <a:pt x="455" y="417"/>
                        </a:lnTo>
                        <a:lnTo>
                          <a:pt x="458" y="414"/>
                        </a:lnTo>
                        <a:lnTo>
                          <a:pt x="461" y="410"/>
                        </a:lnTo>
                        <a:lnTo>
                          <a:pt x="463" y="405"/>
                        </a:lnTo>
                        <a:lnTo>
                          <a:pt x="468" y="400"/>
                        </a:lnTo>
                        <a:lnTo>
                          <a:pt x="481" y="394"/>
                        </a:lnTo>
                        <a:lnTo>
                          <a:pt x="494" y="385"/>
                        </a:lnTo>
                        <a:lnTo>
                          <a:pt x="507" y="374"/>
                        </a:lnTo>
                        <a:lnTo>
                          <a:pt x="512" y="369"/>
                        </a:lnTo>
                        <a:lnTo>
                          <a:pt x="516" y="362"/>
                        </a:lnTo>
                        <a:lnTo>
                          <a:pt x="517" y="361"/>
                        </a:lnTo>
                        <a:lnTo>
                          <a:pt x="518" y="361"/>
                        </a:lnTo>
                        <a:lnTo>
                          <a:pt x="519" y="362"/>
                        </a:lnTo>
                        <a:lnTo>
                          <a:pt x="519" y="363"/>
                        </a:lnTo>
                        <a:lnTo>
                          <a:pt x="519" y="364"/>
                        </a:lnTo>
                        <a:lnTo>
                          <a:pt x="519" y="365"/>
                        </a:lnTo>
                        <a:lnTo>
                          <a:pt x="525" y="365"/>
                        </a:lnTo>
                        <a:lnTo>
                          <a:pt x="527" y="364"/>
                        </a:lnTo>
                        <a:lnTo>
                          <a:pt x="530" y="362"/>
                        </a:lnTo>
                        <a:lnTo>
                          <a:pt x="530" y="360"/>
                        </a:lnTo>
                        <a:lnTo>
                          <a:pt x="530" y="355"/>
                        </a:lnTo>
                        <a:lnTo>
                          <a:pt x="530" y="354"/>
                        </a:lnTo>
                        <a:lnTo>
                          <a:pt x="530" y="353"/>
                        </a:lnTo>
                        <a:lnTo>
                          <a:pt x="530" y="352"/>
                        </a:lnTo>
                        <a:lnTo>
                          <a:pt x="531" y="351"/>
                        </a:lnTo>
                        <a:lnTo>
                          <a:pt x="533" y="349"/>
                        </a:lnTo>
                        <a:lnTo>
                          <a:pt x="534" y="346"/>
                        </a:lnTo>
                        <a:lnTo>
                          <a:pt x="535" y="343"/>
                        </a:lnTo>
                        <a:lnTo>
                          <a:pt x="535" y="340"/>
                        </a:lnTo>
                        <a:lnTo>
                          <a:pt x="537" y="340"/>
                        </a:lnTo>
                        <a:lnTo>
                          <a:pt x="538" y="340"/>
                        </a:lnTo>
                        <a:lnTo>
                          <a:pt x="539" y="340"/>
                        </a:lnTo>
                        <a:lnTo>
                          <a:pt x="541" y="339"/>
                        </a:lnTo>
                        <a:lnTo>
                          <a:pt x="542" y="338"/>
                        </a:lnTo>
                        <a:lnTo>
                          <a:pt x="542" y="337"/>
                        </a:lnTo>
                        <a:lnTo>
                          <a:pt x="542" y="336"/>
                        </a:lnTo>
                        <a:lnTo>
                          <a:pt x="546" y="335"/>
                        </a:lnTo>
                        <a:lnTo>
                          <a:pt x="550" y="335"/>
                        </a:lnTo>
                        <a:lnTo>
                          <a:pt x="553" y="336"/>
                        </a:lnTo>
                        <a:lnTo>
                          <a:pt x="555" y="336"/>
                        </a:lnTo>
                        <a:lnTo>
                          <a:pt x="556" y="336"/>
                        </a:lnTo>
                        <a:lnTo>
                          <a:pt x="557" y="335"/>
                        </a:lnTo>
                        <a:lnTo>
                          <a:pt x="557" y="333"/>
                        </a:lnTo>
                        <a:lnTo>
                          <a:pt x="559" y="333"/>
                        </a:lnTo>
                        <a:lnTo>
                          <a:pt x="562" y="333"/>
                        </a:lnTo>
                        <a:lnTo>
                          <a:pt x="565" y="333"/>
                        </a:lnTo>
                        <a:lnTo>
                          <a:pt x="568" y="333"/>
                        </a:lnTo>
                        <a:lnTo>
                          <a:pt x="571" y="333"/>
                        </a:lnTo>
                        <a:lnTo>
                          <a:pt x="579" y="333"/>
                        </a:lnTo>
                        <a:lnTo>
                          <a:pt x="588" y="333"/>
                        </a:lnTo>
                        <a:lnTo>
                          <a:pt x="596" y="333"/>
                        </a:lnTo>
                        <a:lnTo>
                          <a:pt x="604" y="333"/>
                        </a:lnTo>
                        <a:lnTo>
                          <a:pt x="614" y="333"/>
                        </a:lnTo>
                        <a:lnTo>
                          <a:pt x="614" y="332"/>
                        </a:lnTo>
                        <a:lnTo>
                          <a:pt x="616" y="330"/>
                        </a:lnTo>
                        <a:lnTo>
                          <a:pt x="618" y="327"/>
                        </a:lnTo>
                        <a:lnTo>
                          <a:pt x="620" y="326"/>
                        </a:lnTo>
                        <a:lnTo>
                          <a:pt x="622" y="325"/>
                        </a:lnTo>
                        <a:lnTo>
                          <a:pt x="625" y="324"/>
                        </a:lnTo>
                        <a:lnTo>
                          <a:pt x="630" y="324"/>
                        </a:lnTo>
                        <a:lnTo>
                          <a:pt x="636" y="321"/>
                        </a:lnTo>
                        <a:lnTo>
                          <a:pt x="642" y="319"/>
                        </a:lnTo>
                        <a:lnTo>
                          <a:pt x="649" y="316"/>
                        </a:lnTo>
                        <a:lnTo>
                          <a:pt x="656" y="314"/>
                        </a:lnTo>
                        <a:lnTo>
                          <a:pt x="658" y="312"/>
                        </a:lnTo>
                        <a:lnTo>
                          <a:pt x="661" y="312"/>
                        </a:lnTo>
                        <a:lnTo>
                          <a:pt x="663" y="312"/>
                        </a:lnTo>
                        <a:lnTo>
                          <a:pt x="666" y="310"/>
                        </a:lnTo>
                        <a:lnTo>
                          <a:pt x="667" y="310"/>
                        </a:lnTo>
                        <a:lnTo>
                          <a:pt x="668" y="309"/>
                        </a:lnTo>
                        <a:lnTo>
                          <a:pt x="669" y="308"/>
                        </a:lnTo>
                        <a:lnTo>
                          <a:pt x="671" y="307"/>
                        </a:lnTo>
                        <a:lnTo>
                          <a:pt x="674" y="305"/>
                        </a:lnTo>
                        <a:lnTo>
                          <a:pt x="676" y="304"/>
                        </a:lnTo>
                        <a:lnTo>
                          <a:pt x="678" y="304"/>
                        </a:lnTo>
                        <a:lnTo>
                          <a:pt x="678" y="302"/>
                        </a:lnTo>
                        <a:lnTo>
                          <a:pt x="678" y="301"/>
                        </a:lnTo>
                        <a:lnTo>
                          <a:pt x="678" y="299"/>
                        </a:lnTo>
                        <a:lnTo>
                          <a:pt x="678" y="295"/>
                        </a:lnTo>
                        <a:lnTo>
                          <a:pt x="681" y="295"/>
                        </a:lnTo>
                        <a:lnTo>
                          <a:pt x="681" y="291"/>
                        </a:lnTo>
                        <a:lnTo>
                          <a:pt x="680" y="289"/>
                        </a:lnTo>
                        <a:lnTo>
                          <a:pt x="679" y="288"/>
                        </a:lnTo>
                        <a:lnTo>
                          <a:pt x="678" y="288"/>
                        </a:lnTo>
                        <a:lnTo>
                          <a:pt x="678" y="283"/>
                        </a:lnTo>
                        <a:lnTo>
                          <a:pt x="678" y="282"/>
                        </a:lnTo>
                        <a:lnTo>
                          <a:pt x="678" y="281"/>
                        </a:lnTo>
                        <a:lnTo>
                          <a:pt x="680" y="281"/>
                        </a:lnTo>
                        <a:lnTo>
                          <a:pt x="680" y="280"/>
                        </a:lnTo>
                        <a:lnTo>
                          <a:pt x="680" y="278"/>
                        </a:lnTo>
                        <a:lnTo>
                          <a:pt x="681" y="278"/>
                        </a:lnTo>
                        <a:lnTo>
                          <a:pt x="685" y="281"/>
                        </a:lnTo>
                        <a:lnTo>
                          <a:pt x="687" y="278"/>
                        </a:lnTo>
                        <a:lnTo>
                          <a:pt x="689" y="276"/>
                        </a:lnTo>
                        <a:lnTo>
                          <a:pt x="690" y="273"/>
                        </a:lnTo>
                        <a:lnTo>
                          <a:pt x="690" y="272"/>
                        </a:lnTo>
                        <a:lnTo>
                          <a:pt x="689" y="272"/>
                        </a:lnTo>
                        <a:lnTo>
                          <a:pt x="689" y="270"/>
                        </a:lnTo>
                        <a:lnTo>
                          <a:pt x="690" y="269"/>
                        </a:lnTo>
                        <a:lnTo>
                          <a:pt x="687" y="269"/>
                        </a:lnTo>
                        <a:lnTo>
                          <a:pt x="685" y="269"/>
                        </a:lnTo>
                        <a:lnTo>
                          <a:pt x="683" y="266"/>
                        </a:lnTo>
                        <a:lnTo>
                          <a:pt x="682" y="264"/>
                        </a:lnTo>
                        <a:lnTo>
                          <a:pt x="681" y="259"/>
                        </a:lnTo>
                        <a:lnTo>
                          <a:pt x="680" y="258"/>
                        </a:lnTo>
                        <a:lnTo>
                          <a:pt x="677" y="257"/>
                        </a:lnTo>
                        <a:lnTo>
                          <a:pt x="673" y="256"/>
                        </a:lnTo>
                        <a:lnTo>
                          <a:pt x="668" y="255"/>
                        </a:lnTo>
                        <a:lnTo>
                          <a:pt x="664" y="256"/>
                        </a:lnTo>
                        <a:lnTo>
                          <a:pt x="661" y="257"/>
                        </a:lnTo>
                        <a:lnTo>
                          <a:pt x="659" y="259"/>
                        </a:lnTo>
                        <a:lnTo>
                          <a:pt x="654" y="259"/>
                        </a:lnTo>
                        <a:lnTo>
                          <a:pt x="651" y="260"/>
                        </a:lnTo>
                        <a:lnTo>
                          <a:pt x="648" y="261"/>
                        </a:lnTo>
                        <a:lnTo>
                          <a:pt x="645" y="262"/>
                        </a:lnTo>
                        <a:lnTo>
                          <a:pt x="641" y="262"/>
                        </a:lnTo>
                        <a:lnTo>
                          <a:pt x="637" y="263"/>
                        </a:lnTo>
                        <a:lnTo>
                          <a:pt x="633" y="262"/>
                        </a:lnTo>
                        <a:lnTo>
                          <a:pt x="630" y="259"/>
                        </a:lnTo>
                        <a:lnTo>
                          <a:pt x="627" y="257"/>
                        </a:lnTo>
                        <a:lnTo>
                          <a:pt x="625" y="257"/>
                        </a:lnTo>
                        <a:lnTo>
                          <a:pt x="622" y="258"/>
                        </a:lnTo>
                        <a:lnTo>
                          <a:pt x="620" y="259"/>
                        </a:lnTo>
                        <a:lnTo>
                          <a:pt x="618" y="258"/>
                        </a:lnTo>
                        <a:lnTo>
                          <a:pt x="616" y="255"/>
                        </a:lnTo>
                        <a:lnTo>
                          <a:pt x="614" y="253"/>
                        </a:lnTo>
                        <a:lnTo>
                          <a:pt x="614" y="250"/>
                        </a:lnTo>
                        <a:lnTo>
                          <a:pt x="613" y="250"/>
                        </a:lnTo>
                        <a:lnTo>
                          <a:pt x="612" y="250"/>
                        </a:lnTo>
                        <a:lnTo>
                          <a:pt x="610" y="251"/>
                        </a:lnTo>
                        <a:lnTo>
                          <a:pt x="607" y="253"/>
                        </a:lnTo>
                        <a:lnTo>
                          <a:pt x="607" y="252"/>
                        </a:lnTo>
                        <a:lnTo>
                          <a:pt x="605" y="251"/>
                        </a:lnTo>
                        <a:lnTo>
                          <a:pt x="603" y="250"/>
                        </a:lnTo>
                        <a:lnTo>
                          <a:pt x="600" y="250"/>
                        </a:lnTo>
                        <a:lnTo>
                          <a:pt x="595" y="252"/>
                        </a:lnTo>
                        <a:lnTo>
                          <a:pt x="592" y="253"/>
                        </a:lnTo>
                        <a:lnTo>
                          <a:pt x="589" y="255"/>
                        </a:lnTo>
                        <a:lnTo>
                          <a:pt x="585" y="255"/>
                        </a:lnTo>
                        <a:lnTo>
                          <a:pt x="583" y="254"/>
                        </a:lnTo>
                        <a:lnTo>
                          <a:pt x="582" y="253"/>
                        </a:lnTo>
                        <a:lnTo>
                          <a:pt x="582" y="247"/>
                        </a:lnTo>
                        <a:lnTo>
                          <a:pt x="582" y="242"/>
                        </a:lnTo>
                        <a:lnTo>
                          <a:pt x="581" y="236"/>
                        </a:lnTo>
                        <a:lnTo>
                          <a:pt x="582" y="234"/>
                        </a:lnTo>
                        <a:lnTo>
                          <a:pt x="583" y="231"/>
                        </a:lnTo>
                        <a:lnTo>
                          <a:pt x="583" y="229"/>
                        </a:lnTo>
                        <a:lnTo>
                          <a:pt x="581" y="227"/>
                        </a:lnTo>
                        <a:lnTo>
                          <a:pt x="579" y="227"/>
                        </a:lnTo>
                        <a:lnTo>
                          <a:pt x="578" y="225"/>
                        </a:lnTo>
                        <a:lnTo>
                          <a:pt x="577" y="223"/>
                        </a:lnTo>
                        <a:lnTo>
                          <a:pt x="575" y="220"/>
                        </a:lnTo>
                        <a:lnTo>
                          <a:pt x="571" y="218"/>
                        </a:lnTo>
                        <a:lnTo>
                          <a:pt x="568" y="216"/>
                        </a:lnTo>
                        <a:lnTo>
                          <a:pt x="565" y="214"/>
                        </a:lnTo>
                        <a:lnTo>
                          <a:pt x="562" y="214"/>
                        </a:lnTo>
                        <a:lnTo>
                          <a:pt x="560" y="217"/>
                        </a:lnTo>
                        <a:lnTo>
                          <a:pt x="562" y="220"/>
                        </a:lnTo>
                        <a:lnTo>
                          <a:pt x="562" y="224"/>
                        </a:lnTo>
                        <a:lnTo>
                          <a:pt x="562" y="227"/>
                        </a:lnTo>
                        <a:lnTo>
                          <a:pt x="559" y="227"/>
                        </a:lnTo>
                        <a:lnTo>
                          <a:pt x="557" y="225"/>
                        </a:lnTo>
                        <a:lnTo>
                          <a:pt x="552" y="220"/>
                        </a:lnTo>
                        <a:lnTo>
                          <a:pt x="549" y="218"/>
                        </a:lnTo>
                        <a:lnTo>
                          <a:pt x="545" y="217"/>
                        </a:lnTo>
                        <a:lnTo>
                          <a:pt x="542" y="217"/>
                        </a:lnTo>
                        <a:lnTo>
                          <a:pt x="539" y="217"/>
                        </a:lnTo>
                        <a:lnTo>
                          <a:pt x="537" y="215"/>
                        </a:lnTo>
                        <a:lnTo>
                          <a:pt x="535" y="212"/>
                        </a:lnTo>
                        <a:lnTo>
                          <a:pt x="534" y="211"/>
                        </a:lnTo>
                        <a:lnTo>
                          <a:pt x="533" y="210"/>
                        </a:lnTo>
                        <a:lnTo>
                          <a:pt x="530" y="206"/>
                        </a:lnTo>
                        <a:lnTo>
                          <a:pt x="527" y="205"/>
                        </a:lnTo>
                        <a:lnTo>
                          <a:pt x="524" y="203"/>
                        </a:lnTo>
                        <a:lnTo>
                          <a:pt x="519" y="201"/>
                        </a:lnTo>
                        <a:lnTo>
                          <a:pt x="517" y="198"/>
                        </a:lnTo>
                        <a:lnTo>
                          <a:pt x="516" y="194"/>
                        </a:lnTo>
                        <a:lnTo>
                          <a:pt x="513" y="191"/>
                        </a:lnTo>
                        <a:lnTo>
                          <a:pt x="509" y="188"/>
                        </a:lnTo>
                        <a:lnTo>
                          <a:pt x="506" y="186"/>
                        </a:lnTo>
                        <a:lnTo>
                          <a:pt x="504" y="186"/>
                        </a:lnTo>
                        <a:lnTo>
                          <a:pt x="501" y="186"/>
                        </a:lnTo>
                        <a:lnTo>
                          <a:pt x="497" y="184"/>
                        </a:lnTo>
                        <a:lnTo>
                          <a:pt x="495" y="181"/>
                        </a:lnTo>
                        <a:lnTo>
                          <a:pt x="495" y="179"/>
                        </a:lnTo>
                        <a:lnTo>
                          <a:pt x="494" y="175"/>
                        </a:lnTo>
                        <a:lnTo>
                          <a:pt x="490" y="172"/>
                        </a:lnTo>
                        <a:lnTo>
                          <a:pt x="487" y="168"/>
                        </a:lnTo>
                        <a:lnTo>
                          <a:pt x="485" y="167"/>
                        </a:lnTo>
                        <a:lnTo>
                          <a:pt x="481" y="165"/>
                        </a:lnTo>
                        <a:lnTo>
                          <a:pt x="478" y="162"/>
                        </a:lnTo>
                        <a:lnTo>
                          <a:pt x="478" y="161"/>
                        </a:lnTo>
                        <a:lnTo>
                          <a:pt x="477" y="160"/>
                        </a:lnTo>
                        <a:lnTo>
                          <a:pt x="476" y="158"/>
                        </a:lnTo>
                        <a:lnTo>
                          <a:pt x="474" y="156"/>
                        </a:lnTo>
                        <a:lnTo>
                          <a:pt x="472" y="156"/>
                        </a:lnTo>
                        <a:lnTo>
                          <a:pt x="470" y="155"/>
                        </a:lnTo>
                        <a:lnTo>
                          <a:pt x="468" y="153"/>
                        </a:lnTo>
                        <a:lnTo>
                          <a:pt x="468" y="152"/>
                        </a:lnTo>
                        <a:lnTo>
                          <a:pt x="468" y="151"/>
                        </a:lnTo>
                        <a:lnTo>
                          <a:pt x="468" y="146"/>
                        </a:lnTo>
                        <a:lnTo>
                          <a:pt x="470" y="146"/>
                        </a:lnTo>
                        <a:lnTo>
                          <a:pt x="472" y="144"/>
                        </a:lnTo>
                        <a:lnTo>
                          <a:pt x="472" y="142"/>
                        </a:lnTo>
                        <a:lnTo>
                          <a:pt x="471" y="139"/>
                        </a:lnTo>
                        <a:lnTo>
                          <a:pt x="470" y="138"/>
                        </a:lnTo>
                        <a:lnTo>
                          <a:pt x="470" y="137"/>
                        </a:lnTo>
                        <a:lnTo>
                          <a:pt x="469" y="137"/>
                        </a:lnTo>
                        <a:lnTo>
                          <a:pt x="468" y="139"/>
                        </a:lnTo>
                        <a:lnTo>
                          <a:pt x="464" y="139"/>
                        </a:lnTo>
                        <a:lnTo>
                          <a:pt x="461" y="136"/>
                        </a:lnTo>
                        <a:lnTo>
                          <a:pt x="459" y="132"/>
                        </a:lnTo>
                        <a:lnTo>
                          <a:pt x="456" y="129"/>
                        </a:lnTo>
                        <a:lnTo>
                          <a:pt x="455" y="127"/>
                        </a:lnTo>
                        <a:lnTo>
                          <a:pt x="451" y="129"/>
                        </a:lnTo>
                        <a:lnTo>
                          <a:pt x="445" y="130"/>
                        </a:lnTo>
                        <a:lnTo>
                          <a:pt x="438" y="129"/>
                        </a:lnTo>
                        <a:lnTo>
                          <a:pt x="433" y="127"/>
                        </a:lnTo>
                        <a:lnTo>
                          <a:pt x="427" y="126"/>
                        </a:lnTo>
                        <a:lnTo>
                          <a:pt x="421" y="125"/>
                        </a:lnTo>
                        <a:lnTo>
                          <a:pt x="416" y="123"/>
                        </a:lnTo>
                        <a:lnTo>
                          <a:pt x="413" y="120"/>
                        </a:lnTo>
                        <a:lnTo>
                          <a:pt x="413" y="119"/>
                        </a:lnTo>
                        <a:lnTo>
                          <a:pt x="412" y="117"/>
                        </a:lnTo>
                        <a:lnTo>
                          <a:pt x="410" y="117"/>
                        </a:lnTo>
                        <a:lnTo>
                          <a:pt x="409" y="117"/>
                        </a:lnTo>
                        <a:lnTo>
                          <a:pt x="407" y="117"/>
                        </a:lnTo>
                        <a:lnTo>
                          <a:pt x="406" y="116"/>
                        </a:lnTo>
                        <a:lnTo>
                          <a:pt x="405" y="115"/>
                        </a:lnTo>
                        <a:lnTo>
                          <a:pt x="404" y="113"/>
                        </a:lnTo>
                        <a:lnTo>
                          <a:pt x="404" y="110"/>
                        </a:lnTo>
                        <a:lnTo>
                          <a:pt x="403" y="110"/>
                        </a:lnTo>
                        <a:lnTo>
                          <a:pt x="402" y="110"/>
                        </a:lnTo>
                        <a:lnTo>
                          <a:pt x="401" y="110"/>
                        </a:lnTo>
                        <a:lnTo>
                          <a:pt x="400" y="110"/>
                        </a:lnTo>
                        <a:lnTo>
                          <a:pt x="399" y="109"/>
                        </a:lnTo>
                        <a:lnTo>
                          <a:pt x="397" y="108"/>
                        </a:lnTo>
                        <a:lnTo>
                          <a:pt x="392" y="107"/>
                        </a:lnTo>
                        <a:lnTo>
                          <a:pt x="389" y="108"/>
                        </a:lnTo>
                        <a:lnTo>
                          <a:pt x="386" y="109"/>
                        </a:lnTo>
                        <a:lnTo>
                          <a:pt x="381" y="108"/>
                        </a:lnTo>
                        <a:lnTo>
                          <a:pt x="380" y="108"/>
                        </a:lnTo>
                        <a:lnTo>
                          <a:pt x="379" y="107"/>
                        </a:lnTo>
                        <a:lnTo>
                          <a:pt x="377" y="106"/>
                        </a:lnTo>
                        <a:lnTo>
                          <a:pt x="374" y="104"/>
                        </a:lnTo>
                        <a:lnTo>
                          <a:pt x="374" y="105"/>
                        </a:lnTo>
                        <a:lnTo>
                          <a:pt x="374" y="106"/>
                        </a:lnTo>
                        <a:lnTo>
                          <a:pt x="374" y="104"/>
                        </a:lnTo>
                        <a:lnTo>
                          <a:pt x="372" y="104"/>
                        </a:lnTo>
                        <a:lnTo>
                          <a:pt x="371" y="103"/>
                        </a:lnTo>
                        <a:lnTo>
                          <a:pt x="371" y="102"/>
                        </a:lnTo>
                        <a:lnTo>
                          <a:pt x="371" y="101"/>
                        </a:lnTo>
                        <a:lnTo>
                          <a:pt x="366" y="96"/>
                        </a:lnTo>
                        <a:lnTo>
                          <a:pt x="364" y="95"/>
                        </a:lnTo>
                        <a:lnTo>
                          <a:pt x="362" y="94"/>
                        </a:lnTo>
                        <a:lnTo>
                          <a:pt x="362" y="92"/>
                        </a:lnTo>
                        <a:lnTo>
                          <a:pt x="362" y="91"/>
                        </a:lnTo>
                        <a:lnTo>
                          <a:pt x="357" y="90"/>
                        </a:lnTo>
                        <a:lnTo>
                          <a:pt x="354" y="90"/>
                        </a:lnTo>
                        <a:lnTo>
                          <a:pt x="351" y="91"/>
                        </a:lnTo>
                        <a:lnTo>
                          <a:pt x="348" y="91"/>
                        </a:lnTo>
                        <a:lnTo>
                          <a:pt x="345" y="90"/>
                        </a:lnTo>
                        <a:lnTo>
                          <a:pt x="342" y="88"/>
                        </a:lnTo>
                        <a:lnTo>
                          <a:pt x="340" y="85"/>
                        </a:lnTo>
                        <a:lnTo>
                          <a:pt x="339" y="85"/>
                        </a:lnTo>
                        <a:lnTo>
                          <a:pt x="333" y="85"/>
                        </a:lnTo>
                        <a:lnTo>
                          <a:pt x="328" y="86"/>
                        </a:lnTo>
                        <a:lnTo>
                          <a:pt x="324" y="86"/>
                        </a:lnTo>
                        <a:lnTo>
                          <a:pt x="319" y="85"/>
                        </a:lnTo>
                        <a:lnTo>
                          <a:pt x="317" y="85"/>
                        </a:lnTo>
                        <a:lnTo>
                          <a:pt x="315" y="84"/>
                        </a:lnTo>
                        <a:lnTo>
                          <a:pt x="313" y="82"/>
                        </a:lnTo>
                        <a:lnTo>
                          <a:pt x="310" y="82"/>
                        </a:lnTo>
                        <a:lnTo>
                          <a:pt x="309" y="82"/>
                        </a:lnTo>
                        <a:lnTo>
                          <a:pt x="307" y="82"/>
                        </a:lnTo>
                        <a:lnTo>
                          <a:pt x="306" y="82"/>
                        </a:lnTo>
                        <a:lnTo>
                          <a:pt x="305" y="84"/>
                        </a:lnTo>
                        <a:lnTo>
                          <a:pt x="304" y="85"/>
                        </a:lnTo>
                        <a:lnTo>
                          <a:pt x="303" y="85"/>
                        </a:lnTo>
                        <a:lnTo>
                          <a:pt x="300" y="82"/>
                        </a:lnTo>
                        <a:lnTo>
                          <a:pt x="296" y="79"/>
                        </a:lnTo>
                        <a:lnTo>
                          <a:pt x="293" y="75"/>
                        </a:lnTo>
                        <a:lnTo>
                          <a:pt x="287" y="72"/>
                        </a:lnTo>
                        <a:lnTo>
                          <a:pt x="283" y="71"/>
                        </a:lnTo>
                        <a:lnTo>
                          <a:pt x="280" y="71"/>
                        </a:lnTo>
                        <a:lnTo>
                          <a:pt x="275" y="70"/>
                        </a:lnTo>
                        <a:lnTo>
                          <a:pt x="274" y="69"/>
                        </a:lnTo>
                        <a:lnTo>
                          <a:pt x="273" y="67"/>
                        </a:lnTo>
                        <a:lnTo>
                          <a:pt x="272" y="64"/>
                        </a:lnTo>
                        <a:lnTo>
                          <a:pt x="271" y="59"/>
                        </a:lnTo>
                        <a:lnTo>
                          <a:pt x="269" y="59"/>
                        </a:lnTo>
                        <a:lnTo>
                          <a:pt x="266" y="58"/>
                        </a:lnTo>
                        <a:lnTo>
                          <a:pt x="263" y="57"/>
                        </a:lnTo>
                        <a:lnTo>
                          <a:pt x="261" y="56"/>
                        </a:lnTo>
                        <a:lnTo>
                          <a:pt x="260" y="56"/>
                        </a:lnTo>
                        <a:lnTo>
                          <a:pt x="258" y="56"/>
                        </a:lnTo>
                        <a:lnTo>
                          <a:pt x="257" y="56"/>
                        </a:lnTo>
                        <a:lnTo>
                          <a:pt x="256" y="56"/>
                        </a:lnTo>
                        <a:lnTo>
                          <a:pt x="253" y="54"/>
                        </a:lnTo>
                        <a:lnTo>
                          <a:pt x="248" y="49"/>
                        </a:lnTo>
                        <a:lnTo>
                          <a:pt x="249" y="49"/>
                        </a:lnTo>
                        <a:lnTo>
                          <a:pt x="250" y="49"/>
                        </a:lnTo>
                        <a:lnTo>
                          <a:pt x="250" y="48"/>
                        </a:lnTo>
                        <a:lnTo>
                          <a:pt x="248" y="46"/>
                        </a:lnTo>
                        <a:lnTo>
                          <a:pt x="245" y="46"/>
                        </a:lnTo>
                        <a:lnTo>
                          <a:pt x="242" y="46"/>
                        </a:lnTo>
                        <a:lnTo>
                          <a:pt x="239" y="46"/>
                        </a:lnTo>
                        <a:lnTo>
                          <a:pt x="238" y="46"/>
                        </a:lnTo>
                        <a:lnTo>
                          <a:pt x="238" y="45"/>
                        </a:lnTo>
                        <a:lnTo>
                          <a:pt x="237" y="44"/>
                        </a:lnTo>
                        <a:lnTo>
                          <a:pt x="235" y="43"/>
                        </a:lnTo>
                        <a:lnTo>
                          <a:pt x="234" y="43"/>
                        </a:lnTo>
                        <a:lnTo>
                          <a:pt x="233" y="43"/>
                        </a:lnTo>
                        <a:lnTo>
                          <a:pt x="229" y="43"/>
                        </a:lnTo>
                        <a:lnTo>
                          <a:pt x="229" y="42"/>
                        </a:lnTo>
                        <a:lnTo>
                          <a:pt x="227" y="41"/>
                        </a:lnTo>
                        <a:lnTo>
                          <a:pt x="226" y="40"/>
                        </a:lnTo>
                        <a:lnTo>
                          <a:pt x="226" y="39"/>
                        </a:lnTo>
                        <a:lnTo>
                          <a:pt x="224" y="40"/>
                        </a:lnTo>
                        <a:lnTo>
                          <a:pt x="222" y="41"/>
                        </a:lnTo>
                        <a:lnTo>
                          <a:pt x="221" y="42"/>
                        </a:lnTo>
                        <a:lnTo>
                          <a:pt x="219" y="43"/>
                        </a:lnTo>
                        <a:lnTo>
                          <a:pt x="214" y="38"/>
                        </a:lnTo>
                        <a:lnTo>
                          <a:pt x="212" y="37"/>
                        </a:lnTo>
                        <a:lnTo>
                          <a:pt x="209" y="37"/>
                        </a:lnTo>
                        <a:lnTo>
                          <a:pt x="206" y="35"/>
                        </a:lnTo>
                        <a:lnTo>
                          <a:pt x="202" y="35"/>
                        </a:lnTo>
                        <a:lnTo>
                          <a:pt x="199" y="35"/>
                        </a:lnTo>
                        <a:lnTo>
                          <a:pt x="197" y="34"/>
                        </a:lnTo>
                        <a:lnTo>
                          <a:pt x="196" y="33"/>
                        </a:lnTo>
                        <a:lnTo>
                          <a:pt x="195" y="32"/>
                        </a:lnTo>
                        <a:lnTo>
                          <a:pt x="194" y="31"/>
                        </a:lnTo>
                        <a:lnTo>
                          <a:pt x="193" y="30"/>
                        </a:lnTo>
                        <a:lnTo>
                          <a:pt x="192" y="30"/>
                        </a:lnTo>
                        <a:lnTo>
                          <a:pt x="190" y="30"/>
                        </a:lnTo>
                        <a:lnTo>
                          <a:pt x="189" y="30"/>
                        </a:lnTo>
                        <a:lnTo>
                          <a:pt x="187" y="29"/>
                        </a:lnTo>
                        <a:lnTo>
                          <a:pt x="181" y="25"/>
                        </a:lnTo>
                        <a:lnTo>
                          <a:pt x="174" y="20"/>
                        </a:lnTo>
                        <a:lnTo>
                          <a:pt x="172" y="18"/>
                        </a:lnTo>
                        <a:lnTo>
                          <a:pt x="171" y="17"/>
                        </a:lnTo>
                        <a:lnTo>
                          <a:pt x="170" y="16"/>
                        </a:lnTo>
                        <a:lnTo>
                          <a:pt x="169" y="13"/>
                        </a:lnTo>
                        <a:lnTo>
                          <a:pt x="168" y="11"/>
                        </a:lnTo>
                        <a:lnTo>
                          <a:pt x="167" y="8"/>
                        </a:lnTo>
                        <a:lnTo>
                          <a:pt x="165" y="10"/>
                        </a:lnTo>
                        <a:lnTo>
                          <a:pt x="164" y="11"/>
                        </a:lnTo>
                        <a:lnTo>
                          <a:pt x="163" y="11"/>
                        </a:lnTo>
                        <a:lnTo>
                          <a:pt x="161" y="11"/>
                        </a:lnTo>
                        <a:lnTo>
                          <a:pt x="160" y="9"/>
                        </a:lnTo>
                        <a:lnTo>
                          <a:pt x="159" y="8"/>
                        </a:lnTo>
                        <a:lnTo>
                          <a:pt x="158" y="8"/>
                        </a:lnTo>
                        <a:lnTo>
                          <a:pt x="159" y="7"/>
                        </a:lnTo>
                        <a:lnTo>
                          <a:pt x="160" y="6"/>
                        </a:lnTo>
                        <a:lnTo>
                          <a:pt x="160" y="5"/>
                        </a:lnTo>
                        <a:lnTo>
                          <a:pt x="158" y="5"/>
                        </a:lnTo>
                        <a:lnTo>
                          <a:pt x="156" y="4"/>
                        </a:lnTo>
                        <a:lnTo>
                          <a:pt x="151" y="4"/>
                        </a:lnTo>
                        <a:lnTo>
                          <a:pt x="151" y="1"/>
                        </a:lnTo>
                        <a:lnTo>
                          <a:pt x="147" y="0"/>
                        </a:lnTo>
                        <a:lnTo>
                          <a:pt x="144" y="1"/>
                        </a:lnTo>
                        <a:lnTo>
                          <a:pt x="141" y="3"/>
                        </a:lnTo>
                        <a:lnTo>
                          <a:pt x="138" y="4"/>
                        </a:lnTo>
                        <a:lnTo>
                          <a:pt x="137" y="4"/>
                        </a:lnTo>
                        <a:lnTo>
                          <a:pt x="136" y="3"/>
                        </a:lnTo>
                        <a:lnTo>
                          <a:pt x="134" y="3"/>
                        </a:lnTo>
                        <a:lnTo>
                          <a:pt x="132" y="4"/>
                        </a:lnTo>
                        <a:lnTo>
                          <a:pt x="131" y="4"/>
                        </a:lnTo>
                        <a:lnTo>
                          <a:pt x="129" y="4"/>
                        </a:lnTo>
                        <a:lnTo>
                          <a:pt x="128" y="6"/>
                        </a:lnTo>
                        <a:lnTo>
                          <a:pt x="127" y="6"/>
                        </a:lnTo>
                        <a:lnTo>
                          <a:pt x="125" y="5"/>
                        </a:lnTo>
                        <a:lnTo>
                          <a:pt x="122" y="4"/>
                        </a:lnTo>
                        <a:lnTo>
                          <a:pt x="122" y="5"/>
                        </a:lnTo>
                        <a:lnTo>
                          <a:pt x="122" y="6"/>
                        </a:lnTo>
                        <a:lnTo>
                          <a:pt x="122" y="7"/>
                        </a:lnTo>
                        <a:lnTo>
                          <a:pt x="122" y="8"/>
                        </a:lnTo>
                        <a:lnTo>
                          <a:pt x="120" y="10"/>
                        </a:lnTo>
                        <a:lnTo>
                          <a:pt x="119" y="13"/>
                        </a:lnTo>
                        <a:lnTo>
                          <a:pt x="119" y="17"/>
                        </a:lnTo>
                        <a:lnTo>
                          <a:pt x="113" y="17"/>
                        </a:lnTo>
                        <a:lnTo>
                          <a:pt x="107" y="16"/>
                        </a:lnTo>
                        <a:lnTo>
                          <a:pt x="99" y="15"/>
                        </a:lnTo>
                        <a:lnTo>
                          <a:pt x="93" y="13"/>
                        </a:lnTo>
                        <a:lnTo>
                          <a:pt x="91" y="13"/>
                        </a:lnTo>
                        <a:lnTo>
                          <a:pt x="90" y="12"/>
                        </a:lnTo>
                        <a:lnTo>
                          <a:pt x="90" y="11"/>
                        </a:lnTo>
                        <a:lnTo>
                          <a:pt x="87" y="10"/>
                        </a:lnTo>
                        <a:lnTo>
                          <a:pt x="84" y="11"/>
                        </a:lnTo>
                        <a:lnTo>
                          <a:pt x="82" y="12"/>
                        </a:lnTo>
                        <a:lnTo>
                          <a:pt x="81" y="13"/>
                        </a:lnTo>
                        <a:lnTo>
                          <a:pt x="79" y="15"/>
                        </a:lnTo>
                        <a:lnTo>
                          <a:pt x="77" y="16"/>
                        </a:lnTo>
                        <a:lnTo>
                          <a:pt x="74" y="17"/>
                        </a:lnTo>
                        <a:lnTo>
                          <a:pt x="73" y="16"/>
                        </a:lnTo>
                        <a:lnTo>
                          <a:pt x="72" y="15"/>
                        </a:lnTo>
                        <a:lnTo>
                          <a:pt x="71" y="14"/>
                        </a:lnTo>
                        <a:lnTo>
                          <a:pt x="71" y="13"/>
                        </a:lnTo>
                        <a:lnTo>
                          <a:pt x="70" y="13"/>
                        </a:lnTo>
                        <a:lnTo>
                          <a:pt x="69" y="13"/>
                        </a:lnTo>
                        <a:lnTo>
                          <a:pt x="68" y="13"/>
                        </a:lnTo>
                        <a:lnTo>
                          <a:pt x="67" y="13"/>
                        </a:lnTo>
                        <a:lnTo>
                          <a:pt x="65" y="17"/>
                        </a:lnTo>
                        <a:lnTo>
                          <a:pt x="63" y="20"/>
                        </a:lnTo>
                        <a:lnTo>
                          <a:pt x="61" y="24"/>
                        </a:lnTo>
                        <a:lnTo>
                          <a:pt x="58" y="27"/>
                        </a:lnTo>
                        <a:lnTo>
                          <a:pt x="58" y="31"/>
                        </a:lnTo>
                        <a:lnTo>
                          <a:pt x="58" y="33"/>
                        </a:lnTo>
                        <a:lnTo>
                          <a:pt x="58" y="34"/>
                        </a:lnTo>
                        <a:lnTo>
                          <a:pt x="59" y="34"/>
                        </a:lnTo>
                        <a:lnTo>
                          <a:pt x="60" y="34"/>
                        </a:lnTo>
                        <a:lnTo>
                          <a:pt x="61" y="34"/>
                        </a:lnTo>
                        <a:lnTo>
                          <a:pt x="61" y="43"/>
                        </a:lnTo>
                        <a:lnTo>
                          <a:pt x="60" y="43"/>
                        </a:lnTo>
                        <a:lnTo>
                          <a:pt x="59" y="43"/>
                        </a:lnTo>
                        <a:lnTo>
                          <a:pt x="58" y="43"/>
                        </a:lnTo>
                        <a:lnTo>
                          <a:pt x="58" y="46"/>
                        </a:lnTo>
                        <a:lnTo>
                          <a:pt x="59" y="45"/>
                        </a:lnTo>
                        <a:lnTo>
                          <a:pt x="60" y="45"/>
                        </a:lnTo>
                        <a:lnTo>
                          <a:pt x="61" y="46"/>
                        </a:lnTo>
                        <a:lnTo>
                          <a:pt x="61" y="49"/>
                        </a:lnTo>
                        <a:lnTo>
                          <a:pt x="62" y="49"/>
                        </a:lnTo>
                        <a:lnTo>
                          <a:pt x="63" y="48"/>
                        </a:lnTo>
                        <a:lnTo>
                          <a:pt x="64" y="48"/>
                        </a:lnTo>
                        <a:lnTo>
                          <a:pt x="65" y="49"/>
                        </a:lnTo>
                        <a:lnTo>
                          <a:pt x="63" y="52"/>
                        </a:lnTo>
                        <a:lnTo>
                          <a:pt x="61" y="54"/>
                        </a:lnTo>
                        <a:lnTo>
                          <a:pt x="60" y="57"/>
                        </a:lnTo>
                        <a:lnTo>
                          <a:pt x="58" y="59"/>
                        </a:lnTo>
                        <a:lnTo>
                          <a:pt x="58" y="62"/>
                        </a:lnTo>
                        <a:lnTo>
                          <a:pt x="58" y="64"/>
                        </a:lnTo>
                        <a:lnTo>
                          <a:pt x="59" y="65"/>
                        </a:lnTo>
                        <a:lnTo>
                          <a:pt x="61" y="64"/>
                        </a:lnTo>
                        <a:lnTo>
                          <a:pt x="65" y="62"/>
                        </a:lnTo>
                        <a:lnTo>
                          <a:pt x="64" y="61"/>
                        </a:lnTo>
                        <a:lnTo>
                          <a:pt x="65" y="61"/>
                        </a:lnTo>
                        <a:lnTo>
                          <a:pt x="66" y="60"/>
                        </a:lnTo>
                        <a:lnTo>
                          <a:pt x="67" y="59"/>
                        </a:lnTo>
                        <a:lnTo>
                          <a:pt x="67" y="60"/>
                        </a:lnTo>
                        <a:lnTo>
                          <a:pt x="68" y="61"/>
                        </a:lnTo>
                        <a:lnTo>
                          <a:pt x="70" y="61"/>
                        </a:lnTo>
                        <a:lnTo>
                          <a:pt x="74" y="59"/>
                        </a:lnTo>
                        <a:lnTo>
                          <a:pt x="74" y="62"/>
                        </a:lnTo>
                        <a:lnTo>
                          <a:pt x="72" y="64"/>
                        </a:lnTo>
                        <a:lnTo>
                          <a:pt x="71" y="67"/>
                        </a:lnTo>
                        <a:lnTo>
                          <a:pt x="69" y="69"/>
                        </a:lnTo>
                        <a:lnTo>
                          <a:pt x="67" y="72"/>
                        </a:lnTo>
                        <a:lnTo>
                          <a:pt x="67" y="74"/>
                        </a:lnTo>
                        <a:lnTo>
                          <a:pt x="67" y="75"/>
                        </a:lnTo>
                        <a:lnTo>
                          <a:pt x="67" y="77"/>
                        </a:lnTo>
                        <a:lnTo>
                          <a:pt x="67" y="79"/>
                        </a:lnTo>
                        <a:lnTo>
                          <a:pt x="69" y="79"/>
                        </a:lnTo>
                        <a:lnTo>
                          <a:pt x="69" y="80"/>
                        </a:lnTo>
                        <a:lnTo>
                          <a:pt x="71" y="82"/>
                        </a:lnTo>
                        <a:lnTo>
                          <a:pt x="65" y="82"/>
                        </a:lnTo>
                        <a:lnTo>
                          <a:pt x="62" y="83"/>
                        </a:lnTo>
                        <a:lnTo>
                          <a:pt x="61" y="84"/>
                        </a:lnTo>
                        <a:lnTo>
                          <a:pt x="61" y="85"/>
                        </a:lnTo>
                        <a:lnTo>
                          <a:pt x="62" y="85"/>
                        </a:lnTo>
                        <a:lnTo>
                          <a:pt x="65" y="88"/>
                        </a:lnTo>
                        <a:lnTo>
                          <a:pt x="65" y="89"/>
                        </a:lnTo>
                        <a:lnTo>
                          <a:pt x="65" y="91"/>
                        </a:lnTo>
                        <a:lnTo>
                          <a:pt x="62" y="91"/>
                        </a:lnTo>
                        <a:lnTo>
                          <a:pt x="59" y="92"/>
                        </a:lnTo>
                        <a:lnTo>
                          <a:pt x="56" y="92"/>
                        </a:lnTo>
                        <a:lnTo>
                          <a:pt x="55" y="94"/>
                        </a:lnTo>
                        <a:lnTo>
                          <a:pt x="53" y="95"/>
                        </a:lnTo>
                        <a:lnTo>
                          <a:pt x="52" y="96"/>
                        </a:lnTo>
                        <a:lnTo>
                          <a:pt x="51" y="97"/>
                        </a:lnTo>
                        <a:lnTo>
                          <a:pt x="51" y="98"/>
                        </a:lnTo>
                        <a:lnTo>
                          <a:pt x="51" y="101"/>
                        </a:lnTo>
                        <a:lnTo>
                          <a:pt x="51" y="103"/>
                        </a:lnTo>
                        <a:lnTo>
                          <a:pt x="51" y="104"/>
                        </a:lnTo>
                        <a:lnTo>
                          <a:pt x="48" y="108"/>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1" name="Freeform 1783">
                    <a:extLst>
                      <a:ext uri="{FF2B5EF4-FFF2-40B4-BE49-F238E27FC236}">
                        <a16:creationId xmlns:a16="http://schemas.microsoft.com/office/drawing/2014/main" xmlns="" id="{4CF0CB44-B4DC-435B-8833-12E3165921B2}"/>
                      </a:ext>
                    </a:extLst>
                  </p:cNvPr>
                  <p:cNvSpPr>
                    <a:spLocks/>
                  </p:cNvSpPr>
                  <p:nvPr/>
                </p:nvSpPr>
                <p:spPr bwMode="gray">
                  <a:xfrm>
                    <a:off x="3712249" y="4229044"/>
                    <a:ext cx="11125" cy="13350"/>
                  </a:xfrm>
                  <a:custGeom>
                    <a:avLst/>
                    <a:gdLst>
                      <a:gd name="T0" fmla="*/ 2147483647 w 10"/>
                      <a:gd name="T1" fmla="*/ 0 h 12"/>
                      <a:gd name="T2" fmla="*/ 2147483647 w 10"/>
                      <a:gd name="T3" fmla="*/ 2147483647 h 12"/>
                      <a:gd name="T4" fmla="*/ 2147483647 w 10"/>
                      <a:gd name="T5" fmla="*/ 2147483647 h 12"/>
                      <a:gd name="T6" fmla="*/ 0 w 10"/>
                      <a:gd name="T7" fmla="*/ 2147483647 h 12"/>
                      <a:gd name="T8" fmla="*/ 0 w 10"/>
                      <a:gd name="T9" fmla="*/ 2147483647 h 12"/>
                      <a:gd name="T10" fmla="*/ 2147483647 w 10"/>
                      <a:gd name="T11" fmla="*/ 2147483647 h 12"/>
                      <a:gd name="T12" fmla="*/ 2147483647 w 10"/>
                      <a:gd name="T13" fmla="*/ 2147483647 h 12"/>
                      <a:gd name="T14" fmla="*/ 2147483647 w 10"/>
                      <a:gd name="T15" fmla="*/ 2147483647 h 12"/>
                      <a:gd name="T16" fmla="*/ 2147483647 w 10"/>
                      <a:gd name="T17" fmla="*/ 2147483647 h 12"/>
                      <a:gd name="T18" fmla="*/ 2147483647 w 10"/>
                      <a:gd name="T19" fmla="*/ 2147483647 h 12"/>
                      <a:gd name="T20" fmla="*/ 2147483647 w 10"/>
                      <a:gd name="T21" fmla="*/ 2147483647 h 12"/>
                      <a:gd name="T22" fmla="*/ 2147483647 w 10"/>
                      <a:gd name="T23" fmla="*/ 2147483647 h 12"/>
                      <a:gd name="T24" fmla="*/ 2147483647 w 10"/>
                      <a:gd name="T25" fmla="*/ 2147483647 h 12"/>
                      <a:gd name="T26" fmla="*/ 2147483647 w 10"/>
                      <a:gd name="T27" fmla="*/ 2147483647 h 12"/>
                      <a:gd name="T28" fmla="*/ 2147483647 w 10"/>
                      <a:gd name="T29" fmla="*/ 2147483647 h 12"/>
                      <a:gd name="T30" fmla="*/ 2147483647 w 10"/>
                      <a:gd name="T31" fmla="*/ 2147483647 h 12"/>
                      <a:gd name="T32" fmla="*/ 2147483647 w 10"/>
                      <a:gd name="T33" fmla="*/ 0 h 12"/>
                      <a:gd name="T34" fmla="*/ 2147483647 w 10"/>
                      <a:gd name="T35" fmla="*/ 0 h 12"/>
                      <a:gd name="T36" fmla="*/ 2147483647 w 10"/>
                      <a:gd name="T37" fmla="*/ 0 h 12"/>
                      <a:gd name="T38" fmla="*/ 2147483647 w 10"/>
                      <a:gd name="T39" fmla="*/ 0 h 12"/>
                      <a:gd name="T40" fmla="*/ 2147483647 w 10"/>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 h="12">
                        <a:moveTo>
                          <a:pt x="3" y="0"/>
                        </a:moveTo>
                        <a:lnTo>
                          <a:pt x="2" y="4"/>
                        </a:lnTo>
                        <a:lnTo>
                          <a:pt x="1" y="7"/>
                        </a:lnTo>
                        <a:lnTo>
                          <a:pt x="0" y="9"/>
                        </a:lnTo>
                        <a:lnTo>
                          <a:pt x="0" y="12"/>
                        </a:lnTo>
                        <a:lnTo>
                          <a:pt x="3" y="12"/>
                        </a:lnTo>
                        <a:lnTo>
                          <a:pt x="6" y="12"/>
                        </a:lnTo>
                        <a:lnTo>
                          <a:pt x="7" y="12"/>
                        </a:lnTo>
                        <a:lnTo>
                          <a:pt x="9" y="12"/>
                        </a:lnTo>
                        <a:lnTo>
                          <a:pt x="9" y="11"/>
                        </a:lnTo>
                        <a:lnTo>
                          <a:pt x="10" y="10"/>
                        </a:lnTo>
                        <a:lnTo>
                          <a:pt x="10" y="9"/>
                        </a:lnTo>
                        <a:lnTo>
                          <a:pt x="9" y="8"/>
                        </a:lnTo>
                        <a:lnTo>
                          <a:pt x="9" y="6"/>
                        </a:lnTo>
                        <a:lnTo>
                          <a:pt x="7" y="4"/>
                        </a:lnTo>
                        <a:lnTo>
                          <a:pt x="6" y="2"/>
                        </a:lnTo>
                        <a:lnTo>
                          <a:pt x="6" y="0"/>
                        </a:lnTo>
                        <a:lnTo>
                          <a:pt x="4"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2" name="Freeform 1785">
                    <a:extLst>
                      <a:ext uri="{FF2B5EF4-FFF2-40B4-BE49-F238E27FC236}">
                        <a16:creationId xmlns:a16="http://schemas.microsoft.com/office/drawing/2014/main" xmlns="" id="{24B81D93-5599-40E0-A704-F70D8424D0F2}"/>
                      </a:ext>
                    </a:extLst>
                  </p:cNvPr>
                  <p:cNvSpPr>
                    <a:spLocks/>
                  </p:cNvSpPr>
                  <p:nvPr/>
                </p:nvSpPr>
                <p:spPr bwMode="gray">
                  <a:xfrm>
                    <a:off x="3807921" y="4215694"/>
                    <a:ext cx="8900" cy="7788"/>
                  </a:xfrm>
                  <a:custGeom>
                    <a:avLst/>
                    <a:gdLst>
                      <a:gd name="T0" fmla="*/ 2147483647 w 8"/>
                      <a:gd name="T1" fmla="*/ 0 h 7"/>
                      <a:gd name="T2" fmla="*/ 2147483647 w 8"/>
                      <a:gd name="T3" fmla="*/ 2147483647 h 7"/>
                      <a:gd name="T4" fmla="*/ 2147483647 w 8"/>
                      <a:gd name="T5" fmla="*/ 2147483647 h 7"/>
                      <a:gd name="T6" fmla="*/ 0 w 8"/>
                      <a:gd name="T7" fmla="*/ 2147483647 h 7"/>
                      <a:gd name="T8" fmla="*/ 0 w 8"/>
                      <a:gd name="T9" fmla="*/ 2147483647 h 7"/>
                      <a:gd name="T10" fmla="*/ 0 w 8"/>
                      <a:gd name="T11" fmla="*/ 2147483647 h 7"/>
                      <a:gd name="T12" fmla="*/ 0 w 8"/>
                      <a:gd name="T13" fmla="*/ 2147483647 h 7"/>
                      <a:gd name="T14" fmla="*/ 0 w 8"/>
                      <a:gd name="T15" fmla="*/ 2147483647 h 7"/>
                      <a:gd name="T16" fmla="*/ 0 w 8"/>
                      <a:gd name="T17" fmla="*/ 2147483647 h 7"/>
                      <a:gd name="T18" fmla="*/ 2147483647 w 8"/>
                      <a:gd name="T19" fmla="*/ 2147483647 h 7"/>
                      <a:gd name="T20" fmla="*/ 2147483647 w 8"/>
                      <a:gd name="T21" fmla="*/ 2147483647 h 7"/>
                      <a:gd name="T22" fmla="*/ 2147483647 w 8"/>
                      <a:gd name="T23" fmla="*/ 2147483647 h 7"/>
                      <a:gd name="T24" fmla="*/ 2147483647 w 8"/>
                      <a:gd name="T25" fmla="*/ 2147483647 h 7"/>
                      <a:gd name="T26" fmla="*/ 2147483647 w 8"/>
                      <a:gd name="T27" fmla="*/ 2147483647 h 7"/>
                      <a:gd name="T28" fmla="*/ 2147483647 w 8"/>
                      <a:gd name="T29" fmla="*/ 2147483647 h 7"/>
                      <a:gd name="T30" fmla="*/ 2147483647 w 8"/>
                      <a:gd name="T31" fmla="*/ 2147483647 h 7"/>
                      <a:gd name="T32" fmla="*/ 2147483647 w 8"/>
                      <a:gd name="T33" fmla="*/ 0 h 7"/>
                      <a:gd name="T34" fmla="*/ 2147483647 w 8"/>
                      <a:gd name="T35" fmla="*/ 0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 h="7">
                        <a:moveTo>
                          <a:pt x="4" y="0"/>
                        </a:moveTo>
                        <a:lnTo>
                          <a:pt x="2" y="1"/>
                        </a:lnTo>
                        <a:lnTo>
                          <a:pt x="1" y="2"/>
                        </a:lnTo>
                        <a:lnTo>
                          <a:pt x="0" y="3"/>
                        </a:lnTo>
                        <a:lnTo>
                          <a:pt x="0" y="4"/>
                        </a:lnTo>
                        <a:lnTo>
                          <a:pt x="0" y="5"/>
                        </a:lnTo>
                        <a:lnTo>
                          <a:pt x="0" y="6"/>
                        </a:lnTo>
                        <a:lnTo>
                          <a:pt x="0" y="7"/>
                        </a:lnTo>
                        <a:lnTo>
                          <a:pt x="1" y="7"/>
                        </a:lnTo>
                        <a:lnTo>
                          <a:pt x="2" y="7"/>
                        </a:lnTo>
                        <a:lnTo>
                          <a:pt x="3" y="7"/>
                        </a:lnTo>
                        <a:lnTo>
                          <a:pt x="4" y="7"/>
                        </a:lnTo>
                        <a:lnTo>
                          <a:pt x="8" y="3"/>
                        </a:lnTo>
                        <a:lnTo>
                          <a:pt x="7" y="2"/>
                        </a:lnTo>
                        <a:lnTo>
                          <a:pt x="6" y="1"/>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3" name="Freeform 1787">
                    <a:extLst>
                      <a:ext uri="{FF2B5EF4-FFF2-40B4-BE49-F238E27FC236}">
                        <a16:creationId xmlns:a16="http://schemas.microsoft.com/office/drawing/2014/main" xmlns="" id="{A960F1A0-1BAB-4DAB-B7FB-DC9E2CEBF4AF}"/>
                      </a:ext>
                    </a:extLst>
                  </p:cNvPr>
                  <p:cNvSpPr>
                    <a:spLocks/>
                  </p:cNvSpPr>
                  <p:nvPr/>
                </p:nvSpPr>
                <p:spPr bwMode="gray">
                  <a:xfrm>
                    <a:off x="3708911" y="4201232"/>
                    <a:ext cx="23362" cy="22251"/>
                  </a:xfrm>
                  <a:custGeom>
                    <a:avLst/>
                    <a:gdLst>
                      <a:gd name="T0" fmla="*/ 2147483647 w 21"/>
                      <a:gd name="T1" fmla="*/ 0 h 20"/>
                      <a:gd name="T2" fmla="*/ 2147483647 w 21"/>
                      <a:gd name="T3" fmla="*/ 0 h 20"/>
                      <a:gd name="T4" fmla="*/ 2147483647 w 21"/>
                      <a:gd name="T5" fmla="*/ 2147483647 h 20"/>
                      <a:gd name="T6" fmla="*/ 2147483647 w 21"/>
                      <a:gd name="T7" fmla="*/ 2147483647 h 20"/>
                      <a:gd name="T8" fmla="*/ 2147483647 w 21"/>
                      <a:gd name="T9" fmla="*/ 2147483647 h 20"/>
                      <a:gd name="T10" fmla="*/ 2147483647 w 21"/>
                      <a:gd name="T11" fmla="*/ 2147483647 h 20"/>
                      <a:gd name="T12" fmla="*/ 2147483647 w 21"/>
                      <a:gd name="T13" fmla="*/ 2147483647 h 20"/>
                      <a:gd name="T14" fmla="*/ 2147483647 w 21"/>
                      <a:gd name="T15" fmla="*/ 2147483647 h 20"/>
                      <a:gd name="T16" fmla="*/ 2147483647 w 21"/>
                      <a:gd name="T17" fmla="*/ 2147483647 h 20"/>
                      <a:gd name="T18" fmla="*/ 2147483647 w 21"/>
                      <a:gd name="T19" fmla="*/ 2147483647 h 20"/>
                      <a:gd name="T20" fmla="*/ 2147483647 w 21"/>
                      <a:gd name="T21" fmla="*/ 2147483647 h 20"/>
                      <a:gd name="T22" fmla="*/ 2147483647 w 21"/>
                      <a:gd name="T23" fmla="*/ 2147483647 h 20"/>
                      <a:gd name="T24" fmla="*/ 0 w 21"/>
                      <a:gd name="T25" fmla="*/ 2147483647 h 20"/>
                      <a:gd name="T26" fmla="*/ 0 w 21"/>
                      <a:gd name="T27" fmla="*/ 2147483647 h 20"/>
                      <a:gd name="T28" fmla="*/ 0 w 21"/>
                      <a:gd name="T29" fmla="*/ 2147483647 h 20"/>
                      <a:gd name="T30" fmla="*/ 0 w 21"/>
                      <a:gd name="T31" fmla="*/ 2147483647 h 20"/>
                      <a:gd name="T32" fmla="*/ 2147483647 w 21"/>
                      <a:gd name="T33" fmla="*/ 2147483647 h 20"/>
                      <a:gd name="T34" fmla="*/ 2147483647 w 21"/>
                      <a:gd name="T35" fmla="*/ 2147483647 h 20"/>
                      <a:gd name="T36" fmla="*/ 2147483647 w 21"/>
                      <a:gd name="T37" fmla="*/ 2147483647 h 20"/>
                      <a:gd name="T38" fmla="*/ 2147483647 w 21"/>
                      <a:gd name="T39" fmla="*/ 2147483647 h 20"/>
                      <a:gd name="T40" fmla="*/ 2147483647 w 21"/>
                      <a:gd name="T41" fmla="*/ 2147483647 h 20"/>
                      <a:gd name="T42" fmla="*/ 2147483647 w 21"/>
                      <a:gd name="T43" fmla="*/ 2147483647 h 20"/>
                      <a:gd name="T44" fmla="*/ 2147483647 w 21"/>
                      <a:gd name="T45" fmla="*/ 2147483647 h 20"/>
                      <a:gd name="T46" fmla="*/ 2147483647 w 21"/>
                      <a:gd name="T47" fmla="*/ 2147483647 h 20"/>
                      <a:gd name="T48" fmla="*/ 2147483647 w 21"/>
                      <a:gd name="T49" fmla="*/ 2147483647 h 20"/>
                      <a:gd name="T50" fmla="*/ 2147483647 w 21"/>
                      <a:gd name="T51" fmla="*/ 2147483647 h 20"/>
                      <a:gd name="T52" fmla="*/ 2147483647 w 21"/>
                      <a:gd name="T53" fmla="*/ 2147483647 h 20"/>
                      <a:gd name="T54" fmla="*/ 2147483647 w 21"/>
                      <a:gd name="T55" fmla="*/ 2147483647 h 20"/>
                      <a:gd name="T56" fmla="*/ 2147483647 w 21"/>
                      <a:gd name="T57" fmla="*/ 2147483647 h 20"/>
                      <a:gd name="T58" fmla="*/ 2147483647 w 21"/>
                      <a:gd name="T59" fmla="*/ 2147483647 h 20"/>
                      <a:gd name="T60" fmla="*/ 2147483647 w 21"/>
                      <a:gd name="T61" fmla="*/ 2147483647 h 20"/>
                      <a:gd name="T62" fmla="*/ 2147483647 w 21"/>
                      <a:gd name="T63" fmla="*/ 2147483647 h 20"/>
                      <a:gd name="T64" fmla="*/ 2147483647 w 21"/>
                      <a:gd name="T65" fmla="*/ 0 h 20"/>
                      <a:gd name="T66" fmla="*/ 2147483647 w 21"/>
                      <a:gd name="T67" fmla="*/ 0 h 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 h="20">
                        <a:moveTo>
                          <a:pt x="17" y="0"/>
                        </a:moveTo>
                        <a:lnTo>
                          <a:pt x="15" y="0"/>
                        </a:lnTo>
                        <a:lnTo>
                          <a:pt x="12" y="2"/>
                        </a:lnTo>
                        <a:lnTo>
                          <a:pt x="8" y="2"/>
                        </a:lnTo>
                        <a:lnTo>
                          <a:pt x="7" y="4"/>
                        </a:lnTo>
                        <a:lnTo>
                          <a:pt x="7" y="6"/>
                        </a:lnTo>
                        <a:lnTo>
                          <a:pt x="7" y="7"/>
                        </a:lnTo>
                        <a:lnTo>
                          <a:pt x="5" y="7"/>
                        </a:lnTo>
                        <a:lnTo>
                          <a:pt x="4" y="7"/>
                        </a:lnTo>
                        <a:lnTo>
                          <a:pt x="2" y="7"/>
                        </a:lnTo>
                        <a:lnTo>
                          <a:pt x="0" y="7"/>
                        </a:lnTo>
                        <a:lnTo>
                          <a:pt x="0" y="11"/>
                        </a:lnTo>
                        <a:lnTo>
                          <a:pt x="0" y="13"/>
                        </a:lnTo>
                        <a:lnTo>
                          <a:pt x="1" y="14"/>
                        </a:lnTo>
                        <a:lnTo>
                          <a:pt x="2" y="15"/>
                        </a:lnTo>
                        <a:lnTo>
                          <a:pt x="3" y="16"/>
                        </a:lnTo>
                        <a:lnTo>
                          <a:pt x="4" y="16"/>
                        </a:lnTo>
                        <a:lnTo>
                          <a:pt x="4" y="20"/>
                        </a:lnTo>
                        <a:lnTo>
                          <a:pt x="6" y="20"/>
                        </a:lnTo>
                        <a:lnTo>
                          <a:pt x="7" y="20"/>
                        </a:lnTo>
                        <a:lnTo>
                          <a:pt x="8" y="20"/>
                        </a:lnTo>
                        <a:lnTo>
                          <a:pt x="10" y="20"/>
                        </a:lnTo>
                        <a:lnTo>
                          <a:pt x="20" y="10"/>
                        </a:lnTo>
                        <a:lnTo>
                          <a:pt x="20" y="9"/>
                        </a:lnTo>
                        <a:lnTo>
                          <a:pt x="20" y="8"/>
                        </a:lnTo>
                        <a:lnTo>
                          <a:pt x="20" y="7"/>
                        </a:lnTo>
                        <a:lnTo>
                          <a:pt x="21" y="5"/>
                        </a:lnTo>
                        <a:lnTo>
                          <a:pt x="20" y="2"/>
                        </a:lnTo>
                        <a:lnTo>
                          <a:pt x="19" y="0"/>
                        </a:lnTo>
                        <a:lnTo>
                          <a:pt x="1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4" name="Freeform 1789">
                    <a:extLst>
                      <a:ext uri="{FF2B5EF4-FFF2-40B4-BE49-F238E27FC236}">
                        <a16:creationId xmlns:a16="http://schemas.microsoft.com/office/drawing/2014/main" xmlns="" id="{2804BFAE-C4A4-49C5-AAA7-439823628A7E}"/>
                      </a:ext>
                    </a:extLst>
                  </p:cNvPr>
                  <p:cNvSpPr>
                    <a:spLocks/>
                  </p:cNvSpPr>
                  <p:nvPr/>
                </p:nvSpPr>
                <p:spPr bwMode="gray">
                  <a:xfrm>
                    <a:off x="3778998" y="4158954"/>
                    <a:ext cx="75648" cy="51177"/>
                  </a:xfrm>
                  <a:custGeom>
                    <a:avLst/>
                    <a:gdLst>
                      <a:gd name="T0" fmla="*/ 2147483647 w 68"/>
                      <a:gd name="T1" fmla="*/ 2147483647 h 46"/>
                      <a:gd name="T2" fmla="*/ 2147483647 w 68"/>
                      <a:gd name="T3" fmla="*/ 2147483647 h 46"/>
                      <a:gd name="T4" fmla="*/ 2147483647 w 68"/>
                      <a:gd name="T5" fmla="*/ 2147483647 h 46"/>
                      <a:gd name="T6" fmla="*/ 2147483647 w 68"/>
                      <a:gd name="T7" fmla="*/ 2147483647 h 46"/>
                      <a:gd name="T8" fmla="*/ 2147483647 w 68"/>
                      <a:gd name="T9" fmla="*/ 2147483647 h 46"/>
                      <a:gd name="T10" fmla="*/ 2147483647 w 68"/>
                      <a:gd name="T11" fmla="*/ 2147483647 h 46"/>
                      <a:gd name="T12" fmla="*/ 2147483647 w 68"/>
                      <a:gd name="T13" fmla="*/ 2147483647 h 46"/>
                      <a:gd name="T14" fmla="*/ 2147483647 w 68"/>
                      <a:gd name="T15" fmla="*/ 2147483647 h 46"/>
                      <a:gd name="T16" fmla="*/ 0 w 68"/>
                      <a:gd name="T17" fmla="*/ 2147483647 h 46"/>
                      <a:gd name="T18" fmla="*/ 2147483647 w 68"/>
                      <a:gd name="T19" fmla="*/ 2147483647 h 46"/>
                      <a:gd name="T20" fmla="*/ 2147483647 w 68"/>
                      <a:gd name="T21" fmla="*/ 2147483647 h 46"/>
                      <a:gd name="T22" fmla="*/ 2147483647 w 68"/>
                      <a:gd name="T23" fmla="*/ 2147483647 h 46"/>
                      <a:gd name="T24" fmla="*/ 2147483647 w 68"/>
                      <a:gd name="T25" fmla="*/ 2147483647 h 46"/>
                      <a:gd name="T26" fmla="*/ 2147483647 w 68"/>
                      <a:gd name="T27" fmla="*/ 2147483647 h 46"/>
                      <a:gd name="T28" fmla="*/ 2147483647 w 68"/>
                      <a:gd name="T29" fmla="*/ 2147483647 h 46"/>
                      <a:gd name="T30" fmla="*/ 2147483647 w 68"/>
                      <a:gd name="T31" fmla="*/ 2147483647 h 46"/>
                      <a:gd name="T32" fmla="*/ 2147483647 w 68"/>
                      <a:gd name="T33" fmla="*/ 2147483647 h 46"/>
                      <a:gd name="T34" fmla="*/ 2147483647 w 68"/>
                      <a:gd name="T35" fmla="*/ 2147483647 h 46"/>
                      <a:gd name="T36" fmla="*/ 2147483647 w 68"/>
                      <a:gd name="T37" fmla="*/ 2147483647 h 46"/>
                      <a:gd name="T38" fmla="*/ 2147483647 w 68"/>
                      <a:gd name="T39" fmla="*/ 2147483647 h 46"/>
                      <a:gd name="T40" fmla="*/ 2147483647 w 68"/>
                      <a:gd name="T41" fmla="*/ 2147483647 h 46"/>
                      <a:gd name="T42" fmla="*/ 2147483647 w 68"/>
                      <a:gd name="T43" fmla="*/ 2147483647 h 46"/>
                      <a:gd name="T44" fmla="*/ 2147483647 w 68"/>
                      <a:gd name="T45" fmla="*/ 2147483647 h 46"/>
                      <a:gd name="T46" fmla="*/ 2147483647 w 68"/>
                      <a:gd name="T47" fmla="*/ 2147483647 h 46"/>
                      <a:gd name="T48" fmla="*/ 2147483647 w 68"/>
                      <a:gd name="T49" fmla="*/ 2147483647 h 46"/>
                      <a:gd name="T50" fmla="*/ 2147483647 w 68"/>
                      <a:gd name="T51" fmla="*/ 2147483647 h 46"/>
                      <a:gd name="T52" fmla="*/ 2147483647 w 68"/>
                      <a:gd name="T53" fmla="*/ 2147483647 h 46"/>
                      <a:gd name="T54" fmla="*/ 2147483647 w 68"/>
                      <a:gd name="T55" fmla="*/ 2147483647 h 46"/>
                      <a:gd name="T56" fmla="*/ 2147483647 w 68"/>
                      <a:gd name="T57" fmla="*/ 2147483647 h 46"/>
                      <a:gd name="T58" fmla="*/ 2147483647 w 68"/>
                      <a:gd name="T59" fmla="*/ 2147483647 h 46"/>
                      <a:gd name="T60" fmla="*/ 2147483647 w 68"/>
                      <a:gd name="T61" fmla="*/ 2147483647 h 46"/>
                      <a:gd name="T62" fmla="*/ 2147483647 w 68"/>
                      <a:gd name="T63" fmla="*/ 2147483647 h 46"/>
                      <a:gd name="T64" fmla="*/ 2147483647 w 68"/>
                      <a:gd name="T65" fmla="*/ 2147483647 h 46"/>
                      <a:gd name="T66" fmla="*/ 2147483647 w 68"/>
                      <a:gd name="T67" fmla="*/ 2147483647 h 46"/>
                      <a:gd name="T68" fmla="*/ 2147483647 w 68"/>
                      <a:gd name="T69" fmla="*/ 2147483647 h 46"/>
                      <a:gd name="T70" fmla="*/ 2147483647 w 68"/>
                      <a:gd name="T71" fmla="*/ 2147483647 h 46"/>
                      <a:gd name="T72" fmla="*/ 2147483647 w 68"/>
                      <a:gd name="T73" fmla="*/ 0 h 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8" h="46">
                        <a:moveTo>
                          <a:pt x="46" y="0"/>
                        </a:moveTo>
                        <a:lnTo>
                          <a:pt x="44" y="1"/>
                        </a:lnTo>
                        <a:lnTo>
                          <a:pt x="41" y="2"/>
                        </a:lnTo>
                        <a:lnTo>
                          <a:pt x="39" y="3"/>
                        </a:lnTo>
                        <a:lnTo>
                          <a:pt x="36" y="4"/>
                        </a:lnTo>
                        <a:lnTo>
                          <a:pt x="34" y="5"/>
                        </a:lnTo>
                        <a:lnTo>
                          <a:pt x="31" y="5"/>
                        </a:lnTo>
                        <a:lnTo>
                          <a:pt x="27" y="6"/>
                        </a:lnTo>
                        <a:lnTo>
                          <a:pt x="24" y="7"/>
                        </a:lnTo>
                        <a:lnTo>
                          <a:pt x="22" y="8"/>
                        </a:lnTo>
                        <a:lnTo>
                          <a:pt x="21" y="9"/>
                        </a:lnTo>
                        <a:lnTo>
                          <a:pt x="19" y="10"/>
                        </a:lnTo>
                        <a:lnTo>
                          <a:pt x="16" y="10"/>
                        </a:lnTo>
                        <a:lnTo>
                          <a:pt x="14" y="12"/>
                        </a:lnTo>
                        <a:lnTo>
                          <a:pt x="9" y="14"/>
                        </a:lnTo>
                        <a:lnTo>
                          <a:pt x="4" y="15"/>
                        </a:lnTo>
                        <a:lnTo>
                          <a:pt x="0" y="17"/>
                        </a:lnTo>
                        <a:lnTo>
                          <a:pt x="0" y="18"/>
                        </a:lnTo>
                        <a:lnTo>
                          <a:pt x="1" y="19"/>
                        </a:lnTo>
                        <a:lnTo>
                          <a:pt x="2" y="21"/>
                        </a:lnTo>
                        <a:lnTo>
                          <a:pt x="4" y="23"/>
                        </a:lnTo>
                        <a:lnTo>
                          <a:pt x="5" y="23"/>
                        </a:lnTo>
                        <a:lnTo>
                          <a:pt x="7" y="23"/>
                        </a:lnTo>
                        <a:lnTo>
                          <a:pt x="7" y="25"/>
                        </a:lnTo>
                        <a:lnTo>
                          <a:pt x="7" y="26"/>
                        </a:lnTo>
                        <a:lnTo>
                          <a:pt x="8" y="27"/>
                        </a:lnTo>
                        <a:lnTo>
                          <a:pt x="9" y="28"/>
                        </a:lnTo>
                        <a:lnTo>
                          <a:pt x="11" y="29"/>
                        </a:lnTo>
                        <a:lnTo>
                          <a:pt x="14" y="30"/>
                        </a:lnTo>
                        <a:lnTo>
                          <a:pt x="14" y="29"/>
                        </a:lnTo>
                        <a:lnTo>
                          <a:pt x="14" y="28"/>
                        </a:lnTo>
                        <a:lnTo>
                          <a:pt x="14" y="27"/>
                        </a:lnTo>
                        <a:lnTo>
                          <a:pt x="14" y="26"/>
                        </a:lnTo>
                        <a:lnTo>
                          <a:pt x="24" y="26"/>
                        </a:lnTo>
                        <a:lnTo>
                          <a:pt x="24" y="30"/>
                        </a:lnTo>
                        <a:lnTo>
                          <a:pt x="24" y="34"/>
                        </a:lnTo>
                        <a:lnTo>
                          <a:pt x="24" y="38"/>
                        </a:lnTo>
                        <a:lnTo>
                          <a:pt x="27" y="40"/>
                        </a:lnTo>
                        <a:lnTo>
                          <a:pt x="27" y="41"/>
                        </a:lnTo>
                        <a:lnTo>
                          <a:pt x="28" y="41"/>
                        </a:lnTo>
                        <a:lnTo>
                          <a:pt x="30" y="42"/>
                        </a:lnTo>
                        <a:lnTo>
                          <a:pt x="33" y="43"/>
                        </a:lnTo>
                        <a:lnTo>
                          <a:pt x="33" y="45"/>
                        </a:lnTo>
                        <a:lnTo>
                          <a:pt x="34" y="46"/>
                        </a:lnTo>
                        <a:lnTo>
                          <a:pt x="36" y="46"/>
                        </a:lnTo>
                        <a:lnTo>
                          <a:pt x="43" y="46"/>
                        </a:lnTo>
                        <a:lnTo>
                          <a:pt x="47" y="46"/>
                        </a:lnTo>
                        <a:lnTo>
                          <a:pt x="50" y="43"/>
                        </a:lnTo>
                        <a:lnTo>
                          <a:pt x="52" y="40"/>
                        </a:lnTo>
                        <a:lnTo>
                          <a:pt x="53" y="38"/>
                        </a:lnTo>
                        <a:lnTo>
                          <a:pt x="54" y="37"/>
                        </a:lnTo>
                        <a:lnTo>
                          <a:pt x="59" y="36"/>
                        </a:lnTo>
                        <a:lnTo>
                          <a:pt x="59" y="34"/>
                        </a:lnTo>
                        <a:lnTo>
                          <a:pt x="59" y="30"/>
                        </a:lnTo>
                        <a:lnTo>
                          <a:pt x="62" y="30"/>
                        </a:lnTo>
                        <a:lnTo>
                          <a:pt x="66" y="26"/>
                        </a:lnTo>
                        <a:lnTo>
                          <a:pt x="68" y="22"/>
                        </a:lnTo>
                        <a:lnTo>
                          <a:pt x="67" y="20"/>
                        </a:lnTo>
                        <a:lnTo>
                          <a:pt x="66" y="14"/>
                        </a:lnTo>
                        <a:lnTo>
                          <a:pt x="61" y="14"/>
                        </a:lnTo>
                        <a:lnTo>
                          <a:pt x="58" y="14"/>
                        </a:lnTo>
                        <a:lnTo>
                          <a:pt x="54" y="13"/>
                        </a:lnTo>
                        <a:lnTo>
                          <a:pt x="53" y="10"/>
                        </a:lnTo>
                        <a:lnTo>
                          <a:pt x="53" y="7"/>
                        </a:lnTo>
                        <a:lnTo>
                          <a:pt x="54" y="4"/>
                        </a:lnTo>
                        <a:lnTo>
                          <a:pt x="53" y="1"/>
                        </a:lnTo>
                        <a:lnTo>
                          <a:pt x="52" y="0"/>
                        </a:lnTo>
                        <a:lnTo>
                          <a:pt x="50" y="0"/>
                        </a:lnTo>
                        <a:lnTo>
                          <a:pt x="4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5" name="Freeform 1791">
                    <a:extLst>
                      <a:ext uri="{FF2B5EF4-FFF2-40B4-BE49-F238E27FC236}">
                        <a16:creationId xmlns:a16="http://schemas.microsoft.com/office/drawing/2014/main" xmlns="" id="{7F01D01D-B158-4C9F-A63D-EFD47642A48B}"/>
                      </a:ext>
                    </a:extLst>
                  </p:cNvPr>
                  <p:cNvSpPr>
                    <a:spLocks/>
                  </p:cNvSpPr>
                  <p:nvPr/>
                </p:nvSpPr>
                <p:spPr bwMode="gray">
                  <a:xfrm>
                    <a:off x="3883570" y="4158954"/>
                    <a:ext cx="28925" cy="25588"/>
                  </a:xfrm>
                  <a:custGeom>
                    <a:avLst/>
                    <a:gdLst>
                      <a:gd name="T0" fmla="*/ 2147483647 w 26"/>
                      <a:gd name="T1" fmla="*/ 0 h 23"/>
                      <a:gd name="T2" fmla="*/ 2147483647 w 26"/>
                      <a:gd name="T3" fmla="*/ 2147483647 h 23"/>
                      <a:gd name="T4" fmla="*/ 0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2147483647 h 23"/>
                      <a:gd name="T14" fmla="*/ 2147483647 w 26"/>
                      <a:gd name="T15" fmla="*/ 2147483647 h 23"/>
                      <a:gd name="T16" fmla="*/ 2147483647 w 26"/>
                      <a:gd name="T17" fmla="*/ 2147483647 h 23"/>
                      <a:gd name="T18" fmla="*/ 2147483647 w 26"/>
                      <a:gd name="T19" fmla="*/ 2147483647 h 23"/>
                      <a:gd name="T20" fmla="*/ 2147483647 w 26"/>
                      <a:gd name="T21" fmla="*/ 2147483647 h 23"/>
                      <a:gd name="T22" fmla="*/ 2147483647 w 26"/>
                      <a:gd name="T23" fmla="*/ 2147483647 h 23"/>
                      <a:gd name="T24" fmla="*/ 2147483647 w 26"/>
                      <a:gd name="T25" fmla="*/ 2147483647 h 23"/>
                      <a:gd name="T26" fmla="*/ 2147483647 w 26"/>
                      <a:gd name="T27" fmla="*/ 2147483647 h 23"/>
                      <a:gd name="T28" fmla="*/ 2147483647 w 26"/>
                      <a:gd name="T29" fmla="*/ 2147483647 h 23"/>
                      <a:gd name="T30" fmla="*/ 2147483647 w 26"/>
                      <a:gd name="T31" fmla="*/ 2147483647 h 23"/>
                      <a:gd name="T32" fmla="*/ 2147483647 w 26"/>
                      <a:gd name="T33" fmla="*/ 2147483647 h 23"/>
                      <a:gd name="T34" fmla="*/ 2147483647 w 26"/>
                      <a:gd name="T35" fmla="*/ 2147483647 h 23"/>
                      <a:gd name="T36" fmla="*/ 2147483647 w 26"/>
                      <a:gd name="T37" fmla="*/ 2147483647 h 23"/>
                      <a:gd name="T38" fmla="*/ 2147483647 w 26"/>
                      <a:gd name="T39" fmla="*/ 2147483647 h 23"/>
                      <a:gd name="T40" fmla="*/ 2147483647 w 26"/>
                      <a:gd name="T41" fmla="*/ 2147483647 h 23"/>
                      <a:gd name="T42" fmla="*/ 2147483647 w 26"/>
                      <a:gd name="T43" fmla="*/ 2147483647 h 23"/>
                      <a:gd name="T44" fmla="*/ 2147483647 w 26"/>
                      <a:gd name="T45" fmla="*/ 2147483647 h 23"/>
                      <a:gd name="T46" fmla="*/ 2147483647 w 26"/>
                      <a:gd name="T47" fmla="*/ 2147483647 h 23"/>
                      <a:gd name="T48" fmla="*/ 2147483647 w 26"/>
                      <a:gd name="T49" fmla="*/ 2147483647 h 23"/>
                      <a:gd name="T50" fmla="*/ 2147483647 w 26"/>
                      <a:gd name="T51" fmla="*/ 2147483647 h 23"/>
                      <a:gd name="T52" fmla="*/ 2147483647 w 26"/>
                      <a:gd name="T53" fmla="*/ 2147483647 h 23"/>
                      <a:gd name="T54" fmla="*/ 2147483647 w 26"/>
                      <a:gd name="T55" fmla="*/ 2147483647 h 23"/>
                      <a:gd name="T56" fmla="*/ 2147483647 w 26"/>
                      <a:gd name="T57" fmla="*/ 2147483647 h 23"/>
                      <a:gd name="T58" fmla="*/ 2147483647 w 26"/>
                      <a:gd name="T59" fmla="*/ 2147483647 h 23"/>
                      <a:gd name="T60" fmla="*/ 2147483647 w 26"/>
                      <a:gd name="T61" fmla="*/ 2147483647 h 23"/>
                      <a:gd name="T62" fmla="*/ 2147483647 w 26"/>
                      <a:gd name="T63" fmla="*/ 2147483647 h 23"/>
                      <a:gd name="T64" fmla="*/ 2147483647 w 26"/>
                      <a:gd name="T65" fmla="*/ 0 h 23"/>
                      <a:gd name="T66" fmla="*/ 2147483647 w 26"/>
                      <a:gd name="T67" fmla="*/ 0 h 2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6" h="23">
                        <a:moveTo>
                          <a:pt x="3" y="0"/>
                        </a:moveTo>
                        <a:lnTo>
                          <a:pt x="2" y="5"/>
                        </a:lnTo>
                        <a:lnTo>
                          <a:pt x="0" y="8"/>
                        </a:lnTo>
                        <a:lnTo>
                          <a:pt x="2" y="9"/>
                        </a:lnTo>
                        <a:lnTo>
                          <a:pt x="3" y="10"/>
                        </a:lnTo>
                        <a:lnTo>
                          <a:pt x="6" y="10"/>
                        </a:lnTo>
                        <a:lnTo>
                          <a:pt x="10" y="10"/>
                        </a:lnTo>
                        <a:lnTo>
                          <a:pt x="12" y="14"/>
                        </a:lnTo>
                        <a:lnTo>
                          <a:pt x="15" y="18"/>
                        </a:lnTo>
                        <a:lnTo>
                          <a:pt x="18" y="22"/>
                        </a:lnTo>
                        <a:lnTo>
                          <a:pt x="22" y="23"/>
                        </a:lnTo>
                        <a:lnTo>
                          <a:pt x="24" y="22"/>
                        </a:lnTo>
                        <a:lnTo>
                          <a:pt x="25" y="22"/>
                        </a:lnTo>
                        <a:lnTo>
                          <a:pt x="26" y="21"/>
                        </a:lnTo>
                        <a:lnTo>
                          <a:pt x="26" y="20"/>
                        </a:lnTo>
                        <a:lnTo>
                          <a:pt x="26" y="10"/>
                        </a:lnTo>
                        <a:lnTo>
                          <a:pt x="26" y="9"/>
                        </a:lnTo>
                        <a:lnTo>
                          <a:pt x="25" y="9"/>
                        </a:lnTo>
                        <a:lnTo>
                          <a:pt x="24" y="10"/>
                        </a:lnTo>
                        <a:lnTo>
                          <a:pt x="22" y="10"/>
                        </a:lnTo>
                        <a:lnTo>
                          <a:pt x="22" y="9"/>
                        </a:lnTo>
                        <a:lnTo>
                          <a:pt x="23" y="8"/>
                        </a:lnTo>
                        <a:lnTo>
                          <a:pt x="24" y="7"/>
                        </a:lnTo>
                        <a:lnTo>
                          <a:pt x="26" y="7"/>
                        </a:lnTo>
                        <a:lnTo>
                          <a:pt x="26" y="6"/>
                        </a:lnTo>
                        <a:lnTo>
                          <a:pt x="25" y="4"/>
                        </a:lnTo>
                        <a:lnTo>
                          <a:pt x="24" y="3"/>
                        </a:lnTo>
                        <a:lnTo>
                          <a:pt x="22" y="4"/>
                        </a:lnTo>
                        <a:lnTo>
                          <a:pt x="22" y="3"/>
                        </a:lnTo>
                        <a:lnTo>
                          <a:pt x="22" y="2"/>
                        </a:lnTo>
                        <a:lnTo>
                          <a:pt x="22" y="1"/>
                        </a:lnTo>
                        <a:lnTo>
                          <a:pt x="22"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6" name="Freeform 1793">
                    <a:extLst>
                      <a:ext uri="{FF2B5EF4-FFF2-40B4-BE49-F238E27FC236}">
                        <a16:creationId xmlns:a16="http://schemas.microsoft.com/office/drawing/2014/main" xmlns="" id="{0C321103-F9F3-4D38-99E7-011835B608EA}"/>
                      </a:ext>
                    </a:extLst>
                  </p:cNvPr>
                  <p:cNvSpPr>
                    <a:spLocks/>
                  </p:cNvSpPr>
                  <p:nvPr/>
                </p:nvSpPr>
                <p:spPr bwMode="gray">
                  <a:xfrm>
                    <a:off x="3682211" y="4104439"/>
                    <a:ext cx="2225" cy="4450"/>
                  </a:xfrm>
                  <a:custGeom>
                    <a:avLst/>
                    <a:gdLst>
                      <a:gd name="T0" fmla="*/ 2147483647 w 2"/>
                      <a:gd name="T1" fmla="*/ 2147483647 h 4"/>
                      <a:gd name="T2" fmla="*/ 2147483647 w 2"/>
                      <a:gd name="T3" fmla="*/ 2147483647 h 4"/>
                      <a:gd name="T4" fmla="*/ 0 w 2"/>
                      <a:gd name="T5" fmla="*/ 2147483647 h 4"/>
                      <a:gd name="T6" fmla="*/ 0 w 2"/>
                      <a:gd name="T7" fmla="*/ 2147483647 h 4"/>
                      <a:gd name="T8" fmla="*/ 2147483647 w 2"/>
                      <a:gd name="T9" fmla="*/ 2147483647 h 4"/>
                      <a:gd name="T10" fmla="*/ 2147483647 w 2"/>
                      <a:gd name="T11" fmla="*/ 2147483647 h 4"/>
                      <a:gd name="T12" fmla="*/ 2147483647 w 2"/>
                      <a:gd name="T13" fmla="*/ 2147483647 h 4"/>
                      <a:gd name="T14" fmla="*/ 2147483647 w 2"/>
                      <a:gd name="T15" fmla="*/ 0 h 4"/>
                      <a:gd name="T16" fmla="*/ 2147483647 w 2"/>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4">
                        <a:moveTo>
                          <a:pt x="1" y="1"/>
                        </a:moveTo>
                        <a:lnTo>
                          <a:pt x="1" y="1"/>
                        </a:lnTo>
                        <a:lnTo>
                          <a:pt x="0" y="3"/>
                        </a:lnTo>
                        <a:lnTo>
                          <a:pt x="0" y="4"/>
                        </a:lnTo>
                        <a:lnTo>
                          <a:pt x="1" y="4"/>
                        </a:lnTo>
                        <a:lnTo>
                          <a:pt x="1" y="3"/>
                        </a:lnTo>
                        <a:lnTo>
                          <a:pt x="2" y="1"/>
                        </a:lnTo>
                        <a:lnTo>
                          <a:pt x="2" y="0"/>
                        </a:lnTo>
                        <a:lnTo>
                          <a:pt x="1"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7" name="Freeform 1795">
                    <a:extLst>
                      <a:ext uri="{FF2B5EF4-FFF2-40B4-BE49-F238E27FC236}">
                        <a16:creationId xmlns:a16="http://schemas.microsoft.com/office/drawing/2014/main" xmlns="" id="{E5496D10-BBFC-4AD5-B020-DE50B11A26A6}"/>
                      </a:ext>
                    </a:extLst>
                  </p:cNvPr>
                  <p:cNvSpPr>
                    <a:spLocks/>
                  </p:cNvSpPr>
                  <p:nvPr/>
                </p:nvSpPr>
                <p:spPr bwMode="gray">
                  <a:xfrm>
                    <a:off x="3030303" y="3784027"/>
                    <a:ext cx="293693" cy="411642"/>
                  </a:xfrm>
                  <a:custGeom>
                    <a:avLst/>
                    <a:gdLst>
                      <a:gd name="T0" fmla="*/ 2147483647 w 264"/>
                      <a:gd name="T1" fmla="*/ 2147483647 h 370"/>
                      <a:gd name="T2" fmla="*/ 2147483647 w 264"/>
                      <a:gd name="T3" fmla="*/ 2147483647 h 370"/>
                      <a:gd name="T4" fmla="*/ 2147483647 w 264"/>
                      <a:gd name="T5" fmla="*/ 2147483647 h 370"/>
                      <a:gd name="T6" fmla="*/ 2147483647 w 264"/>
                      <a:gd name="T7" fmla="*/ 2147483647 h 370"/>
                      <a:gd name="T8" fmla="*/ 2147483647 w 264"/>
                      <a:gd name="T9" fmla="*/ 2147483647 h 370"/>
                      <a:gd name="T10" fmla="*/ 2147483647 w 264"/>
                      <a:gd name="T11" fmla="*/ 2147483647 h 370"/>
                      <a:gd name="T12" fmla="*/ 2147483647 w 264"/>
                      <a:gd name="T13" fmla="*/ 2147483647 h 370"/>
                      <a:gd name="T14" fmla="*/ 2147483647 w 264"/>
                      <a:gd name="T15" fmla="*/ 2147483647 h 370"/>
                      <a:gd name="T16" fmla="*/ 2147483647 w 264"/>
                      <a:gd name="T17" fmla="*/ 2147483647 h 370"/>
                      <a:gd name="T18" fmla="*/ 2147483647 w 264"/>
                      <a:gd name="T19" fmla="*/ 2147483647 h 370"/>
                      <a:gd name="T20" fmla="*/ 2147483647 w 264"/>
                      <a:gd name="T21" fmla="*/ 2147483647 h 370"/>
                      <a:gd name="T22" fmla="*/ 2147483647 w 264"/>
                      <a:gd name="T23" fmla="*/ 2147483647 h 370"/>
                      <a:gd name="T24" fmla="*/ 2147483647 w 264"/>
                      <a:gd name="T25" fmla="*/ 2147483647 h 370"/>
                      <a:gd name="T26" fmla="*/ 2147483647 w 264"/>
                      <a:gd name="T27" fmla="*/ 2147483647 h 370"/>
                      <a:gd name="T28" fmla="*/ 2147483647 w 264"/>
                      <a:gd name="T29" fmla="*/ 2147483647 h 370"/>
                      <a:gd name="T30" fmla="*/ 2147483647 w 264"/>
                      <a:gd name="T31" fmla="*/ 2147483647 h 370"/>
                      <a:gd name="T32" fmla="*/ 2147483647 w 264"/>
                      <a:gd name="T33" fmla="*/ 2147483647 h 370"/>
                      <a:gd name="T34" fmla="*/ 2147483647 w 264"/>
                      <a:gd name="T35" fmla="*/ 2147483647 h 370"/>
                      <a:gd name="T36" fmla="*/ 2147483647 w 264"/>
                      <a:gd name="T37" fmla="*/ 2147483647 h 370"/>
                      <a:gd name="T38" fmla="*/ 2147483647 w 264"/>
                      <a:gd name="T39" fmla="*/ 2147483647 h 370"/>
                      <a:gd name="T40" fmla="*/ 2147483647 w 264"/>
                      <a:gd name="T41" fmla="*/ 2147483647 h 370"/>
                      <a:gd name="T42" fmla="*/ 2147483647 w 264"/>
                      <a:gd name="T43" fmla="*/ 2147483647 h 370"/>
                      <a:gd name="T44" fmla="*/ 2147483647 w 264"/>
                      <a:gd name="T45" fmla="*/ 2147483647 h 370"/>
                      <a:gd name="T46" fmla="*/ 2147483647 w 264"/>
                      <a:gd name="T47" fmla="*/ 2147483647 h 370"/>
                      <a:gd name="T48" fmla="*/ 2147483647 w 264"/>
                      <a:gd name="T49" fmla="*/ 2147483647 h 370"/>
                      <a:gd name="T50" fmla="*/ 2147483647 w 264"/>
                      <a:gd name="T51" fmla="*/ 2147483647 h 370"/>
                      <a:gd name="T52" fmla="*/ 2147483647 w 264"/>
                      <a:gd name="T53" fmla="*/ 2147483647 h 370"/>
                      <a:gd name="T54" fmla="*/ 2147483647 w 264"/>
                      <a:gd name="T55" fmla="*/ 2147483647 h 370"/>
                      <a:gd name="T56" fmla="*/ 2147483647 w 264"/>
                      <a:gd name="T57" fmla="*/ 2147483647 h 370"/>
                      <a:gd name="T58" fmla="*/ 2147483647 w 264"/>
                      <a:gd name="T59" fmla="*/ 2147483647 h 370"/>
                      <a:gd name="T60" fmla="*/ 2147483647 w 264"/>
                      <a:gd name="T61" fmla="*/ 2147483647 h 370"/>
                      <a:gd name="T62" fmla="*/ 2147483647 w 264"/>
                      <a:gd name="T63" fmla="*/ 2147483647 h 370"/>
                      <a:gd name="T64" fmla="*/ 2147483647 w 264"/>
                      <a:gd name="T65" fmla="*/ 2147483647 h 370"/>
                      <a:gd name="T66" fmla="*/ 2147483647 w 264"/>
                      <a:gd name="T67" fmla="*/ 2147483647 h 370"/>
                      <a:gd name="T68" fmla="*/ 2147483647 w 264"/>
                      <a:gd name="T69" fmla="*/ 2147483647 h 370"/>
                      <a:gd name="T70" fmla="*/ 2147483647 w 264"/>
                      <a:gd name="T71" fmla="*/ 2147483647 h 370"/>
                      <a:gd name="T72" fmla="*/ 2147483647 w 264"/>
                      <a:gd name="T73" fmla="*/ 2147483647 h 370"/>
                      <a:gd name="T74" fmla="*/ 2147483647 w 264"/>
                      <a:gd name="T75" fmla="*/ 2147483647 h 370"/>
                      <a:gd name="T76" fmla="*/ 2147483647 w 264"/>
                      <a:gd name="T77" fmla="*/ 2147483647 h 370"/>
                      <a:gd name="T78" fmla="*/ 2147483647 w 264"/>
                      <a:gd name="T79" fmla="*/ 2147483647 h 370"/>
                      <a:gd name="T80" fmla="*/ 2147483647 w 264"/>
                      <a:gd name="T81" fmla="*/ 2147483647 h 370"/>
                      <a:gd name="T82" fmla="*/ 2147483647 w 264"/>
                      <a:gd name="T83" fmla="*/ 2147483647 h 370"/>
                      <a:gd name="T84" fmla="*/ 2147483647 w 264"/>
                      <a:gd name="T85" fmla="*/ 0 h 370"/>
                      <a:gd name="T86" fmla="*/ 2147483647 w 264"/>
                      <a:gd name="T87" fmla="*/ 2147483647 h 370"/>
                      <a:gd name="T88" fmla="*/ 2147483647 w 264"/>
                      <a:gd name="T89" fmla="*/ 2147483647 h 370"/>
                      <a:gd name="T90" fmla="*/ 2147483647 w 264"/>
                      <a:gd name="T91" fmla="*/ 2147483647 h 370"/>
                      <a:gd name="T92" fmla="*/ 2147483647 w 264"/>
                      <a:gd name="T93" fmla="*/ 2147483647 h 370"/>
                      <a:gd name="T94" fmla="*/ 2147483647 w 264"/>
                      <a:gd name="T95" fmla="*/ 2147483647 h 370"/>
                      <a:gd name="T96" fmla="*/ 2147483647 w 264"/>
                      <a:gd name="T97" fmla="*/ 2147483647 h 370"/>
                      <a:gd name="T98" fmla="*/ 2147483647 w 264"/>
                      <a:gd name="T99" fmla="*/ 2147483647 h 370"/>
                      <a:gd name="T100" fmla="*/ 2147483647 w 264"/>
                      <a:gd name="T101" fmla="*/ 2147483647 h 370"/>
                      <a:gd name="T102" fmla="*/ 2147483647 w 264"/>
                      <a:gd name="T103" fmla="*/ 2147483647 h 370"/>
                      <a:gd name="T104" fmla="*/ 2147483647 w 264"/>
                      <a:gd name="T105" fmla="*/ 2147483647 h 370"/>
                      <a:gd name="T106" fmla="*/ 2147483647 w 264"/>
                      <a:gd name="T107" fmla="*/ 2147483647 h 370"/>
                      <a:gd name="T108" fmla="*/ 2147483647 w 264"/>
                      <a:gd name="T109" fmla="*/ 2147483647 h 37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4" h="370">
                        <a:moveTo>
                          <a:pt x="32" y="231"/>
                        </a:moveTo>
                        <a:lnTo>
                          <a:pt x="32" y="231"/>
                        </a:lnTo>
                        <a:lnTo>
                          <a:pt x="32" y="232"/>
                        </a:lnTo>
                        <a:lnTo>
                          <a:pt x="32" y="233"/>
                        </a:lnTo>
                        <a:lnTo>
                          <a:pt x="32" y="234"/>
                        </a:lnTo>
                        <a:lnTo>
                          <a:pt x="32" y="235"/>
                        </a:lnTo>
                        <a:lnTo>
                          <a:pt x="39" y="235"/>
                        </a:lnTo>
                        <a:lnTo>
                          <a:pt x="41" y="231"/>
                        </a:lnTo>
                        <a:lnTo>
                          <a:pt x="41" y="228"/>
                        </a:lnTo>
                        <a:lnTo>
                          <a:pt x="41" y="226"/>
                        </a:lnTo>
                        <a:lnTo>
                          <a:pt x="41" y="219"/>
                        </a:lnTo>
                        <a:lnTo>
                          <a:pt x="45" y="216"/>
                        </a:lnTo>
                        <a:lnTo>
                          <a:pt x="45" y="219"/>
                        </a:lnTo>
                        <a:lnTo>
                          <a:pt x="48" y="222"/>
                        </a:lnTo>
                        <a:lnTo>
                          <a:pt x="48" y="226"/>
                        </a:lnTo>
                        <a:lnTo>
                          <a:pt x="55" y="228"/>
                        </a:lnTo>
                        <a:lnTo>
                          <a:pt x="48" y="231"/>
                        </a:lnTo>
                        <a:lnTo>
                          <a:pt x="48" y="235"/>
                        </a:lnTo>
                        <a:lnTo>
                          <a:pt x="45" y="235"/>
                        </a:lnTo>
                        <a:lnTo>
                          <a:pt x="39" y="238"/>
                        </a:lnTo>
                        <a:lnTo>
                          <a:pt x="36" y="238"/>
                        </a:lnTo>
                        <a:lnTo>
                          <a:pt x="29" y="241"/>
                        </a:lnTo>
                        <a:lnTo>
                          <a:pt x="27" y="242"/>
                        </a:lnTo>
                        <a:lnTo>
                          <a:pt x="29" y="243"/>
                        </a:lnTo>
                        <a:lnTo>
                          <a:pt x="29" y="244"/>
                        </a:lnTo>
                        <a:lnTo>
                          <a:pt x="29" y="245"/>
                        </a:lnTo>
                        <a:lnTo>
                          <a:pt x="27" y="245"/>
                        </a:lnTo>
                        <a:lnTo>
                          <a:pt x="26" y="245"/>
                        </a:lnTo>
                        <a:lnTo>
                          <a:pt x="26" y="247"/>
                        </a:lnTo>
                        <a:lnTo>
                          <a:pt x="26" y="248"/>
                        </a:lnTo>
                        <a:lnTo>
                          <a:pt x="24" y="248"/>
                        </a:lnTo>
                        <a:lnTo>
                          <a:pt x="23" y="250"/>
                        </a:lnTo>
                        <a:lnTo>
                          <a:pt x="24" y="250"/>
                        </a:lnTo>
                        <a:lnTo>
                          <a:pt x="26" y="250"/>
                        </a:lnTo>
                        <a:lnTo>
                          <a:pt x="29" y="248"/>
                        </a:lnTo>
                        <a:lnTo>
                          <a:pt x="30" y="248"/>
                        </a:lnTo>
                        <a:lnTo>
                          <a:pt x="33" y="250"/>
                        </a:lnTo>
                        <a:lnTo>
                          <a:pt x="36" y="250"/>
                        </a:lnTo>
                        <a:lnTo>
                          <a:pt x="39" y="250"/>
                        </a:lnTo>
                        <a:lnTo>
                          <a:pt x="40" y="250"/>
                        </a:lnTo>
                        <a:lnTo>
                          <a:pt x="41" y="250"/>
                        </a:lnTo>
                        <a:lnTo>
                          <a:pt x="44" y="251"/>
                        </a:lnTo>
                        <a:lnTo>
                          <a:pt x="44" y="253"/>
                        </a:lnTo>
                        <a:lnTo>
                          <a:pt x="45" y="256"/>
                        </a:lnTo>
                        <a:lnTo>
                          <a:pt x="45" y="260"/>
                        </a:lnTo>
                        <a:lnTo>
                          <a:pt x="44" y="263"/>
                        </a:lnTo>
                        <a:lnTo>
                          <a:pt x="42" y="269"/>
                        </a:lnTo>
                        <a:lnTo>
                          <a:pt x="41" y="273"/>
                        </a:lnTo>
                        <a:lnTo>
                          <a:pt x="39" y="276"/>
                        </a:lnTo>
                        <a:lnTo>
                          <a:pt x="38" y="277"/>
                        </a:lnTo>
                        <a:lnTo>
                          <a:pt x="36" y="278"/>
                        </a:lnTo>
                        <a:lnTo>
                          <a:pt x="33" y="279"/>
                        </a:lnTo>
                        <a:lnTo>
                          <a:pt x="32" y="280"/>
                        </a:lnTo>
                        <a:lnTo>
                          <a:pt x="33" y="284"/>
                        </a:lnTo>
                        <a:lnTo>
                          <a:pt x="34" y="287"/>
                        </a:lnTo>
                        <a:lnTo>
                          <a:pt x="35" y="290"/>
                        </a:lnTo>
                        <a:lnTo>
                          <a:pt x="36" y="292"/>
                        </a:lnTo>
                        <a:lnTo>
                          <a:pt x="34" y="295"/>
                        </a:lnTo>
                        <a:lnTo>
                          <a:pt x="31" y="299"/>
                        </a:lnTo>
                        <a:lnTo>
                          <a:pt x="27" y="302"/>
                        </a:lnTo>
                        <a:lnTo>
                          <a:pt x="26" y="305"/>
                        </a:lnTo>
                        <a:lnTo>
                          <a:pt x="26" y="310"/>
                        </a:lnTo>
                        <a:lnTo>
                          <a:pt x="26" y="313"/>
                        </a:lnTo>
                        <a:lnTo>
                          <a:pt x="24" y="317"/>
                        </a:lnTo>
                        <a:lnTo>
                          <a:pt x="23" y="321"/>
                        </a:lnTo>
                        <a:lnTo>
                          <a:pt x="21" y="323"/>
                        </a:lnTo>
                        <a:lnTo>
                          <a:pt x="18" y="325"/>
                        </a:lnTo>
                        <a:lnTo>
                          <a:pt x="16" y="326"/>
                        </a:lnTo>
                        <a:lnTo>
                          <a:pt x="13" y="328"/>
                        </a:lnTo>
                        <a:lnTo>
                          <a:pt x="13" y="329"/>
                        </a:lnTo>
                        <a:lnTo>
                          <a:pt x="11" y="331"/>
                        </a:lnTo>
                        <a:lnTo>
                          <a:pt x="6" y="335"/>
                        </a:lnTo>
                        <a:lnTo>
                          <a:pt x="2" y="341"/>
                        </a:lnTo>
                        <a:lnTo>
                          <a:pt x="0" y="343"/>
                        </a:lnTo>
                        <a:lnTo>
                          <a:pt x="0" y="344"/>
                        </a:lnTo>
                        <a:lnTo>
                          <a:pt x="0" y="346"/>
                        </a:lnTo>
                        <a:lnTo>
                          <a:pt x="0" y="347"/>
                        </a:lnTo>
                        <a:lnTo>
                          <a:pt x="10" y="347"/>
                        </a:lnTo>
                        <a:lnTo>
                          <a:pt x="10" y="348"/>
                        </a:lnTo>
                        <a:lnTo>
                          <a:pt x="12" y="349"/>
                        </a:lnTo>
                        <a:lnTo>
                          <a:pt x="14" y="350"/>
                        </a:lnTo>
                        <a:lnTo>
                          <a:pt x="16" y="350"/>
                        </a:lnTo>
                        <a:lnTo>
                          <a:pt x="18" y="350"/>
                        </a:lnTo>
                        <a:lnTo>
                          <a:pt x="20" y="349"/>
                        </a:lnTo>
                        <a:lnTo>
                          <a:pt x="23" y="349"/>
                        </a:lnTo>
                        <a:lnTo>
                          <a:pt x="26" y="350"/>
                        </a:lnTo>
                        <a:lnTo>
                          <a:pt x="26" y="351"/>
                        </a:lnTo>
                        <a:lnTo>
                          <a:pt x="27" y="352"/>
                        </a:lnTo>
                        <a:lnTo>
                          <a:pt x="29" y="353"/>
                        </a:lnTo>
                        <a:lnTo>
                          <a:pt x="29" y="354"/>
                        </a:lnTo>
                        <a:lnTo>
                          <a:pt x="33" y="354"/>
                        </a:lnTo>
                        <a:lnTo>
                          <a:pt x="35" y="354"/>
                        </a:lnTo>
                        <a:lnTo>
                          <a:pt x="36" y="354"/>
                        </a:lnTo>
                        <a:lnTo>
                          <a:pt x="37" y="356"/>
                        </a:lnTo>
                        <a:lnTo>
                          <a:pt x="38" y="357"/>
                        </a:lnTo>
                        <a:lnTo>
                          <a:pt x="39" y="357"/>
                        </a:lnTo>
                        <a:lnTo>
                          <a:pt x="41" y="358"/>
                        </a:lnTo>
                        <a:lnTo>
                          <a:pt x="44" y="358"/>
                        </a:lnTo>
                        <a:lnTo>
                          <a:pt x="45" y="360"/>
                        </a:lnTo>
                        <a:lnTo>
                          <a:pt x="47" y="361"/>
                        </a:lnTo>
                        <a:lnTo>
                          <a:pt x="50" y="363"/>
                        </a:lnTo>
                        <a:lnTo>
                          <a:pt x="53" y="365"/>
                        </a:lnTo>
                        <a:lnTo>
                          <a:pt x="55" y="366"/>
                        </a:lnTo>
                        <a:lnTo>
                          <a:pt x="55" y="367"/>
                        </a:lnTo>
                        <a:lnTo>
                          <a:pt x="55" y="368"/>
                        </a:lnTo>
                        <a:lnTo>
                          <a:pt x="55" y="369"/>
                        </a:lnTo>
                        <a:lnTo>
                          <a:pt x="55" y="370"/>
                        </a:lnTo>
                        <a:lnTo>
                          <a:pt x="62" y="369"/>
                        </a:lnTo>
                        <a:lnTo>
                          <a:pt x="69" y="368"/>
                        </a:lnTo>
                        <a:lnTo>
                          <a:pt x="77" y="367"/>
                        </a:lnTo>
                        <a:lnTo>
                          <a:pt x="84" y="366"/>
                        </a:lnTo>
                        <a:lnTo>
                          <a:pt x="87" y="347"/>
                        </a:lnTo>
                        <a:lnTo>
                          <a:pt x="88" y="346"/>
                        </a:lnTo>
                        <a:lnTo>
                          <a:pt x="89" y="343"/>
                        </a:lnTo>
                        <a:lnTo>
                          <a:pt x="92" y="340"/>
                        </a:lnTo>
                        <a:lnTo>
                          <a:pt x="96" y="337"/>
                        </a:lnTo>
                        <a:lnTo>
                          <a:pt x="99" y="334"/>
                        </a:lnTo>
                        <a:lnTo>
                          <a:pt x="103" y="330"/>
                        </a:lnTo>
                        <a:lnTo>
                          <a:pt x="105" y="326"/>
                        </a:lnTo>
                        <a:lnTo>
                          <a:pt x="106" y="325"/>
                        </a:lnTo>
                        <a:lnTo>
                          <a:pt x="113" y="318"/>
                        </a:lnTo>
                        <a:lnTo>
                          <a:pt x="116" y="311"/>
                        </a:lnTo>
                        <a:lnTo>
                          <a:pt x="122" y="309"/>
                        </a:lnTo>
                        <a:lnTo>
                          <a:pt x="132" y="309"/>
                        </a:lnTo>
                        <a:lnTo>
                          <a:pt x="133" y="308"/>
                        </a:lnTo>
                        <a:lnTo>
                          <a:pt x="134" y="307"/>
                        </a:lnTo>
                        <a:lnTo>
                          <a:pt x="137" y="302"/>
                        </a:lnTo>
                        <a:lnTo>
                          <a:pt x="138" y="300"/>
                        </a:lnTo>
                        <a:lnTo>
                          <a:pt x="138" y="298"/>
                        </a:lnTo>
                        <a:lnTo>
                          <a:pt x="137" y="296"/>
                        </a:lnTo>
                        <a:lnTo>
                          <a:pt x="135" y="295"/>
                        </a:lnTo>
                        <a:lnTo>
                          <a:pt x="131" y="296"/>
                        </a:lnTo>
                        <a:lnTo>
                          <a:pt x="128" y="296"/>
                        </a:lnTo>
                        <a:lnTo>
                          <a:pt x="126" y="296"/>
                        </a:lnTo>
                        <a:lnTo>
                          <a:pt x="125" y="294"/>
                        </a:lnTo>
                        <a:lnTo>
                          <a:pt x="125" y="290"/>
                        </a:lnTo>
                        <a:lnTo>
                          <a:pt x="125" y="286"/>
                        </a:lnTo>
                        <a:lnTo>
                          <a:pt x="125" y="281"/>
                        </a:lnTo>
                        <a:lnTo>
                          <a:pt x="123" y="277"/>
                        </a:lnTo>
                        <a:lnTo>
                          <a:pt x="125" y="275"/>
                        </a:lnTo>
                        <a:lnTo>
                          <a:pt x="125" y="273"/>
                        </a:lnTo>
                        <a:lnTo>
                          <a:pt x="126" y="269"/>
                        </a:lnTo>
                        <a:lnTo>
                          <a:pt x="127" y="266"/>
                        </a:lnTo>
                        <a:lnTo>
                          <a:pt x="129" y="263"/>
                        </a:lnTo>
                        <a:lnTo>
                          <a:pt x="130" y="262"/>
                        </a:lnTo>
                        <a:lnTo>
                          <a:pt x="132" y="262"/>
                        </a:lnTo>
                        <a:lnTo>
                          <a:pt x="134" y="262"/>
                        </a:lnTo>
                        <a:lnTo>
                          <a:pt x="135" y="260"/>
                        </a:lnTo>
                        <a:lnTo>
                          <a:pt x="140" y="257"/>
                        </a:lnTo>
                        <a:lnTo>
                          <a:pt x="144" y="255"/>
                        </a:lnTo>
                        <a:lnTo>
                          <a:pt x="147" y="254"/>
                        </a:lnTo>
                        <a:lnTo>
                          <a:pt x="149" y="254"/>
                        </a:lnTo>
                        <a:lnTo>
                          <a:pt x="150" y="253"/>
                        </a:lnTo>
                        <a:lnTo>
                          <a:pt x="154" y="250"/>
                        </a:lnTo>
                        <a:lnTo>
                          <a:pt x="158" y="245"/>
                        </a:lnTo>
                        <a:lnTo>
                          <a:pt x="159" y="244"/>
                        </a:lnTo>
                        <a:lnTo>
                          <a:pt x="158" y="241"/>
                        </a:lnTo>
                        <a:lnTo>
                          <a:pt x="157" y="236"/>
                        </a:lnTo>
                        <a:lnTo>
                          <a:pt x="155" y="233"/>
                        </a:lnTo>
                        <a:lnTo>
                          <a:pt x="153" y="232"/>
                        </a:lnTo>
                        <a:lnTo>
                          <a:pt x="150" y="231"/>
                        </a:lnTo>
                        <a:lnTo>
                          <a:pt x="149" y="232"/>
                        </a:lnTo>
                        <a:lnTo>
                          <a:pt x="147" y="232"/>
                        </a:lnTo>
                        <a:lnTo>
                          <a:pt x="146" y="232"/>
                        </a:lnTo>
                        <a:lnTo>
                          <a:pt x="149" y="231"/>
                        </a:lnTo>
                        <a:lnTo>
                          <a:pt x="150" y="229"/>
                        </a:lnTo>
                        <a:lnTo>
                          <a:pt x="150" y="227"/>
                        </a:lnTo>
                        <a:lnTo>
                          <a:pt x="149" y="225"/>
                        </a:lnTo>
                        <a:lnTo>
                          <a:pt x="147" y="221"/>
                        </a:lnTo>
                        <a:lnTo>
                          <a:pt x="147" y="219"/>
                        </a:lnTo>
                        <a:lnTo>
                          <a:pt x="149" y="216"/>
                        </a:lnTo>
                        <a:lnTo>
                          <a:pt x="147" y="210"/>
                        </a:lnTo>
                        <a:lnTo>
                          <a:pt x="146" y="205"/>
                        </a:lnTo>
                        <a:lnTo>
                          <a:pt x="146" y="201"/>
                        </a:lnTo>
                        <a:lnTo>
                          <a:pt x="146" y="200"/>
                        </a:lnTo>
                        <a:lnTo>
                          <a:pt x="143" y="199"/>
                        </a:lnTo>
                        <a:lnTo>
                          <a:pt x="140" y="196"/>
                        </a:lnTo>
                        <a:lnTo>
                          <a:pt x="137" y="194"/>
                        </a:lnTo>
                        <a:lnTo>
                          <a:pt x="137" y="193"/>
                        </a:lnTo>
                        <a:lnTo>
                          <a:pt x="138" y="193"/>
                        </a:lnTo>
                        <a:lnTo>
                          <a:pt x="146" y="196"/>
                        </a:lnTo>
                        <a:lnTo>
                          <a:pt x="151" y="196"/>
                        </a:lnTo>
                        <a:lnTo>
                          <a:pt x="158" y="200"/>
                        </a:lnTo>
                        <a:lnTo>
                          <a:pt x="161" y="202"/>
                        </a:lnTo>
                        <a:lnTo>
                          <a:pt x="167" y="202"/>
                        </a:lnTo>
                        <a:lnTo>
                          <a:pt x="177" y="202"/>
                        </a:lnTo>
                        <a:lnTo>
                          <a:pt x="184" y="200"/>
                        </a:lnTo>
                        <a:lnTo>
                          <a:pt x="184" y="186"/>
                        </a:lnTo>
                        <a:lnTo>
                          <a:pt x="189" y="177"/>
                        </a:lnTo>
                        <a:lnTo>
                          <a:pt x="194" y="167"/>
                        </a:lnTo>
                        <a:lnTo>
                          <a:pt x="186" y="160"/>
                        </a:lnTo>
                        <a:lnTo>
                          <a:pt x="189" y="148"/>
                        </a:lnTo>
                        <a:lnTo>
                          <a:pt x="189" y="138"/>
                        </a:lnTo>
                        <a:lnTo>
                          <a:pt x="197" y="141"/>
                        </a:lnTo>
                        <a:lnTo>
                          <a:pt x="203" y="145"/>
                        </a:lnTo>
                        <a:lnTo>
                          <a:pt x="209" y="138"/>
                        </a:lnTo>
                        <a:lnTo>
                          <a:pt x="212" y="131"/>
                        </a:lnTo>
                        <a:lnTo>
                          <a:pt x="215" y="131"/>
                        </a:lnTo>
                        <a:lnTo>
                          <a:pt x="222" y="129"/>
                        </a:lnTo>
                        <a:lnTo>
                          <a:pt x="229" y="126"/>
                        </a:lnTo>
                        <a:lnTo>
                          <a:pt x="239" y="112"/>
                        </a:lnTo>
                        <a:lnTo>
                          <a:pt x="248" y="103"/>
                        </a:lnTo>
                        <a:lnTo>
                          <a:pt x="257" y="100"/>
                        </a:lnTo>
                        <a:lnTo>
                          <a:pt x="264" y="96"/>
                        </a:lnTo>
                        <a:lnTo>
                          <a:pt x="260" y="93"/>
                        </a:lnTo>
                        <a:lnTo>
                          <a:pt x="255" y="81"/>
                        </a:lnTo>
                        <a:lnTo>
                          <a:pt x="242" y="77"/>
                        </a:lnTo>
                        <a:lnTo>
                          <a:pt x="248" y="70"/>
                        </a:lnTo>
                        <a:lnTo>
                          <a:pt x="248" y="60"/>
                        </a:lnTo>
                        <a:lnTo>
                          <a:pt x="248" y="55"/>
                        </a:lnTo>
                        <a:lnTo>
                          <a:pt x="248" y="48"/>
                        </a:lnTo>
                        <a:lnTo>
                          <a:pt x="239" y="46"/>
                        </a:lnTo>
                        <a:lnTo>
                          <a:pt x="232" y="39"/>
                        </a:lnTo>
                        <a:lnTo>
                          <a:pt x="225" y="39"/>
                        </a:lnTo>
                        <a:lnTo>
                          <a:pt x="221" y="36"/>
                        </a:lnTo>
                        <a:lnTo>
                          <a:pt x="215" y="35"/>
                        </a:lnTo>
                        <a:lnTo>
                          <a:pt x="210" y="35"/>
                        </a:lnTo>
                        <a:lnTo>
                          <a:pt x="209" y="36"/>
                        </a:lnTo>
                        <a:lnTo>
                          <a:pt x="206" y="39"/>
                        </a:lnTo>
                        <a:lnTo>
                          <a:pt x="205" y="39"/>
                        </a:lnTo>
                        <a:lnTo>
                          <a:pt x="203" y="39"/>
                        </a:lnTo>
                        <a:lnTo>
                          <a:pt x="199" y="38"/>
                        </a:lnTo>
                        <a:lnTo>
                          <a:pt x="197" y="36"/>
                        </a:lnTo>
                        <a:lnTo>
                          <a:pt x="191" y="34"/>
                        </a:lnTo>
                        <a:lnTo>
                          <a:pt x="188" y="32"/>
                        </a:lnTo>
                        <a:lnTo>
                          <a:pt x="185" y="29"/>
                        </a:lnTo>
                        <a:lnTo>
                          <a:pt x="184" y="25"/>
                        </a:lnTo>
                        <a:lnTo>
                          <a:pt x="183" y="25"/>
                        </a:lnTo>
                        <a:lnTo>
                          <a:pt x="182" y="25"/>
                        </a:lnTo>
                        <a:lnTo>
                          <a:pt x="177" y="25"/>
                        </a:lnTo>
                        <a:lnTo>
                          <a:pt x="174" y="23"/>
                        </a:lnTo>
                        <a:lnTo>
                          <a:pt x="173" y="22"/>
                        </a:lnTo>
                        <a:lnTo>
                          <a:pt x="173" y="20"/>
                        </a:lnTo>
                        <a:lnTo>
                          <a:pt x="170" y="20"/>
                        </a:lnTo>
                        <a:lnTo>
                          <a:pt x="167" y="20"/>
                        </a:lnTo>
                        <a:lnTo>
                          <a:pt x="164" y="20"/>
                        </a:lnTo>
                        <a:lnTo>
                          <a:pt x="162" y="19"/>
                        </a:lnTo>
                        <a:lnTo>
                          <a:pt x="160" y="18"/>
                        </a:lnTo>
                        <a:lnTo>
                          <a:pt x="156" y="16"/>
                        </a:lnTo>
                        <a:lnTo>
                          <a:pt x="155" y="13"/>
                        </a:lnTo>
                        <a:lnTo>
                          <a:pt x="155" y="10"/>
                        </a:lnTo>
                        <a:lnTo>
                          <a:pt x="157" y="8"/>
                        </a:lnTo>
                        <a:lnTo>
                          <a:pt x="159" y="6"/>
                        </a:lnTo>
                        <a:lnTo>
                          <a:pt x="161" y="3"/>
                        </a:lnTo>
                        <a:lnTo>
                          <a:pt x="161" y="1"/>
                        </a:lnTo>
                        <a:lnTo>
                          <a:pt x="160" y="0"/>
                        </a:lnTo>
                        <a:lnTo>
                          <a:pt x="158" y="0"/>
                        </a:lnTo>
                        <a:lnTo>
                          <a:pt x="157" y="0"/>
                        </a:lnTo>
                        <a:lnTo>
                          <a:pt x="155" y="0"/>
                        </a:lnTo>
                        <a:lnTo>
                          <a:pt x="152" y="0"/>
                        </a:lnTo>
                        <a:lnTo>
                          <a:pt x="149" y="0"/>
                        </a:lnTo>
                        <a:lnTo>
                          <a:pt x="143" y="3"/>
                        </a:lnTo>
                        <a:lnTo>
                          <a:pt x="140" y="6"/>
                        </a:lnTo>
                        <a:lnTo>
                          <a:pt x="137" y="9"/>
                        </a:lnTo>
                        <a:lnTo>
                          <a:pt x="135" y="10"/>
                        </a:lnTo>
                        <a:lnTo>
                          <a:pt x="133" y="17"/>
                        </a:lnTo>
                        <a:lnTo>
                          <a:pt x="132" y="22"/>
                        </a:lnTo>
                        <a:lnTo>
                          <a:pt x="131" y="29"/>
                        </a:lnTo>
                        <a:lnTo>
                          <a:pt x="129" y="36"/>
                        </a:lnTo>
                        <a:lnTo>
                          <a:pt x="128" y="39"/>
                        </a:lnTo>
                        <a:lnTo>
                          <a:pt x="127" y="43"/>
                        </a:lnTo>
                        <a:lnTo>
                          <a:pt x="126" y="46"/>
                        </a:lnTo>
                        <a:lnTo>
                          <a:pt x="125" y="51"/>
                        </a:lnTo>
                        <a:lnTo>
                          <a:pt x="125" y="54"/>
                        </a:lnTo>
                        <a:lnTo>
                          <a:pt x="125" y="59"/>
                        </a:lnTo>
                        <a:lnTo>
                          <a:pt x="125" y="62"/>
                        </a:lnTo>
                        <a:lnTo>
                          <a:pt x="125" y="68"/>
                        </a:lnTo>
                        <a:lnTo>
                          <a:pt x="122" y="74"/>
                        </a:lnTo>
                        <a:lnTo>
                          <a:pt x="119" y="78"/>
                        </a:lnTo>
                        <a:lnTo>
                          <a:pt x="116" y="82"/>
                        </a:lnTo>
                        <a:lnTo>
                          <a:pt x="113" y="86"/>
                        </a:lnTo>
                        <a:lnTo>
                          <a:pt x="111" y="91"/>
                        </a:lnTo>
                        <a:lnTo>
                          <a:pt x="110" y="96"/>
                        </a:lnTo>
                        <a:lnTo>
                          <a:pt x="108" y="100"/>
                        </a:lnTo>
                        <a:lnTo>
                          <a:pt x="106" y="103"/>
                        </a:lnTo>
                        <a:lnTo>
                          <a:pt x="106" y="105"/>
                        </a:lnTo>
                        <a:lnTo>
                          <a:pt x="104" y="106"/>
                        </a:lnTo>
                        <a:lnTo>
                          <a:pt x="102" y="107"/>
                        </a:lnTo>
                        <a:lnTo>
                          <a:pt x="101" y="109"/>
                        </a:lnTo>
                        <a:lnTo>
                          <a:pt x="98" y="111"/>
                        </a:lnTo>
                        <a:lnTo>
                          <a:pt x="96" y="114"/>
                        </a:lnTo>
                        <a:lnTo>
                          <a:pt x="95" y="118"/>
                        </a:lnTo>
                        <a:lnTo>
                          <a:pt x="93" y="122"/>
                        </a:lnTo>
                        <a:lnTo>
                          <a:pt x="92" y="122"/>
                        </a:lnTo>
                        <a:lnTo>
                          <a:pt x="90" y="122"/>
                        </a:lnTo>
                        <a:lnTo>
                          <a:pt x="89" y="127"/>
                        </a:lnTo>
                        <a:lnTo>
                          <a:pt x="87" y="131"/>
                        </a:lnTo>
                        <a:lnTo>
                          <a:pt x="86" y="136"/>
                        </a:lnTo>
                        <a:lnTo>
                          <a:pt x="84" y="141"/>
                        </a:lnTo>
                        <a:lnTo>
                          <a:pt x="79" y="146"/>
                        </a:lnTo>
                        <a:lnTo>
                          <a:pt x="78" y="149"/>
                        </a:lnTo>
                        <a:lnTo>
                          <a:pt x="77" y="151"/>
                        </a:lnTo>
                        <a:lnTo>
                          <a:pt x="71" y="159"/>
                        </a:lnTo>
                        <a:lnTo>
                          <a:pt x="63" y="168"/>
                        </a:lnTo>
                        <a:lnTo>
                          <a:pt x="59" y="171"/>
                        </a:lnTo>
                        <a:lnTo>
                          <a:pt x="54" y="174"/>
                        </a:lnTo>
                        <a:lnTo>
                          <a:pt x="48" y="176"/>
                        </a:lnTo>
                        <a:lnTo>
                          <a:pt x="41" y="177"/>
                        </a:lnTo>
                        <a:lnTo>
                          <a:pt x="41" y="179"/>
                        </a:lnTo>
                        <a:lnTo>
                          <a:pt x="41" y="183"/>
                        </a:lnTo>
                        <a:lnTo>
                          <a:pt x="41" y="187"/>
                        </a:lnTo>
                        <a:lnTo>
                          <a:pt x="39" y="190"/>
                        </a:lnTo>
                        <a:lnTo>
                          <a:pt x="35" y="195"/>
                        </a:lnTo>
                        <a:lnTo>
                          <a:pt x="30" y="201"/>
                        </a:lnTo>
                        <a:lnTo>
                          <a:pt x="24" y="207"/>
                        </a:lnTo>
                        <a:lnTo>
                          <a:pt x="20" y="212"/>
                        </a:lnTo>
                        <a:lnTo>
                          <a:pt x="18" y="214"/>
                        </a:lnTo>
                        <a:lnTo>
                          <a:pt x="18" y="215"/>
                        </a:lnTo>
                        <a:lnTo>
                          <a:pt x="17" y="216"/>
                        </a:lnTo>
                        <a:lnTo>
                          <a:pt x="20" y="216"/>
                        </a:lnTo>
                        <a:lnTo>
                          <a:pt x="20" y="217"/>
                        </a:lnTo>
                        <a:lnTo>
                          <a:pt x="20" y="218"/>
                        </a:lnTo>
                        <a:lnTo>
                          <a:pt x="20" y="219"/>
                        </a:lnTo>
                        <a:lnTo>
                          <a:pt x="23" y="219"/>
                        </a:lnTo>
                        <a:lnTo>
                          <a:pt x="23" y="221"/>
                        </a:lnTo>
                        <a:lnTo>
                          <a:pt x="23" y="222"/>
                        </a:lnTo>
                        <a:lnTo>
                          <a:pt x="23" y="224"/>
                        </a:lnTo>
                        <a:lnTo>
                          <a:pt x="23" y="226"/>
                        </a:lnTo>
                        <a:lnTo>
                          <a:pt x="23" y="227"/>
                        </a:lnTo>
                        <a:lnTo>
                          <a:pt x="26" y="228"/>
                        </a:lnTo>
                        <a:lnTo>
                          <a:pt x="29" y="229"/>
                        </a:lnTo>
                        <a:lnTo>
                          <a:pt x="32" y="23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8" name="Freeform 1797">
                    <a:extLst>
                      <a:ext uri="{FF2B5EF4-FFF2-40B4-BE49-F238E27FC236}">
                        <a16:creationId xmlns:a16="http://schemas.microsoft.com/office/drawing/2014/main" xmlns="" id="{29DEE3FF-D3CE-4A4F-A02D-1C571B77FBC5}"/>
                      </a:ext>
                    </a:extLst>
                  </p:cNvPr>
                  <p:cNvSpPr>
                    <a:spLocks/>
                  </p:cNvSpPr>
                  <p:nvPr/>
                </p:nvSpPr>
                <p:spPr bwMode="gray">
                  <a:xfrm>
                    <a:off x="4057116" y="3112050"/>
                    <a:ext cx="218045" cy="214721"/>
                  </a:xfrm>
                  <a:custGeom>
                    <a:avLst/>
                    <a:gdLst>
                      <a:gd name="T0" fmla="*/ 2147483647 w 196"/>
                      <a:gd name="T1" fmla="*/ 2147483647 h 193"/>
                      <a:gd name="T2" fmla="*/ 2147483647 w 196"/>
                      <a:gd name="T3" fmla="*/ 2147483647 h 193"/>
                      <a:gd name="T4" fmla="*/ 2147483647 w 196"/>
                      <a:gd name="T5" fmla="*/ 2147483647 h 193"/>
                      <a:gd name="T6" fmla="*/ 2147483647 w 196"/>
                      <a:gd name="T7" fmla="*/ 2147483647 h 193"/>
                      <a:gd name="T8" fmla="*/ 2147483647 w 196"/>
                      <a:gd name="T9" fmla="*/ 2147483647 h 193"/>
                      <a:gd name="T10" fmla="*/ 2147483647 w 196"/>
                      <a:gd name="T11" fmla="*/ 2147483647 h 193"/>
                      <a:gd name="T12" fmla="*/ 2147483647 w 196"/>
                      <a:gd name="T13" fmla="*/ 2147483647 h 193"/>
                      <a:gd name="T14" fmla="*/ 2147483647 w 196"/>
                      <a:gd name="T15" fmla="*/ 2147483647 h 193"/>
                      <a:gd name="T16" fmla="*/ 2147483647 w 196"/>
                      <a:gd name="T17" fmla="*/ 2147483647 h 193"/>
                      <a:gd name="T18" fmla="*/ 2147483647 w 196"/>
                      <a:gd name="T19" fmla="*/ 2147483647 h 193"/>
                      <a:gd name="T20" fmla="*/ 2147483647 w 196"/>
                      <a:gd name="T21" fmla="*/ 2147483647 h 193"/>
                      <a:gd name="T22" fmla="*/ 2147483647 w 196"/>
                      <a:gd name="T23" fmla="*/ 2147483647 h 193"/>
                      <a:gd name="T24" fmla="*/ 2147483647 w 196"/>
                      <a:gd name="T25" fmla="*/ 2147483647 h 193"/>
                      <a:gd name="T26" fmla="*/ 2147483647 w 196"/>
                      <a:gd name="T27" fmla="*/ 2147483647 h 193"/>
                      <a:gd name="T28" fmla="*/ 2147483647 w 196"/>
                      <a:gd name="T29" fmla="*/ 2147483647 h 193"/>
                      <a:gd name="T30" fmla="*/ 2147483647 w 196"/>
                      <a:gd name="T31" fmla="*/ 2147483647 h 193"/>
                      <a:gd name="T32" fmla="*/ 2147483647 w 196"/>
                      <a:gd name="T33" fmla="*/ 2147483647 h 193"/>
                      <a:gd name="T34" fmla="*/ 2147483647 w 196"/>
                      <a:gd name="T35" fmla="*/ 2147483647 h 193"/>
                      <a:gd name="T36" fmla="*/ 2147483647 w 196"/>
                      <a:gd name="T37" fmla="*/ 2147483647 h 193"/>
                      <a:gd name="T38" fmla="*/ 2147483647 w 196"/>
                      <a:gd name="T39" fmla="*/ 2147483647 h 193"/>
                      <a:gd name="T40" fmla="*/ 2147483647 w 196"/>
                      <a:gd name="T41" fmla="*/ 2147483647 h 193"/>
                      <a:gd name="T42" fmla="*/ 2147483647 w 196"/>
                      <a:gd name="T43" fmla="*/ 2147483647 h 193"/>
                      <a:gd name="T44" fmla="*/ 2147483647 w 196"/>
                      <a:gd name="T45" fmla="*/ 2147483647 h 193"/>
                      <a:gd name="T46" fmla="*/ 2147483647 w 196"/>
                      <a:gd name="T47" fmla="*/ 2147483647 h 193"/>
                      <a:gd name="T48" fmla="*/ 2147483647 w 196"/>
                      <a:gd name="T49" fmla="*/ 2147483647 h 193"/>
                      <a:gd name="T50" fmla="*/ 2147483647 w 196"/>
                      <a:gd name="T51" fmla="*/ 2147483647 h 193"/>
                      <a:gd name="T52" fmla="*/ 2147483647 w 196"/>
                      <a:gd name="T53" fmla="*/ 2147483647 h 193"/>
                      <a:gd name="T54" fmla="*/ 2147483647 w 196"/>
                      <a:gd name="T55" fmla="*/ 2147483647 h 193"/>
                      <a:gd name="T56" fmla="*/ 2147483647 w 196"/>
                      <a:gd name="T57" fmla="*/ 2147483647 h 193"/>
                      <a:gd name="T58" fmla="*/ 2147483647 w 196"/>
                      <a:gd name="T59" fmla="*/ 2147483647 h 193"/>
                      <a:gd name="T60" fmla="*/ 2147483647 w 196"/>
                      <a:gd name="T61" fmla="*/ 2147483647 h 193"/>
                      <a:gd name="T62" fmla="*/ 2147483647 w 196"/>
                      <a:gd name="T63" fmla="*/ 2147483647 h 193"/>
                      <a:gd name="T64" fmla="*/ 2147483647 w 196"/>
                      <a:gd name="T65" fmla="*/ 2147483647 h 193"/>
                      <a:gd name="T66" fmla="*/ 2147483647 w 196"/>
                      <a:gd name="T67" fmla="*/ 2147483647 h 193"/>
                      <a:gd name="T68" fmla="*/ 2147483647 w 196"/>
                      <a:gd name="T69" fmla="*/ 2147483647 h 193"/>
                      <a:gd name="T70" fmla="*/ 2147483647 w 196"/>
                      <a:gd name="T71" fmla="*/ 2147483647 h 193"/>
                      <a:gd name="T72" fmla="*/ 2147483647 w 196"/>
                      <a:gd name="T73" fmla="*/ 2147483647 h 193"/>
                      <a:gd name="T74" fmla="*/ 2147483647 w 196"/>
                      <a:gd name="T75" fmla="*/ 2147483647 h 193"/>
                      <a:gd name="T76" fmla="*/ 2147483647 w 196"/>
                      <a:gd name="T77" fmla="*/ 2147483647 h 193"/>
                      <a:gd name="T78" fmla="*/ 2147483647 w 196"/>
                      <a:gd name="T79" fmla="*/ 2147483647 h 193"/>
                      <a:gd name="T80" fmla="*/ 2147483647 w 196"/>
                      <a:gd name="T81" fmla="*/ 2147483647 h 193"/>
                      <a:gd name="T82" fmla="*/ 2147483647 w 196"/>
                      <a:gd name="T83" fmla="*/ 2147483647 h 193"/>
                      <a:gd name="T84" fmla="*/ 2147483647 w 196"/>
                      <a:gd name="T85" fmla="*/ 2147483647 h 193"/>
                      <a:gd name="T86" fmla="*/ 2147483647 w 196"/>
                      <a:gd name="T87" fmla="*/ 2147483647 h 193"/>
                      <a:gd name="T88" fmla="*/ 2147483647 w 196"/>
                      <a:gd name="T89" fmla="*/ 2147483647 h 193"/>
                      <a:gd name="T90" fmla="*/ 2147483647 w 196"/>
                      <a:gd name="T91" fmla="*/ 2147483647 h 193"/>
                      <a:gd name="T92" fmla="*/ 2147483647 w 196"/>
                      <a:gd name="T93" fmla="*/ 2147483647 h 193"/>
                      <a:gd name="T94" fmla="*/ 2147483647 w 196"/>
                      <a:gd name="T95" fmla="*/ 2147483647 h 193"/>
                      <a:gd name="T96" fmla="*/ 2147483647 w 196"/>
                      <a:gd name="T97" fmla="*/ 2147483647 h 193"/>
                      <a:gd name="T98" fmla="*/ 2147483647 w 196"/>
                      <a:gd name="T99" fmla="*/ 2147483647 h 193"/>
                      <a:gd name="T100" fmla="*/ 2147483647 w 196"/>
                      <a:gd name="T101" fmla="*/ 2147483647 h 193"/>
                      <a:gd name="T102" fmla="*/ 2147483647 w 196"/>
                      <a:gd name="T103" fmla="*/ 2147483647 h 193"/>
                      <a:gd name="T104" fmla="*/ 2147483647 w 196"/>
                      <a:gd name="T105" fmla="*/ 2147483647 h 193"/>
                      <a:gd name="T106" fmla="*/ 2147483647 w 196"/>
                      <a:gd name="T107" fmla="*/ 2147483647 h 193"/>
                      <a:gd name="T108" fmla="*/ 2147483647 w 196"/>
                      <a:gd name="T109" fmla="*/ 2147483647 h 193"/>
                      <a:gd name="T110" fmla="*/ 0 w 196"/>
                      <a:gd name="T111" fmla="*/ 2147483647 h 193"/>
                      <a:gd name="T112" fmla="*/ 2147483647 w 196"/>
                      <a:gd name="T113" fmla="*/ 2147483647 h 193"/>
                      <a:gd name="T114" fmla="*/ 2147483647 w 196"/>
                      <a:gd name="T115" fmla="*/ 2147483647 h 193"/>
                      <a:gd name="T116" fmla="*/ 2147483647 w 196"/>
                      <a:gd name="T117" fmla="*/ 2147483647 h 1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96" h="193">
                        <a:moveTo>
                          <a:pt x="3" y="124"/>
                        </a:moveTo>
                        <a:lnTo>
                          <a:pt x="3" y="128"/>
                        </a:lnTo>
                        <a:lnTo>
                          <a:pt x="4" y="130"/>
                        </a:lnTo>
                        <a:lnTo>
                          <a:pt x="6" y="131"/>
                        </a:lnTo>
                        <a:lnTo>
                          <a:pt x="6" y="133"/>
                        </a:lnTo>
                        <a:lnTo>
                          <a:pt x="7" y="133"/>
                        </a:lnTo>
                        <a:lnTo>
                          <a:pt x="8" y="133"/>
                        </a:lnTo>
                        <a:lnTo>
                          <a:pt x="9" y="133"/>
                        </a:lnTo>
                        <a:lnTo>
                          <a:pt x="12" y="133"/>
                        </a:lnTo>
                        <a:lnTo>
                          <a:pt x="15" y="133"/>
                        </a:lnTo>
                        <a:lnTo>
                          <a:pt x="16" y="133"/>
                        </a:lnTo>
                        <a:lnTo>
                          <a:pt x="15" y="133"/>
                        </a:lnTo>
                        <a:lnTo>
                          <a:pt x="17" y="139"/>
                        </a:lnTo>
                        <a:lnTo>
                          <a:pt x="20" y="142"/>
                        </a:lnTo>
                        <a:lnTo>
                          <a:pt x="24" y="143"/>
                        </a:lnTo>
                        <a:lnTo>
                          <a:pt x="29" y="143"/>
                        </a:lnTo>
                        <a:lnTo>
                          <a:pt x="32" y="142"/>
                        </a:lnTo>
                        <a:lnTo>
                          <a:pt x="36" y="140"/>
                        </a:lnTo>
                        <a:lnTo>
                          <a:pt x="40" y="139"/>
                        </a:lnTo>
                        <a:lnTo>
                          <a:pt x="45" y="140"/>
                        </a:lnTo>
                        <a:lnTo>
                          <a:pt x="46" y="140"/>
                        </a:lnTo>
                        <a:lnTo>
                          <a:pt x="48" y="140"/>
                        </a:lnTo>
                        <a:lnTo>
                          <a:pt x="50" y="139"/>
                        </a:lnTo>
                        <a:lnTo>
                          <a:pt x="51" y="136"/>
                        </a:lnTo>
                        <a:lnTo>
                          <a:pt x="51" y="134"/>
                        </a:lnTo>
                        <a:lnTo>
                          <a:pt x="51" y="133"/>
                        </a:lnTo>
                        <a:lnTo>
                          <a:pt x="53" y="133"/>
                        </a:lnTo>
                        <a:lnTo>
                          <a:pt x="54" y="133"/>
                        </a:lnTo>
                        <a:lnTo>
                          <a:pt x="55" y="134"/>
                        </a:lnTo>
                        <a:lnTo>
                          <a:pt x="57" y="136"/>
                        </a:lnTo>
                        <a:lnTo>
                          <a:pt x="57" y="137"/>
                        </a:lnTo>
                        <a:lnTo>
                          <a:pt x="56" y="138"/>
                        </a:lnTo>
                        <a:lnTo>
                          <a:pt x="56" y="139"/>
                        </a:lnTo>
                        <a:lnTo>
                          <a:pt x="57" y="140"/>
                        </a:lnTo>
                        <a:lnTo>
                          <a:pt x="58" y="142"/>
                        </a:lnTo>
                        <a:lnTo>
                          <a:pt x="59" y="143"/>
                        </a:lnTo>
                        <a:lnTo>
                          <a:pt x="64" y="143"/>
                        </a:lnTo>
                        <a:lnTo>
                          <a:pt x="63" y="142"/>
                        </a:lnTo>
                        <a:lnTo>
                          <a:pt x="63" y="141"/>
                        </a:lnTo>
                        <a:lnTo>
                          <a:pt x="62" y="139"/>
                        </a:lnTo>
                        <a:lnTo>
                          <a:pt x="64" y="136"/>
                        </a:lnTo>
                        <a:lnTo>
                          <a:pt x="66" y="136"/>
                        </a:lnTo>
                        <a:lnTo>
                          <a:pt x="67" y="137"/>
                        </a:lnTo>
                        <a:lnTo>
                          <a:pt x="69" y="138"/>
                        </a:lnTo>
                        <a:lnTo>
                          <a:pt x="70" y="140"/>
                        </a:lnTo>
                        <a:lnTo>
                          <a:pt x="70" y="142"/>
                        </a:lnTo>
                        <a:lnTo>
                          <a:pt x="70" y="143"/>
                        </a:lnTo>
                        <a:lnTo>
                          <a:pt x="70" y="144"/>
                        </a:lnTo>
                        <a:lnTo>
                          <a:pt x="70" y="146"/>
                        </a:lnTo>
                        <a:lnTo>
                          <a:pt x="71" y="148"/>
                        </a:lnTo>
                        <a:lnTo>
                          <a:pt x="73" y="149"/>
                        </a:lnTo>
                        <a:lnTo>
                          <a:pt x="78" y="148"/>
                        </a:lnTo>
                        <a:lnTo>
                          <a:pt x="84" y="147"/>
                        </a:lnTo>
                        <a:lnTo>
                          <a:pt x="86" y="148"/>
                        </a:lnTo>
                        <a:lnTo>
                          <a:pt x="86" y="150"/>
                        </a:lnTo>
                        <a:lnTo>
                          <a:pt x="86" y="152"/>
                        </a:lnTo>
                        <a:lnTo>
                          <a:pt x="86" y="153"/>
                        </a:lnTo>
                        <a:lnTo>
                          <a:pt x="86" y="154"/>
                        </a:lnTo>
                        <a:lnTo>
                          <a:pt x="86" y="156"/>
                        </a:lnTo>
                        <a:lnTo>
                          <a:pt x="89" y="157"/>
                        </a:lnTo>
                        <a:lnTo>
                          <a:pt x="90" y="157"/>
                        </a:lnTo>
                        <a:lnTo>
                          <a:pt x="91" y="157"/>
                        </a:lnTo>
                        <a:lnTo>
                          <a:pt x="92" y="156"/>
                        </a:lnTo>
                        <a:lnTo>
                          <a:pt x="93" y="158"/>
                        </a:lnTo>
                        <a:lnTo>
                          <a:pt x="93" y="160"/>
                        </a:lnTo>
                        <a:lnTo>
                          <a:pt x="93" y="163"/>
                        </a:lnTo>
                        <a:lnTo>
                          <a:pt x="92" y="165"/>
                        </a:lnTo>
                        <a:lnTo>
                          <a:pt x="92" y="166"/>
                        </a:lnTo>
                        <a:lnTo>
                          <a:pt x="92" y="168"/>
                        </a:lnTo>
                        <a:lnTo>
                          <a:pt x="92" y="172"/>
                        </a:lnTo>
                        <a:lnTo>
                          <a:pt x="92" y="175"/>
                        </a:lnTo>
                        <a:lnTo>
                          <a:pt x="90" y="177"/>
                        </a:lnTo>
                        <a:lnTo>
                          <a:pt x="89" y="180"/>
                        </a:lnTo>
                        <a:lnTo>
                          <a:pt x="89" y="181"/>
                        </a:lnTo>
                        <a:lnTo>
                          <a:pt x="88" y="182"/>
                        </a:lnTo>
                        <a:lnTo>
                          <a:pt x="87" y="183"/>
                        </a:lnTo>
                        <a:lnTo>
                          <a:pt x="86" y="185"/>
                        </a:lnTo>
                        <a:lnTo>
                          <a:pt x="87" y="188"/>
                        </a:lnTo>
                        <a:lnTo>
                          <a:pt x="89" y="190"/>
                        </a:lnTo>
                        <a:lnTo>
                          <a:pt x="94" y="191"/>
                        </a:lnTo>
                        <a:lnTo>
                          <a:pt x="99" y="191"/>
                        </a:lnTo>
                        <a:lnTo>
                          <a:pt x="101" y="192"/>
                        </a:lnTo>
                        <a:lnTo>
                          <a:pt x="104" y="192"/>
                        </a:lnTo>
                        <a:lnTo>
                          <a:pt x="106" y="193"/>
                        </a:lnTo>
                        <a:lnTo>
                          <a:pt x="109" y="191"/>
                        </a:lnTo>
                        <a:lnTo>
                          <a:pt x="108" y="189"/>
                        </a:lnTo>
                        <a:lnTo>
                          <a:pt x="108" y="188"/>
                        </a:lnTo>
                        <a:lnTo>
                          <a:pt x="107" y="186"/>
                        </a:lnTo>
                        <a:lnTo>
                          <a:pt x="109" y="185"/>
                        </a:lnTo>
                        <a:lnTo>
                          <a:pt x="109" y="183"/>
                        </a:lnTo>
                        <a:lnTo>
                          <a:pt x="111" y="181"/>
                        </a:lnTo>
                        <a:lnTo>
                          <a:pt x="113" y="181"/>
                        </a:lnTo>
                        <a:lnTo>
                          <a:pt x="115" y="179"/>
                        </a:lnTo>
                        <a:lnTo>
                          <a:pt x="114" y="176"/>
                        </a:lnTo>
                        <a:lnTo>
                          <a:pt x="113" y="174"/>
                        </a:lnTo>
                        <a:lnTo>
                          <a:pt x="109" y="169"/>
                        </a:lnTo>
                        <a:lnTo>
                          <a:pt x="99" y="169"/>
                        </a:lnTo>
                        <a:lnTo>
                          <a:pt x="99" y="167"/>
                        </a:lnTo>
                        <a:lnTo>
                          <a:pt x="99" y="165"/>
                        </a:lnTo>
                        <a:lnTo>
                          <a:pt x="99" y="164"/>
                        </a:lnTo>
                        <a:lnTo>
                          <a:pt x="99" y="162"/>
                        </a:lnTo>
                        <a:lnTo>
                          <a:pt x="100" y="161"/>
                        </a:lnTo>
                        <a:lnTo>
                          <a:pt x="103" y="162"/>
                        </a:lnTo>
                        <a:lnTo>
                          <a:pt x="106" y="163"/>
                        </a:lnTo>
                        <a:lnTo>
                          <a:pt x="109" y="162"/>
                        </a:lnTo>
                        <a:lnTo>
                          <a:pt x="110" y="161"/>
                        </a:lnTo>
                        <a:lnTo>
                          <a:pt x="111" y="158"/>
                        </a:lnTo>
                        <a:lnTo>
                          <a:pt x="111" y="156"/>
                        </a:lnTo>
                        <a:lnTo>
                          <a:pt x="112" y="153"/>
                        </a:lnTo>
                        <a:lnTo>
                          <a:pt x="114" y="151"/>
                        </a:lnTo>
                        <a:lnTo>
                          <a:pt x="116" y="150"/>
                        </a:lnTo>
                        <a:lnTo>
                          <a:pt x="119" y="148"/>
                        </a:lnTo>
                        <a:lnTo>
                          <a:pt x="121" y="146"/>
                        </a:lnTo>
                        <a:lnTo>
                          <a:pt x="123" y="144"/>
                        </a:lnTo>
                        <a:lnTo>
                          <a:pt x="125" y="141"/>
                        </a:lnTo>
                        <a:lnTo>
                          <a:pt x="126" y="137"/>
                        </a:lnTo>
                        <a:lnTo>
                          <a:pt x="128" y="133"/>
                        </a:lnTo>
                        <a:lnTo>
                          <a:pt x="131" y="121"/>
                        </a:lnTo>
                        <a:lnTo>
                          <a:pt x="128" y="110"/>
                        </a:lnTo>
                        <a:lnTo>
                          <a:pt x="128" y="109"/>
                        </a:lnTo>
                        <a:lnTo>
                          <a:pt x="129" y="107"/>
                        </a:lnTo>
                        <a:lnTo>
                          <a:pt x="131" y="105"/>
                        </a:lnTo>
                        <a:lnTo>
                          <a:pt x="133" y="106"/>
                        </a:lnTo>
                        <a:lnTo>
                          <a:pt x="135" y="104"/>
                        </a:lnTo>
                        <a:lnTo>
                          <a:pt x="136" y="102"/>
                        </a:lnTo>
                        <a:lnTo>
                          <a:pt x="137" y="101"/>
                        </a:lnTo>
                        <a:lnTo>
                          <a:pt x="140" y="103"/>
                        </a:lnTo>
                        <a:lnTo>
                          <a:pt x="144" y="105"/>
                        </a:lnTo>
                        <a:lnTo>
                          <a:pt x="147" y="107"/>
                        </a:lnTo>
                        <a:lnTo>
                          <a:pt x="151" y="108"/>
                        </a:lnTo>
                        <a:lnTo>
                          <a:pt x="152" y="108"/>
                        </a:lnTo>
                        <a:lnTo>
                          <a:pt x="156" y="106"/>
                        </a:lnTo>
                        <a:lnTo>
                          <a:pt x="160" y="104"/>
                        </a:lnTo>
                        <a:lnTo>
                          <a:pt x="163" y="101"/>
                        </a:lnTo>
                        <a:lnTo>
                          <a:pt x="164" y="99"/>
                        </a:lnTo>
                        <a:lnTo>
                          <a:pt x="164" y="97"/>
                        </a:lnTo>
                        <a:lnTo>
                          <a:pt x="163" y="95"/>
                        </a:lnTo>
                        <a:lnTo>
                          <a:pt x="165" y="91"/>
                        </a:lnTo>
                        <a:lnTo>
                          <a:pt x="168" y="90"/>
                        </a:lnTo>
                        <a:lnTo>
                          <a:pt x="171" y="90"/>
                        </a:lnTo>
                        <a:lnTo>
                          <a:pt x="173" y="88"/>
                        </a:lnTo>
                        <a:lnTo>
                          <a:pt x="174" y="86"/>
                        </a:lnTo>
                        <a:lnTo>
                          <a:pt x="175" y="85"/>
                        </a:lnTo>
                        <a:lnTo>
                          <a:pt x="176" y="85"/>
                        </a:lnTo>
                        <a:lnTo>
                          <a:pt x="176" y="84"/>
                        </a:lnTo>
                        <a:lnTo>
                          <a:pt x="176" y="82"/>
                        </a:lnTo>
                        <a:lnTo>
                          <a:pt x="175" y="79"/>
                        </a:lnTo>
                        <a:lnTo>
                          <a:pt x="174" y="75"/>
                        </a:lnTo>
                        <a:lnTo>
                          <a:pt x="173" y="73"/>
                        </a:lnTo>
                        <a:lnTo>
                          <a:pt x="171" y="71"/>
                        </a:lnTo>
                        <a:lnTo>
                          <a:pt x="170" y="69"/>
                        </a:lnTo>
                        <a:lnTo>
                          <a:pt x="170" y="64"/>
                        </a:lnTo>
                        <a:lnTo>
                          <a:pt x="170" y="63"/>
                        </a:lnTo>
                        <a:lnTo>
                          <a:pt x="170" y="62"/>
                        </a:lnTo>
                        <a:lnTo>
                          <a:pt x="173" y="57"/>
                        </a:lnTo>
                        <a:lnTo>
                          <a:pt x="182" y="57"/>
                        </a:lnTo>
                        <a:lnTo>
                          <a:pt x="185" y="56"/>
                        </a:lnTo>
                        <a:lnTo>
                          <a:pt x="187" y="56"/>
                        </a:lnTo>
                        <a:lnTo>
                          <a:pt x="188" y="54"/>
                        </a:lnTo>
                        <a:lnTo>
                          <a:pt x="188" y="50"/>
                        </a:lnTo>
                        <a:lnTo>
                          <a:pt x="189" y="43"/>
                        </a:lnTo>
                        <a:lnTo>
                          <a:pt x="190" y="38"/>
                        </a:lnTo>
                        <a:lnTo>
                          <a:pt x="192" y="34"/>
                        </a:lnTo>
                        <a:lnTo>
                          <a:pt x="194" y="28"/>
                        </a:lnTo>
                        <a:lnTo>
                          <a:pt x="196" y="21"/>
                        </a:lnTo>
                        <a:lnTo>
                          <a:pt x="195" y="21"/>
                        </a:lnTo>
                        <a:lnTo>
                          <a:pt x="193" y="21"/>
                        </a:lnTo>
                        <a:lnTo>
                          <a:pt x="189" y="21"/>
                        </a:lnTo>
                        <a:lnTo>
                          <a:pt x="187" y="19"/>
                        </a:lnTo>
                        <a:lnTo>
                          <a:pt x="186" y="17"/>
                        </a:lnTo>
                        <a:lnTo>
                          <a:pt x="186" y="16"/>
                        </a:lnTo>
                        <a:lnTo>
                          <a:pt x="185" y="14"/>
                        </a:lnTo>
                        <a:lnTo>
                          <a:pt x="184" y="14"/>
                        </a:lnTo>
                        <a:lnTo>
                          <a:pt x="183" y="14"/>
                        </a:lnTo>
                        <a:lnTo>
                          <a:pt x="182" y="14"/>
                        </a:lnTo>
                        <a:lnTo>
                          <a:pt x="181" y="13"/>
                        </a:lnTo>
                        <a:lnTo>
                          <a:pt x="180" y="12"/>
                        </a:lnTo>
                        <a:lnTo>
                          <a:pt x="179" y="12"/>
                        </a:lnTo>
                        <a:lnTo>
                          <a:pt x="178" y="10"/>
                        </a:lnTo>
                        <a:lnTo>
                          <a:pt x="177" y="10"/>
                        </a:lnTo>
                        <a:lnTo>
                          <a:pt x="176" y="11"/>
                        </a:lnTo>
                        <a:lnTo>
                          <a:pt x="175" y="12"/>
                        </a:lnTo>
                        <a:lnTo>
                          <a:pt x="174" y="9"/>
                        </a:lnTo>
                        <a:lnTo>
                          <a:pt x="174" y="7"/>
                        </a:lnTo>
                        <a:lnTo>
                          <a:pt x="175" y="6"/>
                        </a:lnTo>
                        <a:lnTo>
                          <a:pt x="175" y="5"/>
                        </a:lnTo>
                        <a:lnTo>
                          <a:pt x="166" y="3"/>
                        </a:lnTo>
                        <a:lnTo>
                          <a:pt x="155" y="1"/>
                        </a:lnTo>
                        <a:lnTo>
                          <a:pt x="143" y="0"/>
                        </a:lnTo>
                        <a:lnTo>
                          <a:pt x="131" y="2"/>
                        </a:lnTo>
                        <a:lnTo>
                          <a:pt x="131" y="3"/>
                        </a:lnTo>
                        <a:lnTo>
                          <a:pt x="131" y="4"/>
                        </a:lnTo>
                        <a:lnTo>
                          <a:pt x="131" y="5"/>
                        </a:lnTo>
                        <a:lnTo>
                          <a:pt x="121" y="5"/>
                        </a:lnTo>
                        <a:lnTo>
                          <a:pt x="119" y="8"/>
                        </a:lnTo>
                        <a:lnTo>
                          <a:pt x="118" y="11"/>
                        </a:lnTo>
                        <a:lnTo>
                          <a:pt x="117" y="13"/>
                        </a:lnTo>
                        <a:lnTo>
                          <a:pt x="115" y="14"/>
                        </a:lnTo>
                        <a:lnTo>
                          <a:pt x="113" y="16"/>
                        </a:lnTo>
                        <a:lnTo>
                          <a:pt x="111" y="18"/>
                        </a:lnTo>
                        <a:lnTo>
                          <a:pt x="104" y="22"/>
                        </a:lnTo>
                        <a:lnTo>
                          <a:pt x="97" y="26"/>
                        </a:lnTo>
                        <a:lnTo>
                          <a:pt x="94" y="27"/>
                        </a:lnTo>
                        <a:lnTo>
                          <a:pt x="92" y="27"/>
                        </a:lnTo>
                        <a:lnTo>
                          <a:pt x="90" y="27"/>
                        </a:lnTo>
                        <a:lnTo>
                          <a:pt x="89" y="27"/>
                        </a:lnTo>
                        <a:lnTo>
                          <a:pt x="88" y="27"/>
                        </a:lnTo>
                        <a:lnTo>
                          <a:pt x="86" y="27"/>
                        </a:lnTo>
                        <a:lnTo>
                          <a:pt x="85" y="24"/>
                        </a:lnTo>
                        <a:lnTo>
                          <a:pt x="84" y="23"/>
                        </a:lnTo>
                        <a:lnTo>
                          <a:pt x="83" y="22"/>
                        </a:lnTo>
                        <a:lnTo>
                          <a:pt x="80" y="21"/>
                        </a:lnTo>
                        <a:lnTo>
                          <a:pt x="78" y="26"/>
                        </a:lnTo>
                        <a:lnTo>
                          <a:pt x="78" y="31"/>
                        </a:lnTo>
                        <a:lnTo>
                          <a:pt x="77" y="40"/>
                        </a:lnTo>
                        <a:lnTo>
                          <a:pt x="77" y="43"/>
                        </a:lnTo>
                        <a:lnTo>
                          <a:pt x="75" y="47"/>
                        </a:lnTo>
                        <a:lnTo>
                          <a:pt x="73" y="50"/>
                        </a:lnTo>
                        <a:lnTo>
                          <a:pt x="70" y="53"/>
                        </a:lnTo>
                        <a:lnTo>
                          <a:pt x="70" y="54"/>
                        </a:lnTo>
                        <a:lnTo>
                          <a:pt x="70" y="55"/>
                        </a:lnTo>
                        <a:lnTo>
                          <a:pt x="70" y="56"/>
                        </a:lnTo>
                        <a:lnTo>
                          <a:pt x="70" y="57"/>
                        </a:lnTo>
                        <a:lnTo>
                          <a:pt x="69" y="57"/>
                        </a:lnTo>
                        <a:lnTo>
                          <a:pt x="68" y="57"/>
                        </a:lnTo>
                        <a:lnTo>
                          <a:pt x="67" y="57"/>
                        </a:lnTo>
                        <a:lnTo>
                          <a:pt x="67" y="59"/>
                        </a:lnTo>
                        <a:lnTo>
                          <a:pt x="67" y="60"/>
                        </a:lnTo>
                        <a:lnTo>
                          <a:pt x="66" y="62"/>
                        </a:lnTo>
                        <a:lnTo>
                          <a:pt x="63" y="67"/>
                        </a:lnTo>
                        <a:lnTo>
                          <a:pt x="60" y="72"/>
                        </a:lnTo>
                        <a:lnTo>
                          <a:pt x="57" y="76"/>
                        </a:lnTo>
                        <a:lnTo>
                          <a:pt x="55" y="78"/>
                        </a:lnTo>
                        <a:lnTo>
                          <a:pt x="53" y="80"/>
                        </a:lnTo>
                        <a:lnTo>
                          <a:pt x="47" y="83"/>
                        </a:lnTo>
                        <a:lnTo>
                          <a:pt x="41" y="85"/>
                        </a:lnTo>
                        <a:lnTo>
                          <a:pt x="39" y="88"/>
                        </a:lnTo>
                        <a:lnTo>
                          <a:pt x="38" y="91"/>
                        </a:lnTo>
                        <a:lnTo>
                          <a:pt x="38" y="96"/>
                        </a:lnTo>
                        <a:lnTo>
                          <a:pt x="38" y="98"/>
                        </a:lnTo>
                        <a:lnTo>
                          <a:pt x="38" y="99"/>
                        </a:lnTo>
                        <a:lnTo>
                          <a:pt x="40" y="100"/>
                        </a:lnTo>
                        <a:lnTo>
                          <a:pt x="45" y="103"/>
                        </a:lnTo>
                        <a:lnTo>
                          <a:pt x="49" y="107"/>
                        </a:lnTo>
                        <a:lnTo>
                          <a:pt x="51" y="108"/>
                        </a:lnTo>
                        <a:lnTo>
                          <a:pt x="60" y="108"/>
                        </a:lnTo>
                        <a:lnTo>
                          <a:pt x="61" y="109"/>
                        </a:lnTo>
                        <a:lnTo>
                          <a:pt x="62" y="109"/>
                        </a:lnTo>
                        <a:lnTo>
                          <a:pt x="63" y="110"/>
                        </a:lnTo>
                        <a:lnTo>
                          <a:pt x="64" y="110"/>
                        </a:lnTo>
                        <a:lnTo>
                          <a:pt x="60" y="110"/>
                        </a:lnTo>
                        <a:lnTo>
                          <a:pt x="56" y="109"/>
                        </a:lnTo>
                        <a:lnTo>
                          <a:pt x="53" y="109"/>
                        </a:lnTo>
                        <a:lnTo>
                          <a:pt x="51" y="108"/>
                        </a:lnTo>
                        <a:lnTo>
                          <a:pt x="51" y="109"/>
                        </a:lnTo>
                        <a:lnTo>
                          <a:pt x="51" y="110"/>
                        </a:lnTo>
                        <a:lnTo>
                          <a:pt x="49" y="112"/>
                        </a:lnTo>
                        <a:lnTo>
                          <a:pt x="48" y="112"/>
                        </a:lnTo>
                        <a:lnTo>
                          <a:pt x="47" y="112"/>
                        </a:lnTo>
                        <a:lnTo>
                          <a:pt x="45" y="114"/>
                        </a:lnTo>
                        <a:lnTo>
                          <a:pt x="45" y="116"/>
                        </a:lnTo>
                        <a:lnTo>
                          <a:pt x="45" y="117"/>
                        </a:lnTo>
                        <a:lnTo>
                          <a:pt x="44" y="117"/>
                        </a:lnTo>
                        <a:lnTo>
                          <a:pt x="43" y="117"/>
                        </a:lnTo>
                        <a:lnTo>
                          <a:pt x="42" y="116"/>
                        </a:lnTo>
                        <a:lnTo>
                          <a:pt x="41" y="114"/>
                        </a:lnTo>
                        <a:lnTo>
                          <a:pt x="41" y="113"/>
                        </a:lnTo>
                        <a:lnTo>
                          <a:pt x="41" y="112"/>
                        </a:lnTo>
                        <a:lnTo>
                          <a:pt x="41" y="110"/>
                        </a:lnTo>
                        <a:lnTo>
                          <a:pt x="39" y="112"/>
                        </a:lnTo>
                        <a:lnTo>
                          <a:pt x="38" y="112"/>
                        </a:lnTo>
                        <a:lnTo>
                          <a:pt x="38" y="111"/>
                        </a:lnTo>
                        <a:lnTo>
                          <a:pt x="38" y="110"/>
                        </a:lnTo>
                        <a:lnTo>
                          <a:pt x="38" y="111"/>
                        </a:lnTo>
                        <a:lnTo>
                          <a:pt x="38" y="112"/>
                        </a:lnTo>
                        <a:lnTo>
                          <a:pt x="38" y="113"/>
                        </a:lnTo>
                        <a:lnTo>
                          <a:pt x="38" y="114"/>
                        </a:lnTo>
                        <a:lnTo>
                          <a:pt x="36" y="113"/>
                        </a:lnTo>
                        <a:lnTo>
                          <a:pt x="35" y="112"/>
                        </a:lnTo>
                        <a:lnTo>
                          <a:pt x="33" y="111"/>
                        </a:lnTo>
                        <a:lnTo>
                          <a:pt x="31" y="110"/>
                        </a:lnTo>
                        <a:lnTo>
                          <a:pt x="31" y="112"/>
                        </a:lnTo>
                        <a:lnTo>
                          <a:pt x="31" y="113"/>
                        </a:lnTo>
                        <a:lnTo>
                          <a:pt x="30" y="114"/>
                        </a:lnTo>
                        <a:lnTo>
                          <a:pt x="29" y="114"/>
                        </a:lnTo>
                        <a:lnTo>
                          <a:pt x="29" y="116"/>
                        </a:lnTo>
                        <a:lnTo>
                          <a:pt x="29" y="117"/>
                        </a:lnTo>
                        <a:lnTo>
                          <a:pt x="30" y="118"/>
                        </a:lnTo>
                        <a:lnTo>
                          <a:pt x="31" y="119"/>
                        </a:lnTo>
                        <a:lnTo>
                          <a:pt x="33" y="120"/>
                        </a:lnTo>
                        <a:lnTo>
                          <a:pt x="35" y="121"/>
                        </a:lnTo>
                        <a:lnTo>
                          <a:pt x="25" y="121"/>
                        </a:lnTo>
                        <a:lnTo>
                          <a:pt x="25" y="119"/>
                        </a:lnTo>
                        <a:lnTo>
                          <a:pt x="24" y="117"/>
                        </a:lnTo>
                        <a:lnTo>
                          <a:pt x="23" y="116"/>
                        </a:lnTo>
                        <a:lnTo>
                          <a:pt x="22" y="114"/>
                        </a:lnTo>
                        <a:lnTo>
                          <a:pt x="20" y="115"/>
                        </a:lnTo>
                        <a:lnTo>
                          <a:pt x="19" y="115"/>
                        </a:lnTo>
                        <a:lnTo>
                          <a:pt x="19" y="114"/>
                        </a:lnTo>
                        <a:lnTo>
                          <a:pt x="19" y="113"/>
                        </a:lnTo>
                        <a:lnTo>
                          <a:pt x="18" y="112"/>
                        </a:lnTo>
                        <a:lnTo>
                          <a:pt x="17" y="111"/>
                        </a:lnTo>
                        <a:lnTo>
                          <a:pt x="15" y="110"/>
                        </a:lnTo>
                        <a:lnTo>
                          <a:pt x="13" y="110"/>
                        </a:lnTo>
                        <a:lnTo>
                          <a:pt x="9" y="110"/>
                        </a:lnTo>
                        <a:lnTo>
                          <a:pt x="9" y="111"/>
                        </a:lnTo>
                        <a:lnTo>
                          <a:pt x="10" y="112"/>
                        </a:lnTo>
                        <a:lnTo>
                          <a:pt x="12" y="113"/>
                        </a:lnTo>
                        <a:lnTo>
                          <a:pt x="12" y="114"/>
                        </a:lnTo>
                        <a:lnTo>
                          <a:pt x="10" y="113"/>
                        </a:lnTo>
                        <a:lnTo>
                          <a:pt x="10" y="112"/>
                        </a:lnTo>
                        <a:lnTo>
                          <a:pt x="7" y="111"/>
                        </a:lnTo>
                        <a:lnTo>
                          <a:pt x="6" y="111"/>
                        </a:lnTo>
                        <a:lnTo>
                          <a:pt x="3" y="110"/>
                        </a:lnTo>
                        <a:lnTo>
                          <a:pt x="1" y="113"/>
                        </a:lnTo>
                        <a:lnTo>
                          <a:pt x="0" y="115"/>
                        </a:lnTo>
                        <a:lnTo>
                          <a:pt x="0" y="117"/>
                        </a:lnTo>
                        <a:lnTo>
                          <a:pt x="1" y="119"/>
                        </a:lnTo>
                        <a:lnTo>
                          <a:pt x="2" y="121"/>
                        </a:lnTo>
                        <a:lnTo>
                          <a:pt x="3" y="122"/>
                        </a:lnTo>
                        <a:lnTo>
                          <a:pt x="3" y="124"/>
                        </a:lnTo>
                        <a:lnTo>
                          <a:pt x="5" y="124"/>
                        </a:lnTo>
                        <a:lnTo>
                          <a:pt x="6" y="124"/>
                        </a:lnTo>
                        <a:lnTo>
                          <a:pt x="6" y="122"/>
                        </a:lnTo>
                        <a:lnTo>
                          <a:pt x="7" y="121"/>
                        </a:lnTo>
                        <a:lnTo>
                          <a:pt x="8" y="121"/>
                        </a:lnTo>
                        <a:lnTo>
                          <a:pt x="9" y="121"/>
                        </a:lnTo>
                        <a:lnTo>
                          <a:pt x="9" y="125"/>
                        </a:lnTo>
                        <a:lnTo>
                          <a:pt x="9" y="127"/>
                        </a:lnTo>
                        <a:lnTo>
                          <a:pt x="8" y="127"/>
                        </a:lnTo>
                        <a:lnTo>
                          <a:pt x="7" y="127"/>
                        </a:lnTo>
                        <a:lnTo>
                          <a:pt x="6" y="126"/>
                        </a:lnTo>
                        <a:lnTo>
                          <a:pt x="6" y="124"/>
                        </a:lnTo>
                        <a:lnTo>
                          <a:pt x="3" y="12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299" name="Freeform 1799">
                    <a:extLst>
                      <a:ext uri="{FF2B5EF4-FFF2-40B4-BE49-F238E27FC236}">
                        <a16:creationId xmlns:a16="http://schemas.microsoft.com/office/drawing/2014/main" xmlns="" id="{6EE1E693-DAC1-4625-A952-B84276FF3C03}"/>
                      </a:ext>
                    </a:extLst>
                  </p:cNvPr>
                  <p:cNvSpPr>
                    <a:spLocks/>
                  </p:cNvSpPr>
                  <p:nvPr/>
                </p:nvSpPr>
                <p:spPr bwMode="gray">
                  <a:xfrm>
                    <a:off x="4069354" y="3253343"/>
                    <a:ext cx="1113" cy="3337"/>
                  </a:xfrm>
                  <a:custGeom>
                    <a:avLst/>
                    <a:gdLst>
                      <a:gd name="T0" fmla="*/ 0 w 1"/>
                      <a:gd name="T1" fmla="*/ 0 h 3"/>
                      <a:gd name="T2" fmla="*/ 0 w 1"/>
                      <a:gd name="T3" fmla="*/ 2147483647 h 3"/>
                      <a:gd name="T4" fmla="*/ 2147483647 w 1"/>
                      <a:gd name="T5" fmla="*/ 2147483647 h 3"/>
                      <a:gd name="T6" fmla="*/ 2147483647 w 1"/>
                      <a:gd name="T7" fmla="*/ 2147483647 h 3"/>
                      <a:gd name="T8" fmla="*/ 0 w 1"/>
                      <a:gd name="T9" fmla="*/ 2147483647 h 3"/>
                      <a:gd name="T10" fmla="*/ 0 w 1"/>
                      <a:gd name="T11" fmla="*/ 2147483647 h 3"/>
                      <a:gd name="T12" fmla="*/ 0 w 1"/>
                      <a:gd name="T13" fmla="*/ 2147483647 h 3"/>
                      <a:gd name="T14" fmla="*/ 0 w 1"/>
                      <a:gd name="T15" fmla="*/ 2147483647 h 3"/>
                      <a:gd name="T16" fmla="*/ 0 w 1"/>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3">
                        <a:moveTo>
                          <a:pt x="0" y="0"/>
                        </a:moveTo>
                        <a:lnTo>
                          <a:pt x="0" y="1"/>
                        </a:lnTo>
                        <a:lnTo>
                          <a:pt x="1" y="1"/>
                        </a:lnTo>
                        <a:lnTo>
                          <a:pt x="1" y="2"/>
                        </a:lnTo>
                        <a:lnTo>
                          <a:pt x="0" y="3"/>
                        </a:lnTo>
                        <a:lnTo>
                          <a:pt x="0" y="2"/>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00" name="Freeform 1801">
                    <a:extLst>
                      <a:ext uri="{FF2B5EF4-FFF2-40B4-BE49-F238E27FC236}">
                        <a16:creationId xmlns:a16="http://schemas.microsoft.com/office/drawing/2014/main" xmlns="" id="{BBA28068-EC9E-4F19-9D74-E74D34DB08A2}"/>
                      </a:ext>
                    </a:extLst>
                  </p:cNvPr>
                  <p:cNvSpPr>
                    <a:spLocks/>
                  </p:cNvSpPr>
                  <p:nvPr/>
                </p:nvSpPr>
                <p:spPr bwMode="gray">
                  <a:xfrm>
                    <a:off x="4072691" y="3250005"/>
                    <a:ext cx="18913" cy="10013"/>
                  </a:xfrm>
                  <a:custGeom>
                    <a:avLst/>
                    <a:gdLst>
                      <a:gd name="T0" fmla="*/ 2147483647 w 17"/>
                      <a:gd name="T1" fmla="*/ 0 h 9"/>
                      <a:gd name="T2" fmla="*/ 2147483647 w 17"/>
                      <a:gd name="T3" fmla="*/ 0 h 9"/>
                      <a:gd name="T4" fmla="*/ 2147483647 w 17"/>
                      <a:gd name="T5" fmla="*/ 2147483647 h 9"/>
                      <a:gd name="T6" fmla="*/ 2147483647 w 17"/>
                      <a:gd name="T7" fmla="*/ 2147483647 h 9"/>
                      <a:gd name="T8" fmla="*/ 2147483647 w 17"/>
                      <a:gd name="T9" fmla="*/ 2147483647 h 9"/>
                      <a:gd name="T10" fmla="*/ 2147483647 w 17"/>
                      <a:gd name="T11" fmla="*/ 2147483647 h 9"/>
                      <a:gd name="T12" fmla="*/ 2147483647 w 17"/>
                      <a:gd name="T13" fmla="*/ 2147483647 h 9"/>
                      <a:gd name="T14" fmla="*/ 2147483647 w 17"/>
                      <a:gd name="T15" fmla="*/ 2147483647 h 9"/>
                      <a:gd name="T16" fmla="*/ 2147483647 w 17"/>
                      <a:gd name="T17" fmla="*/ 2147483647 h 9"/>
                      <a:gd name="T18" fmla="*/ 2147483647 w 17"/>
                      <a:gd name="T19" fmla="*/ 2147483647 h 9"/>
                      <a:gd name="T20" fmla="*/ 2147483647 w 17"/>
                      <a:gd name="T21" fmla="*/ 2147483647 h 9"/>
                      <a:gd name="T22" fmla="*/ 2147483647 w 17"/>
                      <a:gd name="T23" fmla="*/ 2147483647 h 9"/>
                      <a:gd name="T24" fmla="*/ 2147483647 w 17"/>
                      <a:gd name="T25" fmla="*/ 2147483647 h 9"/>
                      <a:gd name="T26" fmla="*/ 2147483647 w 17"/>
                      <a:gd name="T27" fmla="*/ 2147483647 h 9"/>
                      <a:gd name="T28" fmla="*/ 2147483647 w 17"/>
                      <a:gd name="T29" fmla="*/ 2147483647 h 9"/>
                      <a:gd name="T30" fmla="*/ 2147483647 w 17"/>
                      <a:gd name="T31" fmla="*/ 2147483647 h 9"/>
                      <a:gd name="T32" fmla="*/ 2147483647 w 17"/>
                      <a:gd name="T33" fmla="*/ 2147483647 h 9"/>
                      <a:gd name="T34" fmla="*/ 2147483647 w 17"/>
                      <a:gd name="T35" fmla="*/ 2147483647 h 9"/>
                      <a:gd name="T36" fmla="*/ 2147483647 w 17"/>
                      <a:gd name="T37" fmla="*/ 2147483647 h 9"/>
                      <a:gd name="T38" fmla="*/ 2147483647 w 17"/>
                      <a:gd name="T39" fmla="*/ 2147483647 h 9"/>
                      <a:gd name="T40" fmla="*/ 0 w 17"/>
                      <a:gd name="T41" fmla="*/ 2147483647 h 9"/>
                      <a:gd name="T42" fmla="*/ 0 w 17"/>
                      <a:gd name="T43" fmla="*/ 2147483647 h 9"/>
                      <a:gd name="T44" fmla="*/ 2147483647 w 17"/>
                      <a:gd name="T45" fmla="*/ 2147483647 h 9"/>
                      <a:gd name="T46" fmla="*/ 2147483647 w 17"/>
                      <a:gd name="T47" fmla="*/ 2147483647 h 9"/>
                      <a:gd name="T48" fmla="*/ 2147483647 w 17"/>
                      <a:gd name="T49" fmla="*/ 2147483647 h 9"/>
                      <a:gd name="T50" fmla="*/ 2147483647 w 17"/>
                      <a:gd name="T51" fmla="*/ 2147483647 h 9"/>
                      <a:gd name="T52" fmla="*/ 2147483647 w 17"/>
                      <a:gd name="T53" fmla="*/ 2147483647 h 9"/>
                      <a:gd name="T54" fmla="*/ 2147483647 w 17"/>
                      <a:gd name="T55" fmla="*/ 2147483647 h 9"/>
                      <a:gd name="T56" fmla="*/ 2147483647 w 17"/>
                      <a:gd name="T57" fmla="*/ 2147483647 h 9"/>
                      <a:gd name="T58" fmla="*/ 2147483647 w 17"/>
                      <a:gd name="T59" fmla="*/ 0 h 9"/>
                      <a:gd name="T60" fmla="*/ 2147483647 w 17"/>
                      <a:gd name="T61" fmla="*/ 0 h 9"/>
                      <a:gd name="T62" fmla="*/ 2147483647 w 17"/>
                      <a:gd name="T63" fmla="*/ 0 h 9"/>
                      <a:gd name="T64" fmla="*/ 2147483647 w 17"/>
                      <a:gd name="T65" fmla="*/ 0 h 9"/>
                      <a:gd name="T66" fmla="*/ 2147483647 w 17"/>
                      <a:gd name="T67" fmla="*/ 0 h 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 h="9">
                        <a:moveTo>
                          <a:pt x="7" y="0"/>
                        </a:moveTo>
                        <a:lnTo>
                          <a:pt x="17" y="0"/>
                        </a:lnTo>
                        <a:lnTo>
                          <a:pt x="15" y="2"/>
                        </a:lnTo>
                        <a:lnTo>
                          <a:pt x="14" y="3"/>
                        </a:lnTo>
                        <a:lnTo>
                          <a:pt x="13" y="3"/>
                        </a:lnTo>
                        <a:lnTo>
                          <a:pt x="12" y="3"/>
                        </a:lnTo>
                        <a:lnTo>
                          <a:pt x="11" y="3"/>
                        </a:lnTo>
                        <a:lnTo>
                          <a:pt x="10" y="3"/>
                        </a:lnTo>
                        <a:lnTo>
                          <a:pt x="7" y="3"/>
                        </a:lnTo>
                        <a:lnTo>
                          <a:pt x="7" y="4"/>
                        </a:lnTo>
                        <a:lnTo>
                          <a:pt x="7" y="5"/>
                        </a:lnTo>
                        <a:lnTo>
                          <a:pt x="6" y="6"/>
                        </a:lnTo>
                        <a:lnTo>
                          <a:pt x="4" y="6"/>
                        </a:lnTo>
                        <a:lnTo>
                          <a:pt x="5" y="6"/>
                        </a:lnTo>
                        <a:lnTo>
                          <a:pt x="5" y="7"/>
                        </a:lnTo>
                        <a:lnTo>
                          <a:pt x="4" y="8"/>
                        </a:lnTo>
                        <a:lnTo>
                          <a:pt x="4" y="9"/>
                        </a:lnTo>
                        <a:lnTo>
                          <a:pt x="2" y="8"/>
                        </a:lnTo>
                        <a:lnTo>
                          <a:pt x="1" y="7"/>
                        </a:lnTo>
                        <a:lnTo>
                          <a:pt x="0" y="6"/>
                        </a:lnTo>
                        <a:lnTo>
                          <a:pt x="1" y="5"/>
                        </a:lnTo>
                        <a:lnTo>
                          <a:pt x="2" y="5"/>
                        </a:lnTo>
                        <a:lnTo>
                          <a:pt x="3" y="6"/>
                        </a:lnTo>
                        <a:lnTo>
                          <a:pt x="4" y="6"/>
                        </a:lnTo>
                        <a:lnTo>
                          <a:pt x="4" y="5"/>
                        </a:lnTo>
                        <a:lnTo>
                          <a:pt x="4" y="3"/>
                        </a:lnTo>
                        <a:lnTo>
                          <a:pt x="4" y="2"/>
                        </a:lnTo>
                        <a:lnTo>
                          <a:pt x="4" y="0"/>
                        </a:lnTo>
                        <a:lnTo>
                          <a:pt x="5" y="0"/>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01" name="Freeform 1803">
                    <a:extLst>
                      <a:ext uri="{FF2B5EF4-FFF2-40B4-BE49-F238E27FC236}">
                        <a16:creationId xmlns:a16="http://schemas.microsoft.com/office/drawing/2014/main" xmlns="" id="{429B4087-36EC-481A-B300-5A5169FBBEC1}"/>
                      </a:ext>
                    </a:extLst>
                  </p:cNvPr>
                  <p:cNvSpPr>
                    <a:spLocks/>
                  </p:cNvSpPr>
                  <p:nvPr/>
                </p:nvSpPr>
                <p:spPr bwMode="gray">
                  <a:xfrm>
                    <a:off x="4078254" y="3227754"/>
                    <a:ext cx="17799" cy="10013"/>
                  </a:xfrm>
                  <a:custGeom>
                    <a:avLst/>
                    <a:gdLst>
                      <a:gd name="T0" fmla="*/ 0 w 16"/>
                      <a:gd name="T1" fmla="*/ 0 h 9"/>
                      <a:gd name="T2" fmla="*/ 0 w 16"/>
                      <a:gd name="T3" fmla="*/ 0 h 9"/>
                      <a:gd name="T4" fmla="*/ 0 w 16"/>
                      <a:gd name="T5" fmla="*/ 2147483647 h 9"/>
                      <a:gd name="T6" fmla="*/ 0 w 16"/>
                      <a:gd name="T7" fmla="*/ 2147483647 h 9"/>
                      <a:gd name="T8" fmla="*/ 0 w 16"/>
                      <a:gd name="T9" fmla="*/ 2147483647 h 9"/>
                      <a:gd name="T10" fmla="*/ 2147483647 w 16"/>
                      <a:gd name="T11" fmla="*/ 2147483647 h 9"/>
                      <a:gd name="T12" fmla="*/ 2147483647 w 16"/>
                      <a:gd name="T13" fmla="*/ 2147483647 h 9"/>
                      <a:gd name="T14" fmla="*/ 2147483647 w 16"/>
                      <a:gd name="T15" fmla="*/ 2147483647 h 9"/>
                      <a:gd name="T16" fmla="*/ 2147483647 w 16"/>
                      <a:gd name="T17" fmla="*/ 2147483647 h 9"/>
                      <a:gd name="T18" fmla="*/ 2147483647 w 16"/>
                      <a:gd name="T19" fmla="*/ 2147483647 h 9"/>
                      <a:gd name="T20" fmla="*/ 2147483647 w 16"/>
                      <a:gd name="T21" fmla="*/ 2147483647 h 9"/>
                      <a:gd name="T22" fmla="*/ 2147483647 w 16"/>
                      <a:gd name="T23" fmla="*/ 2147483647 h 9"/>
                      <a:gd name="T24" fmla="*/ 2147483647 w 16"/>
                      <a:gd name="T25" fmla="*/ 2147483647 h 9"/>
                      <a:gd name="T26" fmla="*/ 2147483647 w 16"/>
                      <a:gd name="T27" fmla="*/ 2147483647 h 9"/>
                      <a:gd name="T28" fmla="*/ 2147483647 w 16"/>
                      <a:gd name="T29" fmla="*/ 2147483647 h 9"/>
                      <a:gd name="T30" fmla="*/ 2147483647 w 16"/>
                      <a:gd name="T31" fmla="*/ 2147483647 h 9"/>
                      <a:gd name="T32" fmla="*/ 2147483647 w 16"/>
                      <a:gd name="T33" fmla="*/ 2147483647 h 9"/>
                      <a:gd name="T34" fmla="*/ 2147483647 w 16"/>
                      <a:gd name="T35" fmla="*/ 2147483647 h 9"/>
                      <a:gd name="T36" fmla="*/ 2147483647 w 16"/>
                      <a:gd name="T37" fmla="*/ 2147483647 h 9"/>
                      <a:gd name="T38" fmla="*/ 2147483647 w 16"/>
                      <a:gd name="T39" fmla="*/ 2147483647 h 9"/>
                      <a:gd name="T40" fmla="*/ 2147483647 w 16"/>
                      <a:gd name="T41" fmla="*/ 2147483647 h 9"/>
                      <a:gd name="T42" fmla="*/ 2147483647 w 16"/>
                      <a:gd name="T43" fmla="*/ 2147483647 h 9"/>
                      <a:gd name="T44" fmla="*/ 2147483647 w 16"/>
                      <a:gd name="T45" fmla="*/ 2147483647 h 9"/>
                      <a:gd name="T46" fmla="*/ 2147483647 w 16"/>
                      <a:gd name="T47" fmla="*/ 2147483647 h 9"/>
                      <a:gd name="T48" fmla="*/ 2147483647 w 16"/>
                      <a:gd name="T49" fmla="*/ 2147483647 h 9"/>
                      <a:gd name="T50" fmla="*/ 2147483647 w 16"/>
                      <a:gd name="T51" fmla="*/ 2147483647 h 9"/>
                      <a:gd name="T52" fmla="*/ 2147483647 w 16"/>
                      <a:gd name="T53" fmla="*/ 2147483647 h 9"/>
                      <a:gd name="T54" fmla="*/ 2147483647 w 16"/>
                      <a:gd name="T55" fmla="*/ 2147483647 h 9"/>
                      <a:gd name="T56" fmla="*/ 2147483647 w 16"/>
                      <a:gd name="T57" fmla="*/ 2147483647 h 9"/>
                      <a:gd name="T58" fmla="*/ 2147483647 w 16"/>
                      <a:gd name="T59" fmla="*/ 0 h 9"/>
                      <a:gd name="T60" fmla="*/ 2147483647 w 16"/>
                      <a:gd name="T61" fmla="*/ 0 h 9"/>
                      <a:gd name="T62" fmla="*/ 0 w 16"/>
                      <a:gd name="T63" fmla="*/ 0 h 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6" h="9">
                        <a:moveTo>
                          <a:pt x="0" y="0"/>
                        </a:moveTo>
                        <a:lnTo>
                          <a:pt x="0" y="0"/>
                        </a:lnTo>
                        <a:lnTo>
                          <a:pt x="0" y="2"/>
                        </a:lnTo>
                        <a:lnTo>
                          <a:pt x="0" y="5"/>
                        </a:lnTo>
                        <a:lnTo>
                          <a:pt x="1" y="5"/>
                        </a:lnTo>
                        <a:lnTo>
                          <a:pt x="3" y="5"/>
                        </a:lnTo>
                        <a:lnTo>
                          <a:pt x="3" y="8"/>
                        </a:lnTo>
                        <a:lnTo>
                          <a:pt x="4" y="8"/>
                        </a:lnTo>
                        <a:lnTo>
                          <a:pt x="5" y="6"/>
                        </a:lnTo>
                        <a:lnTo>
                          <a:pt x="6" y="5"/>
                        </a:lnTo>
                        <a:lnTo>
                          <a:pt x="7" y="6"/>
                        </a:lnTo>
                        <a:lnTo>
                          <a:pt x="8" y="8"/>
                        </a:lnTo>
                        <a:lnTo>
                          <a:pt x="9" y="9"/>
                        </a:lnTo>
                        <a:lnTo>
                          <a:pt x="10" y="9"/>
                        </a:lnTo>
                        <a:lnTo>
                          <a:pt x="10" y="8"/>
                        </a:lnTo>
                        <a:lnTo>
                          <a:pt x="12" y="6"/>
                        </a:lnTo>
                        <a:lnTo>
                          <a:pt x="12" y="5"/>
                        </a:lnTo>
                        <a:lnTo>
                          <a:pt x="13" y="5"/>
                        </a:lnTo>
                        <a:lnTo>
                          <a:pt x="14" y="5"/>
                        </a:lnTo>
                        <a:lnTo>
                          <a:pt x="15" y="5"/>
                        </a:lnTo>
                        <a:lnTo>
                          <a:pt x="16" y="5"/>
                        </a:lnTo>
                        <a:lnTo>
                          <a:pt x="16" y="4"/>
                        </a:lnTo>
                        <a:lnTo>
                          <a:pt x="16" y="3"/>
                        </a:lnTo>
                        <a:lnTo>
                          <a:pt x="11" y="1"/>
                        </a:lnTo>
                        <a:lnTo>
                          <a:pt x="9" y="0"/>
                        </a:lnTo>
                        <a:lnTo>
                          <a:pt x="6"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02" name="Freeform 1805">
                    <a:extLst>
                      <a:ext uri="{FF2B5EF4-FFF2-40B4-BE49-F238E27FC236}">
                        <a16:creationId xmlns:a16="http://schemas.microsoft.com/office/drawing/2014/main" xmlns="" id="{5484FACF-3DCC-4901-869B-6671A2126D7A}"/>
                      </a:ext>
                    </a:extLst>
                  </p:cNvPr>
                  <p:cNvSpPr>
                    <a:spLocks/>
                  </p:cNvSpPr>
                  <p:nvPr/>
                </p:nvSpPr>
                <p:spPr bwMode="gray">
                  <a:xfrm>
                    <a:off x="4083816" y="3219967"/>
                    <a:ext cx="28925" cy="15575"/>
                  </a:xfrm>
                  <a:custGeom>
                    <a:avLst/>
                    <a:gdLst>
                      <a:gd name="T0" fmla="*/ 2147483647 w 26"/>
                      <a:gd name="T1" fmla="*/ 2147483647 h 14"/>
                      <a:gd name="T2" fmla="*/ 2147483647 w 26"/>
                      <a:gd name="T3" fmla="*/ 2147483647 h 14"/>
                      <a:gd name="T4" fmla="*/ 2147483647 w 26"/>
                      <a:gd name="T5" fmla="*/ 2147483647 h 14"/>
                      <a:gd name="T6" fmla="*/ 2147483647 w 26"/>
                      <a:gd name="T7" fmla="*/ 2147483647 h 14"/>
                      <a:gd name="T8" fmla="*/ 0 w 26"/>
                      <a:gd name="T9" fmla="*/ 2147483647 h 14"/>
                      <a:gd name="T10" fmla="*/ 2147483647 w 26"/>
                      <a:gd name="T11" fmla="*/ 2147483647 h 14"/>
                      <a:gd name="T12" fmla="*/ 2147483647 w 26"/>
                      <a:gd name="T13" fmla="*/ 2147483647 h 14"/>
                      <a:gd name="T14" fmla="*/ 2147483647 w 26"/>
                      <a:gd name="T15" fmla="*/ 2147483647 h 14"/>
                      <a:gd name="T16" fmla="*/ 2147483647 w 26"/>
                      <a:gd name="T17" fmla="*/ 2147483647 h 14"/>
                      <a:gd name="T18" fmla="*/ 2147483647 w 26"/>
                      <a:gd name="T19" fmla="*/ 2147483647 h 14"/>
                      <a:gd name="T20" fmla="*/ 2147483647 w 26"/>
                      <a:gd name="T21" fmla="*/ 2147483647 h 14"/>
                      <a:gd name="T22" fmla="*/ 2147483647 w 26"/>
                      <a:gd name="T23" fmla="*/ 2147483647 h 14"/>
                      <a:gd name="T24" fmla="*/ 2147483647 w 26"/>
                      <a:gd name="T25" fmla="*/ 2147483647 h 14"/>
                      <a:gd name="T26" fmla="*/ 2147483647 w 26"/>
                      <a:gd name="T27" fmla="*/ 2147483647 h 14"/>
                      <a:gd name="T28" fmla="*/ 2147483647 w 26"/>
                      <a:gd name="T29" fmla="*/ 2147483647 h 14"/>
                      <a:gd name="T30" fmla="*/ 2147483647 w 26"/>
                      <a:gd name="T31" fmla="*/ 2147483647 h 14"/>
                      <a:gd name="T32" fmla="*/ 2147483647 w 26"/>
                      <a:gd name="T33" fmla="*/ 2147483647 h 14"/>
                      <a:gd name="T34" fmla="*/ 2147483647 w 26"/>
                      <a:gd name="T35" fmla="*/ 2147483647 h 14"/>
                      <a:gd name="T36" fmla="*/ 2147483647 w 26"/>
                      <a:gd name="T37" fmla="*/ 2147483647 h 14"/>
                      <a:gd name="T38" fmla="*/ 2147483647 w 26"/>
                      <a:gd name="T39" fmla="*/ 2147483647 h 14"/>
                      <a:gd name="T40" fmla="*/ 2147483647 w 26"/>
                      <a:gd name="T41" fmla="*/ 2147483647 h 14"/>
                      <a:gd name="T42" fmla="*/ 2147483647 w 26"/>
                      <a:gd name="T43" fmla="*/ 2147483647 h 14"/>
                      <a:gd name="T44" fmla="*/ 2147483647 w 26"/>
                      <a:gd name="T45" fmla="*/ 2147483647 h 14"/>
                      <a:gd name="T46" fmla="*/ 2147483647 w 26"/>
                      <a:gd name="T47" fmla="*/ 0 h 14"/>
                      <a:gd name="T48" fmla="*/ 2147483647 w 26"/>
                      <a:gd name="T49" fmla="*/ 0 h 14"/>
                      <a:gd name="T50" fmla="*/ 2147483647 w 26"/>
                      <a:gd name="T51" fmla="*/ 2147483647 h 14"/>
                      <a:gd name="T52" fmla="*/ 2147483647 w 26"/>
                      <a:gd name="T53" fmla="*/ 2147483647 h 1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6" h="14">
                        <a:moveTo>
                          <a:pt x="6" y="1"/>
                        </a:moveTo>
                        <a:lnTo>
                          <a:pt x="6" y="1"/>
                        </a:lnTo>
                        <a:lnTo>
                          <a:pt x="5" y="2"/>
                        </a:lnTo>
                        <a:lnTo>
                          <a:pt x="3" y="3"/>
                        </a:lnTo>
                        <a:lnTo>
                          <a:pt x="0" y="4"/>
                        </a:lnTo>
                        <a:lnTo>
                          <a:pt x="10" y="4"/>
                        </a:lnTo>
                        <a:lnTo>
                          <a:pt x="12" y="9"/>
                        </a:lnTo>
                        <a:lnTo>
                          <a:pt x="14" y="12"/>
                        </a:lnTo>
                        <a:lnTo>
                          <a:pt x="17" y="14"/>
                        </a:lnTo>
                        <a:lnTo>
                          <a:pt x="23" y="13"/>
                        </a:lnTo>
                        <a:lnTo>
                          <a:pt x="26" y="10"/>
                        </a:lnTo>
                        <a:lnTo>
                          <a:pt x="24" y="10"/>
                        </a:lnTo>
                        <a:lnTo>
                          <a:pt x="22" y="9"/>
                        </a:lnTo>
                        <a:lnTo>
                          <a:pt x="20" y="8"/>
                        </a:lnTo>
                        <a:lnTo>
                          <a:pt x="18" y="6"/>
                        </a:lnTo>
                        <a:lnTo>
                          <a:pt x="16" y="5"/>
                        </a:lnTo>
                        <a:lnTo>
                          <a:pt x="15" y="5"/>
                        </a:lnTo>
                        <a:lnTo>
                          <a:pt x="13" y="4"/>
                        </a:lnTo>
                        <a:lnTo>
                          <a:pt x="13" y="3"/>
                        </a:lnTo>
                        <a:lnTo>
                          <a:pt x="13" y="2"/>
                        </a:lnTo>
                        <a:lnTo>
                          <a:pt x="13" y="1"/>
                        </a:lnTo>
                        <a:lnTo>
                          <a:pt x="11" y="0"/>
                        </a:lnTo>
                        <a:lnTo>
                          <a:pt x="10" y="0"/>
                        </a:lnTo>
                        <a:lnTo>
                          <a:pt x="8" y="1"/>
                        </a:lnTo>
                        <a:lnTo>
                          <a:pt x="6"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03" name="Freeform 1807">
                    <a:extLst>
                      <a:ext uri="{FF2B5EF4-FFF2-40B4-BE49-F238E27FC236}">
                        <a16:creationId xmlns:a16="http://schemas.microsoft.com/office/drawing/2014/main" xmlns="" id="{BC2155CC-C396-4A21-8356-6D942DC7070E}"/>
                      </a:ext>
                    </a:extLst>
                  </p:cNvPr>
                  <p:cNvSpPr>
                    <a:spLocks/>
                  </p:cNvSpPr>
                  <p:nvPr/>
                </p:nvSpPr>
                <p:spPr bwMode="gray">
                  <a:xfrm>
                    <a:off x="4161688" y="3174353"/>
                    <a:ext cx="31149" cy="25588"/>
                  </a:xfrm>
                  <a:custGeom>
                    <a:avLst/>
                    <a:gdLst>
                      <a:gd name="T0" fmla="*/ 2147483647 w 28"/>
                      <a:gd name="T1" fmla="*/ 0 h 23"/>
                      <a:gd name="T2" fmla="*/ 2147483647 w 28"/>
                      <a:gd name="T3" fmla="*/ 2147483647 h 23"/>
                      <a:gd name="T4" fmla="*/ 2147483647 w 28"/>
                      <a:gd name="T5" fmla="*/ 2147483647 h 23"/>
                      <a:gd name="T6" fmla="*/ 2147483647 w 28"/>
                      <a:gd name="T7" fmla="*/ 2147483647 h 23"/>
                      <a:gd name="T8" fmla="*/ 2147483647 w 28"/>
                      <a:gd name="T9" fmla="*/ 2147483647 h 23"/>
                      <a:gd name="T10" fmla="*/ 2147483647 w 28"/>
                      <a:gd name="T11" fmla="*/ 2147483647 h 23"/>
                      <a:gd name="T12" fmla="*/ 0 w 28"/>
                      <a:gd name="T13" fmla="*/ 2147483647 h 23"/>
                      <a:gd name="T14" fmla="*/ 2147483647 w 28"/>
                      <a:gd name="T15" fmla="*/ 2147483647 h 23"/>
                      <a:gd name="T16" fmla="*/ 2147483647 w 28"/>
                      <a:gd name="T17" fmla="*/ 2147483647 h 23"/>
                      <a:gd name="T18" fmla="*/ 2147483647 w 28"/>
                      <a:gd name="T19" fmla="*/ 2147483647 h 23"/>
                      <a:gd name="T20" fmla="*/ 2147483647 w 28"/>
                      <a:gd name="T21" fmla="*/ 2147483647 h 23"/>
                      <a:gd name="T22" fmla="*/ 2147483647 w 28"/>
                      <a:gd name="T23" fmla="*/ 2147483647 h 23"/>
                      <a:gd name="T24" fmla="*/ 2147483647 w 28"/>
                      <a:gd name="T25" fmla="*/ 2147483647 h 23"/>
                      <a:gd name="T26" fmla="*/ 2147483647 w 28"/>
                      <a:gd name="T27" fmla="*/ 2147483647 h 23"/>
                      <a:gd name="T28" fmla="*/ 2147483647 w 28"/>
                      <a:gd name="T29" fmla="*/ 2147483647 h 23"/>
                      <a:gd name="T30" fmla="*/ 2147483647 w 28"/>
                      <a:gd name="T31" fmla="*/ 2147483647 h 23"/>
                      <a:gd name="T32" fmla="*/ 2147483647 w 28"/>
                      <a:gd name="T33" fmla="*/ 2147483647 h 23"/>
                      <a:gd name="T34" fmla="*/ 2147483647 w 28"/>
                      <a:gd name="T35" fmla="*/ 2147483647 h 23"/>
                      <a:gd name="T36" fmla="*/ 2147483647 w 28"/>
                      <a:gd name="T37" fmla="*/ 2147483647 h 23"/>
                      <a:gd name="T38" fmla="*/ 2147483647 w 28"/>
                      <a:gd name="T39" fmla="*/ 2147483647 h 23"/>
                      <a:gd name="T40" fmla="*/ 2147483647 w 28"/>
                      <a:gd name="T41" fmla="*/ 2147483647 h 23"/>
                      <a:gd name="T42" fmla="*/ 2147483647 w 28"/>
                      <a:gd name="T43" fmla="*/ 2147483647 h 23"/>
                      <a:gd name="T44" fmla="*/ 2147483647 w 28"/>
                      <a:gd name="T45" fmla="*/ 2147483647 h 23"/>
                      <a:gd name="T46" fmla="*/ 2147483647 w 28"/>
                      <a:gd name="T47" fmla="*/ 2147483647 h 23"/>
                      <a:gd name="T48" fmla="*/ 2147483647 w 28"/>
                      <a:gd name="T49" fmla="*/ 2147483647 h 23"/>
                      <a:gd name="T50" fmla="*/ 2147483647 w 28"/>
                      <a:gd name="T51" fmla="*/ 2147483647 h 23"/>
                      <a:gd name="T52" fmla="*/ 2147483647 w 28"/>
                      <a:gd name="T53" fmla="*/ 2147483647 h 23"/>
                      <a:gd name="T54" fmla="*/ 2147483647 w 28"/>
                      <a:gd name="T55" fmla="*/ 2147483647 h 23"/>
                      <a:gd name="T56" fmla="*/ 2147483647 w 28"/>
                      <a:gd name="T57" fmla="*/ 2147483647 h 23"/>
                      <a:gd name="T58" fmla="*/ 2147483647 w 28"/>
                      <a:gd name="T59" fmla="*/ 2147483647 h 23"/>
                      <a:gd name="T60" fmla="*/ 2147483647 w 28"/>
                      <a:gd name="T61" fmla="*/ 2147483647 h 23"/>
                      <a:gd name="T62" fmla="*/ 2147483647 w 28"/>
                      <a:gd name="T63" fmla="*/ 0 h 23"/>
                      <a:gd name="T64" fmla="*/ 2147483647 w 28"/>
                      <a:gd name="T65" fmla="*/ 0 h 23"/>
                      <a:gd name="T66" fmla="*/ 2147483647 w 28"/>
                      <a:gd name="T67" fmla="*/ 0 h 23"/>
                      <a:gd name="T68" fmla="*/ 2147483647 w 28"/>
                      <a:gd name="T69" fmla="*/ 0 h 23"/>
                      <a:gd name="T70" fmla="*/ 2147483647 w 28"/>
                      <a:gd name="T71" fmla="*/ 0 h 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 h="23">
                        <a:moveTo>
                          <a:pt x="18" y="0"/>
                        </a:moveTo>
                        <a:lnTo>
                          <a:pt x="14" y="3"/>
                        </a:lnTo>
                        <a:lnTo>
                          <a:pt x="10" y="6"/>
                        </a:lnTo>
                        <a:lnTo>
                          <a:pt x="7" y="10"/>
                        </a:lnTo>
                        <a:lnTo>
                          <a:pt x="2" y="13"/>
                        </a:lnTo>
                        <a:lnTo>
                          <a:pt x="1" y="15"/>
                        </a:lnTo>
                        <a:lnTo>
                          <a:pt x="0" y="16"/>
                        </a:lnTo>
                        <a:lnTo>
                          <a:pt x="1" y="17"/>
                        </a:lnTo>
                        <a:lnTo>
                          <a:pt x="2" y="17"/>
                        </a:lnTo>
                        <a:lnTo>
                          <a:pt x="6" y="17"/>
                        </a:lnTo>
                        <a:lnTo>
                          <a:pt x="8" y="16"/>
                        </a:lnTo>
                        <a:lnTo>
                          <a:pt x="8" y="20"/>
                        </a:lnTo>
                        <a:lnTo>
                          <a:pt x="8" y="19"/>
                        </a:lnTo>
                        <a:lnTo>
                          <a:pt x="8" y="20"/>
                        </a:lnTo>
                        <a:lnTo>
                          <a:pt x="8" y="22"/>
                        </a:lnTo>
                        <a:lnTo>
                          <a:pt x="8" y="23"/>
                        </a:lnTo>
                        <a:lnTo>
                          <a:pt x="9" y="23"/>
                        </a:lnTo>
                        <a:lnTo>
                          <a:pt x="10" y="23"/>
                        </a:lnTo>
                        <a:lnTo>
                          <a:pt x="11" y="23"/>
                        </a:lnTo>
                        <a:lnTo>
                          <a:pt x="12" y="21"/>
                        </a:lnTo>
                        <a:lnTo>
                          <a:pt x="13" y="20"/>
                        </a:lnTo>
                        <a:lnTo>
                          <a:pt x="14" y="18"/>
                        </a:lnTo>
                        <a:lnTo>
                          <a:pt x="15" y="16"/>
                        </a:lnTo>
                        <a:lnTo>
                          <a:pt x="21" y="15"/>
                        </a:lnTo>
                        <a:lnTo>
                          <a:pt x="26" y="14"/>
                        </a:lnTo>
                        <a:lnTo>
                          <a:pt x="28" y="13"/>
                        </a:lnTo>
                        <a:lnTo>
                          <a:pt x="28" y="12"/>
                        </a:lnTo>
                        <a:lnTo>
                          <a:pt x="27" y="9"/>
                        </a:lnTo>
                        <a:lnTo>
                          <a:pt x="24" y="6"/>
                        </a:lnTo>
                        <a:lnTo>
                          <a:pt x="24" y="2"/>
                        </a:lnTo>
                        <a:lnTo>
                          <a:pt x="24" y="0"/>
                        </a:lnTo>
                        <a:lnTo>
                          <a:pt x="19" y="0"/>
                        </a:lnTo>
                        <a:lnTo>
                          <a:pt x="18"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04" name="Freeform 1809">
                    <a:extLst>
                      <a:ext uri="{FF2B5EF4-FFF2-40B4-BE49-F238E27FC236}">
                        <a16:creationId xmlns:a16="http://schemas.microsoft.com/office/drawing/2014/main" xmlns="" id="{80B955FB-C51C-486E-A85E-0EE5B0526B0B}"/>
                      </a:ext>
                    </a:extLst>
                  </p:cNvPr>
                  <p:cNvSpPr>
                    <a:spLocks/>
                  </p:cNvSpPr>
                  <p:nvPr/>
                </p:nvSpPr>
                <p:spPr bwMode="gray">
                  <a:xfrm>
                    <a:off x="4196175" y="3171014"/>
                    <a:ext cx="10013" cy="6675"/>
                  </a:xfrm>
                  <a:custGeom>
                    <a:avLst/>
                    <a:gdLst>
                      <a:gd name="T0" fmla="*/ 2147483647 w 9"/>
                      <a:gd name="T1" fmla="*/ 0 h 6"/>
                      <a:gd name="T2" fmla="*/ 2147483647 w 9"/>
                      <a:gd name="T3" fmla="*/ 2147483647 h 6"/>
                      <a:gd name="T4" fmla="*/ 2147483647 w 9"/>
                      <a:gd name="T5" fmla="*/ 2147483647 h 6"/>
                      <a:gd name="T6" fmla="*/ 2147483647 w 9"/>
                      <a:gd name="T7" fmla="*/ 2147483647 h 6"/>
                      <a:gd name="T8" fmla="*/ 2147483647 w 9"/>
                      <a:gd name="T9" fmla="*/ 2147483647 h 6"/>
                      <a:gd name="T10" fmla="*/ 2147483647 w 9"/>
                      <a:gd name="T11" fmla="*/ 2147483647 h 6"/>
                      <a:gd name="T12" fmla="*/ 2147483647 w 9"/>
                      <a:gd name="T13" fmla="*/ 2147483647 h 6"/>
                      <a:gd name="T14" fmla="*/ 2147483647 w 9"/>
                      <a:gd name="T15" fmla="*/ 2147483647 h 6"/>
                      <a:gd name="T16" fmla="*/ 2147483647 w 9"/>
                      <a:gd name="T17" fmla="*/ 2147483647 h 6"/>
                      <a:gd name="T18" fmla="*/ 2147483647 w 9"/>
                      <a:gd name="T19" fmla="*/ 2147483647 h 6"/>
                      <a:gd name="T20" fmla="*/ 2147483647 w 9"/>
                      <a:gd name="T21" fmla="*/ 2147483647 h 6"/>
                      <a:gd name="T22" fmla="*/ 0 w 9"/>
                      <a:gd name="T23" fmla="*/ 2147483647 h 6"/>
                      <a:gd name="T24" fmla="*/ 0 w 9"/>
                      <a:gd name="T25" fmla="*/ 2147483647 h 6"/>
                      <a:gd name="T26" fmla="*/ 0 w 9"/>
                      <a:gd name="T27" fmla="*/ 2147483647 h 6"/>
                      <a:gd name="T28" fmla="*/ 2147483647 w 9"/>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 h="6">
                        <a:moveTo>
                          <a:pt x="2" y="0"/>
                        </a:moveTo>
                        <a:lnTo>
                          <a:pt x="4" y="1"/>
                        </a:lnTo>
                        <a:lnTo>
                          <a:pt x="5" y="2"/>
                        </a:lnTo>
                        <a:lnTo>
                          <a:pt x="5" y="3"/>
                        </a:lnTo>
                        <a:lnTo>
                          <a:pt x="7" y="3"/>
                        </a:lnTo>
                        <a:lnTo>
                          <a:pt x="8" y="3"/>
                        </a:lnTo>
                        <a:lnTo>
                          <a:pt x="9" y="5"/>
                        </a:lnTo>
                        <a:lnTo>
                          <a:pt x="9" y="6"/>
                        </a:lnTo>
                        <a:lnTo>
                          <a:pt x="5" y="6"/>
                        </a:lnTo>
                        <a:lnTo>
                          <a:pt x="2" y="5"/>
                        </a:lnTo>
                        <a:lnTo>
                          <a:pt x="0" y="3"/>
                        </a:lnTo>
                        <a:lnTo>
                          <a:pt x="0" y="1"/>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05" name="Freeform 1811">
                    <a:extLst>
                      <a:ext uri="{FF2B5EF4-FFF2-40B4-BE49-F238E27FC236}">
                        <a16:creationId xmlns:a16="http://schemas.microsoft.com/office/drawing/2014/main" xmlns="" id="{6659B3D4-449E-4987-9BE0-70B9032D15CF}"/>
                      </a:ext>
                    </a:extLst>
                  </p:cNvPr>
                  <p:cNvSpPr>
                    <a:spLocks/>
                  </p:cNvSpPr>
                  <p:nvPr/>
                </p:nvSpPr>
                <p:spPr bwMode="gray">
                  <a:xfrm>
                    <a:off x="4157238" y="3134300"/>
                    <a:ext cx="38936" cy="65640"/>
                  </a:xfrm>
                  <a:custGeom>
                    <a:avLst/>
                    <a:gdLst>
                      <a:gd name="T0" fmla="*/ 2147483647 w 35"/>
                      <a:gd name="T1" fmla="*/ 2147483647 h 59"/>
                      <a:gd name="T2" fmla="*/ 2147483647 w 35"/>
                      <a:gd name="T3" fmla="*/ 2147483647 h 59"/>
                      <a:gd name="T4" fmla="*/ 2147483647 w 35"/>
                      <a:gd name="T5" fmla="*/ 2147483647 h 59"/>
                      <a:gd name="T6" fmla="*/ 2147483647 w 35"/>
                      <a:gd name="T7" fmla="*/ 2147483647 h 59"/>
                      <a:gd name="T8" fmla="*/ 2147483647 w 35"/>
                      <a:gd name="T9" fmla="*/ 2147483647 h 59"/>
                      <a:gd name="T10" fmla="*/ 2147483647 w 35"/>
                      <a:gd name="T11" fmla="*/ 2147483647 h 59"/>
                      <a:gd name="T12" fmla="*/ 2147483647 w 35"/>
                      <a:gd name="T13" fmla="*/ 2147483647 h 59"/>
                      <a:gd name="T14" fmla="*/ 2147483647 w 35"/>
                      <a:gd name="T15" fmla="*/ 2147483647 h 59"/>
                      <a:gd name="T16" fmla="*/ 2147483647 w 35"/>
                      <a:gd name="T17" fmla="*/ 2147483647 h 59"/>
                      <a:gd name="T18" fmla="*/ 2147483647 w 35"/>
                      <a:gd name="T19" fmla="*/ 2147483647 h 59"/>
                      <a:gd name="T20" fmla="*/ 2147483647 w 35"/>
                      <a:gd name="T21" fmla="*/ 2147483647 h 59"/>
                      <a:gd name="T22" fmla="*/ 2147483647 w 35"/>
                      <a:gd name="T23" fmla="*/ 2147483647 h 59"/>
                      <a:gd name="T24" fmla="*/ 2147483647 w 35"/>
                      <a:gd name="T25" fmla="*/ 2147483647 h 59"/>
                      <a:gd name="T26" fmla="*/ 2147483647 w 35"/>
                      <a:gd name="T27" fmla="*/ 2147483647 h 59"/>
                      <a:gd name="T28" fmla="*/ 2147483647 w 35"/>
                      <a:gd name="T29" fmla="*/ 2147483647 h 59"/>
                      <a:gd name="T30" fmla="*/ 2147483647 w 35"/>
                      <a:gd name="T31" fmla="*/ 2147483647 h 59"/>
                      <a:gd name="T32" fmla="*/ 2147483647 w 35"/>
                      <a:gd name="T33" fmla="*/ 2147483647 h 59"/>
                      <a:gd name="T34" fmla="*/ 2147483647 w 35"/>
                      <a:gd name="T35" fmla="*/ 2147483647 h 59"/>
                      <a:gd name="T36" fmla="*/ 2147483647 w 35"/>
                      <a:gd name="T37" fmla="*/ 2147483647 h 59"/>
                      <a:gd name="T38" fmla="*/ 2147483647 w 35"/>
                      <a:gd name="T39" fmla="*/ 2147483647 h 59"/>
                      <a:gd name="T40" fmla="*/ 2147483647 w 35"/>
                      <a:gd name="T41" fmla="*/ 2147483647 h 59"/>
                      <a:gd name="T42" fmla="*/ 2147483647 w 35"/>
                      <a:gd name="T43" fmla="*/ 2147483647 h 59"/>
                      <a:gd name="T44" fmla="*/ 2147483647 w 35"/>
                      <a:gd name="T45" fmla="*/ 2147483647 h 59"/>
                      <a:gd name="T46" fmla="*/ 2147483647 w 35"/>
                      <a:gd name="T47" fmla="*/ 2147483647 h 59"/>
                      <a:gd name="T48" fmla="*/ 2147483647 w 35"/>
                      <a:gd name="T49" fmla="*/ 2147483647 h 59"/>
                      <a:gd name="T50" fmla="*/ 2147483647 w 35"/>
                      <a:gd name="T51" fmla="*/ 2147483647 h 59"/>
                      <a:gd name="T52" fmla="*/ 2147483647 w 35"/>
                      <a:gd name="T53" fmla="*/ 2147483647 h 59"/>
                      <a:gd name="T54" fmla="*/ 2147483647 w 35"/>
                      <a:gd name="T55" fmla="*/ 2147483647 h 59"/>
                      <a:gd name="T56" fmla="*/ 2147483647 w 35"/>
                      <a:gd name="T57" fmla="*/ 2147483647 h 59"/>
                      <a:gd name="T58" fmla="*/ 2147483647 w 35"/>
                      <a:gd name="T59" fmla="*/ 2147483647 h 59"/>
                      <a:gd name="T60" fmla="*/ 2147483647 w 35"/>
                      <a:gd name="T61" fmla="*/ 2147483647 h 59"/>
                      <a:gd name="T62" fmla="*/ 0 w 35"/>
                      <a:gd name="T63" fmla="*/ 2147483647 h 59"/>
                      <a:gd name="T64" fmla="*/ 0 w 35"/>
                      <a:gd name="T65" fmla="*/ 2147483647 h 59"/>
                      <a:gd name="T66" fmla="*/ 2147483647 w 35"/>
                      <a:gd name="T67" fmla="*/ 2147483647 h 59"/>
                      <a:gd name="T68" fmla="*/ 2147483647 w 35"/>
                      <a:gd name="T69" fmla="*/ 2147483647 h 59"/>
                      <a:gd name="T70" fmla="*/ 0 w 35"/>
                      <a:gd name="T71" fmla="*/ 2147483647 h 59"/>
                      <a:gd name="T72" fmla="*/ 0 w 35"/>
                      <a:gd name="T73" fmla="*/ 2147483647 h 59"/>
                      <a:gd name="T74" fmla="*/ 2147483647 w 35"/>
                      <a:gd name="T75" fmla="*/ 2147483647 h 59"/>
                      <a:gd name="T76" fmla="*/ 2147483647 w 35"/>
                      <a:gd name="T77" fmla="*/ 2147483647 h 59"/>
                      <a:gd name="T78" fmla="*/ 2147483647 w 35"/>
                      <a:gd name="T79" fmla="*/ 2147483647 h 59"/>
                      <a:gd name="T80" fmla="*/ 2147483647 w 35"/>
                      <a:gd name="T81" fmla="*/ 2147483647 h 59"/>
                      <a:gd name="T82" fmla="*/ 2147483647 w 35"/>
                      <a:gd name="T83" fmla="*/ 2147483647 h 59"/>
                      <a:gd name="T84" fmla="*/ 2147483647 w 35"/>
                      <a:gd name="T85" fmla="*/ 2147483647 h 59"/>
                      <a:gd name="T86" fmla="*/ 2147483647 w 35"/>
                      <a:gd name="T87" fmla="*/ 2147483647 h 59"/>
                      <a:gd name="T88" fmla="*/ 2147483647 w 35"/>
                      <a:gd name="T89" fmla="*/ 2147483647 h 59"/>
                      <a:gd name="T90" fmla="*/ 2147483647 w 35"/>
                      <a:gd name="T91" fmla="*/ 2147483647 h 59"/>
                      <a:gd name="T92" fmla="*/ 2147483647 w 35"/>
                      <a:gd name="T93" fmla="*/ 2147483647 h 59"/>
                      <a:gd name="T94" fmla="*/ 2147483647 w 35"/>
                      <a:gd name="T95" fmla="*/ 2147483647 h 59"/>
                      <a:gd name="T96" fmla="*/ 2147483647 w 35"/>
                      <a:gd name="T97" fmla="*/ 2147483647 h 59"/>
                      <a:gd name="T98" fmla="*/ 2147483647 w 35"/>
                      <a:gd name="T99" fmla="*/ 2147483647 h 59"/>
                      <a:gd name="T100" fmla="*/ 2147483647 w 35"/>
                      <a:gd name="T101" fmla="*/ 2147483647 h 59"/>
                      <a:gd name="T102" fmla="*/ 2147483647 w 35"/>
                      <a:gd name="T103" fmla="*/ 2147483647 h 59"/>
                      <a:gd name="T104" fmla="*/ 2147483647 w 35"/>
                      <a:gd name="T105" fmla="*/ 2147483647 h 59"/>
                      <a:gd name="T106" fmla="*/ 2147483647 w 35"/>
                      <a:gd name="T107" fmla="*/ 0 h 5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5" h="59">
                        <a:moveTo>
                          <a:pt x="19" y="0"/>
                        </a:moveTo>
                        <a:lnTo>
                          <a:pt x="19" y="1"/>
                        </a:lnTo>
                        <a:lnTo>
                          <a:pt x="21" y="4"/>
                        </a:lnTo>
                        <a:lnTo>
                          <a:pt x="22" y="8"/>
                        </a:lnTo>
                        <a:lnTo>
                          <a:pt x="22" y="13"/>
                        </a:lnTo>
                        <a:lnTo>
                          <a:pt x="19" y="13"/>
                        </a:lnTo>
                        <a:lnTo>
                          <a:pt x="19" y="14"/>
                        </a:lnTo>
                        <a:lnTo>
                          <a:pt x="18" y="15"/>
                        </a:lnTo>
                        <a:lnTo>
                          <a:pt x="17" y="17"/>
                        </a:lnTo>
                        <a:lnTo>
                          <a:pt x="15" y="20"/>
                        </a:lnTo>
                        <a:lnTo>
                          <a:pt x="17" y="20"/>
                        </a:lnTo>
                        <a:lnTo>
                          <a:pt x="18" y="20"/>
                        </a:lnTo>
                        <a:lnTo>
                          <a:pt x="19" y="20"/>
                        </a:lnTo>
                        <a:lnTo>
                          <a:pt x="21" y="20"/>
                        </a:lnTo>
                        <a:lnTo>
                          <a:pt x="22" y="20"/>
                        </a:lnTo>
                        <a:lnTo>
                          <a:pt x="23" y="20"/>
                        </a:lnTo>
                        <a:lnTo>
                          <a:pt x="25" y="20"/>
                        </a:lnTo>
                        <a:lnTo>
                          <a:pt x="25" y="16"/>
                        </a:lnTo>
                        <a:lnTo>
                          <a:pt x="28" y="16"/>
                        </a:lnTo>
                        <a:lnTo>
                          <a:pt x="30" y="17"/>
                        </a:lnTo>
                        <a:lnTo>
                          <a:pt x="30" y="19"/>
                        </a:lnTo>
                        <a:lnTo>
                          <a:pt x="30" y="22"/>
                        </a:lnTo>
                        <a:lnTo>
                          <a:pt x="26" y="27"/>
                        </a:lnTo>
                        <a:lnTo>
                          <a:pt x="25" y="28"/>
                        </a:lnTo>
                        <a:lnTo>
                          <a:pt x="25" y="29"/>
                        </a:lnTo>
                        <a:lnTo>
                          <a:pt x="25" y="31"/>
                        </a:lnTo>
                        <a:lnTo>
                          <a:pt x="25" y="32"/>
                        </a:lnTo>
                        <a:lnTo>
                          <a:pt x="27" y="35"/>
                        </a:lnTo>
                        <a:lnTo>
                          <a:pt x="28" y="36"/>
                        </a:lnTo>
                        <a:lnTo>
                          <a:pt x="31" y="37"/>
                        </a:lnTo>
                        <a:lnTo>
                          <a:pt x="35" y="37"/>
                        </a:lnTo>
                        <a:lnTo>
                          <a:pt x="33" y="40"/>
                        </a:lnTo>
                        <a:lnTo>
                          <a:pt x="33" y="41"/>
                        </a:lnTo>
                        <a:lnTo>
                          <a:pt x="34" y="42"/>
                        </a:lnTo>
                        <a:lnTo>
                          <a:pt x="35" y="46"/>
                        </a:lnTo>
                        <a:lnTo>
                          <a:pt x="35" y="50"/>
                        </a:lnTo>
                        <a:lnTo>
                          <a:pt x="35" y="52"/>
                        </a:lnTo>
                        <a:lnTo>
                          <a:pt x="25" y="53"/>
                        </a:lnTo>
                        <a:lnTo>
                          <a:pt x="22" y="54"/>
                        </a:lnTo>
                        <a:lnTo>
                          <a:pt x="19" y="56"/>
                        </a:lnTo>
                        <a:lnTo>
                          <a:pt x="18" y="56"/>
                        </a:lnTo>
                        <a:lnTo>
                          <a:pt x="17" y="57"/>
                        </a:lnTo>
                        <a:lnTo>
                          <a:pt x="16" y="59"/>
                        </a:lnTo>
                        <a:lnTo>
                          <a:pt x="15" y="59"/>
                        </a:lnTo>
                        <a:lnTo>
                          <a:pt x="12" y="59"/>
                        </a:lnTo>
                        <a:lnTo>
                          <a:pt x="11" y="59"/>
                        </a:lnTo>
                        <a:lnTo>
                          <a:pt x="10" y="58"/>
                        </a:lnTo>
                        <a:lnTo>
                          <a:pt x="10" y="56"/>
                        </a:lnTo>
                        <a:lnTo>
                          <a:pt x="10" y="52"/>
                        </a:lnTo>
                        <a:lnTo>
                          <a:pt x="8" y="53"/>
                        </a:lnTo>
                        <a:lnTo>
                          <a:pt x="8" y="54"/>
                        </a:lnTo>
                        <a:lnTo>
                          <a:pt x="8" y="55"/>
                        </a:lnTo>
                        <a:lnTo>
                          <a:pt x="6" y="56"/>
                        </a:lnTo>
                        <a:lnTo>
                          <a:pt x="5" y="55"/>
                        </a:lnTo>
                        <a:lnTo>
                          <a:pt x="4" y="54"/>
                        </a:lnTo>
                        <a:lnTo>
                          <a:pt x="3" y="52"/>
                        </a:lnTo>
                        <a:lnTo>
                          <a:pt x="3" y="49"/>
                        </a:lnTo>
                        <a:lnTo>
                          <a:pt x="1" y="50"/>
                        </a:lnTo>
                        <a:lnTo>
                          <a:pt x="0" y="50"/>
                        </a:lnTo>
                        <a:lnTo>
                          <a:pt x="0" y="49"/>
                        </a:lnTo>
                        <a:lnTo>
                          <a:pt x="0" y="48"/>
                        </a:lnTo>
                        <a:lnTo>
                          <a:pt x="1" y="46"/>
                        </a:lnTo>
                        <a:lnTo>
                          <a:pt x="3" y="43"/>
                        </a:lnTo>
                        <a:lnTo>
                          <a:pt x="3" y="42"/>
                        </a:lnTo>
                        <a:lnTo>
                          <a:pt x="1" y="42"/>
                        </a:lnTo>
                        <a:lnTo>
                          <a:pt x="0" y="42"/>
                        </a:lnTo>
                        <a:lnTo>
                          <a:pt x="0" y="39"/>
                        </a:lnTo>
                        <a:lnTo>
                          <a:pt x="0" y="37"/>
                        </a:lnTo>
                        <a:lnTo>
                          <a:pt x="1" y="33"/>
                        </a:lnTo>
                        <a:lnTo>
                          <a:pt x="3" y="29"/>
                        </a:lnTo>
                        <a:lnTo>
                          <a:pt x="12" y="29"/>
                        </a:lnTo>
                        <a:lnTo>
                          <a:pt x="12" y="28"/>
                        </a:lnTo>
                        <a:lnTo>
                          <a:pt x="12" y="23"/>
                        </a:lnTo>
                        <a:lnTo>
                          <a:pt x="13" y="23"/>
                        </a:lnTo>
                        <a:lnTo>
                          <a:pt x="14" y="23"/>
                        </a:lnTo>
                        <a:lnTo>
                          <a:pt x="15" y="23"/>
                        </a:lnTo>
                        <a:lnTo>
                          <a:pt x="15" y="22"/>
                        </a:lnTo>
                        <a:lnTo>
                          <a:pt x="15" y="20"/>
                        </a:lnTo>
                        <a:lnTo>
                          <a:pt x="13" y="20"/>
                        </a:lnTo>
                        <a:lnTo>
                          <a:pt x="12" y="20"/>
                        </a:lnTo>
                        <a:lnTo>
                          <a:pt x="10" y="20"/>
                        </a:lnTo>
                        <a:lnTo>
                          <a:pt x="9" y="20"/>
                        </a:lnTo>
                        <a:lnTo>
                          <a:pt x="8" y="22"/>
                        </a:lnTo>
                        <a:lnTo>
                          <a:pt x="7" y="23"/>
                        </a:lnTo>
                        <a:lnTo>
                          <a:pt x="6" y="23"/>
                        </a:lnTo>
                        <a:lnTo>
                          <a:pt x="6" y="19"/>
                        </a:lnTo>
                        <a:lnTo>
                          <a:pt x="6" y="17"/>
                        </a:lnTo>
                        <a:lnTo>
                          <a:pt x="6" y="16"/>
                        </a:lnTo>
                        <a:lnTo>
                          <a:pt x="6" y="13"/>
                        </a:lnTo>
                        <a:lnTo>
                          <a:pt x="6" y="12"/>
                        </a:lnTo>
                        <a:lnTo>
                          <a:pt x="6" y="10"/>
                        </a:lnTo>
                        <a:lnTo>
                          <a:pt x="6" y="6"/>
                        </a:lnTo>
                        <a:lnTo>
                          <a:pt x="9" y="6"/>
                        </a:lnTo>
                        <a:lnTo>
                          <a:pt x="12" y="4"/>
                        </a:lnTo>
                        <a:lnTo>
                          <a:pt x="16" y="2"/>
                        </a:lnTo>
                        <a:lnTo>
                          <a:pt x="1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06" name="Freeform 1813">
                    <a:extLst>
                      <a:ext uri="{FF2B5EF4-FFF2-40B4-BE49-F238E27FC236}">
                        <a16:creationId xmlns:a16="http://schemas.microsoft.com/office/drawing/2014/main" xmlns="" id="{01921B0C-1938-4AFF-BEE4-44D0FDAA00AC}"/>
                      </a:ext>
                    </a:extLst>
                  </p:cNvPr>
                  <p:cNvSpPr>
                    <a:spLocks/>
                  </p:cNvSpPr>
                  <p:nvPr/>
                </p:nvSpPr>
                <p:spPr bwMode="gray">
                  <a:xfrm>
                    <a:off x="4143888" y="3119838"/>
                    <a:ext cx="16687" cy="16688"/>
                  </a:xfrm>
                  <a:custGeom>
                    <a:avLst/>
                    <a:gdLst>
                      <a:gd name="T0" fmla="*/ 2147483647 w 15"/>
                      <a:gd name="T1" fmla="*/ 0 h 15"/>
                      <a:gd name="T2" fmla="*/ 2147483647 w 15"/>
                      <a:gd name="T3" fmla="*/ 2147483647 h 15"/>
                      <a:gd name="T4" fmla="*/ 2147483647 w 15"/>
                      <a:gd name="T5" fmla="*/ 2147483647 h 15"/>
                      <a:gd name="T6" fmla="*/ 2147483647 w 15"/>
                      <a:gd name="T7" fmla="*/ 2147483647 h 15"/>
                      <a:gd name="T8" fmla="*/ 2147483647 w 15"/>
                      <a:gd name="T9" fmla="*/ 2147483647 h 15"/>
                      <a:gd name="T10" fmla="*/ 0 w 15"/>
                      <a:gd name="T11" fmla="*/ 2147483647 h 15"/>
                      <a:gd name="T12" fmla="*/ 2147483647 w 15"/>
                      <a:gd name="T13" fmla="*/ 2147483647 h 15"/>
                      <a:gd name="T14" fmla="*/ 2147483647 w 15"/>
                      <a:gd name="T15" fmla="*/ 2147483647 h 15"/>
                      <a:gd name="T16" fmla="*/ 2147483647 w 15"/>
                      <a:gd name="T17" fmla="*/ 2147483647 h 15"/>
                      <a:gd name="T18" fmla="*/ 2147483647 w 15"/>
                      <a:gd name="T19" fmla="*/ 2147483647 h 15"/>
                      <a:gd name="T20" fmla="*/ 2147483647 w 15"/>
                      <a:gd name="T21" fmla="*/ 2147483647 h 15"/>
                      <a:gd name="T22" fmla="*/ 2147483647 w 15"/>
                      <a:gd name="T23" fmla="*/ 2147483647 h 15"/>
                      <a:gd name="T24" fmla="*/ 2147483647 w 15"/>
                      <a:gd name="T25" fmla="*/ 0 h 15"/>
                      <a:gd name="T26" fmla="*/ 2147483647 w 15"/>
                      <a:gd name="T27" fmla="*/ 0 h 15"/>
                      <a:gd name="T28" fmla="*/ 2147483647 w 15"/>
                      <a:gd name="T29" fmla="*/ 0 h 15"/>
                      <a:gd name="T30" fmla="*/ 2147483647 w 15"/>
                      <a:gd name="T31" fmla="*/ 0 h 15"/>
                      <a:gd name="T32" fmla="*/ 2147483647 w 15"/>
                      <a:gd name="T33" fmla="*/ 0 h 15"/>
                      <a:gd name="T34" fmla="*/ 2147483647 w 15"/>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 h="15">
                        <a:moveTo>
                          <a:pt x="8" y="0"/>
                        </a:moveTo>
                        <a:lnTo>
                          <a:pt x="6" y="1"/>
                        </a:lnTo>
                        <a:lnTo>
                          <a:pt x="4" y="2"/>
                        </a:lnTo>
                        <a:lnTo>
                          <a:pt x="2" y="5"/>
                        </a:lnTo>
                        <a:lnTo>
                          <a:pt x="2" y="7"/>
                        </a:lnTo>
                        <a:lnTo>
                          <a:pt x="0" y="10"/>
                        </a:lnTo>
                        <a:lnTo>
                          <a:pt x="1" y="13"/>
                        </a:lnTo>
                        <a:lnTo>
                          <a:pt x="4" y="15"/>
                        </a:lnTo>
                        <a:lnTo>
                          <a:pt x="8" y="14"/>
                        </a:lnTo>
                        <a:lnTo>
                          <a:pt x="15" y="4"/>
                        </a:lnTo>
                        <a:lnTo>
                          <a:pt x="15" y="2"/>
                        </a:lnTo>
                        <a:lnTo>
                          <a:pt x="13" y="1"/>
                        </a:lnTo>
                        <a:lnTo>
                          <a:pt x="12" y="0"/>
                        </a:lnTo>
                        <a:lnTo>
                          <a:pt x="11" y="0"/>
                        </a:lnTo>
                        <a:lnTo>
                          <a:pt x="10" y="0"/>
                        </a:lnTo>
                        <a:lnTo>
                          <a:pt x="9" y="0"/>
                        </a:lnTo>
                        <a:lnTo>
                          <a:pt x="8" y="0"/>
                        </a:lnTo>
                        <a:close/>
                      </a:path>
                    </a:pathLst>
                  </a:custGeom>
                  <a:solidFill>
                    <a:srgbClr val="EAEAEA"/>
                  </a:solidFill>
                  <a:ln w="6350" cap="flat" cmpd="sng">
                    <a:solidFill>
                      <a:srgbClr val="C0C0C0"/>
                    </a:solidFill>
                    <a:prstDash val="solid"/>
                    <a:round/>
                    <a:headEnd type="none" w="sm" len="sm"/>
                    <a:tailEnd type="none" w="med" len="med"/>
                  </a:ln>
                </p:spPr>
                <p:txBody>
                  <a:bodyPr lIns="72000" tIns="72000" rIns="72000" bIns="72000" anchor="ctr"/>
                  <a:lstStyle/>
                  <a:p>
                    <a:pPr algn="ctr"/>
                    <a:endParaRPr lang="en-US" sz="1100" b="1" dirty="0">
                      <a:solidFill>
                        <a:srgbClr val="5E5E5E"/>
                      </a:solidFill>
                    </a:endParaRPr>
                  </a:p>
                </p:txBody>
              </p:sp>
              <p:sp>
                <p:nvSpPr>
                  <p:cNvPr id="307" name="Freeform 1815">
                    <a:extLst>
                      <a:ext uri="{FF2B5EF4-FFF2-40B4-BE49-F238E27FC236}">
                        <a16:creationId xmlns:a16="http://schemas.microsoft.com/office/drawing/2014/main" xmlns="" id="{43C2CD9C-AA59-4A1B-BBF1-563B2104F6C2}"/>
                      </a:ext>
                    </a:extLst>
                  </p:cNvPr>
                  <p:cNvSpPr>
                    <a:spLocks/>
                  </p:cNvSpPr>
                  <p:nvPr/>
                </p:nvSpPr>
                <p:spPr bwMode="gray">
                  <a:xfrm>
                    <a:off x="4161688" y="3105375"/>
                    <a:ext cx="7787" cy="12238"/>
                  </a:xfrm>
                  <a:custGeom>
                    <a:avLst/>
                    <a:gdLst>
                      <a:gd name="T0" fmla="*/ 2147483647 w 7"/>
                      <a:gd name="T1" fmla="*/ 0 h 11"/>
                      <a:gd name="T2" fmla="*/ 2147483647 w 7"/>
                      <a:gd name="T3" fmla="*/ 0 h 11"/>
                      <a:gd name="T4" fmla="*/ 2147483647 w 7"/>
                      <a:gd name="T5" fmla="*/ 2147483647 h 11"/>
                      <a:gd name="T6" fmla="*/ 2147483647 w 7"/>
                      <a:gd name="T7" fmla="*/ 2147483647 h 11"/>
                      <a:gd name="T8" fmla="*/ 2147483647 w 7"/>
                      <a:gd name="T9" fmla="*/ 2147483647 h 11"/>
                      <a:gd name="T10" fmla="*/ 0 w 7"/>
                      <a:gd name="T11" fmla="*/ 2147483647 h 11"/>
                      <a:gd name="T12" fmla="*/ 0 w 7"/>
                      <a:gd name="T13" fmla="*/ 2147483647 h 11"/>
                      <a:gd name="T14" fmla="*/ 2147483647 w 7"/>
                      <a:gd name="T15" fmla="*/ 2147483647 h 11"/>
                      <a:gd name="T16" fmla="*/ 2147483647 w 7"/>
                      <a:gd name="T17" fmla="*/ 2147483647 h 11"/>
                      <a:gd name="T18" fmla="*/ 2147483647 w 7"/>
                      <a:gd name="T19" fmla="*/ 2147483647 h 11"/>
                      <a:gd name="T20" fmla="*/ 2147483647 w 7"/>
                      <a:gd name="T21" fmla="*/ 2147483647 h 11"/>
                      <a:gd name="T22" fmla="*/ 2147483647 w 7"/>
                      <a:gd name="T23" fmla="*/ 2147483647 h 11"/>
                      <a:gd name="T24" fmla="*/ 2147483647 w 7"/>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 h="11">
                        <a:moveTo>
                          <a:pt x="5" y="0"/>
                        </a:moveTo>
                        <a:lnTo>
                          <a:pt x="4" y="0"/>
                        </a:lnTo>
                        <a:lnTo>
                          <a:pt x="3" y="3"/>
                        </a:lnTo>
                        <a:lnTo>
                          <a:pt x="3" y="4"/>
                        </a:lnTo>
                        <a:lnTo>
                          <a:pt x="2" y="4"/>
                        </a:lnTo>
                        <a:lnTo>
                          <a:pt x="0" y="9"/>
                        </a:lnTo>
                        <a:lnTo>
                          <a:pt x="0" y="11"/>
                        </a:lnTo>
                        <a:lnTo>
                          <a:pt x="2" y="11"/>
                        </a:lnTo>
                        <a:lnTo>
                          <a:pt x="3" y="10"/>
                        </a:lnTo>
                        <a:lnTo>
                          <a:pt x="5" y="8"/>
                        </a:lnTo>
                        <a:lnTo>
                          <a:pt x="7" y="5"/>
                        </a:lnTo>
                        <a:lnTo>
                          <a:pt x="7" y="3"/>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08" name="Freeform 1817">
                    <a:extLst>
                      <a:ext uri="{FF2B5EF4-FFF2-40B4-BE49-F238E27FC236}">
                        <a16:creationId xmlns:a16="http://schemas.microsoft.com/office/drawing/2014/main" xmlns="" id="{3AC993C4-17AE-4182-A9C4-100529461E25}"/>
                      </a:ext>
                    </a:extLst>
                  </p:cNvPr>
                  <p:cNvSpPr>
                    <a:spLocks/>
                  </p:cNvSpPr>
                  <p:nvPr/>
                </p:nvSpPr>
                <p:spPr bwMode="gray">
                  <a:xfrm>
                    <a:off x="4235113" y="3098700"/>
                    <a:ext cx="4450" cy="4450"/>
                  </a:xfrm>
                  <a:custGeom>
                    <a:avLst/>
                    <a:gdLst>
                      <a:gd name="T0" fmla="*/ 2147483647 w 4"/>
                      <a:gd name="T1" fmla="*/ 0 h 4"/>
                      <a:gd name="T2" fmla="*/ 2147483647 w 4"/>
                      <a:gd name="T3" fmla="*/ 0 h 4"/>
                      <a:gd name="T4" fmla="*/ 0 w 4"/>
                      <a:gd name="T5" fmla="*/ 2147483647 h 4"/>
                      <a:gd name="T6" fmla="*/ 2147483647 w 4"/>
                      <a:gd name="T7" fmla="*/ 2147483647 h 4"/>
                      <a:gd name="T8" fmla="*/ 2147483647 w 4"/>
                      <a:gd name="T9" fmla="*/ 2147483647 h 4"/>
                      <a:gd name="T10" fmla="*/ 2147483647 w 4"/>
                      <a:gd name="T11" fmla="*/ 2147483647 h 4"/>
                      <a:gd name="T12" fmla="*/ 2147483647 w 4"/>
                      <a:gd name="T13" fmla="*/ 0 h 4"/>
                      <a:gd name="T14" fmla="*/ 2147483647 w 4"/>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4" y="0"/>
                        </a:moveTo>
                        <a:lnTo>
                          <a:pt x="1" y="0"/>
                        </a:lnTo>
                        <a:lnTo>
                          <a:pt x="0" y="1"/>
                        </a:lnTo>
                        <a:lnTo>
                          <a:pt x="1" y="2"/>
                        </a:lnTo>
                        <a:lnTo>
                          <a:pt x="4" y="4"/>
                        </a:lnTo>
                        <a:lnTo>
                          <a:pt x="4" y="1"/>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09" name="Freeform 1819">
                    <a:extLst>
                      <a:ext uri="{FF2B5EF4-FFF2-40B4-BE49-F238E27FC236}">
                        <a16:creationId xmlns:a16="http://schemas.microsoft.com/office/drawing/2014/main" xmlns="" id="{6769B7E5-A640-401A-8167-3DF856B87ED9}"/>
                      </a:ext>
                    </a:extLst>
                  </p:cNvPr>
                  <p:cNvSpPr>
                    <a:spLocks/>
                  </p:cNvSpPr>
                  <p:nvPr/>
                </p:nvSpPr>
                <p:spPr bwMode="gray">
                  <a:xfrm>
                    <a:off x="4230663" y="3095361"/>
                    <a:ext cx="8900" cy="3337"/>
                  </a:xfrm>
                  <a:custGeom>
                    <a:avLst/>
                    <a:gdLst>
                      <a:gd name="T0" fmla="*/ 2147483647 w 8"/>
                      <a:gd name="T1" fmla="*/ 0 h 3"/>
                      <a:gd name="T2" fmla="*/ 2147483647 w 8"/>
                      <a:gd name="T3" fmla="*/ 0 h 3"/>
                      <a:gd name="T4" fmla="*/ 2147483647 w 8"/>
                      <a:gd name="T5" fmla="*/ 0 h 3"/>
                      <a:gd name="T6" fmla="*/ 2147483647 w 8"/>
                      <a:gd name="T7" fmla="*/ 0 h 3"/>
                      <a:gd name="T8" fmla="*/ 0 w 8"/>
                      <a:gd name="T9" fmla="*/ 0 h 3"/>
                      <a:gd name="T10" fmla="*/ 2147483647 w 8"/>
                      <a:gd name="T11" fmla="*/ 0 h 3"/>
                      <a:gd name="T12" fmla="*/ 2147483647 w 8"/>
                      <a:gd name="T13" fmla="*/ 0 h 3"/>
                      <a:gd name="T14" fmla="*/ 2147483647 w 8"/>
                      <a:gd name="T15" fmla="*/ 0 h 3"/>
                      <a:gd name="T16" fmla="*/ 2147483647 w 8"/>
                      <a:gd name="T17" fmla="*/ 0 h 3"/>
                      <a:gd name="T18" fmla="*/ 2147483647 w 8"/>
                      <a:gd name="T19" fmla="*/ 2147483647 h 3"/>
                      <a:gd name="T20" fmla="*/ 2147483647 w 8"/>
                      <a:gd name="T21" fmla="*/ 2147483647 h 3"/>
                      <a:gd name="T22" fmla="*/ 2147483647 w 8"/>
                      <a:gd name="T23" fmla="*/ 2147483647 h 3"/>
                      <a:gd name="T24" fmla="*/ 2147483647 w 8"/>
                      <a:gd name="T25" fmla="*/ 0 h 3"/>
                      <a:gd name="T26" fmla="*/ 2147483647 w 8"/>
                      <a:gd name="T27" fmla="*/ 0 h 3"/>
                      <a:gd name="T28" fmla="*/ 2147483647 w 8"/>
                      <a:gd name="T29" fmla="*/ 0 h 3"/>
                      <a:gd name="T30" fmla="*/ 2147483647 w 8"/>
                      <a:gd name="T31" fmla="*/ 0 h 3"/>
                      <a:gd name="T32" fmla="*/ 2147483647 w 8"/>
                      <a:gd name="T33" fmla="*/ 0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 h="3">
                        <a:moveTo>
                          <a:pt x="5" y="0"/>
                        </a:moveTo>
                        <a:lnTo>
                          <a:pt x="4" y="0"/>
                        </a:lnTo>
                        <a:lnTo>
                          <a:pt x="3" y="0"/>
                        </a:lnTo>
                        <a:lnTo>
                          <a:pt x="2" y="0"/>
                        </a:lnTo>
                        <a:lnTo>
                          <a:pt x="0" y="0"/>
                        </a:lnTo>
                        <a:lnTo>
                          <a:pt x="3" y="0"/>
                        </a:lnTo>
                        <a:lnTo>
                          <a:pt x="5" y="0"/>
                        </a:lnTo>
                        <a:lnTo>
                          <a:pt x="5" y="3"/>
                        </a:lnTo>
                        <a:lnTo>
                          <a:pt x="6" y="2"/>
                        </a:lnTo>
                        <a:lnTo>
                          <a:pt x="7" y="0"/>
                        </a:lnTo>
                        <a:lnTo>
                          <a:pt x="8" y="0"/>
                        </a:lnTo>
                        <a:lnTo>
                          <a:pt x="6" y="0"/>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0" name="Freeform 2023">
                    <a:extLst>
                      <a:ext uri="{FF2B5EF4-FFF2-40B4-BE49-F238E27FC236}">
                        <a16:creationId xmlns:a16="http://schemas.microsoft.com/office/drawing/2014/main" xmlns="" id="{0FA49A5A-0C9E-4124-9AA3-B76507C4553F}"/>
                      </a:ext>
                    </a:extLst>
                  </p:cNvPr>
                  <p:cNvSpPr>
                    <a:spLocks/>
                  </p:cNvSpPr>
                  <p:nvPr/>
                </p:nvSpPr>
                <p:spPr bwMode="gray">
                  <a:xfrm>
                    <a:off x="5308701" y="4463426"/>
                    <a:ext cx="2225" cy="3337"/>
                  </a:xfrm>
                  <a:custGeom>
                    <a:avLst/>
                    <a:gdLst>
                      <a:gd name="T0" fmla="*/ 0 w 2"/>
                      <a:gd name="T1" fmla="*/ 0 h 3"/>
                      <a:gd name="T2" fmla="*/ 0 w 2"/>
                      <a:gd name="T3" fmla="*/ 2147483647 h 3"/>
                      <a:gd name="T4" fmla="*/ 0 w 2"/>
                      <a:gd name="T5" fmla="*/ 2147483647 h 3"/>
                      <a:gd name="T6" fmla="*/ 0 w 2"/>
                      <a:gd name="T7" fmla="*/ 2147483647 h 3"/>
                      <a:gd name="T8" fmla="*/ 0 w 2"/>
                      <a:gd name="T9" fmla="*/ 2147483647 h 3"/>
                      <a:gd name="T10" fmla="*/ 2147483647 w 2"/>
                      <a:gd name="T11" fmla="*/ 2147483647 h 3"/>
                      <a:gd name="T12" fmla="*/ 2147483647 w 2"/>
                      <a:gd name="T13" fmla="*/ 2147483647 h 3"/>
                      <a:gd name="T14" fmla="*/ 2147483647 w 2"/>
                      <a:gd name="T15" fmla="*/ 2147483647 h 3"/>
                      <a:gd name="T16" fmla="*/ 0 w 2"/>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3">
                        <a:moveTo>
                          <a:pt x="0" y="0"/>
                        </a:moveTo>
                        <a:lnTo>
                          <a:pt x="0" y="1"/>
                        </a:lnTo>
                        <a:lnTo>
                          <a:pt x="0" y="2"/>
                        </a:lnTo>
                        <a:lnTo>
                          <a:pt x="0" y="3"/>
                        </a:lnTo>
                        <a:lnTo>
                          <a:pt x="1" y="3"/>
                        </a:lnTo>
                        <a:lnTo>
                          <a:pt x="2" y="2"/>
                        </a:lnTo>
                        <a:lnTo>
                          <a:pt x="1"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1" name="Freeform 2025">
                    <a:extLst>
                      <a:ext uri="{FF2B5EF4-FFF2-40B4-BE49-F238E27FC236}">
                        <a16:creationId xmlns:a16="http://schemas.microsoft.com/office/drawing/2014/main" xmlns="" id="{ED4B9366-446B-424D-9DD2-0A99333CB3B0}"/>
                      </a:ext>
                    </a:extLst>
                  </p:cNvPr>
                  <p:cNvSpPr>
                    <a:spLocks/>
                  </p:cNvSpPr>
                  <p:nvPr/>
                </p:nvSpPr>
                <p:spPr bwMode="gray">
                  <a:xfrm>
                    <a:off x="5349863" y="4460088"/>
                    <a:ext cx="10013" cy="3337"/>
                  </a:xfrm>
                  <a:custGeom>
                    <a:avLst/>
                    <a:gdLst>
                      <a:gd name="T0" fmla="*/ 2147483647 w 9"/>
                      <a:gd name="T1" fmla="*/ 0 h 3"/>
                      <a:gd name="T2" fmla="*/ 2147483647 w 9"/>
                      <a:gd name="T3" fmla="*/ 0 h 3"/>
                      <a:gd name="T4" fmla="*/ 2147483647 w 9"/>
                      <a:gd name="T5" fmla="*/ 2147483647 h 3"/>
                      <a:gd name="T6" fmla="*/ 2147483647 w 9"/>
                      <a:gd name="T7" fmla="*/ 2147483647 h 3"/>
                      <a:gd name="T8" fmla="*/ 0 w 9"/>
                      <a:gd name="T9" fmla="*/ 2147483647 h 3"/>
                      <a:gd name="T10" fmla="*/ 2147483647 w 9"/>
                      <a:gd name="T11" fmla="*/ 2147483647 h 3"/>
                      <a:gd name="T12" fmla="*/ 2147483647 w 9"/>
                      <a:gd name="T13" fmla="*/ 2147483647 h 3"/>
                      <a:gd name="T14" fmla="*/ 2147483647 w 9"/>
                      <a:gd name="T15" fmla="*/ 2147483647 h 3"/>
                      <a:gd name="T16" fmla="*/ 2147483647 w 9"/>
                      <a:gd name="T17" fmla="*/ 2147483647 h 3"/>
                      <a:gd name="T18" fmla="*/ 2147483647 w 9"/>
                      <a:gd name="T19" fmla="*/ 2147483647 h 3"/>
                      <a:gd name="T20" fmla="*/ 2147483647 w 9"/>
                      <a:gd name="T21" fmla="*/ 2147483647 h 3"/>
                      <a:gd name="T22" fmla="*/ 2147483647 w 9"/>
                      <a:gd name="T23" fmla="*/ 2147483647 h 3"/>
                      <a:gd name="T24" fmla="*/ 2147483647 w 9"/>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 h="3">
                        <a:moveTo>
                          <a:pt x="5" y="0"/>
                        </a:moveTo>
                        <a:lnTo>
                          <a:pt x="4" y="0"/>
                        </a:lnTo>
                        <a:lnTo>
                          <a:pt x="3" y="2"/>
                        </a:lnTo>
                        <a:lnTo>
                          <a:pt x="2" y="3"/>
                        </a:lnTo>
                        <a:lnTo>
                          <a:pt x="0" y="3"/>
                        </a:lnTo>
                        <a:lnTo>
                          <a:pt x="2" y="3"/>
                        </a:lnTo>
                        <a:lnTo>
                          <a:pt x="3" y="3"/>
                        </a:lnTo>
                        <a:lnTo>
                          <a:pt x="4" y="3"/>
                        </a:lnTo>
                        <a:lnTo>
                          <a:pt x="5" y="3"/>
                        </a:lnTo>
                        <a:lnTo>
                          <a:pt x="8" y="3"/>
                        </a:lnTo>
                        <a:lnTo>
                          <a:pt x="9" y="3"/>
                        </a:lnTo>
                        <a:lnTo>
                          <a:pt x="7" y="2"/>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2" name="Freeform 2027">
                    <a:extLst>
                      <a:ext uri="{FF2B5EF4-FFF2-40B4-BE49-F238E27FC236}">
                        <a16:creationId xmlns:a16="http://schemas.microsoft.com/office/drawing/2014/main" xmlns="" id="{28FD6707-E64C-4813-95B3-DB6D934B62EC}"/>
                      </a:ext>
                    </a:extLst>
                  </p:cNvPr>
                  <p:cNvSpPr>
                    <a:spLocks/>
                  </p:cNvSpPr>
                  <p:nvPr/>
                </p:nvSpPr>
                <p:spPr bwMode="gray">
                  <a:xfrm>
                    <a:off x="5319825" y="4460088"/>
                    <a:ext cx="3338" cy="3337"/>
                  </a:xfrm>
                  <a:custGeom>
                    <a:avLst/>
                    <a:gdLst>
                      <a:gd name="T0" fmla="*/ 2147483647 w 3"/>
                      <a:gd name="T1" fmla="*/ 0 h 3"/>
                      <a:gd name="T2" fmla="*/ 2147483647 w 3"/>
                      <a:gd name="T3" fmla="*/ 0 h 3"/>
                      <a:gd name="T4" fmla="*/ 0 w 3"/>
                      <a:gd name="T5" fmla="*/ 2147483647 h 3"/>
                      <a:gd name="T6" fmla="*/ 2147483647 w 3"/>
                      <a:gd name="T7" fmla="*/ 2147483647 h 3"/>
                      <a:gd name="T8" fmla="*/ 2147483647 w 3"/>
                      <a:gd name="T9" fmla="*/ 2147483647 h 3"/>
                      <a:gd name="T10" fmla="*/ 2147483647 w 3"/>
                      <a:gd name="T11" fmla="*/ 2147483647 h 3"/>
                      <a:gd name="T12" fmla="*/ 2147483647 w 3"/>
                      <a:gd name="T13" fmla="*/ 0 h 3"/>
                      <a:gd name="T14" fmla="*/ 2147483647 w 3"/>
                      <a:gd name="T15" fmla="*/ 0 h 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3">
                        <a:moveTo>
                          <a:pt x="3" y="0"/>
                        </a:moveTo>
                        <a:lnTo>
                          <a:pt x="1" y="0"/>
                        </a:lnTo>
                        <a:lnTo>
                          <a:pt x="0" y="2"/>
                        </a:lnTo>
                        <a:lnTo>
                          <a:pt x="1" y="3"/>
                        </a:lnTo>
                        <a:lnTo>
                          <a:pt x="3" y="3"/>
                        </a:lnTo>
                        <a:lnTo>
                          <a:pt x="3"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3" name="Freeform 2029">
                    <a:extLst>
                      <a:ext uri="{FF2B5EF4-FFF2-40B4-BE49-F238E27FC236}">
                        <a16:creationId xmlns:a16="http://schemas.microsoft.com/office/drawing/2014/main" xmlns="" id="{704E6817-C963-4E7D-9E7F-479365F19BB9}"/>
                      </a:ext>
                    </a:extLst>
                  </p:cNvPr>
                  <p:cNvSpPr>
                    <a:spLocks/>
                  </p:cNvSpPr>
                  <p:nvPr/>
                </p:nvSpPr>
                <p:spPr bwMode="gray">
                  <a:xfrm>
                    <a:off x="5314263" y="4460088"/>
                    <a:ext cx="5563" cy="11125"/>
                  </a:xfrm>
                  <a:custGeom>
                    <a:avLst/>
                    <a:gdLst>
                      <a:gd name="T0" fmla="*/ 2147483647 w 5"/>
                      <a:gd name="T1" fmla="*/ 0 h 10"/>
                      <a:gd name="T2" fmla="*/ 2147483647 w 5"/>
                      <a:gd name="T3" fmla="*/ 0 h 10"/>
                      <a:gd name="T4" fmla="*/ 2147483647 w 5"/>
                      <a:gd name="T5" fmla="*/ 0 h 10"/>
                      <a:gd name="T6" fmla="*/ 2147483647 w 5"/>
                      <a:gd name="T7" fmla="*/ 2147483647 h 10"/>
                      <a:gd name="T8" fmla="*/ 2147483647 w 5"/>
                      <a:gd name="T9" fmla="*/ 2147483647 h 10"/>
                      <a:gd name="T10" fmla="*/ 2147483647 w 5"/>
                      <a:gd name="T11" fmla="*/ 2147483647 h 10"/>
                      <a:gd name="T12" fmla="*/ 2147483647 w 5"/>
                      <a:gd name="T13" fmla="*/ 2147483647 h 10"/>
                      <a:gd name="T14" fmla="*/ 0 w 5"/>
                      <a:gd name="T15" fmla="*/ 2147483647 h 10"/>
                      <a:gd name="T16" fmla="*/ 0 w 5"/>
                      <a:gd name="T17" fmla="*/ 2147483647 h 10"/>
                      <a:gd name="T18" fmla="*/ 2147483647 w 5"/>
                      <a:gd name="T19" fmla="*/ 2147483647 h 10"/>
                      <a:gd name="T20" fmla="*/ 2147483647 w 5"/>
                      <a:gd name="T21" fmla="*/ 2147483647 h 10"/>
                      <a:gd name="T22" fmla="*/ 2147483647 w 5"/>
                      <a:gd name="T23" fmla="*/ 2147483647 h 10"/>
                      <a:gd name="T24" fmla="*/ 2147483647 w 5"/>
                      <a:gd name="T25" fmla="*/ 2147483647 h 10"/>
                      <a:gd name="T26" fmla="*/ 2147483647 w 5"/>
                      <a:gd name="T27" fmla="*/ 2147483647 h 10"/>
                      <a:gd name="T28" fmla="*/ 2147483647 w 5"/>
                      <a:gd name="T29" fmla="*/ 2147483647 h 10"/>
                      <a:gd name="T30" fmla="*/ 2147483647 w 5"/>
                      <a:gd name="T31" fmla="*/ 2147483647 h 10"/>
                      <a:gd name="T32" fmla="*/ 2147483647 w 5"/>
                      <a:gd name="T33" fmla="*/ 0 h 10"/>
                      <a:gd name="T34" fmla="*/ 2147483647 w 5"/>
                      <a:gd name="T35" fmla="*/ 0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10">
                        <a:moveTo>
                          <a:pt x="1" y="0"/>
                        </a:moveTo>
                        <a:lnTo>
                          <a:pt x="1" y="0"/>
                        </a:lnTo>
                        <a:lnTo>
                          <a:pt x="1" y="2"/>
                        </a:lnTo>
                        <a:lnTo>
                          <a:pt x="2" y="3"/>
                        </a:lnTo>
                        <a:lnTo>
                          <a:pt x="4" y="3"/>
                        </a:lnTo>
                        <a:lnTo>
                          <a:pt x="1" y="3"/>
                        </a:lnTo>
                        <a:lnTo>
                          <a:pt x="0" y="4"/>
                        </a:lnTo>
                        <a:lnTo>
                          <a:pt x="0" y="6"/>
                        </a:lnTo>
                        <a:lnTo>
                          <a:pt x="1" y="10"/>
                        </a:lnTo>
                        <a:lnTo>
                          <a:pt x="1" y="7"/>
                        </a:lnTo>
                        <a:lnTo>
                          <a:pt x="3" y="5"/>
                        </a:lnTo>
                        <a:lnTo>
                          <a:pt x="4" y="4"/>
                        </a:lnTo>
                        <a:lnTo>
                          <a:pt x="4" y="3"/>
                        </a:lnTo>
                        <a:lnTo>
                          <a:pt x="5" y="3"/>
                        </a:lnTo>
                        <a:lnTo>
                          <a:pt x="4" y="2"/>
                        </a:lnTo>
                        <a:lnTo>
                          <a:pt x="2"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4" name="Freeform 2031">
                    <a:extLst>
                      <a:ext uri="{FF2B5EF4-FFF2-40B4-BE49-F238E27FC236}">
                        <a16:creationId xmlns:a16="http://schemas.microsoft.com/office/drawing/2014/main" xmlns="" id="{E7D7BF17-2005-4D64-BB99-1E47D1322F0B}"/>
                      </a:ext>
                    </a:extLst>
                  </p:cNvPr>
                  <p:cNvSpPr>
                    <a:spLocks/>
                  </p:cNvSpPr>
                  <p:nvPr/>
                </p:nvSpPr>
                <p:spPr bwMode="gray">
                  <a:xfrm>
                    <a:off x="5172976" y="4460088"/>
                    <a:ext cx="10013" cy="11125"/>
                  </a:xfrm>
                  <a:custGeom>
                    <a:avLst/>
                    <a:gdLst>
                      <a:gd name="T0" fmla="*/ 2147483647 w 9"/>
                      <a:gd name="T1" fmla="*/ 0 h 10"/>
                      <a:gd name="T2" fmla="*/ 2147483647 w 9"/>
                      <a:gd name="T3" fmla="*/ 0 h 10"/>
                      <a:gd name="T4" fmla="*/ 2147483647 w 9"/>
                      <a:gd name="T5" fmla="*/ 2147483647 h 10"/>
                      <a:gd name="T6" fmla="*/ 0 w 9"/>
                      <a:gd name="T7" fmla="*/ 2147483647 h 10"/>
                      <a:gd name="T8" fmla="*/ 0 w 9"/>
                      <a:gd name="T9" fmla="*/ 2147483647 h 10"/>
                      <a:gd name="T10" fmla="*/ 0 w 9"/>
                      <a:gd name="T11" fmla="*/ 2147483647 h 10"/>
                      <a:gd name="T12" fmla="*/ 2147483647 w 9"/>
                      <a:gd name="T13" fmla="*/ 2147483647 h 10"/>
                      <a:gd name="T14" fmla="*/ 2147483647 w 9"/>
                      <a:gd name="T15" fmla="*/ 2147483647 h 10"/>
                      <a:gd name="T16" fmla="*/ 2147483647 w 9"/>
                      <a:gd name="T17" fmla="*/ 2147483647 h 10"/>
                      <a:gd name="T18" fmla="*/ 2147483647 w 9"/>
                      <a:gd name="T19" fmla="*/ 2147483647 h 10"/>
                      <a:gd name="T20" fmla="*/ 2147483647 w 9"/>
                      <a:gd name="T21" fmla="*/ 2147483647 h 10"/>
                      <a:gd name="T22" fmla="*/ 2147483647 w 9"/>
                      <a:gd name="T23" fmla="*/ 2147483647 h 10"/>
                      <a:gd name="T24" fmla="*/ 2147483647 w 9"/>
                      <a:gd name="T25" fmla="*/ 2147483647 h 10"/>
                      <a:gd name="T26" fmla="*/ 2147483647 w 9"/>
                      <a:gd name="T27" fmla="*/ 2147483647 h 10"/>
                      <a:gd name="T28" fmla="*/ 2147483647 w 9"/>
                      <a:gd name="T29" fmla="*/ 2147483647 h 10"/>
                      <a:gd name="T30" fmla="*/ 2147483647 w 9"/>
                      <a:gd name="T31" fmla="*/ 2147483647 h 10"/>
                      <a:gd name="T32" fmla="*/ 2147483647 w 9"/>
                      <a:gd name="T33" fmla="*/ 2147483647 h 10"/>
                      <a:gd name="T34" fmla="*/ 2147483647 w 9"/>
                      <a:gd name="T35" fmla="*/ 2147483647 h 10"/>
                      <a:gd name="T36" fmla="*/ 2147483647 w 9"/>
                      <a:gd name="T37" fmla="*/ 2147483647 h 10"/>
                      <a:gd name="T38" fmla="*/ 2147483647 w 9"/>
                      <a:gd name="T39" fmla="*/ 2147483647 h 10"/>
                      <a:gd name="T40" fmla="*/ 2147483647 w 9"/>
                      <a:gd name="T41" fmla="*/ 2147483647 h 10"/>
                      <a:gd name="T42" fmla="*/ 2147483647 w 9"/>
                      <a:gd name="T43" fmla="*/ 2147483647 h 10"/>
                      <a:gd name="T44" fmla="*/ 2147483647 w 9"/>
                      <a:gd name="T45" fmla="*/ 2147483647 h 10"/>
                      <a:gd name="T46" fmla="*/ 2147483647 w 9"/>
                      <a:gd name="T47" fmla="*/ 0 h 10"/>
                      <a:gd name="T48" fmla="*/ 2147483647 w 9"/>
                      <a:gd name="T49" fmla="*/ 0 h 10"/>
                      <a:gd name="T50" fmla="*/ 2147483647 w 9"/>
                      <a:gd name="T51" fmla="*/ 0 h 10"/>
                      <a:gd name="T52" fmla="*/ 2147483647 w 9"/>
                      <a:gd name="T53" fmla="*/ 0 h 10"/>
                      <a:gd name="T54" fmla="*/ 2147483647 w 9"/>
                      <a:gd name="T55" fmla="*/ 0 h 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9" h="10">
                        <a:moveTo>
                          <a:pt x="3" y="0"/>
                        </a:moveTo>
                        <a:lnTo>
                          <a:pt x="3" y="0"/>
                        </a:lnTo>
                        <a:lnTo>
                          <a:pt x="1" y="2"/>
                        </a:lnTo>
                        <a:lnTo>
                          <a:pt x="0" y="3"/>
                        </a:lnTo>
                        <a:lnTo>
                          <a:pt x="0" y="5"/>
                        </a:lnTo>
                        <a:lnTo>
                          <a:pt x="1" y="6"/>
                        </a:lnTo>
                        <a:lnTo>
                          <a:pt x="3" y="6"/>
                        </a:lnTo>
                        <a:lnTo>
                          <a:pt x="3" y="7"/>
                        </a:lnTo>
                        <a:lnTo>
                          <a:pt x="3" y="8"/>
                        </a:lnTo>
                        <a:lnTo>
                          <a:pt x="3" y="9"/>
                        </a:lnTo>
                        <a:lnTo>
                          <a:pt x="3" y="10"/>
                        </a:lnTo>
                        <a:lnTo>
                          <a:pt x="4" y="10"/>
                        </a:lnTo>
                        <a:lnTo>
                          <a:pt x="5" y="10"/>
                        </a:lnTo>
                        <a:lnTo>
                          <a:pt x="6" y="9"/>
                        </a:lnTo>
                        <a:lnTo>
                          <a:pt x="7" y="8"/>
                        </a:lnTo>
                        <a:lnTo>
                          <a:pt x="8" y="7"/>
                        </a:lnTo>
                        <a:lnTo>
                          <a:pt x="9" y="6"/>
                        </a:lnTo>
                        <a:lnTo>
                          <a:pt x="9" y="5"/>
                        </a:lnTo>
                        <a:lnTo>
                          <a:pt x="9" y="3"/>
                        </a:lnTo>
                        <a:lnTo>
                          <a:pt x="9" y="2"/>
                        </a:lnTo>
                        <a:lnTo>
                          <a:pt x="9" y="0"/>
                        </a:lnTo>
                        <a:lnTo>
                          <a:pt x="7" y="0"/>
                        </a:lnTo>
                        <a:lnTo>
                          <a:pt x="5" y="0"/>
                        </a:lnTo>
                        <a:lnTo>
                          <a:pt x="4"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5" name="Freeform 2033">
                    <a:extLst>
                      <a:ext uri="{FF2B5EF4-FFF2-40B4-BE49-F238E27FC236}">
                        <a16:creationId xmlns:a16="http://schemas.microsoft.com/office/drawing/2014/main" xmlns="" id="{60E7FE7B-264C-4FBE-8DD2-A40E6A2130F4}"/>
                      </a:ext>
                    </a:extLst>
                  </p:cNvPr>
                  <p:cNvSpPr>
                    <a:spLocks/>
                  </p:cNvSpPr>
                  <p:nvPr/>
                </p:nvSpPr>
                <p:spPr bwMode="gray">
                  <a:xfrm>
                    <a:off x="5215251" y="4460088"/>
                    <a:ext cx="21137" cy="11125"/>
                  </a:xfrm>
                  <a:custGeom>
                    <a:avLst/>
                    <a:gdLst>
                      <a:gd name="T0" fmla="*/ 2147483647 w 19"/>
                      <a:gd name="T1" fmla="*/ 0 h 10"/>
                      <a:gd name="T2" fmla="*/ 2147483647 w 19"/>
                      <a:gd name="T3" fmla="*/ 0 h 10"/>
                      <a:gd name="T4" fmla="*/ 2147483647 w 19"/>
                      <a:gd name="T5" fmla="*/ 0 h 10"/>
                      <a:gd name="T6" fmla="*/ 0 w 19"/>
                      <a:gd name="T7" fmla="*/ 0 h 10"/>
                      <a:gd name="T8" fmla="*/ 0 w 19"/>
                      <a:gd name="T9" fmla="*/ 0 h 10"/>
                      <a:gd name="T10" fmla="*/ 2147483647 w 19"/>
                      <a:gd name="T11" fmla="*/ 2147483647 h 10"/>
                      <a:gd name="T12" fmla="*/ 2147483647 w 19"/>
                      <a:gd name="T13" fmla="*/ 2147483647 h 10"/>
                      <a:gd name="T14" fmla="*/ 2147483647 w 19"/>
                      <a:gd name="T15" fmla="*/ 2147483647 h 10"/>
                      <a:gd name="T16" fmla="*/ 2147483647 w 19"/>
                      <a:gd name="T17" fmla="*/ 2147483647 h 10"/>
                      <a:gd name="T18" fmla="*/ 2147483647 w 19"/>
                      <a:gd name="T19" fmla="*/ 2147483647 h 10"/>
                      <a:gd name="T20" fmla="*/ 2147483647 w 19"/>
                      <a:gd name="T21" fmla="*/ 2147483647 h 10"/>
                      <a:gd name="T22" fmla="*/ 2147483647 w 19"/>
                      <a:gd name="T23" fmla="*/ 2147483647 h 10"/>
                      <a:gd name="T24" fmla="*/ 2147483647 w 19"/>
                      <a:gd name="T25" fmla="*/ 2147483647 h 10"/>
                      <a:gd name="T26" fmla="*/ 2147483647 w 19"/>
                      <a:gd name="T27" fmla="*/ 2147483647 h 10"/>
                      <a:gd name="T28" fmla="*/ 2147483647 w 19"/>
                      <a:gd name="T29" fmla="*/ 0 h 10"/>
                      <a:gd name="T30" fmla="*/ 2147483647 w 19"/>
                      <a:gd name="T31" fmla="*/ 0 h 10"/>
                      <a:gd name="T32" fmla="*/ 2147483647 w 19"/>
                      <a:gd name="T33" fmla="*/ 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9" h="10">
                        <a:moveTo>
                          <a:pt x="3" y="0"/>
                        </a:moveTo>
                        <a:lnTo>
                          <a:pt x="3" y="0"/>
                        </a:lnTo>
                        <a:lnTo>
                          <a:pt x="2" y="0"/>
                        </a:lnTo>
                        <a:lnTo>
                          <a:pt x="0" y="0"/>
                        </a:lnTo>
                        <a:lnTo>
                          <a:pt x="4" y="3"/>
                        </a:lnTo>
                        <a:lnTo>
                          <a:pt x="7" y="6"/>
                        </a:lnTo>
                        <a:lnTo>
                          <a:pt x="12" y="9"/>
                        </a:lnTo>
                        <a:lnTo>
                          <a:pt x="16" y="10"/>
                        </a:lnTo>
                        <a:lnTo>
                          <a:pt x="19" y="3"/>
                        </a:lnTo>
                        <a:lnTo>
                          <a:pt x="18" y="3"/>
                        </a:lnTo>
                        <a:lnTo>
                          <a:pt x="15" y="2"/>
                        </a:lnTo>
                        <a:lnTo>
                          <a:pt x="12" y="2"/>
                        </a:lnTo>
                        <a:lnTo>
                          <a:pt x="6" y="0"/>
                        </a:lnTo>
                        <a:lnTo>
                          <a:pt x="4"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6" name="Freeform 2035">
                    <a:extLst>
                      <a:ext uri="{FF2B5EF4-FFF2-40B4-BE49-F238E27FC236}">
                        <a16:creationId xmlns:a16="http://schemas.microsoft.com/office/drawing/2014/main" xmlns="" id="{797B5B72-1737-4C04-9D47-9811B9397AD3}"/>
                      </a:ext>
                    </a:extLst>
                  </p:cNvPr>
                  <p:cNvSpPr>
                    <a:spLocks/>
                  </p:cNvSpPr>
                  <p:nvPr/>
                </p:nvSpPr>
                <p:spPr bwMode="gray">
                  <a:xfrm>
                    <a:off x="5284225" y="4450077"/>
                    <a:ext cx="24475" cy="16686"/>
                  </a:xfrm>
                  <a:custGeom>
                    <a:avLst/>
                    <a:gdLst>
                      <a:gd name="T0" fmla="*/ 2147483647 w 22"/>
                      <a:gd name="T1" fmla="*/ 0 h 15"/>
                      <a:gd name="T2" fmla="*/ 2147483647 w 22"/>
                      <a:gd name="T3" fmla="*/ 0 h 15"/>
                      <a:gd name="T4" fmla="*/ 2147483647 w 22"/>
                      <a:gd name="T5" fmla="*/ 2147483647 h 15"/>
                      <a:gd name="T6" fmla="*/ 2147483647 w 22"/>
                      <a:gd name="T7" fmla="*/ 2147483647 h 15"/>
                      <a:gd name="T8" fmla="*/ 2147483647 w 22"/>
                      <a:gd name="T9" fmla="*/ 2147483647 h 15"/>
                      <a:gd name="T10" fmla="*/ 2147483647 w 22"/>
                      <a:gd name="T11" fmla="*/ 2147483647 h 15"/>
                      <a:gd name="T12" fmla="*/ 2147483647 w 22"/>
                      <a:gd name="T13" fmla="*/ 2147483647 h 15"/>
                      <a:gd name="T14" fmla="*/ 2147483647 w 22"/>
                      <a:gd name="T15" fmla="*/ 2147483647 h 15"/>
                      <a:gd name="T16" fmla="*/ 2147483647 w 22"/>
                      <a:gd name="T17" fmla="*/ 2147483647 h 15"/>
                      <a:gd name="T18" fmla="*/ 2147483647 w 22"/>
                      <a:gd name="T19" fmla="*/ 2147483647 h 15"/>
                      <a:gd name="T20" fmla="*/ 2147483647 w 22"/>
                      <a:gd name="T21" fmla="*/ 2147483647 h 15"/>
                      <a:gd name="T22" fmla="*/ 2147483647 w 22"/>
                      <a:gd name="T23" fmla="*/ 2147483647 h 15"/>
                      <a:gd name="T24" fmla="*/ 2147483647 w 22"/>
                      <a:gd name="T25" fmla="*/ 2147483647 h 15"/>
                      <a:gd name="T26" fmla="*/ 2147483647 w 22"/>
                      <a:gd name="T27" fmla="*/ 2147483647 h 15"/>
                      <a:gd name="T28" fmla="*/ 2147483647 w 22"/>
                      <a:gd name="T29" fmla="*/ 2147483647 h 15"/>
                      <a:gd name="T30" fmla="*/ 0 w 22"/>
                      <a:gd name="T31" fmla="*/ 2147483647 h 15"/>
                      <a:gd name="T32" fmla="*/ 0 w 22"/>
                      <a:gd name="T33" fmla="*/ 2147483647 h 15"/>
                      <a:gd name="T34" fmla="*/ 0 w 22"/>
                      <a:gd name="T35" fmla="*/ 2147483647 h 15"/>
                      <a:gd name="T36" fmla="*/ 2147483647 w 22"/>
                      <a:gd name="T37" fmla="*/ 2147483647 h 15"/>
                      <a:gd name="T38" fmla="*/ 2147483647 w 22"/>
                      <a:gd name="T39" fmla="*/ 2147483647 h 15"/>
                      <a:gd name="T40" fmla="*/ 2147483647 w 22"/>
                      <a:gd name="T41" fmla="*/ 2147483647 h 15"/>
                      <a:gd name="T42" fmla="*/ 2147483647 w 22"/>
                      <a:gd name="T43" fmla="*/ 2147483647 h 15"/>
                      <a:gd name="T44" fmla="*/ 2147483647 w 22"/>
                      <a:gd name="T45" fmla="*/ 2147483647 h 15"/>
                      <a:gd name="T46" fmla="*/ 2147483647 w 22"/>
                      <a:gd name="T47" fmla="*/ 2147483647 h 15"/>
                      <a:gd name="T48" fmla="*/ 2147483647 w 22"/>
                      <a:gd name="T49" fmla="*/ 2147483647 h 15"/>
                      <a:gd name="T50" fmla="*/ 2147483647 w 22"/>
                      <a:gd name="T51" fmla="*/ 2147483647 h 15"/>
                      <a:gd name="T52" fmla="*/ 2147483647 w 22"/>
                      <a:gd name="T53" fmla="*/ 2147483647 h 15"/>
                      <a:gd name="T54" fmla="*/ 2147483647 w 22"/>
                      <a:gd name="T55" fmla="*/ 2147483647 h 15"/>
                      <a:gd name="T56" fmla="*/ 2147483647 w 22"/>
                      <a:gd name="T57" fmla="*/ 2147483647 h 15"/>
                      <a:gd name="T58" fmla="*/ 2147483647 w 22"/>
                      <a:gd name="T59" fmla="*/ 2147483647 h 15"/>
                      <a:gd name="T60" fmla="*/ 2147483647 w 22"/>
                      <a:gd name="T61" fmla="*/ 2147483647 h 15"/>
                      <a:gd name="T62" fmla="*/ 2147483647 w 22"/>
                      <a:gd name="T63" fmla="*/ 2147483647 h 15"/>
                      <a:gd name="T64" fmla="*/ 2147483647 w 22"/>
                      <a:gd name="T65" fmla="*/ 0 h 15"/>
                      <a:gd name="T66" fmla="*/ 2147483647 w 22"/>
                      <a:gd name="T67" fmla="*/ 0 h 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 h="15">
                        <a:moveTo>
                          <a:pt x="19" y="0"/>
                        </a:moveTo>
                        <a:lnTo>
                          <a:pt x="19" y="0"/>
                        </a:lnTo>
                        <a:lnTo>
                          <a:pt x="18" y="1"/>
                        </a:lnTo>
                        <a:lnTo>
                          <a:pt x="13" y="3"/>
                        </a:lnTo>
                        <a:lnTo>
                          <a:pt x="9" y="5"/>
                        </a:lnTo>
                        <a:lnTo>
                          <a:pt x="7" y="6"/>
                        </a:lnTo>
                        <a:lnTo>
                          <a:pt x="6" y="6"/>
                        </a:lnTo>
                        <a:lnTo>
                          <a:pt x="6" y="7"/>
                        </a:lnTo>
                        <a:lnTo>
                          <a:pt x="6" y="8"/>
                        </a:lnTo>
                        <a:lnTo>
                          <a:pt x="6" y="9"/>
                        </a:lnTo>
                        <a:lnTo>
                          <a:pt x="5" y="9"/>
                        </a:lnTo>
                        <a:lnTo>
                          <a:pt x="4" y="9"/>
                        </a:lnTo>
                        <a:lnTo>
                          <a:pt x="3" y="9"/>
                        </a:lnTo>
                        <a:lnTo>
                          <a:pt x="1" y="11"/>
                        </a:lnTo>
                        <a:lnTo>
                          <a:pt x="0" y="12"/>
                        </a:lnTo>
                        <a:lnTo>
                          <a:pt x="0" y="14"/>
                        </a:lnTo>
                        <a:lnTo>
                          <a:pt x="0" y="15"/>
                        </a:lnTo>
                        <a:lnTo>
                          <a:pt x="6" y="14"/>
                        </a:lnTo>
                        <a:lnTo>
                          <a:pt x="11" y="12"/>
                        </a:lnTo>
                        <a:lnTo>
                          <a:pt x="15" y="11"/>
                        </a:lnTo>
                        <a:lnTo>
                          <a:pt x="19" y="9"/>
                        </a:lnTo>
                        <a:lnTo>
                          <a:pt x="19" y="8"/>
                        </a:lnTo>
                        <a:lnTo>
                          <a:pt x="21" y="7"/>
                        </a:lnTo>
                        <a:lnTo>
                          <a:pt x="22" y="7"/>
                        </a:lnTo>
                        <a:lnTo>
                          <a:pt x="22" y="6"/>
                        </a:lnTo>
                        <a:lnTo>
                          <a:pt x="22" y="5"/>
                        </a:lnTo>
                        <a:lnTo>
                          <a:pt x="22" y="4"/>
                        </a:lnTo>
                        <a:lnTo>
                          <a:pt x="22" y="3"/>
                        </a:lnTo>
                        <a:lnTo>
                          <a:pt x="21" y="1"/>
                        </a:lnTo>
                        <a:lnTo>
                          <a:pt x="1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7" name="Freeform 2037">
                    <a:extLst>
                      <a:ext uri="{FF2B5EF4-FFF2-40B4-BE49-F238E27FC236}">
                        <a16:creationId xmlns:a16="http://schemas.microsoft.com/office/drawing/2014/main" xmlns="" id="{E75A3B0B-DE2E-42CC-9840-D35B476A2EFD}"/>
                      </a:ext>
                    </a:extLst>
                  </p:cNvPr>
                  <p:cNvSpPr>
                    <a:spLocks/>
                  </p:cNvSpPr>
                  <p:nvPr/>
                </p:nvSpPr>
                <p:spPr bwMode="gray">
                  <a:xfrm>
                    <a:off x="5196339" y="4434503"/>
                    <a:ext cx="21137" cy="25586"/>
                  </a:xfrm>
                  <a:custGeom>
                    <a:avLst/>
                    <a:gdLst>
                      <a:gd name="T0" fmla="*/ 2147483647 w 19"/>
                      <a:gd name="T1" fmla="*/ 0 h 23"/>
                      <a:gd name="T2" fmla="*/ 2147483647 w 19"/>
                      <a:gd name="T3" fmla="*/ 2147483647 h 23"/>
                      <a:gd name="T4" fmla="*/ 2147483647 w 19"/>
                      <a:gd name="T5" fmla="*/ 2147483647 h 23"/>
                      <a:gd name="T6" fmla="*/ 2147483647 w 19"/>
                      <a:gd name="T7" fmla="*/ 2147483647 h 23"/>
                      <a:gd name="T8" fmla="*/ 0 w 19"/>
                      <a:gd name="T9" fmla="*/ 2147483647 h 23"/>
                      <a:gd name="T10" fmla="*/ 2147483647 w 19"/>
                      <a:gd name="T11" fmla="*/ 2147483647 h 23"/>
                      <a:gd name="T12" fmla="*/ 2147483647 w 19"/>
                      <a:gd name="T13" fmla="*/ 2147483647 h 23"/>
                      <a:gd name="T14" fmla="*/ 2147483647 w 19"/>
                      <a:gd name="T15" fmla="*/ 2147483647 h 23"/>
                      <a:gd name="T16" fmla="*/ 0 w 19"/>
                      <a:gd name="T17" fmla="*/ 2147483647 h 23"/>
                      <a:gd name="T18" fmla="*/ 2147483647 w 19"/>
                      <a:gd name="T19" fmla="*/ 2147483647 h 23"/>
                      <a:gd name="T20" fmla="*/ 2147483647 w 19"/>
                      <a:gd name="T21" fmla="*/ 2147483647 h 23"/>
                      <a:gd name="T22" fmla="*/ 2147483647 w 19"/>
                      <a:gd name="T23" fmla="*/ 2147483647 h 23"/>
                      <a:gd name="T24" fmla="*/ 2147483647 w 19"/>
                      <a:gd name="T25" fmla="*/ 2147483647 h 23"/>
                      <a:gd name="T26" fmla="*/ 2147483647 w 19"/>
                      <a:gd name="T27" fmla="*/ 2147483647 h 23"/>
                      <a:gd name="T28" fmla="*/ 2147483647 w 19"/>
                      <a:gd name="T29" fmla="*/ 2147483647 h 23"/>
                      <a:gd name="T30" fmla="*/ 2147483647 w 19"/>
                      <a:gd name="T31" fmla="*/ 2147483647 h 23"/>
                      <a:gd name="T32" fmla="*/ 2147483647 w 19"/>
                      <a:gd name="T33" fmla="*/ 2147483647 h 23"/>
                      <a:gd name="T34" fmla="*/ 2147483647 w 19"/>
                      <a:gd name="T35" fmla="*/ 2147483647 h 23"/>
                      <a:gd name="T36" fmla="*/ 2147483647 w 19"/>
                      <a:gd name="T37" fmla="*/ 2147483647 h 23"/>
                      <a:gd name="T38" fmla="*/ 2147483647 w 19"/>
                      <a:gd name="T39" fmla="*/ 2147483647 h 23"/>
                      <a:gd name="T40" fmla="*/ 2147483647 w 19"/>
                      <a:gd name="T41" fmla="*/ 2147483647 h 23"/>
                      <a:gd name="T42" fmla="*/ 2147483647 w 19"/>
                      <a:gd name="T43" fmla="*/ 2147483647 h 23"/>
                      <a:gd name="T44" fmla="*/ 2147483647 w 19"/>
                      <a:gd name="T45" fmla="*/ 2147483647 h 23"/>
                      <a:gd name="T46" fmla="*/ 2147483647 w 19"/>
                      <a:gd name="T47" fmla="*/ 2147483647 h 23"/>
                      <a:gd name="T48" fmla="*/ 2147483647 w 19"/>
                      <a:gd name="T49" fmla="*/ 2147483647 h 23"/>
                      <a:gd name="T50" fmla="*/ 2147483647 w 19"/>
                      <a:gd name="T51" fmla="*/ 2147483647 h 23"/>
                      <a:gd name="T52" fmla="*/ 2147483647 w 19"/>
                      <a:gd name="T53" fmla="*/ 2147483647 h 23"/>
                      <a:gd name="T54" fmla="*/ 2147483647 w 19"/>
                      <a:gd name="T55" fmla="*/ 2147483647 h 23"/>
                      <a:gd name="T56" fmla="*/ 2147483647 w 19"/>
                      <a:gd name="T57" fmla="*/ 2147483647 h 23"/>
                      <a:gd name="T58" fmla="*/ 2147483647 w 19"/>
                      <a:gd name="T59" fmla="*/ 2147483647 h 23"/>
                      <a:gd name="T60" fmla="*/ 2147483647 w 19"/>
                      <a:gd name="T61" fmla="*/ 2147483647 h 23"/>
                      <a:gd name="T62" fmla="*/ 2147483647 w 19"/>
                      <a:gd name="T63" fmla="*/ 2147483647 h 23"/>
                      <a:gd name="T64" fmla="*/ 2147483647 w 19"/>
                      <a:gd name="T65" fmla="*/ 2147483647 h 23"/>
                      <a:gd name="T66" fmla="*/ 2147483647 w 19"/>
                      <a:gd name="T67" fmla="*/ 2147483647 h 23"/>
                      <a:gd name="T68" fmla="*/ 2147483647 w 19"/>
                      <a:gd name="T69" fmla="*/ 2147483647 h 23"/>
                      <a:gd name="T70" fmla="*/ 2147483647 w 19"/>
                      <a:gd name="T71" fmla="*/ 2147483647 h 23"/>
                      <a:gd name="T72" fmla="*/ 2147483647 w 19"/>
                      <a:gd name="T73" fmla="*/ 2147483647 h 23"/>
                      <a:gd name="T74" fmla="*/ 2147483647 w 19"/>
                      <a:gd name="T75" fmla="*/ 2147483647 h 23"/>
                      <a:gd name="T76" fmla="*/ 2147483647 w 19"/>
                      <a:gd name="T77" fmla="*/ 0 h 23"/>
                      <a:gd name="T78" fmla="*/ 2147483647 w 19"/>
                      <a:gd name="T79" fmla="*/ 0 h 23"/>
                      <a:gd name="T80" fmla="*/ 2147483647 w 19"/>
                      <a:gd name="T81" fmla="*/ 0 h 23"/>
                      <a:gd name="T82" fmla="*/ 2147483647 w 19"/>
                      <a:gd name="T83" fmla="*/ 0 h 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9" h="23">
                        <a:moveTo>
                          <a:pt x="4" y="0"/>
                        </a:moveTo>
                        <a:lnTo>
                          <a:pt x="4" y="1"/>
                        </a:lnTo>
                        <a:lnTo>
                          <a:pt x="3" y="2"/>
                        </a:lnTo>
                        <a:lnTo>
                          <a:pt x="2" y="3"/>
                        </a:lnTo>
                        <a:lnTo>
                          <a:pt x="0" y="3"/>
                        </a:lnTo>
                        <a:lnTo>
                          <a:pt x="2" y="3"/>
                        </a:lnTo>
                        <a:lnTo>
                          <a:pt x="1" y="4"/>
                        </a:lnTo>
                        <a:lnTo>
                          <a:pt x="1" y="6"/>
                        </a:lnTo>
                        <a:lnTo>
                          <a:pt x="0" y="6"/>
                        </a:lnTo>
                        <a:lnTo>
                          <a:pt x="2" y="8"/>
                        </a:lnTo>
                        <a:lnTo>
                          <a:pt x="3" y="8"/>
                        </a:lnTo>
                        <a:lnTo>
                          <a:pt x="4" y="8"/>
                        </a:lnTo>
                        <a:lnTo>
                          <a:pt x="4" y="9"/>
                        </a:lnTo>
                        <a:lnTo>
                          <a:pt x="5" y="10"/>
                        </a:lnTo>
                        <a:lnTo>
                          <a:pt x="6" y="12"/>
                        </a:lnTo>
                        <a:lnTo>
                          <a:pt x="7" y="16"/>
                        </a:lnTo>
                        <a:lnTo>
                          <a:pt x="9" y="18"/>
                        </a:lnTo>
                        <a:lnTo>
                          <a:pt x="12" y="19"/>
                        </a:lnTo>
                        <a:lnTo>
                          <a:pt x="13" y="21"/>
                        </a:lnTo>
                        <a:lnTo>
                          <a:pt x="16" y="23"/>
                        </a:lnTo>
                        <a:lnTo>
                          <a:pt x="16" y="22"/>
                        </a:lnTo>
                        <a:lnTo>
                          <a:pt x="18" y="21"/>
                        </a:lnTo>
                        <a:lnTo>
                          <a:pt x="19" y="20"/>
                        </a:lnTo>
                        <a:lnTo>
                          <a:pt x="19" y="19"/>
                        </a:lnTo>
                        <a:lnTo>
                          <a:pt x="19" y="18"/>
                        </a:lnTo>
                        <a:lnTo>
                          <a:pt x="19" y="17"/>
                        </a:lnTo>
                        <a:lnTo>
                          <a:pt x="19" y="16"/>
                        </a:lnTo>
                        <a:lnTo>
                          <a:pt x="18" y="15"/>
                        </a:lnTo>
                        <a:lnTo>
                          <a:pt x="18" y="12"/>
                        </a:lnTo>
                        <a:lnTo>
                          <a:pt x="19" y="9"/>
                        </a:lnTo>
                        <a:lnTo>
                          <a:pt x="19" y="6"/>
                        </a:lnTo>
                        <a:lnTo>
                          <a:pt x="14" y="6"/>
                        </a:lnTo>
                        <a:lnTo>
                          <a:pt x="13" y="5"/>
                        </a:lnTo>
                        <a:lnTo>
                          <a:pt x="10" y="3"/>
                        </a:lnTo>
                        <a:lnTo>
                          <a:pt x="10" y="2"/>
                        </a:lnTo>
                        <a:lnTo>
                          <a:pt x="10" y="1"/>
                        </a:lnTo>
                        <a:lnTo>
                          <a:pt x="10" y="0"/>
                        </a:lnTo>
                        <a:lnTo>
                          <a:pt x="8"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8" name="Freeform 2039">
                    <a:extLst>
                      <a:ext uri="{FF2B5EF4-FFF2-40B4-BE49-F238E27FC236}">
                        <a16:creationId xmlns:a16="http://schemas.microsoft.com/office/drawing/2014/main" xmlns="" id="{EC49F1F0-B06B-408E-9A92-7600D477F26D}"/>
                      </a:ext>
                    </a:extLst>
                  </p:cNvPr>
                  <p:cNvSpPr>
                    <a:spLocks/>
                  </p:cNvSpPr>
                  <p:nvPr/>
                </p:nvSpPr>
                <p:spPr bwMode="gray">
                  <a:xfrm>
                    <a:off x="5255301" y="4381105"/>
                    <a:ext cx="6675" cy="6675"/>
                  </a:xfrm>
                  <a:custGeom>
                    <a:avLst/>
                    <a:gdLst>
                      <a:gd name="T0" fmla="*/ 2147483647 w 6"/>
                      <a:gd name="T1" fmla="*/ 0 h 6"/>
                      <a:gd name="T2" fmla="*/ 2147483647 w 6"/>
                      <a:gd name="T3" fmla="*/ 2147483647 h 6"/>
                      <a:gd name="T4" fmla="*/ 2147483647 w 6"/>
                      <a:gd name="T5" fmla="*/ 2147483647 h 6"/>
                      <a:gd name="T6" fmla="*/ 0 w 6"/>
                      <a:gd name="T7" fmla="*/ 2147483647 h 6"/>
                      <a:gd name="T8" fmla="*/ 0 w 6"/>
                      <a:gd name="T9" fmla="*/ 2147483647 h 6"/>
                      <a:gd name="T10" fmla="*/ 2147483647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0 h 6"/>
                      <a:gd name="T30" fmla="*/ 2147483647 w 6"/>
                      <a:gd name="T31" fmla="*/ 0 h 6"/>
                      <a:gd name="T32" fmla="*/ 2147483647 w 6"/>
                      <a:gd name="T33" fmla="*/ 0 h 6"/>
                      <a:gd name="T34" fmla="*/ 2147483647 w 6"/>
                      <a:gd name="T35" fmla="*/ 0 h 6"/>
                      <a:gd name="T36" fmla="*/ 2147483647 w 6"/>
                      <a:gd name="T37" fmla="*/ 0 h 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 h="6">
                        <a:moveTo>
                          <a:pt x="3" y="0"/>
                        </a:moveTo>
                        <a:lnTo>
                          <a:pt x="3" y="1"/>
                        </a:lnTo>
                        <a:lnTo>
                          <a:pt x="2" y="1"/>
                        </a:lnTo>
                        <a:lnTo>
                          <a:pt x="0" y="2"/>
                        </a:lnTo>
                        <a:lnTo>
                          <a:pt x="0" y="3"/>
                        </a:lnTo>
                        <a:lnTo>
                          <a:pt x="2" y="4"/>
                        </a:lnTo>
                        <a:lnTo>
                          <a:pt x="3" y="5"/>
                        </a:lnTo>
                        <a:lnTo>
                          <a:pt x="6" y="6"/>
                        </a:lnTo>
                        <a:lnTo>
                          <a:pt x="6" y="5"/>
                        </a:lnTo>
                        <a:lnTo>
                          <a:pt x="6" y="4"/>
                        </a:lnTo>
                        <a:lnTo>
                          <a:pt x="6" y="2"/>
                        </a:lnTo>
                        <a:lnTo>
                          <a:pt x="6" y="1"/>
                        </a:lnTo>
                        <a:lnTo>
                          <a:pt x="6" y="0"/>
                        </a:lnTo>
                        <a:lnTo>
                          <a:pt x="5" y="0"/>
                        </a:lnTo>
                        <a:lnTo>
                          <a:pt x="4"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19" name="Freeform 2041">
                    <a:extLst>
                      <a:ext uri="{FF2B5EF4-FFF2-40B4-BE49-F238E27FC236}">
                        <a16:creationId xmlns:a16="http://schemas.microsoft.com/office/drawing/2014/main" xmlns="" id="{7542848A-E8D5-42F7-8CE0-980D0745525D}"/>
                      </a:ext>
                    </a:extLst>
                  </p:cNvPr>
                  <p:cNvSpPr>
                    <a:spLocks/>
                  </p:cNvSpPr>
                  <p:nvPr/>
                </p:nvSpPr>
                <p:spPr bwMode="gray">
                  <a:xfrm>
                    <a:off x="5271988" y="4377768"/>
                    <a:ext cx="26700" cy="40048"/>
                  </a:xfrm>
                  <a:custGeom>
                    <a:avLst/>
                    <a:gdLst>
                      <a:gd name="T0" fmla="*/ 2147483647 w 24"/>
                      <a:gd name="T1" fmla="*/ 0 h 36"/>
                      <a:gd name="T2" fmla="*/ 2147483647 w 24"/>
                      <a:gd name="T3" fmla="*/ 0 h 36"/>
                      <a:gd name="T4" fmla="*/ 2147483647 w 24"/>
                      <a:gd name="T5" fmla="*/ 2147483647 h 36"/>
                      <a:gd name="T6" fmla="*/ 2147483647 w 24"/>
                      <a:gd name="T7" fmla="*/ 2147483647 h 36"/>
                      <a:gd name="T8" fmla="*/ 0 w 24"/>
                      <a:gd name="T9" fmla="*/ 2147483647 h 36"/>
                      <a:gd name="T10" fmla="*/ 0 w 24"/>
                      <a:gd name="T11" fmla="*/ 2147483647 h 36"/>
                      <a:gd name="T12" fmla="*/ 2147483647 w 24"/>
                      <a:gd name="T13" fmla="*/ 2147483647 h 36"/>
                      <a:gd name="T14" fmla="*/ 2147483647 w 24"/>
                      <a:gd name="T15" fmla="*/ 2147483647 h 36"/>
                      <a:gd name="T16" fmla="*/ 2147483647 w 24"/>
                      <a:gd name="T17" fmla="*/ 2147483647 h 36"/>
                      <a:gd name="T18" fmla="*/ 2147483647 w 24"/>
                      <a:gd name="T19" fmla="*/ 2147483647 h 36"/>
                      <a:gd name="T20" fmla="*/ 2147483647 w 24"/>
                      <a:gd name="T21" fmla="*/ 2147483647 h 36"/>
                      <a:gd name="T22" fmla="*/ 2147483647 w 24"/>
                      <a:gd name="T23" fmla="*/ 2147483647 h 36"/>
                      <a:gd name="T24" fmla="*/ 2147483647 w 24"/>
                      <a:gd name="T25" fmla="*/ 2147483647 h 36"/>
                      <a:gd name="T26" fmla="*/ 2147483647 w 24"/>
                      <a:gd name="T27" fmla="*/ 2147483647 h 36"/>
                      <a:gd name="T28" fmla="*/ 2147483647 w 24"/>
                      <a:gd name="T29" fmla="*/ 2147483647 h 36"/>
                      <a:gd name="T30" fmla="*/ 2147483647 w 24"/>
                      <a:gd name="T31" fmla="*/ 2147483647 h 36"/>
                      <a:gd name="T32" fmla="*/ 2147483647 w 24"/>
                      <a:gd name="T33" fmla="*/ 2147483647 h 36"/>
                      <a:gd name="T34" fmla="*/ 2147483647 w 24"/>
                      <a:gd name="T35" fmla="*/ 2147483647 h 36"/>
                      <a:gd name="T36" fmla="*/ 2147483647 w 24"/>
                      <a:gd name="T37" fmla="*/ 2147483647 h 36"/>
                      <a:gd name="T38" fmla="*/ 2147483647 w 24"/>
                      <a:gd name="T39" fmla="*/ 2147483647 h 36"/>
                      <a:gd name="T40" fmla="*/ 2147483647 w 24"/>
                      <a:gd name="T41" fmla="*/ 2147483647 h 36"/>
                      <a:gd name="T42" fmla="*/ 2147483647 w 24"/>
                      <a:gd name="T43" fmla="*/ 2147483647 h 36"/>
                      <a:gd name="T44" fmla="*/ 2147483647 w 24"/>
                      <a:gd name="T45" fmla="*/ 2147483647 h 36"/>
                      <a:gd name="T46" fmla="*/ 2147483647 w 24"/>
                      <a:gd name="T47" fmla="*/ 2147483647 h 36"/>
                      <a:gd name="T48" fmla="*/ 2147483647 w 24"/>
                      <a:gd name="T49" fmla="*/ 2147483647 h 36"/>
                      <a:gd name="T50" fmla="*/ 2147483647 w 24"/>
                      <a:gd name="T51" fmla="*/ 2147483647 h 36"/>
                      <a:gd name="T52" fmla="*/ 2147483647 w 24"/>
                      <a:gd name="T53" fmla="*/ 2147483647 h 36"/>
                      <a:gd name="T54" fmla="*/ 2147483647 w 24"/>
                      <a:gd name="T55" fmla="*/ 2147483647 h 36"/>
                      <a:gd name="T56" fmla="*/ 2147483647 w 24"/>
                      <a:gd name="T57" fmla="*/ 2147483647 h 36"/>
                      <a:gd name="T58" fmla="*/ 2147483647 w 24"/>
                      <a:gd name="T59" fmla="*/ 2147483647 h 36"/>
                      <a:gd name="T60" fmla="*/ 2147483647 w 24"/>
                      <a:gd name="T61" fmla="*/ 2147483647 h 36"/>
                      <a:gd name="T62" fmla="*/ 2147483647 w 24"/>
                      <a:gd name="T63" fmla="*/ 2147483647 h 36"/>
                      <a:gd name="T64" fmla="*/ 2147483647 w 24"/>
                      <a:gd name="T65" fmla="*/ 2147483647 h 36"/>
                      <a:gd name="T66" fmla="*/ 2147483647 w 24"/>
                      <a:gd name="T67" fmla="*/ 0 h 36"/>
                      <a:gd name="T68" fmla="*/ 2147483647 w 24"/>
                      <a:gd name="T69" fmla="*/ 0 h 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 h="36">
                        <a:moveTo>
                          <a:pt x="10" y="0"/>
                        </a:moveTo>
                        <a:lnTo>
                          <a:pt x="7" y="0"/>
                        </a:lnTo>
                        <a:lnTo>
                          <a:pt x="5" y="1"/>
                        </a:lnTo>
                        <a:lnTo>
                          <a:pt x="2" y="3"/>
                        </a:lnTo>
                        <a:lnTo>
                          <a:pt x="0" y="3"/>
                        </a:lnTo>
                        <a:lnTo>
                          <a:pt x="0" y="6"/>
                        </a:lnTo>
                        <a:lnTo>
                          <a:pt x="2" y="8"/>
                        </a:lnTo>
                        <a:lnTo>
                          <a:pt x="5" y="9"/>
                        </a:lnTo>
                        <a:lnTo>
                          <a:pt x="10" y="10"/>
                        </a:lnTo>
                        <a:lnTo>
                          <a:pt x="10" y="14"/>
                        </a:lnTo>
                        <a:lnTo>
                          <a:pt x="10" y="16"/>
                        </a:lnTo>
                        <a:lnTo>
                          <a:pt x="10" y="18"/>
                        </a:lnTo>
                        <a:lnTo>
                          <a:pt x="10" y="23"/>
                        </a:lnTo>
                        <a:lnTo>
                          <a:pt x="9" y="25"/>
                        </a:lnTo>
                        <a:lnTo>
                          <a:pt x="8" y="27"/>
                        </a:lnTo>
                        <a:lnTo>
                          <a:pt x="5" y="28"/>
                        </a:lnTo>
                        <a:lnTo>
                          <a:pt x="3" y="29"/>
                        </a:lnTo>
                        <a:lnTo>
                          <a:pt x="8" y="33"/>
                        </a:lnTo>
                        <a:lnTo>
                          <a:pt x="9" y="35"/>
                        </a:lnTo>
                        <a:lnTo>
                          <a:pt x="10" y="36"/>
                        </a:lnTo>
                        <a:lnTo>
                          <a:pt x="12" y="36"/>
                        </a:lnTo>
                        <a:lnTo>
                          <a:pt x="13" y="36"/>
                        </a:lnTo>
                        <a:lnTo>
                          <a:pt x="16" y="34"/>
                        </a:lnTo>
                        <a:lnTo>
                          <a:pt x="18" y="31"/>
                        </a:lnTo>
                        <a:lnTo>
                          <a:pt x="21" y="28"/>
                        </a:lnTo>
                        <a:lnTo>
                          <a:pt x="22" y="27"/>
                        </a:lnTo>
                        <a:lnTo>
                          <a:pt x="24" y="21"/>
                        </a:lnTo>
                        <a:lnTo>
                          <a:pt x="23" y="16"/>
                        </a:lnTo>
                        <a:lnTo>
                          <a:pt x="23" y="11"/>
                        </a:lnTo>
                        <a:lnTo>
                          <a:pt x="22" y="6"/>
                        </a:lnTo>
                        <a:lnTo>
                          <a:pt x="20" y="4"/>
                        </a:lnTo>
                        <a:lnTo>
                          <a:pt x="17" y="2"/>
                        </a:lnTo>
                        <a:lnTo>
                          <a:pt x="13" y="0"/>
                        </a:lnTo>
                        <a:lnTo>
                          <a:pt x="1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0" name="Freeform 2043">
                    <a:extLst>
                      <a:ext uri="{FF2B5EF4-FFF2-40B4-BE49-F238E27FC236}">
                        <a16:creationId xmlns:a16="http://schemas.microsoft.com/office/drawing/2014/main" xmlns="" id="{329AD843-535C-4D07-8129-0904B2E7EAD6}"/>
                      </a:ext>
                    </a:extLst>
                  </p:cNvPr>
                  <p:cNvSpPr>
                    <a:spLocks/>
                  </p:cNvSpPr>
                  <p:nvPr/>
                </p:nvSpPr>
                <p:spPr bwMode="gray">
                  <a:xfrm>
                    <a:off x="5178539" y="4356631"/>
                    <a:ext cx="14463" cy="14462"/>
                  </a:xfrm>
                  <a:custGeom>
                    <a:avLst/>
                    <a:gdLst>
                      <a:gd name="T0" fmla="*/ 0 w 13"/>
                      <a:gd name="T1" fmla="*/ 0 h 13"/>
                      <a:gd name="T2" fmla="*/ 0 w 13"/>
                      <a:gd name="T3" fmla="*/ 0 h 13"/>
                      <a:gd name="T4" fmla="*/ 0 w 13"/>
                      <a:gd name="T5" fmla="*/ 2147483647 h 13"/>
                      <a:gd name="T6" fmla="*/ 0 w 13"/>
                      <a:gd name="T7" fmla="*/ 2147483647 h 13"/>
                      <a:gd name="T8" fmla="*/ 2147483647 w 13"/>
                      <a:gd name="T9" fmla="*/ 2147483647 h 13"/>
                      <a:gd name="T10" fmla="*/ 2147483647 w 13"/>
                      <a:gd name="T11" fmla="*/ 2147483647 h 13"/>
                      <a:gd name="T12" fmla="*/ 2147483647 w 13"/>
                      <a:gd name="T13" fmla="*/ 2147483647 h 13"/>
                      <a:gd name="T14" fmla="*/ 2147483647 w 13"/>
                      <a:gd name="T15" fmla="*/ 2147483647 h 13"/>
                      <a:gd name="T16" fmla="*/ 2147483647 w 13"/>
                      <a:gd name="T17" fmla="*/ 2147483647 h 13"/>
                      <a:gd name="T18" fmla="*/ 2147483647 w 13"/>
                      <a:gd name="T19" fmla="*/ 2147483647 h 13"/>
                      <a:gd name="T20" fmla="*/ 2147483647 w 13"/>
                      <a:gd name="T21" fmla="*/ 2147483647 h 13"/>
                      <a:gd name="T22" fmla="*/ 2147483647 w 13"/>
                      <a:gd name="T23" fmla="*/ 2147483647 h 13"/>
                      <a:gd name="T24" fmla="*/ 2147483647 w 13"/>
                      <a:gd name="T25" fmla="*/ 2147483647 h 13"/>
                      <a:gd name="T26" fmla="*/ 2147483647 w 13"/>
                      <a:gd name="T27" fmla="*/ 2147483647 h 13"/>
                      <a:gd name="T28" fmla="*/ 2147483647 w 13"/>
                      <a:gd name="T29" fmla="*/ 2147483647 h 13"/>
                      <a:gd name="T30" fmla="*/ 2147483647 w 13"/>
                      <a:gd name="T31" fmla="*/ 2147483647 h 13"/>
                      <a:gd name="T32" fmla="*/ 2147483647 w 13"/>
                      <a:gd name="T33" fmla="*/ 2147483647 h 13"/>
                      <a:gd name="T34" fmla="*/ 2147483647 w 13"/>
                      <a:gd name="T35" fmla="*/ 2147483647 h 13"/>
                      <a:gd name="T36" fmla="*/ 2147483647 w 13"/>
                      <a:gd name="T37" fmla="*/ 2147483647 h 13"/>
                      <a:gd name="T38" fmla="*/ 2147483647 w 13"/>
                      <a:gd name="T39" fmla="*/ 2147483647 h 13"/>
                      <a:gd name="T40" fmla="*/ 2147483647 w 13"/>
                      <a:gd name="T41" fmla="*/ 2147483647 h 13"/>
                      <a:gd name="T42" fmla="*/ 2147483647 w 13"/>
                      <a:gd name="T43" fmla="*/ 2147483647 h 13"/>
                      <a:gd name="T44" fmla="*/ 2147483647 w 13"/>
                      <a:gd name="T45" fmla="*/ 2147483647 h 13"/>
                      <a:gd name="T46" fmla="*/ 2147483647 w 13"/>
                      <a:gd name="T47" fmla="*/ 2147483647 h 13"/>
                      <a:gd name="T48" fmla="*/ 2147483647 w 13"/>
                      <a:gd name="T49" fmla="*/ 2147483647 h 13"/>
                      <a:gd name="T50" fmla="*/ 2147483647 w 13"/>
                      <a:gd name="T51" fmla="*/ 2147483647 h 13"/>
                      <a:gd name="T52" fmla="*/ 2147483647 w 13"/>
                      <a:gd name="T53" fmla="*/ 2147483647 h 13"/>
                      <a:gd name="T54" fmla="*/ 2147483647 w 13"/>
                      <a:gd name="T55" fmla="*/ 2147483647 h 13"/>
                      <a:gd name="T56" fmla="*/ 2147483647 w 13"/>
                      <a:gd name="T57" fmla="*/ 2147483647 h 13"/>
                      <a:gd name="T58" fmla="*/ 2147483647 w 13"/>
                      <a:gd name="T59" fmla="*/ 2147483647 h 13"/>
                      <a:gd name="T60" fmla="*/ 2147483647 w 13"/>
                      <a:gd name="T61" fmla="*/ 0 h 13"/>
                      <a:gd name="T62" fmla="*/ 2147483647 w 13"/>
                      <a:gd name="T63" fmla="*/ 0 h 13"/>
                      <a:gd name="T64" fmla="*/ 2147483647 w 13"/>
                      <a:gd name="T65" fmla="*/ 0 h 13"/>
                      <a:gd name="T66" fmla="*/ 2147483647 w 13"/>
                      <a:gd name="T67" fmla="*/ 0 h 13"/>
                      <a:gd name="T68" fmla="*/ 2147483647 w 13"/>
                      <a:gd name="T69" fmla="*/ 0 h 13"/>
                      <a:gd name="T70" fmla="*/ 0 w 13"/>
                      <a:gd name="T71" fmla="*/ 0 h 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 h="13">
                        <a:moveTo>
                          <a:pt x="0" y="0"/>
                        </a:moveTo>
                        <a:lnTo>
                          <a:pt x="0" y="0"/>
                        </a:lnTo>
                        <a:lnTo>
                          <a:pt x="0" y="2"/>
                        </a:lnTo>
                        <a:lnTo>
                          <a:pt x="0" y="6"/>
                        </a:lnTo>
                        <a:lnTo>
                          <a:pt x="1" y="6"/>
                        </a:lnTo>
                        <a:lnTo>
                          <a:pt x="2" y="6"/>
                        </a:lnTo>
                        <a:lnTo>
                          <a:pt x="3" y="6"/>
                        </a:lnTo>
                        <a:lnTo>
                          <a:pt x="4" y="6"/>
                        </a:lnTo>
                        <a:lnTo>
                          <a:pt x="3" y="9"/>
                        </a:lnTo>
                        <a:lnTo>
                          <a:pt x="3" y="12"/>
                        </a:lnTo>
                        <a:lnTo>
                          <a:pt x="2" y="12"/>
                        </a:lnTo>
                        <a:lnTo>
                          <a:pt x="4" y="13"/>
                        </a:lnTo>
                        <a:lnTo>
                          <a:pt x="5" y="12"/>
                        </a:lnTo>
                        <a:lnTo>
                          <a:pt x="6" y="12"/>
                        </a:lnTo>
                        <a:lnTo>
                          <a:pt x="6" y="13"/>
                        </a:lnTo>
                        <a:lnTo>
                          <a:pt x="8" y="13"/>
                        </a:lnTo>
                        <a:lnTo>
                          <a:pt x="9" y="13"/>
                        </a:lnTo>
                        <a:lnTo>
                          <a:pt x="11" y="13"/>
                        </a:lnTo>
                        <a:lnTo>
                          <a:pt x="13" y="13"/>
                        </a:lnTo>
                        <a:lnTo>
                          <a:pt x="11" y="12"/>
                        </a:lnTo>
                        <a:lnTo>
                          <a:pt x="10" y="10"/>
                        </a:lnTo>
                        <a:lnTo>
                          <a:pt x="10" y="8"/>
                        </a:lnTo>
                        <a:lnTo>
                          <a:pt x="9" y="6"/>
                        </a:lnTo>
                        <a:lnTo>
                          <a:pt x="8" y="6"/>
                        </a:lnTo>
                        <a:lnTo>
                          <a:pt x="7" y="6"/>
                        </a:lnTo>
                        <a:lnTo>
                          <a:pt x="6" y="6"/>
                        </a:lnTo>
                        <a:lnTo>
                          <a:pt x="7" y="4"/>
                        </a:lnTo>
                        <a:lnTo>
                          <a:pt x="7" y="2"/>
                        </a:lnTo>
                        <a:lnTo>
                          <a:pt x="8" y="0"/>
                        </a:lnTo>
                        <a:lnTo>
                          <a:pt x="6" y="0"/>
                        </a:lnTo>
                        <a:lnTo>
                          <a:pt x="5" y="0"/>
                        </a:lnTo>
                        <a:lnTo>
                          <a:pt x="4"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1" name="Freeform 2045">
                    <a:extLst>
                      <a:ext uri="{FF2B5EF4-FFF2-40B4-BE49-F238E27FC236}">
                        <a16:creationId xmlns:a16="http://schemas.microsoft.com/office/drawing/2014/main" xmlns="" id="{81666FF7-A08E-4004-834E-D7D813E6BDB5}"/>
                      </a:ext>
                    </a:extLst>
                  </p:cNvPr>
                  <p:cNvSpPr>
                    <a:spLocks/>
                  </p:cNvSpPr>
                  <p:nvPr/>
                </p:nvSpPr>
                <p:spPr bwMode="gray">
                  <a:xfrm>
                    <a:off x="5082865" y="4356631"/>
                    <a:ext cx="110136" cy="77871"/>
                  </a:xfrm>
                  <a:custGeom>
                    <a:avLst/>
                    <a:gdLst>
                      <a:gd name="T0" fmla="*/ 2147483647 w 99"/>
                      <a:gd name="T1" fmla="*/ 2147483647 h 70"/>
                      <a:gd name="T2" fmla="*/ 2147483647 w 99"/>
                      <a:gd name="T3" fmla="*/ 2147483647 h 70"/>
                      <a:gd name="T4" fmla="*/ 0 w 99"/>
                      <a:gd name="T5" fmla="*/ 2147483647 h 70"/>
                      <a:gd name="T6" fmla="*/ 0 w 99"/>
                      <a:gd name="T7" fmla="*/ 2147483647 h 70"/>
                      <a:gd name="T8" fmla="*/ 2147483647 w 99"/>
                      <a:gd name="T9" fmla="*/ 2147483647 h 70"/>
                      <a:gd name="T10" fmla="*/ 2147483647 w 99"/>
                      <a:gd name="T11" fmla="*/ 2147483647 h 70"/>
                      <a:gd name="T12" fmla="*/ 2147483647 w 99"/>
                      <a:gd name="T13" fmla="*/ 2147483647 h 70"/>
                      <a:gd name="T14" fmla="*/ 2147483647 w 99"/>
                      <a:gd name="T15" fmla="*/ 2147483647 h 70"/>
                      <a:gd name="T16" fmla="*/ 2147483647 w 99"/>
                      <a:gd name="T17" fmla="*/ 2147483647 h 70"/>
                      <a:gd name="T18" fmla="*/ 2147483647 w 99"/>
                      <a:gd name="T19" fmla="*/ 2147483647 h 70"/>
                      <a:gd name="T20" fmla="*/ 2147483647 w 99"/>
                      <a:gd name="T21" fmla="*/ 2147483647 h 70"/>
                      <a:gd name="T22" fmla="*/ 2147483647 w 99"/>
                      <a:gd name="T23" fmla="*/ 2147483647 h 70"/>
                      <a:gd name="T24" fmla="*/ 2147483647 w 99"/>
                      <a:gd name="T25" fmla="*/ 2147483647 h 70"/>
                      <a:gd name="T26" fmla="*/ 2147483647 w 99"/>
                      <a:gd name="T27" fmla="*/ 2147483647 h 70"/>
                      <a:gd name="T28" fmla="*/ 2147483647 w 99"/>
                      <a:gd name="T29" fmla="*/ 2147483647 h 70"/>
                      <a:gd name="T30" fmla="*/ 2147483647 w 99"/>
                      <a:gd name="T31" fmla="*/ 2147483647 h 70"/>
                      <a:gd name="T32" fmla="*/ 2147483647 w 99"/>
                      <a:gd name="T33" fmla="*/ 2147483647 h 70"/>
                      <a:gd name="T34" fmla="*/ 2147483647 w 99"/>
                      <a:gd name="T35" fmla="*/ 2147483647 h 70"/>
                      <a:gd name="T36" fmla="*/ 2147483647 w 99"/>
                      <a:gd name="T37" fmla="*/ 2147483647 h 70"/>
                      <a:gd name="T38" fmla="*/ 2147483647 w 99"/>
                      <a:gd name="T39" fmla="*/ 2147483647 h 70"/>
                      <a:gd name="T40" fmla="*/ 2147483647 w 99"/>
                      <a:gd name="T41" fmla="*/ 2147483647 h 70"/>
                      <a:gd name="T42" fmla="*/ 2147483647 w 99"/>
                      <a:gd name="T43" fmla="*/ 2147483647 h 70"/>
                      <a:gd name="T44" fmla="*/ 2147483647 w 99"/>
                      <a:gd name="T45" fmla="*/ 2147483647 h 70"/>
                      <a:gd name="T46" fmla="*/ 2147483647 w 99"/>
                      <a:gd name="T47" fmla="*/ 2147483647 h 70"/>
                      <a:gd name="T48" fmla="*/ 2147483647 w 99"/>
                      <a:gd name="T49" fmla="*/ 2147483647 h 70"/>
                      <a:gd name="T50" fmla="*/ 2147483647 w 99"/>
                      <a:gd name="T51" fmla="*/ 2147483647 h 70"/>
                      <a:gd name="T52" fmla="*/ 2147483647 w 99"/>
                      <a:gd name="T53" fmla="*/ 2147483647 h 70"/>
                      <a:gd name="T54" fmla="*/ 2147483647 w 99"/>
                      <a:gd name="T55" fmla="*/ 2147483647 h 70"/>
                      <a:gd name="T56" fmla="*/ 2147483647 w 99"/>
                      <a:gd name="T57" fmla="*/ 2147483647 h 70"/>
                      <a:gd name="T58" fmla="*/ 2147483647 w 99"/>
                      <a:gd name="T59" fmla="*/ 2147483647 h 70"/>
                      <a:gd name="T60" fmla="*/ 2147483647 w 99"/>
                      <a:gd name="T61" fmla="*/ 2147483647 h 70"/>
                      <a:gd name="T62" fmla="*/ 2147483647 w 99"/>
                      <a:gd name="T63" fmla="*/ 2147483647 h 70"/>
                      <a:gd name="T64" fmla="*/ 2147483647 w 99"/>
                      <a:gd name="T65" fmla="*/ 2147483647 h 70"/>
                      <a:gd name="T66" fmla="*/ 2147483647 w 99"/>
                      <a:gd name="T67" fmla="*/ 2147483647 h 70"/>
                      <a:gd name="T68" fmla="*/ 2147483647 w 99"/>
                      <a:gd name="T69" fmla="*/ 2147483647 h 70"/>
                      <a:gd name="T70" fmla="*/ 2147483647 w 99"/>
                      <a:gd name="T71" fmla="*/ 2147483647 h 70"/>
                      <a:gd name="T72" fmla="*/ 2147483647 w 99"/>
                      <a:gd name="T73" fmla="*/ 2147483647 h 70"/>
                      <a:gd name="T74" fmla="*/ 2147483647 w 99"/>
                      <a:gd name="T75" fmla="*/ 2147483647 h 70"/>
                      <a:gd name="T76" fmla="*/ 2147483647 w 99"/>
                      <a:gd name="T77" fmla="*/ 2147483647 h 70"/>
                      <a:gd name="T78" fmla="*/ 2147483647 w 99"/>
                      <a:gd name="T79" fmla="*/ 2147483647 h 70"/>
                      <a:gd name="T80" fmla="*/ 2147483647 w 99"/>
                      <a:gd name="T81" fmla="*/ 2147483647 h 70"/>
                      <a:gd name="T82" fmla="*/ 2147483647 w 99"/>
                      <a:gd name="T83" fmla="*/ 2147483647 h 70"/>
                      <a:gd name="T84" fmla="*/ 2147483647 w 99"/>
                      <a:gd name="T85" fmla="*/ 2147483647 h 70"/>
                      <a:gd name="T86" fmla="*/ 2147483647 w 99"/>
                      <a:gd name="T87" fmla="*/ 2147483647 h 70"/>
                      <a:gd name="T88" fmla="*/ 2147483647 w 99"/>
                      <a:gd name="T89" fmla="*/ 0 h 70"/>
                      <a:gd name="T90" fmla="*/ 2147483647 w 99"/>
                      <a:gd name="T91" fmla="*/ 0 h 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99" h="70">
                        <a:moveTo>
                          <a:pt x="12" y="0"/>
                        </a:moveTo>
                        <a:lnTo>
                          <a:pt x="11" y="4"/>
                        </a:lnTo>
                        <a:lnTo>
                          <a:pt x="10" y="6"/>
                        </a:lnTo>
                        <a:lnTo>
                          <a:pt x="9" y="8"/>
                        </a:lnTo>
                        <a:lnTo>
                          <a:pt x="8" y="9"/>
                        </a:lnTo>
                        <a:lnTo>
                          <a:pt x="6" y="10"/>
                        </a:lnTo>
                        <a:lnTo>
                          <a:pt x="3" y="11"/>
                        </a:lnTo>
                        <a:lnTo>
                          <a:pt x="0" y="12"/>
                        </a:lnTo>
                        <a:lnTo>
                          <a:pt x="1" y="14"/>
                        </a:lnTo>
                        <a:lnTo>
                          <a:pt x="1" y="15"/>
                        </a:lnTo>
                        <a:lnTo>
                          <a:pt x="0" y="15"/>
                        </a:lnTo>
                        <a:lnTo>
                          <a:pt x="9" y="15"/>
                        </a:lnTo>
                        <a:lnTo>
                          <a:pt x="11" y="16"/>
                        </a:lnTo>
                        <a:lnTo>
                          <a:pt x="14" y="17"/>
                        </a:lnTo>
                        <a:lnTo>
                          <a:pt x="16" y="18"/>
                        </a:lnTo>
                        <a:lnTo>
                          <a:pt x="19" y="19"/>
                        </a:lnTo>
                        <a:lnTo>
                          <a:pt x="19" y="20"/>
                        </a:lnTo>
                        <a:lnTo>
                          <a:pt x="20" y="21"/>
                        </a:lnTo>
                        <a:lnTo>
                          <a:pt x="22" y="22"/>
                        </a:lnTo>
                        <a:lnTo>
                          <a:pt x="26" y="24"/>
                        </a:lnTo>
                        <a:lnTo>
                          <a:pt x="31" y="27"/>
                        </a:lnTo>
                        <a:lnTo>
                          <a:pt x="36" y="32"/>
                        </a:lnTo>
                        <a:lnTo>
                          <a:pt x="38" y="33"/>
                        </a:lnTo>
                        <a:lnTo>
                          <a:pt x="38" y="34"/>
                        </a:lnTo>
                        <a:lnTo>
                          <a:pt x="40" y="36"/>
                        </a:lnTo>
                        <a:lnTo>
                          <a:pt x="41" y="40"/>
                        </a:lnTo>
                        <a:lnTo>
                          <a:pt x="41" y="43"/>
                        </a:lnTo>
                        <a:lnTo>
                          <a:pt x="41" y="45"/>
                        </a:lnTo>
                        <a:lnTo>
                          <a:pt x="48" y="46"/>
                        </a:lnTo>
                        <a:lnTo>
                          <a:pt x="54" y="46"/>
                        </a:lnTo>
                        <a:lnTo>
                          <a:pt x="61" y="46"/>
                        </a:lnTo>
                        <a:lnTo>
                          <a:pt x="67" y="47"/>
                        </a:lnTo>
                        <a:lnTo>
                          <a:pt x="69" y="47"/>
                        </a:lnTo>
                        <a:lnTo>
                          <a:pt x="70" y="47"/>
                        </a:lnTo>
                        <a:lnTo>
                          <a:pt x="70" y="50"/>
                        </a:lnTo>
                        <a:lnTo>
                          <a:pt x="72" y="50"/>
                        </a:lnTo>
                        <a:lnTo>
                          <a:pt x="76" y="50"/>
                        </a:lnTo>
                        <a:lnTo>
                          <a:pt x="76" y="51"/>
                        </a:lnTo>
                        <a:lnTo>
                          <a:pt x="76" y="52"/>
                        </a:lnTo>
                        <a:lnTo>
                          <a:pt x="75" y="53"/>
                        </a:lnTo>
                        <a:lnTo>
                          <a:pt x="73" y="54"/>
                        </a:lnTo>
                        <a:lnTo>
                          <a:pt x="76" y="57"/>
                        </a:lnTo>
                        <a:lnTo>
                          <a:pt x="76" y="56"/>
                        </a:lnTo>
                        <a:lnTo>
                          <a:pt x="77" y="56"/>
                        </a:lnTo>
                        <a:lnTo>
                          <a:pt x="78" y="56"/>
                        </a:lnTo>
                        <a:lnTo>
                          <a:pt x="80" y="57"/>
                        </a:lnTo>
                        <a:lnTo>
                          <a:pt x="79" y="57"/>
                        </a:lnTo>
                        <a:lnTo>
                          <a:pt x="78" y="59"/>
                        </a:lnTo>
                        <a:lnTo>
                          <a:pt x="77" y="60"/>
                        </a:lnTo>
                        <a:lnTo>
                          <a:pt x="76" y="60"/>
                        </a:lnTo>
                        <a:lnTo>
                          <a:pt x="79" y="62"/>
                        </a:lnTo>
                        <a:lnTo>
                          <a:pt x="81" y="62"/>
                        </a:lnTo>
                        <a:lnTo>
                          <a:pt x="84" y="62"/>
                        </a:lnTo>
                        <a:lnTo>
                          <a:pt x="86" y="64"/>
                        </a:lnTo>
                        <a:lnTo>
                          <a:pt x="85" y="65"/>
                        </a:lnTo>
                        <a:lnTo>
                          <a:pt x="84" y="66"/>
                        </a:lnTo>
                        <a:lnTo>
                          <a:pt x="83" y="67"/>
                        </a:lnTo>
                        <a:lnTo>
                          <a:pt x="85" y="69"/>
                        </a:lnTo>
                        <a:lnTo>
                          <a:pt x="86" y="70"/>
                        </a:lnTo>
                        <a:lnTo>
                          <a:pt x="88" y="70"/>
                        </a:lnTo>
                        <a:lnTo>
                          <a:pt x="90" y="69"/>
                        </a:lnTo>
                        <a:lnTo>
                          <a:pt x="91" y="67"/>
                        </a:lnTo>
                        <a:lnTo>
                          <a:pt x="92" y="67"/>
                        </a:lnTo>
                        <a:lnTo>
                          <a:pt x="93" y="67"/>
                        </a:lnTo>
                        <a:lnTo>
                          <a:pt x="94" y="69"/>
                        </a:lnTo>
                        <a:lnTo>
                          <a:pt x="95" y="70"/>
                        </a:lnTo>
                        <a:lnTo>
                          <a:pt x="96" y="68"/>
                        </a:lnTo>
                        <a:lnTo>
                          <a:pt x="96" y="67"/>
                        </a:lnTo>
                        <a:lnTo>
                          <a:pt x="97" y="67"/>
                        </a:lnTo>
                        <a:lnTo>
                          <a:pt x="99" y="67"/>
                        </a:lnTo>
                        <a:lnTo>
                          <a:pt x="99" y="57"/>
                        </a:lnTo>
                        <a:lnTo>
                          <a:pt x="97" y="57"/>
                        </a:lnTo>
                        <a:lnTo>
                          <a:pt x="96" y="59"/>
                        </a:lnTo>
                        <a:lnTo>
                          <a:pt x="96" y="60"/>
                        </a:lnTo>
                        <a:lnTo>
                          <a:pt x="95" y="60"/>
                        </a:lnTo>
                        <a:lnTo>
                          <a:pt x="92" y="59"/>
                        </a:lnTo>
                        <a:lnTo>
                          <a:pt x="89" y="55"/>
                        </a:lnTo>
                        <a:lnTo>
                          <a:pt x="85" y="52"/>
                        </a:lnTo>
                        <a:lnTo>
                          <a:pt x="83" y="50"/>
                        </a:lnTo>
                        <a:lnTo>
                          <a:pt x="83" y="49"/>
                        </a:lnTo>
                        <a:lnTo>
                          <a:pt x="83" y="47"/>
                        </a:lnTo>
                        <a:lnTo>
                          <a:pt x="81" y="47"/>
                        </a:lnTo>
                        <a:lnTo>
                          <a:pt x="78" y="46"/>
                        </a:lnTo>
                        <a:lnTo>
                          <a:pt x="77" y="44"/>
                        </a:lnTo>
                        <a:lnTo>
                          <a:pt x="76" y="41"/>
                        </a:lnTo>
                        <a:lnTo>
                          <a:pt x="75" y="38"/>
                        </a:lnTo>
                        <a:lnTo>
                          <a:pt x="75" y="34"/>
                        </a:lnTo>
                        <a:lnTo>
                          <a:pt x="74" y="32"/>
                        </a:lnTo>
                        <a:lnTo>
                          <a:pt x="73" y="29"/>
                        </a:lnTo>
                        <a:lnTo>
                          <a:pt x="72" y="27"/>
                        </a:lnTo>
                        <a:lnTo>
                          <a:pt x="70" y="26"/>
                        </a:lnTo>
                        <a:lnTo>
                          <a:pt x="70" y="25"/>
                        </a:lnTo>
                        <a:lnTo>
                          <a:pt x="69" y="25"/>
                        </a:lnTo>
                        <a:lnTo>
                          <a:pt x="69" y="24"/>
                        </a:lnTo>
                        <a:lnTo>
                          <a:pt x="69" y="23"/>
                        </a:lnTo>
                        <a:lnTo>
                          <a:pt x="67" y="22"/>
                        </a:lnTo>
                        <a:lnTo>
                          <a:pt x="64" y="23"/>
                        </a:lnTo>
                        <a:lnTo>
                          <a:pt x="61" y="24"/>
                        </a:lnTo>
                        <a:lnTo>
                          <a:pt x="57" y="25"/>
                        </a:lnTo>
                        <a:lnTo>
                          <a:pt x="54" y="25"/>
                        </a:lnTo>
                        <a:lnTo>
                          <a:pt x="52" y="25"/>
                        </a:lnTo>
                        <a:lnTo>
                          <a:pt x="51" y="24"/>
                        </a:lnTo>
                        <a:lnTo>
                          <a:pt x="49" y="23"/>
                        </a:lnTo>
                        <a:lnTo>
                          <a:pt x="48" y="22"/>
                        </a:lnTo>
                        <a:lnTo>
                          <a:pt x="43" y="20"/>
                        </a:lnTo>
                        <a:lnTo>
                          <a:pt x="39" y="18"/>
                        </a:lnTo>
                        <a:lnTo>
                          <a:pt x="34" y="16"/>
                        </a:lnTo>
                        <a:lnTo>
                          <a:pt x="31" y="12"/>
                        </a:lnTo>
                        <a:lnTo>
                          <a:pt x="31" y="11"/>
                        </a:lnTo>
                        <a:lnTo>
                          <a:pt x="31" y="6"/>
                        </a:lnTo>
                        <a:lnTo>
                          <a:pt x="29" y="6"/>
                        </a:lnTo>
                        <a:lnTo>
                          <a:pt x="29" y="5"/>
                        </a:lnTo>
                        <a:lnTo>
                          <a:pt x="29" y="3"/>
                        </a:lnTo>
                        <a:lnTo>
                          <a:pt x="27" y="3"/>
                        </a:lnTo>
                        <a:lnTo>
                          <a:pt x="26" y="3"/>
                        </a:lnTo>
                        <a:lnTo>
                          <a:pt x="26" y="2"/>
                        </a:lnTo>
                        <a:lnTo>
                          <a:pt x="26" y="1"/>
                        </a:lnTo>
                        <a:lnTo>
                          <a:pt x="26" y="0"/>
                        </a:lnTo>
                        <a:lnTo>
                          <a:pt x="20" y="0"/>
                        </a:lnTo>
                        <a:lnTo>
                          <a:pt x="17" y="0"/>
                        </a:lnTo>
                        <a:lnTo>
                          <a:pt x="1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2" name="Freeform 2047">
                    <a:extLst>
                      <a:ext uri="{FF2B5EF4-FFF2-40B4-BE49-F238E27FC236}">
                        <a16:creationId xmlns:a16="http://schemas.microsoft.com/office/drawing/2014/main" xmlns="" id="{7FC44F56-215D-43E2-947E-462A07AAAD9C}"/>
                      </a:ext>
                    </a:extLst>
                  </p:cNvPr>
                  <p:cNvSpPr>
                    <a:spLocks/>
                  </p:cNvSpPr>
                  <p:nvPr/>
                </p:nvSpPr>
                <p:spPr bwMode="gray">
                  <a:xfrm>
                    <a:off x="5125140" y="4346620"/>
                    <a:ext cx="11125" cy="5563"/>
                  </a:xfrm>
                  <a:custGeom>
                    <a:avLst/>
                    <a:gdLst>
                      <a:gd name="T0" fmla="*/ 0 w 10"/>
                      <a:gd name="T1" fmla="*/ 0 h 5"/>
                      <a:gd name="T2" fmla="*/ 0 w 10"/>
                      <a:gd name="T3" fmla="*/ 0 h 5"/>
                      <a:gd name="T4" fmla="*/ 0 w 10"/>
                      <a:gd name="T5" fmla="*/ 2147483647 h 5"/>
                      <a:gd name="T6" fmla="*/ 0 w 10"/>
                      <a:gd name="T7" fmla="*/ 2147483647 h 5"/>
                      <a:gd name="T8" fmla="*/ 0 w 10"/>
                      <a:gd name="T9" fmla="*/ 2147483647 h 5"/>
                      <a:gd name="T10" fmla="*/ 2147483647 w 10"/>
                      <a:gd name="T11" fmla="*/ 2147483647 h 5"/>
                      <a:gd name="T12" fmla="*/ 2147483647 w 10"/>
                      <a:gd name="T13" fmla="*/ 2147483647 h 5"/>
                      <a:gd name="T14" fmla="*/ 2147483647 w 10"/>
                      <a:gd name="T15" fmla="*/ 2147483647 h 5"/>
                      <a:gd name="T16" fmla="*/ 2147483647 w 10"/>
                      <a:gd name="T17" fmla="*/ 2147483647 h 5"/>
                      <a:gd name="T18" fmla="*/ 2147483647 w 10"/>
                      <a:gd name="T19" fmla="*/ 2147483647 h 5"/>
                      <a:gd name="T20" fmla="*/ 2147483647 w 10"/>
                      <a:gd name="T21" fmla="*/ 2147483647 h 5"/>
                      <a:gd name="T22" fmla="*/ 2147483647 w 10"/>
                      <a:gd name="T23" fmla="*/ 2147483647 h 5"/>
                      <a:gd name="T24" fmla="*/ 2147483647 w 10"/>
                      <a:gd name="T25" fmla="*/ 0 h 5"/>
                      <a:gd name="T26" fmla="*/ 2147483647 w 10"/>
                      <a:gd name="T27" fmla="*/ 0 h 5"/>
                      <a:gd name="T28" fmla="*/ 2147483647 w 10"/>
                      <a:gd name="T29" fmla="*/ 0 h 5"/>
                      <a:gd name="T30" fmla="*/ 2147483647 w 10"/>
                      <a:gd name="T31" fmla="*/ 0 h 5"/>
                      <a:gd name="T32" fmla="*/ 0 w 10"/>
                      <a:gd name="T33" fmla="*/ 0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5">
                        <a:moveTo>
                          <a:pt x="0" y="0"/>
                        </a:moveTo>
                        <a:lnTo>
                          <a:pt x="0" y="0"/>
                        </a:lnTo>
                        <a:lnTo>
                          <a:pt x="0" y="1"/>
                        </a:lnTo>
                        <a:lnTo>
                          <a:pt x="0" y="2"/>
                        </a:lnTo>
                        <a:lnTo>
                          <a:pt x="4" y="4"/>
                        </a:lnTo>
                        <a:lnTo>
                          <a:pt x="5" y="5"/>
                        </a:lnTo>
                        <a:lnTo>
                          <a:pt x="7" y="5"/>
                        </a:lnTo>
                        <a:lnTo>
                          <a:pt x="10" y="5"/>
                        </a:lnTo>
                        <a:lnTo>
                          <a:pt x="10" y="2"/>
                        </a:lnTo>
                        <a:lnTo>
                          <a:pt x="9" y="1"/>
                        </a:lnTo>
                        <a:lnTo>
                          <a:pt x="7" y="0"/>
                        </a:lnTo>
                        <a:lnTo>
                          <a:pt x="6" y="0"/>
                        </a:lnTo>
                        <a:lnTo>
                          <a:pt x="5"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3" name="Freeform 2049">
                    <a:extLst>
                      <a:ext uri="{FF2B5EF4-FFF2-40B4-BE49-F238E27FC236}">
                        <a16:creationId xmlns:a16="http://schemas.microsoft.com/office/drawing/2014/main" xmlns="" id="{CDBDA570-02DB-4472-AF23-3F2C7AE4A7B5}"/>
                      </a:ext>
                    </a:extLst>
                  </p:cNvPr>
                  <p:cNvSpPr>
                    <a:spLocks/>
                  </p:cNvSpPr>
                  <p:nvPr/>
                </p:nvSpPr>
                <p:spPr bwMode="gray">
                  <a:xfrm>
                    <a:off x="5137377" y="4338832"/>
                    <a:ext cx="8900" cy="7787"/>
                  </a:xfrm>
                  <a:custGeom>
                    <a:avLst/>
                    <a:gdLst>
                      <a:gd name="T0" fmla="*/ 2147483647 w 8"/>
                      <a:gd name="T1" fmla="*/ 0 h 7"/>
                      <a:gd name="T2" fmla="*/ 2147483647 w 8"/>
                      <a:gd name="T3" fmla="*/ 0 h 7"/>
                      <a:gd name="T4" fmla="*/ 2147483647 w 8"/>
                      <a:gd name="T5" fmla="*/ 2147483647 h 7"/>
                      <a:gd name="T6" fmla="*/ 2147483647 w 8"/>
                      <a:gd name="T7" fmla="*/ 2147483647 h 7"/>
                      <a:gd name="T8" fmla="*/ 2147483647 w 8"/>
                      <a:gd name="T9" fmla="*/ 2147483647 h 7"/>
                      <a:gd name="T10" fmla="*/ 0 w 8"/>
                      <a:gd name="T11" fmla="*/ 2147483647 h 7"/>
                      <a:gd name="T12" fmla="*/ 0 w 8"/>
                      <a:gd name="T13" fmla="*/ 2147483647 h 7"/>
                      <a:gd name="T14" fmla="*/ 2147483647 w 8"/>
                      <a:gd name="T15" fmla="*/ 2147483647 h 7"/>
                      <a:gd name="T16" fmla="*/ 2147483647 w 8"/>
                      <a:gd name="T17" fmla="*/ 2147483647 h 7"/>
                      <a:gd name="T18" fmla="*/ 2147483647 w 8"/>
                      <a:gd name="T19" fmla="*/ 2147483647 h 7"/>
                      <a:gd name="T20" fmla="*/ 2147483647 w 8"/>
                      <a:gd name="T21" fmla="*/ 2147483647 h 7"/>
                      <a:gd name="T22" fmla="*/ 2147483647 w 8"/>
                      <a:gd name="T23" fmla="*/ 2147483647 h 7"/>
                      <a:gd name="T24" fmla="*/ 2147483647 w 8"/>
                      <a:gd name="T25" fmla="*/ 2147483647 h 7"/>
                      <a:gd name="T26" fmla="*/ 2147483647 w 8"/>
                      <a:gd name="T27" fmla="*/ 2147483647 h 7"/>
                      <a:gd name="T28" fmla="*/ 2147483647 w 8"/>
                      <a:gd name="T29" fmla="*/ 2147483647 h 7"/>
                      <a:gd name="T30" fmla="*/ 2147483647 w 8"/>
                      <a:gd name="T31" fmla="*/ 2147483647 h 7"/>
                      <a:gd name="T32" fmla="*/ 2147483647 w 8"/>
                      <a:gd name="T33" fmla="*/ 2147483647 h 7"/>
                      <a:gd name="T34" fmla="*/ 2147483647 w 8"/>
                      <a:gd name="T35" fmla="*/ 2147483647 h 7"/>
                      <a:gd name="T36" fmla="*/ 2147483647 w 8"/>
                      <a:gd name="T37" fmla="*/ 0 h 7"/>
                      <a:gd name="T38" fmla="*/ 2147483647 w 8"/>
                      <a:gd name="T39" fmla="*/ 0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7">
                        <a:moveTo>
                          <a:pt x="6" y="0"/>
                        </a:moveTo>
                        <a:lnTo>
                          <a:pt x="5" y="0"/>
                        </a:lnTo>
                        <a:lnTo>
                          <a:pt x="4" y="2"/>
                        </a:lnTo>
                        <a:lnTo>
                          <a:pt x="3" y="3"/>
                        </a:lnTo>
                        <a:lnTo>
                          <a:pt x="2" y="3"/>
                        </a:lnTo>
                        <a:lnTo>
                          <a:pt x="0" y="4"/>
                        </a:lnTo>
                        <a:lnTo>
                          <a:pt x="0" y="5"/>
                        </a:lnTo>
                        <a:lnTo>
                          <a:pt x="2" y="6"/>
                        </a:lnTo>
                        <a:lnTo>
                          <a:pt x="2" y="7"/>
                        </a:lnTo>
                        <a:lnTo>
                          <a:pt x="3" y="7"/>
                        </a:lnTo>
                        <a:lnTo>
                          <a:pt x="4" y="7"/>
                        </a:lnTo>
                        <a:lnTo>
                          <a:pt x="6" y="7"/>
                        </a:lnTo>
                        <a:lnTo>
                          <a:pt x="6" y="6"/>
                        </a:lnTo>
                        <a:lnTo>
                          <a:pt x="6" y="5"/>
                        </a:lnTo>
                        <a:lnTo>
                          <a:pt x="6" y="4"/>
                        </a:lnTo>
                        <a:lnTo>
                          <a:pt x="6" y="3"/>
                        </a:lnTo>
                        <a:lnTo>
                          <a:pt x="8" y="3"/>
                        </a:lnTo>
                        <a:lnTo>
                          <a:pt x="8" y="2"/>
                        </a:lnTo>
                        <a:lnTo>
                          <a:pt x="8" y="0"/>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4" name="Freeform 2051">
                    <a:extLst>
                      <a:ext uri="{FF2B5EF4-FFF2-40B4-BE49-F238E27FC236}">
                        <a16:creationId xmlns:a16="http://schemas.microsoft.com/office/drawing/2014/main" xmlns="" id="{CD6A50CE-0705-4F86-954E-795BDC192C0A}"/>
                      </a:ext>
                    </a:extLst>
                  </p:cNvPr>
                  <p:cNvSpPr>
                    <a:spLocks/>
                  </p:cNvSpPr>
                  <p:nvPr/>
                </p:nvSpPr>
                <p:spPr bwMode="gray">
                  <a:xfrm>
                    <a:off x="5150726" y="4329932"/>
                    <a:ext cx="4450" cy="3337"/>
                  </a:xfrm>
                  <a:custGeom>
                    <a:avLst/>
                    <a:gdLst>
                      <a:gd name="T0" fmla="*/ 2147483647 w 4"/>
                      <a:gd name="T1" fmla="*/ 2147483647 h 3"/>
                      <a:gd name="T2" fmla="*/ 2147483647 w 4"/>
                      <a:gd name="T3" fmla="*/ 2147483647 h 3"/>
                      <a:gd name="T4" fmla="*/ 2147483647 w 4"/>
                      <a:gd name="T5" fmla="*/ 2147483647 h 3"/>
                      <a:gd name="T6" fmla="*/ 0 w 4"/>
                      <a:gd name="T7" fmla="*/ 2147483647 h 3"/>
                      <a:gd name="T8" fmla="*/ 0 w 4"/>
                      <a:gd name="T9" fmla="*/ 2147483647 h 3"/>
                      <a:gd name="T10" fmla="*/ 0 w 4"/>
                      <a:gd name="T11" fmla="*/ 2147483647 h 3"/>
                      <a:gd name="T12" fmla="*/ 0 w 4"/>
                      <a:gd name="T13" fmla="*/ 2147483647 h 3"/>
                      <a:gd name="T14" fmla="*/ 0 w 4"/>
                      <a:gd name="T15" fmla="*/ 2147483647 h 3"/>
                      <a:gd name="T16" fmla="*/ 0 w 4"/>
                      <a:gd name="T17" fmla="*/ 2147483647 h 3"/>
                      <a:gd name="T18" fmla="*/ 0 w 4"/>
                      <a:gd name="T19" fmla="*/ 2147483647 h 3"/>
                      <a:gd name="T20" fmla="*/ 2147483647 w 4"/>
                      <a:gd name="T21" fmla="*/ 2147483647 h 3"/>
                      <a:gd name="T22" fmla="*/ 2147483647 w 4"/>
                      <a:gd name="T23" fmla="*/ 2147483647 h 3"/>
                      <a:gd name="T24" fmla="*/ 2147483647 w 4"/>
                      <a:gd name="T25" fmla="*/ 2147483647 h 3"/>
                      <a:gd name="T26" fmla="*/ 2147483647 w 4"/>
                      <a:gd name="T27" fmla="*/ 2147483647 h 3"/>
                      <a:gd name="T28" fmla="*/ 2147483647 w 4"/>
                      <a:gd name="T29" fmla="*/ 2147483647 h 3"/>
                      <a:gd name="T30" fmla="*/ 2147483647 w 4"/>
                      <a:gd name="T31" fmla="*/ 0 h 3"/>
                      <a:gd name="T32" fmla="*/ 2147483647 w 4"/>
                      <a:gd name="T33" fmla="*/ 2147483647 h 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3">
                        <a:moveTo>
                          <a:pt x="3" y="1"/>
                        </a:moveTo>
                        <a:lnTo>
                          <a:pt x="2" y="1"/>
                        </a:lnTo>
                        <a:lnTo>
                          <a:pt x="1" y="1"/>
                        </a:lnTo>
                        <a:lnTo>
                          <a:pt x="0" y="1"/>
                        </a:lnTo>
                        <a:lnTo>
                          <a:pt x="0" y="2"/>
                        </a:lnTo>
                        <a:lnTo>
                          <a:pt x="0" y="3"/>
                        </a:lnTo>
                        <a:lnTo>
                          <a:pt x="1" y="3"/>
                        </a:lnTo>
                        <a:lnTo>
                          <a:pt x="2" y="3"/>
                        </a:lnTo>
                        <a:lnTo>
                          <a:pt x="3" y="3"/>
                        </a:lnTo>
                        <a:lnTo>
                          <a:pt x="4" y="2"/>
                        </a:lnTo>
                        <a:lnTo>
                          <a:pt x="4" y="0"/>
                        </a:lnTo>
                        <a:lnTo>
                          <a:pt x="3"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5" name="Freeform 2053">
                    <a:extLst>
                      <a:ext uri="{FF2B5EF4-FFF2-40B4-BE49-F238E27FC236}">
                        <a16:creationId xmlns:a16="http://schemas.microsoft.com/office/drawing/2014/main" xmlns="" id="{FAFE64E7-4658-4121-9B74-EBFAA2C61890}"/>
                      </a:ext>
                    </a:extLst>
                  </p:cNvPr>
                  <p:cNvSpPr>
                    <a:spLocks/>
                  </p:cNvSpPr>
                  <p:nvPr/>
                </p:nvSpPr>
                <p:spPr bwMode="gray">
                  <a:xfrm>
                    <a:off x="5271988" y="4308796"/>
                    <a:ext cx="53399" cy="37824"/>
                  </a:xfrm>
                  <a:custGeom>
                    <a:avLst/>
                    <a:gdLst>
                      <a:gd name="T0" fmla="*/ 2147483647 w 48"/>
                      <a:gd name="T1" fmla="*/ 0 h 34"/>
                      <a:gd name="T2" fmla="*/ 2147483647 w 48"/>
                      <a:gd name="T3" fmla="*/ 2147483647 h 34"/>
                      <a:gd name="T4" fmla="*/ 2147483647 w 48"/>
                      <a:gd name="T5" fmla="*/ 2147483647 h 34"/>
                      <a:gd name="T6" fmla="*/ 2147483647 w 48"/>
                      <a:gd name="T7" fmla="*/ 2147483647 h 34"/>
                      <a:gd name="T8" fmla="*/ 2147483647 w 48"/>
                      <a:gd name="T9" fmla="*/ 2147483647 h 34"/>
                      <a:gd name="T10" fmla="*/ 2147483647 w 48"/>
                      <a:gd name="T11" fmla="*/ 2147483647 h 34"/>
                      <a:gd name="T12" fmla="*/ 2147483647 w 48"/>
                      <a:gd name="T13" fmla="*/ 2147483647 h 34"/>
                      <a:gd name="T14" fmla="*/ 2147483647 w 48"/>
                      <a:gd name="T15" fmla="*/ 2147483647 h 34"/>
                      <a:gd name="T16" fmla="*/ 0 w 48"/>
                      <a:gd name="T17" fmla="*/ 2147483647 h 34"/>
                      <a:gd name="T18" fmla="*/ 0 w 48"/>
                      <a:gd name="T19" fmla="*/ 2147483647 h 34"/>
                      <a:gd name="T20" fmla="*/ 0 w 48"/>
                      <a:gd name="T21" fmla="*/ 2147483647 h 34"/>
                      <a:gd name="T22" fmla="*/ 0 w 48"/>
                      <a:gd name="T23" fmla="*/ 2147483647 h 34"/>
                      <a:gd name="T24" fmla="*/ 0 w 48"/>
                      <a:gd name="T25" fmla="*/ 2147483647 h 34"/>
                      <a:gd name="T26" fmla="*/ 0 w 48"/>
                      <a:gd name="T27" fmla="*/ 2147483647 h 34"/>
                      <a:gd name="T28" fmla="*/ 0 w 48"/>
                      <a:gd name="T29" fmla="*/ 2147483647 h 34"/>
                      <a:gd name="T30" fmla="*/ 0 w 48"/>
                      <a:gd name="T31" fmla="*/ 2147483647 h 34"/>
                      <a:gd name="T32" fmla="*/ 2147483647 w 48"/>
                      <a:gd name="T33" fmla="*/ 2147483647 h 34"/>
                      <a:gd name="T34" fmla="*/ 2147483647 w 48"/>
                      <a:gd name="T35" fmla="*/ 2147483647 h 34"/>
                      <a:gd name="T36" fmla="*/ 2147483647 w 48"/>
                      <a:gd name="T37" fmla="*/ 2147483647 h 34"/>
                      <a:gd name="T38" fmla="*/ 2147483647 w 48"/>
                      <a:gd name="T39" fmla="*/ 2147483647 h 34"/>
                      <a:gd name="T40" fmla="*/ 2147483647 w 48"/>
                      <a:gd name="T41" fmla="*/ 2147483647 h 34"/>
                      <a:gd name="T42" fmla="*/ 2147483647 w 48"/>
                      <a:gd name="T43" fmla="*/ 2147483647 h 34"/>
                      <a:gd name="T44" fmla="*/ 2147483647 w 48"/>
                      <a:gd name="T45" fmla="*/ 2147483647 h 34"/>
                      <a:gd name="T46" fmla="*/ 2147483647 w 48"/>
                      <a:gd name="T47" fmla="*/ 2147483647 h 34"/>
                      <a:gd name="T48" fmla="*/ 2147483647 w 48"/>
                      <a:gd name="T49" fmla="*/ 2147483647 h 34"/>
                      <a:gd name="T50" fmla="*/ 2147483647 w 48"/>
                      <a:gd name="T51" fmla="*/ 2147483647 h 34"/>
                      <a:gd name="T52" fmla="*/ 2147483647 w 48"/>
                      <a:gd name="T53" fmla="*/ 2147483647 h 34"/>
                      <a:gd name="T54" fmla="*/ 2147483647 w 48"/>
                      <a:gd name="T55" fmla="*/ 2147483647 h 34"/>
                      <a:gd name="T56" fmla="*/ 2147483647 w 48"/>
                      <a:gd name="T57" fmla="*/ 2147483647 h 34"/>
                      <a:gd name="T58" fmla="*/ 2147483647 w 48"/>
                      <a:gd name="T59" fmla="*/ 2147483647 h 34"/>
                      <a:gd name="T60" fmla="*/ 2147483647 w 48"/>
                      <a:gd name="T61" fmla="*/ 2147483647 h 34"/>
                      <a:gd name="T62" fmla="*/ 2147483647 w 48"/>
                      <a:gd name="T63" fmla="*/ 2147483647 h 34"/>
                      <a:gd name="T64" fmla="*/ 2147483647 w 48"/>
                      <a:gd name="T65" fmla="*/ 2147483647 h 34"/>
                      <a:gd name="T66" fmla="*/ 2147483647 w 48"/>
                      <a:gd name="T67" fmla="*/ 2147483647 h 34"/>
                      <a:gd name="T68" fmla="*/ 2147483647 w 48"/>
                      <a:gd name="T69" fmla="*/ 2147483647 h 34"/>
                      <a:gd name="T70" fmla="*/ 2147483647 w 48"/>
                      <a:gd name="T71" fmla="*/ 2147483647 h 34"/>
                      <a:gd name="T72" fmla="*/ 2147483647 w 48"/>
                      <a:gd name="T73" fmla="*/ 2147483647 h 34"/>
                      <a:gd name="T74" fmla="*/ 2147483647 w 48"/>
                      <a:gd name="T75" fmla="*/ 2147483647 h 34"/>
                      <a:gd name="T76" fmla="*/ 2147483647 w 48"/>
                      <a:gd name="T77" fmla="*/ 2147483647 h 34"/>
                      <a:gd name="T78" fmla="*/ 2147483647 w 48"/>
                      <a:gd name="T79" fmla="*/ 2147483647 h 34"/>
                      <a:gd name="T80" fmla="*/ 2147483647 w 48"/>
                      <a:gd name="T81" fmla="*/ 2147483647 h 34"/>
                      <a:gd name="T82" fmla="*/ 2147483647 w 48"/>
                      <a:gd name="T83" fmla="*/ 2147483647 h 34"/>
                      <a:gd name="T84" fmla="*/ 2147483647 w 48"/>
                      <a:gd name="T85" fmla="*/ 2147483647 h 34"/>
                      <a:gd name="T86" fmla="*/ 2147483647 w 48"/>
                      <a:gd name="T87" fmla="*/ 2147483647 h 34"/>
                      <a:gd name="T88" fmla="*/ 2147483647 w 48"/>
                      <a:gd name="T89" fmla="*/ 2147483647 h 34"/>
                      <a:gd name="T90" fmla="*/ 2147483647 w 48"/>
                      <a:gd name="T91" fmla="*/ 2147483647 h 34"/>
                      <a:gd name="T92" fmla="*/ 2147483647 w 48"/>
                      <a:gd name="T93" fmla="*/ 2147483647 h 34"/>
                      <a:gd name="T94" fmla="*/ 2147483647 w 48"/>
                      <a:gd name="T95" fmla="*/ 2147483647 h 34"/>
                      <a:gd name="T96" fmla="*/ 2147483647 w 48"/>
                      <a:gd name="T97" fmla="*/ 2147483647 h 34"/>
                      <a:gd name="T98" fmla="*/ 2147483647 w 48"/>
                      <a:gd name="T99" fmla="*/ 2147483647 h 34"/>
                      <a:gd name="T100" fmla="*/ 2147483647 w 48"/>
                      <a:gd name="T101" fmla="*/ 2147483647 h 34"/>
                      <a:gd name="T102" fmla="*/ 2147483647 w 48"/>
                      <a:gd name="T103" fmla="*/ 0 h 34"/>
                      <a:gd name="T104" fmla="*/ 2147483647 w 48"/>
                      <a:gd name="T105" fmla="*/ 0 h 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8" h="34">
                        <a:moveTo>
                          <a:pt x="22" y="0"/>
                        </a:moveTo>
                        <a:lnTo>
                          <a:pt x="18" y="3"/>
                        </a:lnTo>
                        <a:lnTo>
                          <a:pt x="17" y="6"/>
                        </a:lnTo>
                        <a:lnTo>
                          <a:pt x="16" y="7"/>
                        </a:lnTo>
                        <a:lnTo>
                          <a:pt x="13" y="9"/>
                        </a:lnTo>
                        <a:lnTo>
                          <a:pt x="8" y="10"/>
                        </a:lnTo>
                        <a:lnTo>
                          <a:pt x="3" y="10"/>
                        </a:lnTo>
                        <a:lnTo>
                          <a:pt x="0" y="10"/>
                        </a:lnTo>
                        <a:lnTo>
                          <a:pt x="0" y="11"/>
                        </a:lnTo>
                        <a:lnTo>
                          <a:pt x="0" y="12"/>
                        </a:lnTo>
                        <a:lnTo>
                          <a:pt x="0" y="13"/>
                        </a:lnTo>
                        <a:lnTo>
                          <a:pt x="0" y="14"/>
                        </a:lnTo>
                        <a:lnTo>
                          <a:pt x="0" y="16"/>
                        </a:lnTo>
                        <a:lnTo>
                          <a:pt x="0" y="20"/>
                        </a:lnTo>
                        <a:lnTo>
                          <a:pt x="3" y="23"/>
                        </a:lnTo>
                        <a:lnTo>
                          <a:pt x="8" y="24"/>
                        </a:lnTo>
                        <a:lnTo>
                          <a:pt x="14" y="24"/>
                        </a:lnTo>
                        <a:lnTo>
                          <a:pt x="19" y="23"/>
                        </a:lnTo>
                        <a:lnTo>
                          <a:pt x="20" y="24"/>
                        </a:lnTo>
                        <a:lnTo>
                          <a:pt x="20" y="26"/>
                        </a:lnTo>
                        <a:lnTo>
                          <a:pt x="19" y="28"/>
                        </a:lnTo>
                        <a:lnTo>
                          <a:pt x="19" y="30"/>
                        </a:lnTo>
                        <a:lnTo>
                          <a:pt x="24" y="31"/>
                        </a:lnTo>
                        <a:lnTo>
                          <a:pt x="29" y="32"/>
                        </a:lnTo>
                        <a:lnTo>
                          <a:pt x="34" y="33"/>
                        </a:lnTo>
                        <a:lnTo>
                          <a:pt x="39" y="34"/>
                        </a:lnTo>
                        <a:lnTo>
                          <a:pt x="39" y="33"/>
                        </a:lnTo>
                        <a:lnTo>
                          <a:pt x="41" y="32"/>
                        </a:lnTo>
                        <a:lnTo>
                          <a:pt x="41" y="31"/>
                        </a:lnTo>
                        <a:lnTo>
                          <a:pt x="41" y="30"/>
                        </a:lnTo>
                        <a:lnTo>
                          <a:pt x="42" y="29"/>
                        </a:lnTo>
                        <a:lnTo>
                          <a:pt x="43" y="29"/>
                        </a:lnTo>
                        <a:lnTo>
                          <a:pt x="45" y="30"/>
                        </a:lnTo>
                        <a:lnTo>
                          <a:pt x="48" y="30"/>
                        </a:lnTo>
                        <a:lnTo>
                          <a:pt x="48" y="28"/>
                        </a:lnTo>
                        <a:lnTo>
                          <a:pt x="48" y="27"/>
                        </a:lnTo>
                        <a:lnTo>
                          <a:pt x="48" y="25"/>
                        </a:lnTo>
                        <a:lnTo>
                          <a:pt x="48" y="23"/>
                        </a:lnTo>
                        <a:lnTo>
                          <a:pt x="45" y="22"/>
                        </a:lnTo>
                        <a:lnTo>
                          <a:pt x="43" y="21"/>
                        </a:lnTo>
                        <a:lnTo>
                          <a:pt x="42" y="20"/>
                        </a:lnTo>
                        <a:lnTo>
                          <a:pt x="41" y="20"/>
                        </a:lnTo>
                        <a:lnTo>
                          <a:pt x="41" y="19"/>
                        </a:lnTo>
                        <a:lnTo>
                          <a:pt x="41" y="15"/>
                        </a:lnTo>
                        <a:lnTo>
                          <a:pt x="40" y="13"/>
                        </a:lnTo>
                        <a:lnTo>
                          <a:pt x="39" y="10"/>
                        </a:lnTo>
                        <a:lnTo>
                          <a:pt x="36" y="9"/>
                        </a:lnTo>
                        <a:lnTo>
                          <a:pt x="34" y="6"/>
                        </a:lnTo>
                        <a:lnTo>
                          <a:pt x="33" y="4"/>
                        </a:lnTo>
                        <a:lnTo>
                          <a:pt x="32" y="0"/>
                        </a:lnTo>
                        <a:lnTo>
                          <a:pt x="2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6" name="Freeform 2055">
                    <a:extLst>
                      <a:ext uri="{FF2B5EF4-FFF2-40B4-BE49-F238E27FC236}">
                        <a16:creationId xmlns:a16="http://schemas.microsoft.com/office/drawing/2014/main" xmlns="" id="{C9F80E64-0943-4511-8C84-61841B97CED5}"/>
                      </a:ext>
                    </a:extLst>
                  </p:cNvPr>
                  <p:cNvSpPr>
                    <a:spLocks/>
                  </p:cNvSpPr>
                  <p:nvPr/>
                </p:nvSpPr>
                <p:spPr bwMode="gray">
                  <a:xfrm>
                    <a:off x="5217476" y="4306572"/>
                    <a:ext cx="4450" cy="6675"/>
                  </a:xfrm>
                  <a:custGeom>
                    <a:avLst/>
                    <a:gdLst>
                      <a:gd name="T0" fmla="*/ 0 w 4"/>
                      <a:gd name="T1" fmla="*/ 0 h 6"/>
                      <a:gd name="T2" fmla="*/ 0 w 4"/>
                      <a:gd name="T3" fmla="*/ 2147483647 h 6"/>
                      <a:gd name="T4" fmla="*/ 0 w 4"/>
                      <a:gd name="T5" fmla="*/ 2147483647 h 6"/>
                      <a:gd name="T6" fmla="*/ 0 w 4"/>
                      <a:gd name="T7" fmla="*/ 2147483647 h 6"/>
                      <a:gd name="T8" fmla="*/ 0 w 4"/>
                      <a:gd name="T9" fmla="*/ 2147483647 h 6"/>
                      <a:gd name="T10" fmla="*/ 0 w 4"/>
                      <a:gd name="T11" fmla="*/ 2147483647 h 6"/>
                      <a:gd name="T12" fmla="*/ 0 w 4"/>
                      <a:gd name="T13" fmla="*/ 2147483647 h 6"/>
                      <a:gd name="T14" fmla="*/ 0 w 4"/>
                      <a:gd name="T15" fmla="*/ 2147483647 h 6"/>
                      <a:gd name="T16" fmla="*/ 2147483647 w 4"/>
                      <a:gd name="T17" fmla="*/ 2147483647 h 6"/>
                      <a:gd name="T18" fmla="*/ 2147483647 w 4"/>
                      <a:gd name="T19" fmla="*/ 2147483647 h 6"/>
                      <a:gd name="T20" fmla="*/ 2147483647 w 4"/>
                      <a:gd name="T21" fmla="*/ 2147483647 h 6"/>
                      <a:gd name="T22" fmla="*/ 2147483647 w 4"/>
                      <a:gd name="T23" fmla="*/ 2147483647 h 6"/>
                      <a:gd name="T24" fmla="*/ 2147483647 w 4"/>
                      <a:gd name="T25" fmla="*/ 2147483647 h 6"/>
                      <a:gd name="T26" fmla="*/ 2147483647 w 4"/>
                      <a:gd name="T27" fmla="*/ 2147483647 h 6"/>
                      <a:gd name="T28" fmla="*/ 2147483647 w 4"/>
                      <a:gd name="T29" fmla="*/ 0 h 6"/>
                      <a:gd name="T30" fmla="*/ 0 w 4"/>
                      <a:gd name="T31" fmla="*/ 0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 h="6">
                        <a:moveTo>
                          <a:pt x="0" y="0"/>
                        </a:moveTo>
                        <a:lnTo>
                          <a:pt x="0" y="2"/>
                        </a:lnTo>
                        <a:lnTo>
                          <a:pt x="0" y="3"/>
                        </a:lnTo>
                        <a:lnTo>
                          <a:pt x="0" y="5"/>
                        </a:lnTo>
                        <a:lnTo>
                          <a:pt x="0" y="6"/>
                        </a:lnTo>
                        <a:lnTo>
                          <a:pt x="1" y="6"/>
                        </a:lnTo>
                        <a:lnTo>
                          <a:pt x="2" y="5"/>
                        </a:lnTo>
                        <a:lnTo>
                          <a:pt x="3" y="3"/>
                        </a:lnTo>
                        <a:lnTo>
                          <a:pt x="4" y="3"/>
                        </a:lnTo>
                        <a:lnTo>
                          <a:pt x="3" y="2"/>
                        </a:lnTo>
                        <a:lnTo>
                          <a:pt x="2" y="1"/>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7" name="Freeform 2057">
                    <a:extLst>
                      <a:ext uri="{FF2B5EF4-FFF2-40B4-BE49-F238E27FC236}">
                        <a16:creationId xmlns:a16="http://schemas.microsoft.com/office/drawing/2014/main" xmlns="" id="{04C86303-1E41-4F17-820B-AD478A1BE2F1}"/>
                      </a:ext>
                    </a:extLst>
                  </p:cNvPr>
                  <p:cNvSpPr>
                    <a:spLocks/>
                  </p:cNvSpPr>
                  <p:nvPr/>
                </p:nvSpPr>
                <p:spPr bwMode="gray">
                  <a:xfrm>
                    <a:off x="4881505" y="4298784"/>
                    <a:ext cx="28925" cy="34485"/>
                  </a:xfrm>
                  <a:custGeom>
                    <a:avLst/>
                    <a:gdLst>
                      <a:gd name="T0" fmla="*/ 2147483647 w 26"/>
                      <a:gd name="T1" fmla="*/ 0 h 31"/>
                      <a:gd name="T2" fmla="*/ 2147483647 w 26"/>
                      <a:gd name="T3" fmla="*/ 2147483647 h 31"/>
                      <a:gd name="T4" fmla="*/ 0 w 26"/>
                      <a:gd name="T5" fmla="*/ 2147483647 h 31"/>
                      <a:gd name="T6" fmla="*/ 2147483647 w 26"/>
                      <a:gd name="T7" fmla="*/ 2147483647 h 31"/>
                      <a:gd name="T8" fmla="*/ 2147483647 w 26"/>
                      <a:gd name="T9" fmla="*/ 2147483647 h 31"/>
                      <a:gd name="T10" fmla="*/ 2147483647 w 26"/>
                      <a:gd name="T11" fmla="*/ 2147483647 h 31"/>
                      <a:gd name="T12" fmla="*/ 2147483647 w 26"/>
                      <a:gd name="T13" fmla="*/ 2147483647 h 31"/>
                      <a:gd name="T14" fmla="*/ 2147483647 w 26"/>
                      <a:gd name="T15" fmla="*/ 2147483647 h 31"/>
                      <a:gd name="T16" fmla="*/ 2147483647 w 26"/>
                      <a:gd name="T17" fmla="*/ 2147483647 h 31"/>
                      <a:gd name="T18" fmla="*/ 2147483647 w 26"/>
                      <a:gd name="T19" fmla="*/ 2147483647 h 31"/>
                      <a:gd name="T20" fmla="*/ 2147483647 w 26"/>
                      <a:gd name="T21" fmla="*/ 2147483647 h 31"/>
                      <a:gd name="T22" fmla="*/ 2147483647 w 26"/>
                      <a:gd name="T23" fmla="*/ 2147483647 h 31"/>
                      <a:gd name="T24" fmla="*/ 2147483647 w 26"/>
                      <a:gd name="T25" fmla="*/ 2147483647 h 31"/>
                      <a:gd name="T26" fmla="*/ 2147483647 w 26"/>
                      <a:gd name="T27" fmla="*/ 2147483647 h 31"/>
                      <a:gd name="T28" fmla="*/ 2147483647 w 26"/>
                      <a:gd name="T29" fmla="*/ 2147483647 h 31"/>
                      <a:gd name="T30" fmla="*/ 2147483647 w 26"/>
                      <a:gd name="T31" fmla="*/ 2147483647 h 31"/>
                      <a:gd name="T32" fmla="*/ 2147483647 w 26"/>
                      <a:gd name="T33" fmla="*/ 2147483647 h 31"/>
                      <a:gd name="T34" fmla="*/ 2147483647 w 26"/>
                      <a:gd name="T35" fmla="*/ 2147483647 h 31"/>
                      <a:gd name="T36" fmla="*/ 2147483647 w 26"/>
                      <a:gd name="T37" fmla="*/ 2147483647 h 31"/>
                      <a:gd name="T38" fmla="*/ 2147483647 w 26"/>
                      <a:gd name="T39" fmla="*/ 2147483647 h 31"/>
                      <a:gd name="T40" fmla="*/ 2147483647 w 26"/>
                      <a:gd name="T41" fmla="*/ 2147483647 h 31"/>
                      <a:gd name="T42" fmla="*/ 2147483647 w 26"/>
                      <a:gd name="T43" fmla="*/ 2147483647 h 31"/>
                      <a:gd name="T44" fmla="*/ 2147483647 w 26"/>
                      <a:gd name="T45" fmla="*/ 2147483647 h 31"/>
                      <a:gd name="T46" fmla="*/ 2147483647 w 26"/>
                      <a:gd name="T47" fmla="*/ 2147483647 h 31"/>
                      <a:gd name="T48" fmla="*/ 2147483647 w 26"/>
                      <a:gd name="T49" fmla="*/ 2147483647 h 31"/>
                      <a:gd name="T50" fmla="*/ 2147483647 w 26"/>
                      <a:gd name="T51" fmla="*/ 2147483647 h 31"/>
                      <a:gd name="T52" fmla="*/ 2147483647 w 26"/>
                      <a:gd name="T53" fmla="*/ 2147483647 h 31"/>
                      <a:gd name="T54" fmla="*/ 2147483647 w 26"/>
                      <a:gd name="T55" fmla="*/ 2147483647 h 31"/>
                      <a:gd name="T56" fmla="*/ 2147483647 w 26"/>
                      <a:gd name="T57" fmla="*/ 2147483647 h 31"/>
                      <a:gd name="T58" fmla="*/ 2147483647 w 26"/>
                      <a:gd name="T59" fmla="*/ 2147483647 h 31"/>
                      <a:gd name="T60" fmla="*/ 2147483647 w 26"/>
                      <a:gd name="T61" fmla="*/ 2147483647 h 31"/>
                      <a:gd name="T62" fmla="*/ 2147483647 w 26"/>
                      <a:gd name="T63" fmla="*/ 2147483647 h 31"/>
                      <a:gd name="T64" fmla="*/ 2147483647 w 26"/>
                      <a:gd name="T65" fmla="*/ 2147483647 h 31"/>
                      <a:gd name="T66" fmla="*/ 2147483647 w 26"/>
                      <a:gd name="T67" fmla="*/ 2147483647 h 31"/>
                      <a:gd name="T68" fmla="*/ 2147483647 w 26"/>
                      <a:gd name="T69" fmla="*/ 2147483647 h 31"/>
                      <a:gd name="T70" fmla="*/ 2147483647 w 26"/>
                      <a:gd name="T71" fmla="*/ 2147483647 h 31"/>
                      <a:gd name="T72" fmla="*/ 2147483647 w 26"/>
                      <a:gd name="T73" fmla="*/ 2147483647 h 31"/>
                      <a:gd name="T74" fmla="*/ 2147483647 w 26"/>
                      <a:gd name="T75" fmla="*/ 2147483647 h 31"/>
                      <a:gd name="T76" fmla="*/ 2147483647 w 26"/>
                      <a:gd name="T77" fmla="*/ 2147483647 h 31"/>
                      <a:gd name="T78" fmla="*/ 2147483647 w 26"/>
                      <a:gd name="T79" fmla="*/ 2147483647 h 31"/>
                      <a:gd name="T80" fmla="*/ 2147483647 w 26"/>
                      <a:gd name="T81" fmla="*/ 2147483647 h 31"/>
                      <a:gd name="T82" fmla="*/ 2147483647 w 26"/>
                      <a:gd name="T83" fmla="*/ 2147483647 h 31"/>
                      <a:gd name="T84" fmla="*/ 2147483647 w 26"/>
                      <a:gd name="T85" fmla="*/ 2147483647 h 31"/>
                      <a:gd name="T86" fmla="*/ 2147483647 w 26"/>
                      <a:gd name="T87" fmla="*/ 2147483647 h 31"/>
                      <a:gd name="T88" fmla="*/ 2147483647 w 26"/>
                      <a:gd name="T89" fmla="*/ 2147483647 h 31"/>
                      <a:gd name="T90" fmla="*/ 2147483647 w 26"/>
                      <a:gd name="T91" fmla="*/ 2147483647 h 31"/>
                      <a:gd name="T92" fmla="*/ 2147483647 w 26"/>
                      <a:gd name="T93" fmla="*/ 2147483647 h 31"/>
                      <a:gd name="T94" fmla="*/ 2147483647 w 26"/>
                      <a:gd name="T95" fmla="*/ 2147483647 h 31"/>
                      <a:gd name="T96" fmla="*/ 2147483647 w 26"/>
                      <a:gd name="T97" fmla="*/ 2147483647 h 31"/>
                      <a:gd name="T98" fmla="*/ 2147483647 w 26"/>
                      <a:gd name="T99" fmla="*/ 0 h 31"/>
                      <a:gd name="T100" fmla="*/ 2147483647 w 26"/>
                      <a:gd name="T101" fmla="*/ 0 h 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 h="31">
                        <a:moveTo>
                          <a:pt x="4" y="0"/>
                        </a:moveTo>
                        <a:lnTo>
                          <a:pt x="1" y="6"/>
                        </a:lnTo>
                        <a:lnTo>
                          <a:pt x="0" y="6"/>
                        </a:lnTo>
                        <a:lnTo>
                          <a:pt x="1" y="6"/>
                        </a:lnTo>
                        <a:lnTo>
                          <a:pt x="3" y="6"/>
                        </a:lnTo>
                        <a:lnTo>
                          <a:pt x="4" y="6"/>
                        </a:lnTo>
                        <a:lnTo>
                          <a:pt x="4" y="8"/>
                        </a:lnTo>
                        <a:lnTo>
                          <a:pt x="4" y="9"/>
                        </a:lnTo>
                        <a:lnTo>
                          <a:pt x="4" y="10"/>
                        </a:lnTo>
                        <a:lnTo>
                          <a:pt x="4" y="12"/>
                        </a:lnTo>
                        <a:lnTo>
                          <a:pt x="5" y="13"/>
                        </a:lnTo>
                        <a:lnTo>
                          <a:pt x="6" y="14"/>
                        </a:lnTo>
                        <a:lnTo>
                          <a:pt x="7" y="15"/>
                        </a:lnTo>
                        <a:lnTo>
                          <a:pt x="8" y="16"/>
                        </a:lnTo>
                        <a:lnTo>
                          <a:pt x="9" y="19"/>
                        </a:lnTo>
                        <a:lnTo>
                          <a:pt x="10" y="23"/>
                        </a:lnTo>
                        <a:lnTo>
                          <a:pt x="10" y="31"/>
                        </a:lnTo>
                        <a:lnTo>
                          <a:pt x="15" y="31"/>
                        </a:lnTo>
                        <a:lnTo>
                          <a:pt x="18" y="31"/>
                        </a:lnTo>
                        <a:lnTo>
                          <a:pt x="21" y="31"/>
                        </a:lnTo>
                        <a:lnTo>
                          <a:pt x="26" y="31"/>
                        </a:lnTo>
                        <a:lnTo>
                          <a:pt x="24" y="31"/>
                        </a:lnTo>
                        <a:lnTo>
                          <a:pt x="24" y="30"/>
                        </a:lnTo>
                        <a:lnTo>
                          <a:pt x="22" y="28"/>
                        </a:lnTo>
                        <a:lnTo>
                          <a:pt x="22" y="27"/>
                        </a:lnTo>
                        <a:lnTo>
                          <a:pt x="22" y="26"/>
                        </a:lnTo>
                        <a:lnTo>
                          <a:pt x="20" y="26"/>
                        </a:lnTo>
                        <a:lnTo>
                          <a:pt x="19" y="26"/>
                        </a:lnTo>
                        <a:lnTo>
                          <a:pt x="17" y="26"/>
                        </a:lnTo>
                        <a:lnTo>
                          <a:pt x="17" y="16"/>
                        </a:lnTo>
                        <a:lnTo>
                          <a:pt x="16" y="15"/>
                        </a:lnTo>
                        <a:lnTo>
                          <a:pt x="15" y="14"/>
                        </a:lnTo>
                        <a:lnTo>
                          <a:pt x="14" y="13"/>
                        </a:lnTo>
                        <a:lnTo>
                          <a:pt x="13" y="12"/>
                        </a:lnTo>
                        <a:lnTo>
                          <a:pt x="13" y="11"/>
                        </a:lnTo>
                        <a:lnTo>
                          <a:pt x="13" y="8"/>
                        </a:lnTo>
                        <a:lnTo>
                          <a:pt x="13" y="5"/>
                        </a:lnTo>
                        <a:lnTo>
                          <a:pt x="13" y="6"/>
                        </a:lnTo>
                        <a:lnTo>
                          <a:pt x="13" y="5"/>
                        </a:lnTo>
                        <a:lnTo>
                          <a:pt x="13" y="4"/>
                        </a:lnTo>
                        <a:lnTo>
                          <a:pt x="13" y="3"/>
                        </a:lnTo>
                        <a:lnTo>
                          <a:pt x="11" y="3"/>
                        </a:lnTo>
                        <a:lnTo>
                          <a:pt x="9" y="2"/>
                        </a:lnTo>
                        <a:lnTo>
                          <a:pt x="7"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8" name="Freeform 2059">
                    <a:extLst>
                      <a:ext uri="{FF2B5EF4-FFF2-40B4-BE49-F238E27FC236}">
                        <a16:creationId xmlns:a16="http://schemas.microsoft.com/office/drawing/2014/main" xmlns="" id="{43C48C46-5154-44CA-8D87-61D7AB273412}"/>
                      </a:ext>
                    </a:extLst>
                  </p:cNvPr>
                  <p:cNvSpPr>
                    <a:spLocks/>
                  </p:cNvSpPr>
                  <p:nvPr/>
                </p:nvSpPr>
                <p:spPr bwMode="gray">
                  <a:xfrm>
                    <a:off x="5211913" y="4263186"/>
                    <a:ext cx="27812" cy="22249"/>
                  </a:xfrm>
                  <a:custGeom>
                    <a:avLst/>
                    <a:gdLst>
                      <a:gd name="T0" fmla="*/ 2147483647 w 25"/>
                      <a:gd name="T1" fmla="*/ 0 h 20"/>
                      <a:gd name="T2" fmla="*/ 0 w 25"/>
                      <a:gd name="T3" fmla="*/ 0 h 20"/>
                      <a:gd name="T4" fmla="*/ 0 w 25"/>
                      <a:gd name="T5" fmla="*/ 2147483647 h 20"/>
                      <a:gd name="T6" fmla="*/ 2147483647 w 25"/>
                      <a:gd name="T7" fmla="*/ 2147483647 h 20"/>
                      <a:gd name="T8" fmla="*/ 2147483647 w 25"/>
                      <a:gd name="T9" fmla="*/ 2147483647 h 20"/>
                      <a:gd name="T10" fmla="*/ 2147483647 w 25"/>
                      <a:gd name="T11" fmla="*/ 2147483647 h 20"/>
                      <a:gd name="T12" fmla="*/ 2147483647 w 25"/>
                      <a:gd name="T13" fmla="*/ 2147483647 h 20"/>
                      <a:gd name="T14" fmla="*/ 2147483647 w 25"/>
                      <a:gd name="T15" fmla="*/ 2147483647 h 20"/>
                      <a:gd name="T16" fmla="*/ 2147483647 w 25"/>
                      <a:gd name="T17" fmla="*/ 2147483647 h 20"/>
                      <a:gd name="T18" fmla="*/ 2147483647 w 25"/>
                      <a:gd name="T19" fmla="*/ 2147483647 h 20"/>
                      <a:gd name="T20" fmla="*/ 2147483647 w 25"/>
                      <a:gd name="T21" fmla="*/ 2147483647 h 20"/>
                      <a:gd name="T22" fmla="*/ 2147483647 w 25"/>
                      <a:gd name="T23" fmla="*/ 2147483647 h 20"/>
                      <a:gd name="T24" fmla="*/ 2147483647 w 25"/>
                      <a:gd name="T25" fmla="*/ 2147483647 h 20"/>
                      <a:gd name="T26" fmla="*/ 2147483647 w 25"/>
                      <a:gd name="T27" fmla="*/ 2147483647 h 20"/>
                      <a:gd name="T28" fmla="*/ 2147483647 w 25"/>
                      <a:gd name="T29" fmla="*/ 2147483647 h 20"/>
                      <a:gd name="T30" fmla="*/ 2147483647 w 25"/>
                      <a:gd name="T31" fmla="*/ 2147483647 h 20"/>
                      <a:gd name="T32" fmla="*/ 2147483647 w 25"/>
                      <a:gd name="T33" fmla="*/ 2147483647 h 20"/>
                      <a:gd name="T34" fmla="*/ 2147483647 w 25"/>
                      <a:gd name="T35" fmla="*/ 2147483647 h 20"/>
                      <a:gd name="T36" fmla="*/ 2147483647 w 25"/>
                      <a:gd name="T37" fmla="*/ 2147483647 h 20"/>
                      <a:gd name="T38" fmla="*/ 2147483647 w 25"/>
                      <a:gd name="T39" fmla="*/ 2147483647 h 20"/>
                      <a:gd name="T40" fmla="*/ 2147483647 w 25"/>
                      <a:gd name="T41" fmla="*/ 2147483647 h 20"/>
                      <a:gd name="T42" fmla="*/ 2147483647 w 25"/>
                      <a:gd name="T43" fmla="*/ 2147483647 h 20"/>
                      <a:gd name="T44" fmla="*/ 2147483647 w 25"/>
                      <a:gd name="T45" fmla="*/ 2147483647 h 20"/>
                      <a:gd name="T46" fmla="*/ 2147483647 w 25"/>
                      <a:gd name="T47" fmla="*/ 2147483647 h 20"/>
                      <a:gd name="T48" fmla="*/ 2147483647 w 25"/>
                      <a:gd name="T49" fmla="*/ 2147483647 h 20"/>
                      <a:gd name="T50" fmla="*/ 2147483647 w 25"/>
                      <a:gd name="T51" fmla="*/ 2147483647 h 20"/>
                      <a:gd name="T52" fmla="*/ 2147483647 w 25"/>
                      <a:gd name="T53" fmla="*/ 2147483647 h 20"/>
                      <a:gd name="T54" fmla="*/ 2147483647 w 25"/>
                      <a:gd name="T55" fmla="*/ 0 h 20"/>
                      <a:gd name="T56" fmla="*/ 2147483647 w 25"/>
                      <a:gd name="T57" fmla="*/ 0 h 20"/>
                      <a:gd name="T58" fmla="*/ 2147483647 w 25"/>
                      <a:gd name="T59" fmla="*/ 2147483647 h 20"/>
                      <a:gd name="T60" fmla="*/ 2147483647 w 25"/>
                      <a:gd name="T61" fmla="*/ 2147483647 h 20"/>
                      <a:gd name="T62" fmla="*/ 2147483647 w 25"/>
                      <a:gd name="T63" fmla="*/ 2147483647 h 20"/>
                      <a:gd name="T64" fmla="*/ 2147483647 w 25"/>
                      <a:gd name="T65" fmla="*/ 2147483647 h 20"/>
                      <a:gd name="T66" fmla="*/ 2147483647 w 25"/>
                      <a:gd name="T67" fmla="*/ 2147483647 h 20"/>
                      <a:gd name="T68" fmla="*/ 2147483647 w 25"/>
                      <a:gd name="T69" fmla="*/ 2147483647 h 20"/>
                      <a:gd name="T70" fmla="*/ 2147483647 w 25"/>
                      <a:gd name="T71" fmla="*/ 0 h 20"/>
                      <a:gd name="T72" fmla="*/ 2147483647 w 25"/>
                      <a:gd name="T73" fmla="*/ 0 h 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5" h="20">
                        <a:moveTo>
                          <a:pt x="3" y="0"/>
                        </a:moveTo>
                        <a:lnTo>
                          <a:pt x="2" y="0"/>
                        </a:lnTo>
                        <a:lnTo>
                          <a:pt x="1" y="0"/>
                        </a:lnTo>
                        <a:lnTo>
                          <a:pt x="0" y="0"/>
                        </a:lnTo>
                        <a:lnTo>
                          <a:pt x="0" y="4"/>
                        </a:lnTo>
                        <a:lnTo>
                          <a:pt x="1" y="8"/>
                        </a:lnTo>
                        <a:lnTo>
                          <a:pt x="1" y="12"/>
                        </a:lnTo>
                        <a:lnTo>
                          <a:pt x="0" y="13"/>
                        </a:lnTo>
                        <a:lnTo>
                          <a:pt x="2" y="13"/>
                        </a:lnTo>
                        <a:lnTo>
                          <a:pt x="3" y="13"/>
                        </a:lnTo>
                        <a:lnTo>
                          <a:pt x="4" y="13"/>
                        </a:lnTo>
                        <a:lnTo>
                          <a:pt x="6" y="13"/>
                        </a:lnTo>
                        <a:lnTo>
                          <a:pt x="8" y="15"/>
                        </a:lnTo>
                        <a:lnTo>
                          <a:pt x="8" y="16"/>
                        </a:lnTo>
                        <a:lnTo>
                          <a:pt x="7" y="18"/>
                        </a:lnTo>
                        <a:lnTo>
                          <a:pt x="6" y="20"/>
                        </a:lnTo>
                        <a:lnTo>
                          <a:pt x="7" y="20"/>
                        </a:lnTo>
                        <a:lnTo>
                          <a:pt x="8" y="20"/>
                        </a:lnTo>
                        <a:lnTo>
                          <a:pt x="9" y="20"/>
                        </a:lnTo>
                        <a:lnTo>
                          <a:pt x="10" y="20"/>
                        </a:lnTo>
                        <a:lnTo>
                          <a:pt x="11" y="20"/>
                        </a:lnTo>
                        <a:lnTo>
                          <a:pt x="12" y="20"/>
                        </a:lnTo>
                        <a:lnTo>
                          <a:pt x="12" y="18"/>
                        </a:lnTo>
                        <a:lnTo>
                          <a:pt x="12" y="16"/>
                        </a:lnTo>
                        <a:lnTo>
                          <a:pt x="12" y="13"/>
                        </a:lnTo>
                        <a:lnTo>
                          <a:pt x="12" y="10"/>
                        </a:lnTo>
                        <a:lnTo>
                          <a:pt x="14" y="10"/>
                        </a:lnTo>
                        <a:lnTo>
                          <a:pt x="15" y="10"/>
                        </a:lnTo>
                        <a:lnTo>
                          <a:pt x="17" y="10"/>
                        </a:lnTo>
                        <a:lnTo>
                          <a:pt x="19" y="10"/>
                        </a:lnTo>
                        <a:lnTo>
                          <a:pt x="17" y="12"/>
                        </a:lnTo>
                        <a:lnTo>
                          <a:pt x="16" y="14"/>
                        </a:lnTo>
                        <a:lnTo>
                          <a:pt x="15" y="16"/>
                        </a:lnTo>
                        <a:lnTo>
                          <a:pt x="15" y="17"/>
                        </a:lnTo>
                        <a:lnTo>
                          <a:pt x="15" y="18"/>
                        </a:lnTo>
                        <a:lnTo>
                          <a:pt x="15" y="20"/>
                        </a:lnTo>
                        <a:lnTo>
                          <a:pt x="16" y="20"/>
                        </a:lnTo>
                        <a:lnTo>
                          <a:pt x="17" y="20"/>
                        </a:lnTo>
                        <a:lnTo>
                          <a:pt x="18" y="20"/>
                        </a:lnTo>
                        <a:lnTo>
                          <a:pt x="19" y="20"/>
                        </a:lnTo>
                        <a:lnTo>
                          <a:pt x="19" y="16"/>
                        </a:lnTo>
                        <a:lnTo>
                          <a:pt x="21" y="16"/>
                        </a:lnTo>
                        <a:lnTo>
                          <a:pt x="22" y="14"/>
                        </a:lnTo>
                        <a:lnTo>
                          <a:pt x="22" y="10"/>
                        </a:lnTo>
                        <a:lnTo>
                          <a:pt x="23" y="10"/>
                        </a:lnTo>
                        <a:lnTo>
                          <a:pt x="24" y="9"/>
                        </a:lnTo>
                        <a:lnTo>
                          <a:pt x="25" y="8"/>
                        </a:lnTo>
                        <a:lnTo>
                          <a:pt x="25" y="7"/>
                        </a:lnTo>
                        <a:lnTo>
                          <a:pt x="25" y="6"/>
                        </a:lnTo>
                        <a:lnTo>
                          <a:pt x="24" y="4"/>
                        </a:lnTo>
                        <a:lnTo>
                          <a:pt x="23" y="2"/>
                        </a:lnTo>
                        <a:lnTo>
                          <a:pt x="22" y="0"/>
                        </a:lnTo>
                        <a:lnTo>
                          <a:pt x="20" y="0"/>
                        </a:lnTo>
                        <a:lnTo>
                          <a:pt x="19" y="0"/>
                        </a:lnTo>
                        <a:lnTo>
                          <a:pt x="19" y="1"/>
                        </a:lnTo>
                        <a:lnTo>
                          <a:pt x="19" y="2"/>
                        </a:lnTo>
                        <a:lnTo>
                          <a:pt x="19" y="3"/>
                        </a:lnTo>
                        <a:lnTo>
                          <a:pt x="19" y="4"/>
                        </a:lnTo>
                        <a:lnTo>
                          <a:pt x="17" y="4"/>
                        </a:lnTo>
                        <a:lnTo>
                          <a:pt x="16" y="3"/>
                        </a:lnTo>
                        <a:lnTo>
                          <a:pt x="15" y="2"/>
                        </a:lnTo>
                        <a:lnTo>
                          <a:pt x="15" y="0"/>
                        </a:lnTo>
                        <a:lnTo>
                          <a:pt x="13" y="2"/>
                        </a:lnTo>
                        <a:lnTo>
                          <a:pt x="11" y="3"/>
                        </a:lnTo>
                        <a:lnTo>
                          <a:pt x="6" y="4"/>
                        </a:lnTo>
                        <a:lnTo>
                          <a:pt x="6" y="0"/>
                        </a:lnTo>
                        <a:lnTo>
                          <a:pt x="5"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29" name="Freeform 2061">
                    <a:extLst>
                      <a:ext uri="{FF2B5EF4-FFF2-40B4-BE49-F238E27FC236}">
                        <a16:creationId xmlns:a16="http://schemas.microsoft.com/office/drawing/2014/main" xmlns="" id="{E7CCC5C1-8466-410D-A959-5278D6A8548F}"/>
                      </a:ext>
                    </a:extLst>
                  </p:cNvPr>
                  <p:cNvSpPr>
                    <a:spLocks/>
                  </p:cNvSpPr>
                  <p:nvPr/>
                </p:nvSpPr>
                <p:spPr bwMode="gray">
                  <a:xfrm>
                    <a:off x="5243064" y="4216464"/>
                    <a:ext cx="20025" cy="12237"/>
                  </a:xfrm>
                  <a:custGeom>
                    <a:avLst/>
                    <a:gdLst>
                      <a:gd name="T0" fmla="*/ 2147483647 w 18"/>
                      <a:gd name="T1" fmla="*/ 0 h 11"/>
                      <a:gd name="T2" fmla="*/ 2147483647 w 18"/>
                      <a:gd name="T3" fmla="*/ 0 h 11"/>
                      <a:gd name="T4" fmla="*/ 2147483647 w 18"/>
                      <a:gd name="T5" fmla="*/ 0 h 11"/>
                      <a:gd name="T6" fmla="*/ 0 w 18"/>
                      <a:gd name="T7" fmla="*/ 2147483647 h 11"/>
                      <a:gd name="T8" fmla="*/ 0 w 18"/>
                      <a:gd name="T9" fmla="*/ 2147483647 h 11"/>
                      <a:gd name="T10" fmla="*/ 0 w 18"/>
                      <a:gd name="T11" fmla="*/ 2147483647 h 11"/>
                      <a:gd name="T12" fmla="*/ 0 w 18"/>
                      <a:gd name="T13" fmla="*/ 2147483647 h 11"/>
                      <a:gd name="T14" fmla="*/ 0 w 18"/>
                      <a:gd name="T15" fmla="*/ 2147483647 h 11"/>
                      <a:gd name="T16" fmla="*/ 0 w 18"/>
                      <a:gd name="T17" fmla="*/ 2147483647 h 11"/>
                      <a:gd name="T18" fmla="*/ 2147483647 w 18"/>
                      <a:gd name="T19" fmla="*/ 2147483647 h 11"/>
                      <a:gd name="T20" fmla="*/ 2147483647 w 18"/>
                      <a:gd name="T21" fmla="*/ 2147483647 h 11"/>
                      <a:gd name="T22" fmla="*/ 2147483647 w 18"/>
                      <a:gd name="T23" fmla="*/ 2147483647 h 11"/>
                      <a:gd name="T24" fmla="*/ 2147483647 w 18"/>
                      <a:gd name="T25" fmla="*/ 2147483647 h 11"/>
                      <a:gd name="T26" fmla="*/ 2147483647 w 18"/>
                      <a:gd name="T27" fmla="*/ 2147483647 h 11"/>
                      <a:gd name="T28" fmla="*/ 2147483647 w 18"/>
                      <a:gd name="T29" fmla="*/ 2147483647 h 11"/>
                      <a:gd name="T30" fmla="*/ 2147483647 w 18"/>
                      <a:gd name="T31" fmla="*/ 2147483647 h 11"/>
                      <a:gd name="T32" fmla="*/ 2147483647 w 18"/>
                      <a:gd name="T33" fmla="*/ 2147483647 h 11"/>
                      <a:gd name="T34" fmla="*/ 2147483647 w 18"/>
                      <a:gd name="T35" fmla="*/ 0 h 11"/>
                      <a:gd name="T36" fmla="*/ 2147483647 w 18"/>
                      <a:gd name="T37" fmla="*/ 0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8" h="11">
                        <a:moveTo>
                          <a:pt x="3" y="0"/>
                        </a:moveTo>
                        <a:lnTo>
                          <a:pt x="3" y="0"/>
                        </a:lnTo>
                        <a:lnTo>
                          <a:pt x="0" y="1"/>
                        </a:lnTo>
                        <a:lnTo>
                          <a:pt x="0" y="3"/>
                        </a:lnTo>
                        <a:lnTo>
                          <a:pt x="0" y="5"/>
                        </a:lnTo>
                        <a:lnTo>
                          <a:pt x="0" y="6"/>
                        </a:lnTo>
                        <a:lnTo>
                          <a:pt x="0" y="7"/>
                        </a:lnTo>
                        <a:lnTo>
                          <a:pt x="0" y="9"/>
                        </a:lnTo>
                        <a:lnTo>
                          <a:pt x="3" y="10"/>
                        </a:lnTo>
                        <a:lnTo>
                          <a:pt x="7" y="11"/>
                        </a:lnTo>
                        <a:lnTo>
                          <a:pt x="14" y="11"/>
                        </a:lnTo>
                        <a:lnTo>
                          <a:pt x="17" y="10"/>
                        </a:lnTo>
                        <a:lnTo>
                          <a:pt x="18" y="8"/>
                        </a:lnTo>
                        <a:lnTo>
                          <a:pt x="17" y="6"/>
                        </a:lnTo>
                        <a:lnTo>
                          <a:pt x="13" y="3"/>
                        </a:lnTo>
                        <a:lnTo>
                          <a:pt x="11" y="1"/>
                        </a:lnTo>
                        <a:lnTo>
                          <a:pt x="8"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0" name="Freeform 2063">
                    <a:extLst>
                      <a:ext uri="{FF2B5EF4-FFF2-40B4-BE49-F238E27FC236}">
                        <a16:creationId xmlns:a16="http://schemas.microsoft.com/office/drawing/2014/main" xmlns="" id="{352F9C98-1EE0-40FB-85D8-E9F99888F50E}"/>
                      </a:ext>
                    </a:extLst>
                  </p:cNvPr>
                  <p:cNvSpPr>
                    <a:spLocks/>
                  </p:cNvSpPr>
                  <p:nvPr/>
                </p:nvSpPr>
                <p:spPr bwMode="gray">
                  <a:xfrm>
                    <a:off x="5186326" y="4198665"/>
                    <a:ext cx="17799" cy="20024"/>
                  </a:xfrm>
                  <a:custGeom>
                    <a:avLst/>
                    <a:gdLst>
                      <a:gd name="T0" fmla="*/ 2147483647 w 16"/>
                      <a:gd name="T1" fmla="*/ 0 h 18"/>
                      <a:gd name="T2" fmla="*/ 2147483647 w 16"/>
                      <a:gd name="T3" fmla="*/ 2147483647 h 18"/>
                      <a:gd name="T4" fmla="*/ 2147483647 w 16"/>
                      <a:gd name="T5" fmla="*/ 2147483647 h 18"/>
                      <a:gd name="T6" fmla="*/ 2147483647 w 16"/>
                      <a:gd name="T7" fmla="*/ 2147483647 h 18"/>
                      <a:gd name="T8" fmla="*/ 0 w 16"/>
                      <a:gd name="T9" fmla="*/ 2147483647 h 18"/>
                      <a:gd name="T10" fmla="*/ 0 w 16"/>
                      <a:gd name="T11" fmla="*/ 2147483647 h 18"/>
                      <a:gd name="T12" fmla="*/ 0 w 16"/>
                      <a:gd name="T13" fmla="*/ 2147483647 h 18"/>
                      <a:gd name="T14" fmla="*/ 0 w 16"/>
                      <a:gd name="T15" fmla="*/ 2147483647 h 18"/>
                      <a:gd name="T16" fmla="*/ 2147483647 w 16"/>
                      <a:gd name="T17" fmla="*/ 2147483647 h 18"/>
                      <a:gd name="T18" fmla="*/ 2147483647 w 16"/>
                      <a:gd name="T19" fmla="*/ 2147483647 h 18"/>
                      <a:gd name="T20" fmla="*/ 2147483647 w 16"/>
                      <a:gd name="T21" fmla="*/ 2147483647 h 18"/>
                      <a:gd name="T22" fmla="*/ 2147483647 w 16"/>
                      <a:gd name="T23" fmla="*/ 2147483647 h 18"/>
                      <a:gd name="T24" fmla="*/ 2147483647 w 16"/>
                      <a:gd name="T25" fmla="*/ 2147483647 h 18"/>
                      <a:gd name="T26" fmla="*/ 2147483647 w 16"/>
                      <a:gd name="T27" fmla="*/ 2147483647 h 18"/>
                      <a:gd name="T28" fmla="*/ 2147483647 w 16"/>
                      <a:gd name="T29" fmla="*/ 2147483647 h 18"/>
                      <a:gd name="T30" fmla="*/ 2147483647 w 16"/>
                      <a:gd name="T31" fmla="*/ 2147483647 h 18"/>
                      <a:gd name="T32" fmla="*/ 2147483647 w 16"/>
                      <a:gd name="T33" fmla="*/ 0 h 18"/>
                      <a:gd name="T34" fmla="*/ 2147483647 w 16"/>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18">
                        <a:moveTo>
                          <a:pt x="3" y="0"/>
                        </a:moveTo>
                        <a:lnTo>
                          <a:pt x="3" y="3"/>
                        </a:lnTo>
                        <a:lnTo>
                          <a:pt x="2" y="5"/>
                        </a:lnTo>
                        <a:lnTo>
                          <a:pt x="1" y="7"/>
                        </a:lnTo>
                        <a:lnTo>
                          <a:pt x="0" y="9"/>
                        </a:lnTo>
                        <a:lnTo>
                          <a:pt x="0" y="10"/>
                        </a:lnTo>
                        <a:lnTo>
                          <a:pt x="0" y="11"/>
                        </a:lnTo>
                        <a:lnTo>
                          <a:pt x="0" y="16"/>
                        </a:lnTo>
                        <a:lnTo>
                          <a:pt x="6" y="18"/>
                        </a:lnTo>
                        <a:lnTo>
                          <a:pt x="11" y="17"/>
                        </a:lnTo>
                        <a:lnTo>
                          <a:pt x="14" y="16"/>
                        </a:lnTo>
                        <a:lnTo>
                          <a:pt x="16" y="14"/>
                        </a:lnTo>
                        <a:lnTo>
                          <a:pt x="16" y="10"/>
                        </a:lnTo>
                        <a:lnTo>
                          <a:pt x="16" y="7"/>
                        </a:lnTo>
                        <a:lnTo>
                          <a:pt x="13" y="3"/>
                        </a:lnTo>
                        <a:lnTo>
                          <a:pt x="10" y="1"/>
                        </a:lnTo>
                        <a:lnTo>
                          <a:pt x="8"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1" name="Freeform 2065">
                    <a:extLst>
                      <a:ext uri="{FF2B5EF4-FFF2-40B4-BE49-F238E27FC236}">
                        <a16:creationId xmlns:a16="http://schemas.microsoft.com/office/drawing/2014/main" xmlns="" id="{FDF8571E-E172-492C-BAE0-16EF4D30DD58}"/>
                      </a:ext>
                    </a:extLst>
                  </p:cNvPr>
                  <p:cNvSpPr>
                    <a:spLocks/>
                  </p:cNvSpPr>
                  <p:nvPr/>
                </p:nvSpPr>
                <p:spPr bwMode="gray">
                  <a:xfrm>
                    <a:off x="4167288" y="3011690"/>
                    <a:ext cx="481708" cy="631866"/>
                  </a:xfrm>
                  <a:custGeom>
                    <a:avLst/>
                    <a:gdLst>
                      <a:gd name="T0" fmla="*/ 2147483647 w 433"/>
                      <a:gd name="T1" fmla="*/ 2147483647 h 568"/>
                      <a:gd name="T2" fmla="*/ 2147483647 w 433"/>
                      <a:gd name="T3" fmla="*/ 2147483647 h 568"/>
                      <a:gd name="T4" fmla="*/ 2147483647 w 433"/>
                      <a:gd name="T5" fmla="*/ 2147483647 h 568"/>
                      <a:gd name="T6" fmla="*/ 2147483647 w 433"/>
                      <a:gd name="T7" fmla="*/ 2147483647 h 568"/>
                      <a:gd name="T8" fmla="*/ 2147483647 w 433"/>
                      <a:gd name="T9" fmla="*/ 2147483647 h 568"/>
                      <a:gd name="T10" fmla="*/ 2147483647 w 433"/>
                      <a:gd name="T11" fmla="*/ 2147483647 h 568"/>
                      <a:gd name="T12" fmla="*/ 2147483647 w 433"/>
                      <a:gd name="T13" fmla="*/ 2147483647 h 568"/>
                      <a:gd name="T14" fmla="*/ 2147483647 w 433"/>
                      <a:gd name="T15" fmla="*/ 2147483647 h 568"/>
                      <a:gd name="T16" fmla="*/ 2147483647 w 433"/>
                      <a:gd name="T17" fmla="*/ 2147483647 h 568"/>
                      <a:gd name="T18" fmla="*/ 2147483647 w 433"/>
                      <a:gd name="T19" fmla="*/ 2147483647 h 568"/>
                      <a:gd name="T20" fmla="*/ 2147483647 w 433"/>
                      <a:gd name="T21" fmla="*/ 2147483647 h 568"/>
                      <a:gd name="T22" fmla="*/ 2147483647 w 433"/>
                      <a:gd name="T23" fmla="*/ 2147483647 h 568"/>
                      <a:gd name="T24" fmla="*/ 2147483647 w 433"/>
                      <a:gd name="T25" fmla="*/ 2147483647 h 568"/>
                      <a:gd name="T26" fmla="*/ 2147483647 w 433"/>
                      <a:gd name="T27" fmla="*/ 2147483647 h 568"/>
                      <a:gd name="T28" fmla="*/ 2147483647 w 433"/>
                      <a:gd name="T29" fmla="*/ 2147483647 h 568"/>
                      <a:gd name="T30" fmla="*/ 2147483647 w 433"/>
                      <a:gd name="T31" fmla="*/ 2147483647 h 568"/>
                      <a:gd name="T32" fmla="*/ 2147483647 w 433"/>
                      <a:gd name="T33" fmla="*/ 2147483647 h 568"/>
                      <a:gd name="T34" fmla="*/ 2147483647 w 433"/>
                      <a:gd name="T35" fmla="*/ 2147483647 h 568"/>
                      <a:gd name="T36" fmla="*/ 2147483647 w 433"/>
                      <a:gd name="T37" fmla="*/ 2147483647 h 568"/>
                      <a:gd name="T38" fmla="*/ 2147483647 w 433"/>
                      <a:gd name="T39" fmla="*/ 2147483647 h 568"/>
                      <a:gd name="T40" fmla="*/ 2147483647 w 433"/>
                      <a:gd name="T41" fmla="*/ 2147483647 h 568"/>
                      <a:gd name="T42" fmla="*/ 2147483647 w 433"/>
                      <a:gd name="T43" fmla="*/ 2147483647 h 568"/>
                      <a:gd name="T44" fmla="*/ 2147483647 w 433"/>
                      <a:gd name="T45" fmla="*/ 2147483647 h 568"/>
                      <a:gd name="T46" fmla="*/ 2147483647 w 433"/>
                      <a:gd name="T47" fmla="*/ 2147483647 h 568"/>
                      <a:gd name="T48" fmla="*/ 2147483647 w 433"/>
                      <a:gd name="T49" fmla="*/ 2147483647 h 568"/>
                      <a:gd name="T50" fmla="*/ 2147483647 w 433"/>
                      <a:gd name="T51" fmla="*/ 2147483647 h 568"/>
                      <a:gd name="T52" fmla="*/ 2147483647 w 433"/>
                      <a:gd name="T53" fmla="*/ 2147483647 h 568"/>
                      <a:gd name="T54" fmla="*/ 2147483647 w 433"/>
                      <a:gd name="T55" fmla="*/ 2147483647 h 568"/>
                      <a:gd name="T56" fmla="*/ 2147483647 w 433"/>
                      <a:gd name="T57" fmla="*/ 2147483647 h 568"/>
                      <a:gd name="T58" fmla="*/ 2147483647 w 433"/>
                      <a:gd name="T59" fmla="*/ 2147483647 h 568"/>
                      <a:gd name="T60" fmla="*/ 2147483647 w 433"/>
                      <a:gd name="T61" fmla="*/ 2147483647 h 568"/>
                      <a:gd name="T62" fmla="*/ 2147483647 w 433"/>
                      <a:gd name="T63" fmla="*/ 2147483647 h 568"/>
                      <a:gd name="T64" fmla="*/ 2147483647 w 433"/>
                      <a:gd name="T65" fmla="*/ 2147483647 h 568"/>
                      <a:gd name="T66" fmla="*/ 2147483647 w 433"/>
                      <a:gd name="T67" fmla="*/ 2147483647 h 568"/>
                      <a:gd name="T68" fmla="*/ 2147483647 w 433"/>
                      <a:gd name="T69" fmla="*/ 2147483647 h 568"/>
                      <a:gd name="T70" fmla="*/ 2147483647 w 433"/>
                      <a:gd name="T71" fmla="*/ 2147483647 h 568"/>
                      <a:gd name="T72" fmla="*/ 2147483647 w 433"/>
                      <a:gd name="T73" fmla="*/ 2147483647 h 568"/>
                      <a:gd name="T74" fmla="*/ 2147483647 w 433"/>
                      <a:gd name="T75" fmla="*/ 2147483647 h 568"/>
                      <a:gd name="T76" fmla="*/ 2147483647 w 433"/>
                      <a:gd name="T77" fmla="*/ 2147483647 h 568"/>
                      <a:gd name="T78" fmla="*/ 2147483647 w 433"/>
                      <a:gd name="T79" fmla="*/ 2147483647 h 568"/>
                      <a:gd name="T80" fmla="*/ 2147483647 w 433"/>
                      <a:gd name="T81" fmla="*/ 2147483647 h 568"/>
                      <a:gd name="T82" fmla="*/ 2147483647 w 433"/>
                      <a:gd name="T83" fmla="*/ 2147483647 h 568"/>
                      <a:gd name="T84" fmla="*/ 2147483647 w 433"/>
                      <a:gd name="T85" fmla="*/ 2147483647 h 568"/>
                      <a:gd name="T86" fmla="*/ 2147483647 w 433"/>
                      <a:gd name="T87" fmla="*/ 2147483647 h 568"/>
                      <a:gd name="T88" fmla="*/ 2147483647 w 433"/>
                      <a:gd name="T89" fmla="*/ 2147483647 h 568"/>
                      <a:gd name="T90" fmla="*/ 2147483647 w 433"/>
                      <a:gd name="T91" fmla="*/ 2147483647 h 568"/>
                      <a:gd name="T92" fmla="*/ 2147483647 w 433"/>
                      <a:gd name="T93" fmla="*/ 2147483647 h 568"/>
                      <a:gd name="T94" fmla="*/ 2147483647 w 433"/>
                      <a:gd name="T95" fmla="*/ 2147483647 h 568"/>
                      <a:gd name="T96" fmla="*/ 2147483647 w 433"/>
                      <a:gd name="T97" fmla="*/ 2147483647 h 568"/>
                      <a:gd name="T98" fmla="*/ 2147483647 w 433"/>
                      <a:gd name="T99" fmla="*/ 2147483647 h 568"/>
                      <a:gd name="T100" fmla="*/ 2147483647 w 433"/>
                      <a:gd name="T101" fmla="*/ 2147483647 h 568"/>
                      <a:gd name="T102" fmla="*/ 2147483647 w 433"/>
                      <a:gd name="T103" fmla="*/ 2147483647 h 568"/>
                      <a:gd name="T104" fmla="*/ 2147483647 w 433"/>
                      <a:gd name="T105" fmla="*/ 2147483647 h 568"/>
                      <a:gd name="T106" fmla="*/ 2147483647 w 433"/>
                      <a:gd name="T107" fmla="*/ 2147483647 h 568"/>
                      <a:gd name="T108" fmla="*/ 2147483647 w 433"/>
                      <a:gd name="T109" fmla="*/ 2147483647 h 568"/>
                      <a:gd name="T110" fmla="*/ 2147483647 w 433"/>
                      <a:gd name="T111" fmla="*/ 2147483647 h 568"/>
                      <a:gd name="T112" fmla="*/ 2147483647 w 433"/>
                      <a:gd name="T113" fmla="*/ 2147483647 h 568"/>
                      <a:gd name="T114" fmla="*/ 2147483647 w 433"/>
                      <a:gd name="T115" fmla="*/ 2147483647 h 568"/>
                      <a:gd name="T116" fmla="*/ 2147483647 w 433"/>
                      <a:gd name="T117" fmla="*/ 2147483647 h 568"/>
                      <a:gd name="T118" fmla="*/ 2147483647 w 433"/>
                      <a:gd name="T119" fmla="*/ 2147483647 h 568"/>
                      <a:gd name="T120" fmla="*/ 2147483647 w 433"/>
                      <a:gd name="T121" fmla="*/ 2147483647 h 568"/>
                      <a:gd name="T122" fmla="*/ 2147483647 w 433"/>
                      <a:gd name="T123" fmla="*/ 2147483647 h 5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33" h="568">
                        <a:moveTo>
                          <a:pt x="119" y="536"/>
                        </a:moveTo>
                        <a:lnTo>
                          <a:pt x="124" y="533"/>
                        </a:lnTo>
                        <a:lnTo>
                          <a:pt x="122" y="526"/>
                        </a:lnTo>
                        <a:lnTo>
                          <a:pt x="128" y="533"/>
                        </a:lnTo>
                        <a:lnTo>
                          <a:pt x="128" y="538"/>
                        </a:lnTo>
                        <a:lnTo>
                          <a:pt x="134" y="542"/>
                        </a:lnTo>
                        <a:lnTo>
                          <a:pt x="138" y="542"/>
                        </a:lnTo>
                        <a:lnTo>
                          <a:pt x="138" y="548"/>
                        </a:lnTo>
                        <a:lnTo>
                          <a:pt x="145" y="548"/>
                        </a:lnTo>
                        <a:lnTo>
                          <a:pt x="147" y="555"/>
                        </a:lnTo>
                        <a:lnTo>
                          <a:pt x="149" y="553"/>
                        </a:lnTo>
                        <a:lnTo>
                          <a:pt x="150" y="552"/>
                        </a:lnTo>
                        <a:lnTo>
                          <a:pt x="152" y="552"/>
                        </a:lnTo>
                        <a:lnTo>
                          <a:pt x="152" y="553"/>
                        </a:lnTo>
                        <a:lnTo>
                          <a:pt x="151" y="555"/>
                        </a:lnTo>
                        <a:lnTo>
                          <a:pt x="150" y="555"/>
                        </a:lnTo>
                        <a:lnTo>
                          <a:pt x="152" y="557"/>
                        </a:lnTo>
                        <a:lnTo>
                          <a:pt x="153" y="558"/>
                        </a:lnTo>
                        <a:lnTo>
                          <a:pt x="154" y="558"/>
                        </a:lnTo>
                        <a:lnTo>
                          <a:pt x="158" y="558"/>
                        </a:lnTo>
                        <a:lnTo>
                          <a:pt x="160" y="558"/>
                        </a:lnTo>
                        <a:lnTo>
                          <a:pt x="162" y="560"/>
                        </a:lnTo>
                        <a:lnTo>
                          <a:pt x="163" y="560"/>
                        </a:lnTo>
                        <a:lnTo>
                          <a:pt x="164" y="561"/>
                        </a:lnTo>
                        <a:lnTo>
                          <a:pt x="166" y="561"/>
                        </a:lnTo>
                        <a:lnTo>
                          <a:pt x="167" y="561"/>
                        </a:lnTo>
                        <a:lnTo>
                          <a:pt x="169" y="562"/>
                        </a:lnTo>
                        <a:lnTo>
                          <a:pt x="170" y="560"/>
                        </a:lnTo>
                        <a:lnTo>
                          <a:pt x="170" y="559"/>
                        </a:lnTo>
                        <a:lnTo>
                          <a:pt x="170" y="558"/>
                        </a:lnTo>
                        <a:lnTo>
                          <a:pt x="172" y="560"/>
                        </a:lnTo>
                        <a:lnTo>
                          <a:pt x="174" y="561"/>
                        </a:lnTo>
                        <a:lnTo>
                          <a:pt x="176" y="563"/>
                        </a:lnTo>
                        <a:lnTo>
                          <a:pt x="176" y="564"/>
                        </a:lnTo>
                        <a:lnTo>
                          <a:pt x="176" y="565"/>
                        </a:lnTo>
                        <a:lnTo>
                          <a:pt x="174" y="566"/>
                        </a:lnTo>
                        <a:lnTo>
                          <a:pt x="173" y="567"/>
                        </a:lnTo>
                        <a:lnTo>
                          <a:pt x="173" y="568"/>
                        </a:lnTo>
                        <a:lnTo>
                          <a:pt x="176" y="567"/>
                        </a:lnTo>
                        <a:lnTo>
                          <a:pt x="179" y="567"/>
                        </a:lnTo>
                        <a:lnTo>
                          <a:pt x="182" y="566"/>
                        </a:lnTo>
                        <a:lnTo>
                          <a:pt x="183" y="564"/>
                        </a:lnTo>
                        <a:lnTo>
                          <a:pt x="185" y="564"/>
                        </a:lnTo>
                        <a:lnTo>
                          <a:pt x="186" y="562"/>
                        </a:lnTo>
                        <a:lnTo>
                          <a:pt x="188" y="560"/>
                        </a:lnTo>
                        <a:lnTo>
                          <a:pt x="190" y="558"/>
                        </a:lnTo>
                        <a:lnTo>
                          <a:pt x="191" y="557"/>
                        </a:lnTo>
                        <a:lnTo>
                          <a:pt x="193" y="555"/>
                        </a:lnTo>
                        <a:lnTo>
                          <a:pt x="193" y="554"/>
                        </a:lnTo>
                        <a:lnTo>
                          <a:pt x="193" y="552"/>
                        </a:lnTo>
                        <a:lnTo>
                          <a:pt x="193" y="551"/>
                        </a:lnTo>
                        <a:lnTo>
                          <a:pt x="193" y="550"/>
                        </a:lnTo>
                        <a:lnTo>
                          <a:pt x="193" y="548"/>
                        </a:lnTo>
                        <a:lnTo>
                          <a:pt x="194" y="547"/>
                        </a:lnTo>
                        <a:lnTo>
                          <a:pt x="195" y="545"/>
                        </a:lnTo>
                        <a:lnTo>
                          <a:pt x="197" y="546"/>
                        </a:lnTo>
                        <a:lnTo>
                          <a:pt x="197" y="547"/>
                        </a:lnTo>
                        <a:lnTo>
                          <a:pt x="197" y="548"/>
                        </a:lnTo>
                        <a:lnTo>
                          <a:pt x="199" y="548"/>
                        </a:lnTo>
                        <a:lnTo>
                          <a:pt x="199" y="547"/>
                        </a:lnTo>
                        <a:lnTo>
                          <a:pt x="199" y="546"/>
                        </a:lnTo>
                        <a:lnTo>
                          <a:pt x="199" y="545"/>
                        </a:lnTo>
                        <a:lnTo>
                          <a:pt x="201" y="545"/>
                        </a:lnTo>
                        <a:lnTo>
                          <a:pt x="202" y="545"/>
                        </a:lnTo>
                        <a:lnTo>
                          <a:pt x="203" y="545"/>
                        </a:lnTo>
                        <a:lnTo>
                          <a:pt x="205" y="545"/>
                        </a:lnTo>
                        <a:lnTo>
                          <a:pt x="208" y="547"/>
                        </a:lnTo>
                        <a:lnTo>
                          <a:pt x="210" y="547"/>
                        </a:lnTo>
                        <a:lnTo>
                          <a:pt x="211" y="547"/>
                        </a:lnTo>
                        <a:lnTo>
                          <a:pt x="212" y="548"/>
                        </a:lnTo>
                        <a:lnTo>
                          <a:pt x="213" y="550"/>
                        </a:lnTo>
                        <a:lnTo>
                          <a:pt x="212" y="551"/>
                        </a:lnTo>
                        <a:lnTo>
                          <a:pt x="210" y="553"/>
                        </a:lnTo>
                        <a:lnTo>
                          <a:pt x="208" y="555"/>
                        </a:lnTo>
                        <a:lnTo>
                          <a:pt x="209" y="555"/>
                        </a:lnTo>
                        <a:lnTo>
                          <a:pt x="211" y="556"/>
                        </a:lnTo>
                        <a:lnTo>
                          <a:pt x="213" y="555"/>
                        </a:lnTo>
                        <a:lnTo>
                          <a:pt x="215" y="554"/>
                        </a:lnTo>
                        <a:lnTo>
                          <a:pt x="215" y="555"/>
                        </a:lnTo>
                        <a:lnTo>
                          <a:pt x="216" y="555"/>
                        </a:lnTo>
                        <a:lnTo>
                          <a:pt x="217" y="555"/>
                        </a:lnTo>
                        <a:lnTo>
                          <a:pt x="221" y="555"/>
                        </a:lnTo>
                        <a:lnTo>
                          <a:pt x="222" y="555"/>
                        </a:lnTo>
                        <a:lnTo>
                          <a:pt x="223" y="556"/>
                        </a:lnTo>
                        <a:lnTo>
                          <a:pt x="224" y="557"/>
                        </a:lnTo>
                        <a:lnTo>
                          <a:pt x="224" y="558"/>
                        </a:lnTo>
                        <a:lnTo>
                          <a:pt x="229" y="558"/>
                        </a:lnTo>
                        <a:lnTo>
                          <a:pt x="231" y="557"/>
                        </a:lnTo>
                        <a:lnTo>
                          <a:pt x="231" y="555"/>
                        </a:lnTo>
                        <a:lnTo>
                          <a:pt x="241" y="555"/>
                        </a:lnTo>
                        <a:lnTo>
                          <a:pt x="242" y="555"/>
                        </a:lnTo>
                        <a:lnTo>
                          <a:pt x="242" y="556"/>
                        </a:lnTo>
                        <a:lnTo>
                          <a:pt x="243" y="557"/>
                        </a:lnTo>
                        <a:lnTo>
                          <a:pt x="244" y="558"/>
                        </a:lnTo>
                        <a:lnTo>
                          <a:pt x="246" y="558"/>
                        </a:lnTo>
                        <a:lnTo>
                          <a:pt x="247" y="558"/>
                        </a:lnTo>
                        <a:lnTo>
                          <a:pt x="248" y="557"/>
                        </a:lnTo>
                        <a:lnTo>
                          <a:pt x="250" y="555"/>
                        </a:lnTo>
                        <a:lnTo>
                          <a:pt x="252" y="555"/>
                        </a:lnTo>
                        <a:lnTo>
                          <a:pt x="253" y="555"/>
                        </a:lnTo>
                        <a:lnTo>
                          <a:pt x="254" y="555"/>
                        </a:lnTo>
                        <a:lnTo>
                          <a:pt x="256" y="554"/>
                        </a:lnTo>
                        <a:lnTo>
                          <a:pt x="257" y="552"/>
                        </a:lnTo>
                        <a:lnTo>
                          <a:pt x="258" y="549"/>
                        </a:lnTo>
                        <a:lnTo>
                          <a:pt x="260" y="548"/>
                        </a:lnTo>
                        <a:lnTo>
                          <a:pt x="262" y="548"/>
                        </a:lnTo>
                        <a:lnTo>
                          <a:pt x="264" y="548"/>
                        </a:lnTo>
                        <a:lnTo>
                          <a:pt x="265" y="548"/>
                        </a:lnTo>
                        <a:lnTo>
                          <a:pt x="266" y="548"/>
                        </a:lnTo>
                        <a:lnTo>
                          <a:pt x="267" y="548"/>
                        </a:lnTo>
                        <a:lnTo>
                          <a:pt x="268" y="548"/>
                        </a:lnTo>
                        <a:lnTo>
                          <a:pt x="269" y="548"/>
                        </a:lnTo>
                        <a:lnTo>
                          <a:pt x="271" y="548"/>
                        </a:lnTo>
                        <a:lnTo>
                          <a:pt x="273" y="548"/>
                        </a:lnTo>
                        <a:lnTo>
                          <a:pt x="274" y="548"/>
                        </a:lnTo>
                        <a:lnTo>
                          <a:pt x="276" y="548"/>
                        </a:lnTo>
                        <a:lnTo>
                          <a:pt x="278" y="548"/>
                        </a:lnTo>
                        <a:lnTo>
                          <a:pt x="278" y="547"/>
                        </a:lnTo>
                        <a:lnTo>
                          <a:pt x="278" y="546"/>
                        </a:lnTo>
                        <a:lnTo>
                          <a:pt x="279" y="545"/>
                        </a:lnTo>
                        <a:lnTo>
                          <a:pt x="280" y="543"/>
                        </a:lnTo>
                        <a:lnTo>
                          <a:pt x="281" y="541"/>
                        </a:lnTo>
                        <a:lnTo>
                          <a:pt x="282" y="540"/>
                        </a:lnTo>
                        <a:lnTo>
                          <a:pt x="283" y="542"/>
                        </a:lnTo>
                        <a:lnTo>
                          <a:pt x="282" y="542"/>
                        </a:lnTo>
                        <a:lnTo>
                          <a:pt x="281" y="542"/>
                        </a:lnTo>
                        <a:lnTo>
                          <a:pt x="283" y="542"/>
                        </a:lnTo>
                        <a:lnTo>
                          <a:pt x="283" y="543"/>
                        </a:lnTo>
                        <a:lnTo>
                          <a:pt x="284" y="542"/>
                        </a:lnTo>
                        <a:lnTo>
                          <a:pt x="286" y="542"/>
                        </a:lnTo>
                        <a:lnTo>
                          <a:pt x="290" y="542"/>
                        </a:lnTo>
                        <a:lnTo>
                          <a:pt x="291" y="542"/>
                        </a:lnTo>
                        <a:lnTo>
                          <a:pt x="292" y="542"/>
                        </a:lnTo>
                        <a:lnTo>
                          <a:pt x="292" y="544"/>
                        </a:lnTo>
                        <a:lnTo>
                          <a:pt x="292" y="545"/>
                        </a:lnTo>
                        <a:lnTo>
                          <a:pt x="292" y="546"/>
                        </a:lnTo>
                        <a:lnTo>
                          <a:pt x="292" y="548"/>
                        </a:lnTo>
                        <a:lnTo>
                          <a:pt x="293" y="548"/>
                        </a:lnTo>
                        <a:lnTo>
                          <a:pt x="295" y="548"/>
                        </a:lnTo>
                        <a:lnTo>
                          <a:pt x="296" y="547"/>
                        </a:lnTo>
                        <a:lnTo>
                          <a:pt x="297" y="546"/>
                        </a:lnTo>
                        <a:lnTo>
                          <a:pt x="299" y="545"/>
                        </a:lnTo>
                        <a:lnTo>
                          <a:pt x="300" y="545"/>
                        </a:lnTo>
                        <a:lnTo>
                          <a:pt x="301" y="545"/>
                        </a:lnTo>
                        <a:lnTo>
                          <a:pt x="302" y="545"/>
                        </a:lnTo>
                        <a:lnTo>
                          <a:pt x="302" y="547"/>
                        </a:lnTo>
                        <a:lnTo>
                          <a:pt x="302" y="548"/>
                        </a:lnTo>
                        <a:lnTo>
                          <a:pt x="303" y="548"/>
                        </a:lnTo>
                        <a:lnTo>
                          <a:pt x="305" y="548"/>
                        </a:lnTo>
                        <a:lnTo>
                          <a:pt x="307" y="548"/>
                        </a:lnTo>
                        <a:lnTo>
                          <a:pt x="307" y="549"/>
                        </a:lnTo>
                        <a:lnTo>
                          <a:pt x="306" y="550"/>
                        </a:lnTo>
                        <a:lnTo>
                          <a:pt x="305" y="552"/>
                        </a:lnTo>
                        <a:lnTo>
                          <a:pt x="306" y="554"/>
                        </a:lnTo>
                        <a:lnTo>
                          <a:pt x="307" y="555"/>
                        </a:lnTo>
                        <a:lnTo>
                          <a:pt x="308" y="557"/>
                        </a:lnTo>
                        <a:lnTo>
                          <a:pt x="309" y="558"/>
                        </a:lnTo>
                        <a:lnTo>
                          <a:pt x="309" y="559"/>
                        </a:lnTo>
                        <a:lnTo>
                          <a:pt x="309" y="560"/>
                        </a:lnTo>
                        <a:lnTo>
                          <a:pt x="309" y="561"/>
                        </a:lnTo>
                        <a:lnTo>
                          <a:pt x="311" y="563"/>
                        </a:lnTo>
                        <a:lnTo>
                          <a:pt x="312" y="564"/>
                        </a:lnTo>
                        <a:lnTo>
                          <a:pt x="314" y="564"/>
                        </a:lnTo>
                        <a:lnTo>
                          <a:pt x="314" y="563"/>
                        </a:lnTo>
                        <a:lnTo>
                          <a:pt x="314" y="561"/>
                        </a:lnTo>
                        <a:lnTo>
                          <a:pt x="314" y="560"/>
                        </a:lnTo>
                        <a:lnTo>
                          <a:pt x="314" y="559"/>
                        </a:lnTo>
                        <a:lnTo>
                          <a:pt x="314" y="558"/>
                        </a:lnTo>
                        <a:lnTo>
                          <a:pt x="316" y="557"/>
                        </a:lnTo>
                        <a:lnTo>
                          <a:pt x="317" y="555"/>
                        </a:lnTo>
                        <a:lnTo>
                          <a:pt x="318" y="554"/>
                        </a:lnTo>
                        <a:lnTo>
                          <a:pt x="318" y="552"/>
                        </a:lnTo>
                        <a:lnTo>
                          <a:pt x="319" y="549"/>
                        </a:lnTo>
                        <a:lnTo>
                          <a:pt x="319" y="547"/>
                        </a:lnTo>
                        <a:lnTo>
                          <a:pt x="317" y="546"/>
                        </a:lnTo>
                        <a:lnTo>
                          <a:pt x="314" y="545"/>
                        </a:lnTo>
                        <a:lnTo>
                          <a:pt x="313" y="544"/>
                        </a:lnTo>
                        <a:lnTo>
                          <a:pt x="312" y="542"/>
                        </a:lnTo>
                        <a:lnTo>
                          <a:pt x="313" y="542"/>
                        </a:lnTo>
                        <a:lnTo>
                          <a:pt x="314" y="542"/>
                        </a:lnTo>
                        <a:lnTo>
                          <a:pt x="314" y="540"/>
                        </a:lnTo>
                        <a:lnTo>
                          <a:pt x="314" y="539"/>
                        </a:lnTo>
                        <a:lnTo>
                          <a:pt x="314" y="538"/>
                        </a:lnTo>
                        <a:lnTo>
                          <a:pt x="314" y="536"/>
                        </a:lnTo>
                        <a:lnTo>
                          <a:pt x="314" y="535"/>
                        </a:lnTo>
                        <a:lnTo>
                          <a:pt x="314" y="533"/>
                        </a:lnTo>
                        <a:lnTo>
                          <a:pt x="313" y="533"/>
                        </a:lnTo>
                        <a:lnTo>
                          <a:pt x="312" y="533"/>
                        </a:lnTo>
                        <a:lnTo>
                          <a:pt x="312" y="531"/>
                        </a:lnTo>
                        <a:lnTo>
                          <a:pt x="312" y="530"/>
                        </a:lnTo>
                        <a:lnTo>
                          <a:pt x="312" y="529"/>
                        </a:lnTo>
                        <a:lnTo>
                          <a:pt x="312" y="525"/>
                        </a:lnTo>
                        <a:lnTo>
                          <a:pt x="311" y="523"/>
                        </a:lnTo>
                        <a:lnTo>
                          <a:pt x="309" y="523"/>
                        </a:lnTo>
                        <a:lnTo>
                          <a:pt x="309" y="522"/>
                        </a:lnTo>
                        <a:lnTo>
                          <a:pt x="309" y="521"/>
                        </a:lnTo>
                        <a:lnTo>
                          <a:pt x="309" y="519"/>
                        </a:lnTo>
                        <a:lnTo>
                          <a:pt x="307" y="519"/>
                        </a:lnTo>
                        <a:lnTo>
                          <a:pt x="308" y="519"/>
                        </a:lnTo>
                        <a:lnTo>
                          <a:pt x="309" y="519"/>
                        </a:lnTo>
                        <a:lnTo>
                          <a:pt x="308" y="517"/>
                        </a:lnTo>
                        <a:lnTo>
                          <a:pt x="307" y="516"/>
                        </a:lnTo>
                        <a:lnTo>
                          <a:pt x="309" y="516"/>
                        </a:lnTo>
                        <a:lnTo>
                          <a:pt x="309" y="515"/>
                        </a:lnTo>
                        <a:lnTo>
                          <a:pt x="309" y="514"/>
                        </a:lnTo>
                        <a:lnTo>
                          <a:pt x="309" y="513"/>
                        </a:lnTo>
                        <a:lnTo>
                          <a:pt x="311" y="512"/>
                        </a:lnTo>
                        <a:lnTo>
                          <a:pt x="312" y="512"/>
                        </a:lnTo>
                        <a:lnTo>
                          <a:pt x="312" y="511"/>
                        </a:lnTo>
                        <a:lnTo>
                          <a:pt x="312" y="510"/>
                        </a:lnTo>
                        <a:lnTo>
                          <a:pt x="314" y="510"/>
                        </a:lnTo>
                        <a:lnTo>
                          <a:pt x="317" y="508"/>
                        </a:lnTo>
                        <a:lnTo>
                          <a:pt x="319" y="507"/>
                        </a:lnTo>
                        <a:lnTo>
                          <a:pt x="321" y="505"/>
                        </a:lnTo>
                        <a:lnTo>
                          <a:pt x="321" y="503"/>
                        </a:lnTo>
                        <a:lnTo>
                          <a:pt x="324" y="502"/>
                        </a:lnTo>
                        <a:lnTo>
                          <a:pt x="326" y="502"/>
                        </a:lnTo>
                        <a:lnTo>
                          <a:pt x="329" y="502"/>
                        </a:lnTo>
                        <a:lnTo>
                          <a:pt x="331" y="500"/>
                        </a:lnTo>
                        <a:lnTo>
                          <a:pt x="331" y="498"/>
                        </a:lnTo>
                        <a:lnTo>
                          <a:pt x="331" y="497"/>
                        </a:lnTo>
                        <a:lnTo>
                          <a:pt x="331" y="495"/>
                        </a:lnTo>
                        <a:lnTo>
                          <a:pt x="331" y="493"/>
                        </a:lnTo>
                        <a:lnTo>
                          <a:pt x="331" y="492"/>
                        </a:lnTo>
                        <a:lnTo>
                          <a:pt x="331" y="490"/>
                        </a:lnTo>
                        <a:lnTo>
                          <a:pt x="331" y="488"/>
                        </a:lnTo>
                        <a:lnTo>
                          <a:pt x="330" y="487"/>
                        </a:lnTo>
                        <a:lnTo>
                          <a:pt x="331" y="487"/>
                        </a:lnTo>
                        <a:lnTo>
                          <a:pt x="332" y="487"/>
                        </a:lnTo>
                        <a:lnTo>
                          <a:pt x="333" y="487"/>
                        </a:lnTo>
                        <a:lnTo>
                          <a:pt x="334" y="487"/>
                        </a:lnTo>
                        <a:lnTo>
                          <a:pt x="335" y="487"/>
                        </a:lnTo>
                        <a:lnTo>
                          <a:pt x="337" y="486"/>
                        </a:lnTo>
                        <a:lnTo>
                          <a:pt x="338" y="486"/>
                        </a:lnTo>
                        <a:lnTo>
                          <a:pt x="338" y="487"/>
                        </a:lnTo>
                        <a:lnTo>
                          <a:pt x="340" y="487"/>
                        </a:lnTo>
                        <a:lnTo>
                          <a:pt x="341" y="487"/>
                        </a:lnTo>
                        <a:lnTo>
                          <a:pt x="342" y="487"/>
                        </a:lnTo>
                        <a:lnTo>
                          <a:pt x="344" y="487"/>
                        </a:lnTo>
                        <a:lnTo>
                          <a:pt x="345" y="487"/>
                        </a:lnTo>
                        <a:lnTo>
                          <a:pt x="346" y="487"/>
                        </a:lnTo>
                        <a:lnTo>
                          <a:pt x="347" y="487"/>
                        </a:lnTo>
                        <a:lnTo>
                          <a:pt x="349" y="487"/>
                        </a:lnTo>
                        <a:lnTo>
                          <a:pt x="350" y="487"/>
                        </a:lnTo>
                        <a:lnTo>
                          <a:pt x="350" y="486"/>
                        </a:lnTo>
                        <a:lnTo>
                          <a:pt x="350" y="484"/>
                        </a:lnTo>
                        <a:lnTo>
                          <a:pt x="352" y="484"/>
                        </a:lnTo>
                        <a:lnTo>
                          <a:pt x="352" y="482"/>
                        </a:lnTo>
                        <a:lnTo>
                          <a:pt x="351" y="480"/>
                        </a:lnTo>
                        <a:lnTo>
                          <a:pt x="350" y="478"/>
                        </a:lnTo>
                        <a:lnTo>
                          <a:pt x="350" y="477"/>
                        </a:lnTo>
                        <a:lnTo>
                          <a:pt x="350" y="476"/>
                        </a:lnTo>
                        <a:lnTo>
                          <a:pt x="350" y="474"/>
                        </a:lnTo>
                        <a:lnTo>
                          <a:pt x="351" y="472"/>
                        </a:lnTo>
                        <a:lnTo>
                          <a:pt x="354" y="471"/>
                        </a:lnTo>
                        <a:lnTo>
                          <a:pt x="356" y="470"/>
                        </a:lnTo>
                        <a:lnTo>
                          <a:pt x="357" y="468"/>
                        </a:lnTo>
                        <a:lnTo>
                          <a:pt x="355" y="467"/>
                        </a:lnTo>
                        <a:lnTo>
                          <a:pt x="354" y="467"/>
                        </a:lnTo>
                        <a:lnTo>
                          <a:pt x="352" y="466"/>
                        </a:lnTo>
                        <a:lnTo>
                          <a:pt x="350" y="464"/>
                        </a:lnTo>
                        <a:lnTo>
                          <a:pt x="348" y="464"/>
                        </a:lnTo>
                        <a:lnTo>
                          <a:pt x="347" y="463"/>
                        </a:lnTo>
                        <a:lnTo>
                          <a:pt x="346" y="462"/>
                        </a:lnTo>
                        <a:lnTo>
                          <a:pt x="344" y="462"/>
                        </a:lnTo>
                        <a:lnTo>
                          <a:pt x="342" y="461"/>
                        </a:lnTo>
                        <a:lnTo>
                          <a:pt x="341" y="460"/>
                        </a:lnTo>
                        <a:lnTo>
                          <a:pt x="340" y="459"/>
                        </a:lnTo>
                        <a:lnTo>
                          <a:pt x="340" y="458"/>
                        </a:lnTo>
                        <a:lnTo>
                          <a:pt x="338" y="458"/>
                        </a:lnTo>
                        <a:lnTo>
                          <a:pt x="337" y="457"/>
                        </a:lnTo>
                        <a:lnTo>
                          <a:pt x="335" y="456"/>
                        </a:lnTo>
                        <a:lnTo>
                          <a:pt x="335" y="455"/>
                        </a:lnTo>
                        <a:lnTo>
                          <a:pt x="333" y="455"/>
                        </a:lnTo>
                        <a:lnTo>
                          <a:pt x="331" y="455"/>
                        </a:lnTo>
                        <a:lnTo>
                          <a:pt x="330" y="455"/>
                        </a:lnTo>
                        <a:lnTo>
                          <a:pt x="328" y="455"/>
                        </a:lnTo>
                        <a:lnTo>
                          <a:pt x="328" y="453"/>
                        </a:lnTo>
                        <a:lnTo>
                          <a:pt x="328" y="452"/>
                        </a:lnTo>
                        <a:lnTo>
                          <a:pt x="328" y="450"/>
                        </a:lnTo>
                        <a:lnTo>
                          <a:pt x="328" y="449"/>
                        </a:lnTo>
                        <a:lnTo>
                          <a:pt x="328" y="448"/>
                        </a:lnTo>
                        <a:lnTo>
                          <a:pt x="327" y="446"/>
                        </a:lnTo>
                        <a:lnTo>
                          <a:pt x="326" y="445"/>
                        </a:lnTo>
                        <a:lnTo>
                          <a:pt x="325" y="445"/>
                        </a:lnTo>
                        <a:lnTo>
                          <a:pt x="324" y="445"/>
                        </a:lnTo>
                        <a:lnTo>
                          <a:pt x="323" y="445"/>
                        </a:lnTo>
                        <a:lnTo>
                          <a:pt x="322" y="445"/>
                        </a:lnTo>
                        <a:lnTo>
                          <a:pt x="321" y="444"/>
                        </a:lnTo>
                        <a:lnTo>
                          <a:pt x="321" y="442"/>
                        </a:lnTo>
                        <a:lnTo>
                          <a:pt x="321" y="441"/>
                        </a:lnTo>
                        <a:lnTo>
                          <a:pt x="321" y="440"/>
                        </a:lnTo>
                        <a:lnTo>
                          <a:pt x="321" y="439"/>
                        </a:lnTo>
                        <a:lnTo>
                          <a:pt x="319" y="439"/>
                        </a:lnTo>
                        <a:lnTo>
                          <a:pt x="318" y="439"/>
                        </a:lnTo>
                        <a:lnTo>
                          <a:pt x="316" y="438"/>
                        </a:lnTo>
                        <a:lnTo>
                          <a:pt x="314" y="436"/>
                        </a:lnTo>
                        <a:lnTo>
                          <a:pt x="314" y="434"/>
                        </a:lnTo>
                        <a:lnTo>
                          <a:pt x="314" y="433"/>
                        </a:lnTo>
                        <a:lnTo>
                          <a:pt x="314" y="431"/>
                        </a:lnTo>
                        <a:lnTo>
                          <a:pt x="314" y="429"/>
                        </a:lnTo>
                        <a:lnTo>
                          <a:pt x="313" y="427"/>
                        </a:lnTo>
                        <a:lnTo>
                          <a:pt x="312" y="426"/>
                        </a:lnTo>
                        <a:lnTo>
                          <a:pt x="311" y="426"/>
                        </a:lnTo>
                        <a:lnTo>
                          <a:pt x="309" y="426"/>
                        </a:lnTo>
                        <a:lnTo>
                          <a:pt x="308" y="424"/>
                        </a:lnTo>
                        <a:lnTo>
                          <a:pt x="305" y="423"/>
                        </a:lnTo>
                        <a:lnTo>
                          <a:pt x="303" y="423"/>
                        </a:lnTo>
                        <a:lnTo>
                          <a:pt x="302" y="423"/>
                        </a:lnTo>
                        <a:lnTo>
                          <a:pt x="300" y="421"/>
                        </a:lnTo>
                        <a:lnTo>
                          <a:pt x="299" y="420"/>
                        </a:lnTo>
                        <a:lnTo>
                          <a:pt x="299" y="419"/>
                        </a:lnTo>
                        <a:lnTo>
                          <a:pt x="299" y="417"/>
                        </a:lnTo>
                        <a:lnTo>
                          <a:pt x="298" y="416"/>
                        </a:lnTo>
                        <a:lnTo>
                          <a:pt x="297" y="416"/>
                        </a:lnTo>
                        <a:lnTo>
                          <a:pt x="295" y="416"/>
                        </a:lnTo>
                        <a:lnTo>
                          <a:pt x="295" y="415"/>
                        </a:lnTo>
                        <a:lnTo>
                          <a:pt x="295" y="414"/>
                        </a:lnTo>
                        <a:lnTo>
                          <a:pt x="295" y="413"/>
                        </a:lnTo>
                        <a:lnTo>
                          <a:pt x="295" y="412"/>
                        </a:lnTo>
                        <a:lnTo>
                          <a:pt x="295" y="411"/>
                        </a:lnTo>
                        <a:lnTo>
                          <a:pt x="295" y="410"/>
                        </a:lnTo>
                        <a:lnTo>
                          <a:pt x="295" y="406"/>
                        </a:lnTo>
                        <a:lnTo>
                          <a:pt x="294" y="404"/>
                        </a:lnTo>
                        <a:lnTo>
                          <a:pt x="292" y="403"/>
                        </a:lnTo>
                        <a:lnTo>
                          <a:pt x="292" y="401"/>
                        </a:lnTo>
                        <a:lnTo>
                          <a:pt x="291" y="400"/>
                        </a:lnTo>
                        <a:lnTo>
                          <a:pt x="290" y="399"/>
                        </a:lnTo>
                        <a:lnTo>
                          <a:pt x="290" y="397"/>
                        </a:lnTo>
                        <a:lnTo>
                          <a:pt x="290" y="396"/>
                        </a:lnTo>
                        <a:lnTo>
                          <a:pt x="290" y="395"/>
                        </a:lnTo>
                        <a:lnTo>
                          <a:pt x="290" y="393"/>
                        </a:lnTo>
                        <a:lnTo>
                          <a:pt x="290" y="391"/>
                        </a:lnTo>
                        <a:lnTo>
                          <a:pt x="290" y="390"/>
                        </a:lnTo>
                        <a:lnTo>
                          <a:pt x="290" y="388"/>
                        </a:lnTo>
                        <a:lnTo>
                          <a:pt x="290" y="386"/>
                        </a:lnTo>
                        <a:lnTo>
                          <a:pt x="292" y="386"/>
                        </a:lnTo>
                        <a:lnTo>
                          <a:pt x="294" y="386"/>
                        </a:lnTo>
                        <a:lnTo>
                          <a:pt x="295" y="384"/>
                        </a:lnTo>
                        <a:lnTo>
                          <a:pt x="295" y="382"/>
                        </a:lnTo>
                        <a:lnTo>
                          <a:pt x="295" y="381"/>
                        </a:lnTo>
                        <a:lnTo>
                          <a:pt x="294" y="381"/>
                        </a:lnTo>
                        <a:lnTo>
                          <a:pt x="292" y="381"/>
                        </a:lnTo>
                        <a:lnTo>
                          <a:pt x="292" y="379"/>
                        </a:lnTo>
                        <a:lnTo>
                          <a:pt x="292" y="378"/>
                        </a:lnTo>
                        <a:lnTo>
                          <a:pt x="290" y="376"/>
                        </a:lnTo>
                        <a:lnTo>
                          <a:pt x="290" y="374"/>
                        </a:lnTo>
                        <a:lnTo>
                          <a:pt x="288" y="373"/>
                        </a:lnTo>
                        <a:lnTo>
                          <a:pt x="286" y="371"/>
                        </a:lnTo>
                        <a:lnTo>
                          <a:pt x="285" y="371"/>
                        </a:lnTo>
                        <a:lnTo>
                          <a:pt x="283" y="371"/>
                        </a:lnTo>
                        <a:lnTo>
                          <a:pt x="281" y="368"/>
                        </a:lnTo>
                        <a:lnTo>
                          <a:pt x="280" y="367"/>
                        </a:lnTo>
                        <a:lnTo>
                          <a:pt x="279" y="362"/>
                        </a:lnTo>
                        <a:lnTo>
                          <a:pt x="279" y="360"/>
                        </a:lnTo>
                        <a:lnTo>
                          <a:pt x="279" y="359"/>
                        </a:lnTo>
                        <a:lnTo>
                          <a:pt x="279" y="358"/>
                        </a:lnTo>
                        <a:lnTo>
                          <a:pt x="278" y="357"/>
                        </a:lnTo>
                        <a:lnTo>
                          <a:pt x="277" y="356"/>
                        </a:lnTo>
                        <a:lnTo>
                          <a:pt x="276" y="355"/>
                        </a:lnTo>
                        <a:lnTo>
                          <a:pt x="278" y="355"/>
                        </a:lnTo>
                        <a:lnTo>
                          <a:pt x="279" y="355"/>
                        </a:lnTo>
                        <a:lnTo>
                          <a:pt x="279" y="354"/>
                        </a:lnTo>
                        <a:lnTo>
                          <a:pt x="279" y="352"/>
                        </a:lnTo>
                        <a:lnTo>
                          <a:pt x="279" y="351"/>
                        </a:lnTo>
                        <a:lnTo>
                          <a:pt x="279" y="350"/>
                        </a:lnTo>
                        <a:lnTo>
                          <a:pt x="279" y="348"/>
                        </a:lnTo>
                        <a:lnTo>
                          <a:pt x="281" y="349"/>
                        </a:lnTo>
                        <a:lnTo>
                          <a:pt x="283" y="350"/>
                        </a:lnTo>
                        <a:lnTo>
                          <a:pt x="284" y="351"/>
                        </a:lnTo>
                        <a:lnTo>
                          <a:pt x="286" y="352"/>
                        </a:lnTo>
                        <a:lnTo>
                          <a:pt x="286" y="354"/>
                        </a:lnTo>
                        <a:lnTo>
                          <a:pt x="287" y="355"/>
                        </a:lnTo>
                        <a:lnTo>
                          <a:pt x="288" y="356"/>
                        </a:lnTo>
                        <a:lnTo>
                          <a:pt x="290" y="358"/>
                        </a:lnTo>
                        <a:lnTo>
                          <a:pt x="290" y="359"/>
                        </a:lnTo>
                        <a:lnTo>
                          <a:pt x="290" y="360"/>
                        </a:lnTo>
                        <a:lnTo>
                          <a:pt x="290" y="361"/>
                        </a:lnTo>
                        <a:lnTo>
                          <a:pt x="290" y="362"/>
                        </a:lnTo>
                        <a:lnTo>
                          <a:pt x="291" y="359"/>
                        </a:lnTo>
                        <a:lnTo>
                          <a:pt x="292" y="357"/>
                        </a:lnTo>
                        <a:lnTo>
                          <a:pt x="293" y="354"/>
                        </a:lnTo>
                        <a:lnTo>
                          <a:pt x="295" y="352"/>
                        </a:lnTo>
                        <a:lnTo>
                          <a:pt x="297" y="352"/>
                        </a:lnTo>
                        <a:lnTo>
                          <a:pt x="299" y="351"/>
                        </a:lnTo>
                        <a:lnTo>
                          <a:pt x="300" y="350"/>
                        </a:lnTo>
                        <a:lnTo>
                          <a:pt x="302" y="348"/>
                        </a:lnTo>
                        <a:lnTo>
                          <a:pt x="312" y="348"/>
                        </a:lnTo>
                        <a:lnTo>
                          <a:pt x="313" y="348"/>
                        </a:lnTo>
                        <a:lnTo>
                          <a:pt x="314" y="348"/>
                        </a:lnTo>
                        <a:lnTo>
                          <a:pt x="316" y="348"/>
                        </a:lnTo>
                        <a:lnTo>
                          <a:pt x="318" y="348"/>
                        </a:lnTo>
                        <a:lnTo>
                          <a:pt x="319" y="347"/>
                        </a:lnTo>
                        <a:lnTo>
                          <a:pt x="321" y="345"/>
                        </a:lnTo>
                        <a:lnTo>
                          <a:pt x="322" y="345"/>
                        </a:lnTo>
                        <a:lnTo>
                          <a:pt x="323" y="345"/>
                        </a:lnTo>
                        <a:lnTo>
                          <a:pt x="324" y="344"/>
                        </a:lnTo>
                        <a:lnTo>
                          <a:pt x="324" y="343"/>
                        </a:lnTo>
                        <a:lnTo>
                          <a:pt x="325" y="343"/>
                        </a:lnTo>
                        <a:lnTo>
                          <a:pt x="326" y="342"/>
                        </a:lnTo>
                        <a:lnTo>
                          <a:pt x="327" y="340"/>
                        </a:lnTo>
                        <a:lnTo>
                          <a:pt x="328" y="339"/>
                        </a:lnTo>
                        <a:lnTo>
                          <a:pt x="330" y="339"/>
                        </a:lnTo>
                        <a:lnTo>
                          <a:pt x="331" y="339"/>
                        </a:lnTo>
                        <a:lnTo>
                          <a:pt x="333" y="339"/>
                        </a:lnTo>
                        <a:lnTo>
                          <a:pt x="335" y="339"/>
                        </a:lnTo>
                        <a:lnTo>
                          <a:pt x="336" y="337"/>
                        </a:lnTo>
                        <a:lnTo>
                          <a:pt x="337" y="336"/>
                        </a:lnTo>
                        <a:lnTo>
                          <a:pt x="338" y="336"/>
                        </a:lnTo>
                        <a:lnTo>
                          <a:pt x="338" y="337"/>
                        </a:lnTo>
                        <a:lnTo>
                          <a:pt x="340" y="339"/>
                        </a:lnTo>
                        <a:lnTo>
                          <a:pt x="342" y="339"/>
                        </a:lnTo>
                        <a:lnTo>
                          <a:pt x="344" y="337"/>
                        </a:lnTo>
                        <a:lnTo>
                          <a:pt x="345" y="334"/>
                        </a:lnTo>
                        <a:lnTo>
                          <a:pt x="347" y="333"/>
                        </a:lnTo>
                        <a:lnTo>
                          <a:pt x="349" y="333"/>
                        </a:lnTo>
                        <a:lnTo>
                          <a:pt x="350" y="333"/>
                        </a:lnTo>
                        <a:lnTo>
                          <a:pt x="352" y="331"/>
                        </a:lnTo>
                        <a:lnTo>
                          <a:pt x="354" y="330"/>
                        </a:lnTo>
                        <a:lnTo>
                          <a:pt x="355" y="329"/>
                        </a:lnTo>
                        <a:lnTo>
                          <a:pt x="357" y="329"/>
                        </a:lnTo>
                        <a:lnTo>
                          <a:pt x="366" y="329"/>
                        </a:lnTo>
                        <a:lnTo>
                          <a:pt x="369" y="328"/>
                        </a:lnTo>
                        <a:lnTo>
                          <a:pt x="371" y="328"/>
                        </a:lnTo>
                        <a:lnTo>
                          <a:pt x="374" y="327"/>
                        </a:lnTo>
                        <a:lnTo>
                          <a:pt x="376" y="326"/>
                        </a:lnTo>
                        <a:lnTo>
                          <a:pt x="378" y="326"/>
                        </a:lnTo>
                        <a:lnTo>
                          <a:pt x="380" y="326"/>
                        </a:lnTo>
                        <a:lnTo>
                          <a:pt x="381" y="326"/>
                        </a:lnTo>
                        <a:lnTo>
                          <a:pt x="383" y="326"/>
                        </a:lnTo>
                        <a:lnTo>
                          <a:pt x="386" y="324"/>
                        </a:lnTo>
                        <a:lnTo>
                          <a:pt x="388" y="324"/>
                        </a:lnTo>
                        <a:lnTo>
                          <a:pt x="391" y="324"/>
                        </a:lnTo>
                        <a:lnTo>
                          <a:pt x="392" y="323"/>
                        </a:lnTo>
                        <a:lnTo>
                          <a:pt x="392" y="321"/>
                        </a:lnTo>
                        <a:lnTo>
                          <a:pt x="392" y="319"/>
                        </a:lnTo>
                        <a:lnTo>
                          <a:pt x="392" y="318"/>
                        </a:lnTo>
                        <a:lnTo>
                          <a:pt x="392" y="316"/>
                        </a:lnTo>
                        <a:lnTo>
                          <a:pt x="392" y="315"/>
                        </a:lnTo>
                        <a:lnTo>
                          <a:pt x="392" y="314"/>
                        </a:lnTo>
                        <a:lnTo>
                          <a:pt x="392" y="313"/>
                        </a:lnTo>
                        <a:lnTo>
                          <a:pt x="392" y="312"/>
                        </a:lnTo>
                        <a:lnTo>
                          <a:pt x="394" y="312"/>
                        </a:lnTo>
                        <a:lnTo>
                          <a:pt x="395" y="312"/>
                        </a:lnTo>
                        <a:lnTo>
                          <a:pt x="395" y="313"/>
                        </a:lnTo>
                        <a:lnTo>
                          <a:pt x="395" y="314"/>
                        </a:lnTo>
                        <a:lnTo>
                          <a:pt x="395" y="315"/>
                        </a:lnTo>
                        <a:lnTo>
                          <a:pt x="395" y="316"/>
                        </a:lnTo>
                        <a:lnTo>
                          <a:pt x="397" y="316"/>
                        </a:lnTo>
                        <a:lnTo>
                          <a:pt x="398" y="316"/>
                        </a:lnTo>
                        <a:lnTo>
                          <a:pt x="399" y="316"/>
                        </a:lnTo>
                        <a:lnTo>
                          <a:pt x="401" y="314"/>
                        </a:lnTo>
                        <a:lnTo>
                          <a:pt x="402" y="313"/>
                        </a:lnTo>
                        <a:lnTo>
                          <a:pt x="403" y="314"/>
                        </a:lnTo>
                        <a:lnTo>
                          <a:pt x="405" y="316"/>
                        </a:lnTo>
                        <a:lnTo>
                          <a:pt x="407" y="316"/>
                        </a:lnTo>
                        <a:lnTo>
                          <a:pt x="407" y="318"/>
                        </a:lnTo>
                        <a:lnTo>
                          <a:pt x="407" y="319"/>
                        </a:lnTo>
                        <a:lnTo>
                          <a:pt x="409" y="319"/>
                        </a:lnTo>
                        <a:lnTo>
                          <a:pt x="410" y="320"/>
                        </a:lnTo>
                        <a:lnTo>
                          <a:pt x="411" y="321"/>
                        </a:lnTo>
                        <a:lnTo>
                          <a:pt x="411" y="323"/>
                        </a:lnTo>
                        <a:lnTo>
                          <a:pt x="410" y="323"/>
                        </a:lnTo>
                        <a:lnTo>
                          <a:pt x="409" y="323"/>
                        </a:lnTo>
                        <a:lnTo>
                          <a:pt x="410" y="323"/>
                        </a:lnTo>
                        <a:lnTo>
                          <a:pt x="411" y="323"/>
                        </a:lnTo>
                        <a:lnTo>
                          <a:pt x="412" y="324"/>
                        </a:lnTo>
                        <a:lnTo>
                          <a:pt x="414" y="326"/>
                        </a:lnTo>
                        <a:lnTo>
                          <a:pt x="415" y="326"/>
                        </a:lnTo>
                        <a:lnTo>
                          <a:pt x="416" y="328"/>
                        </a:lnTo>
                        <a:lnTo>
                          <a:pt x="417" y="329"/>
                        </a:lnTo>
                        <a:lnTo>
                          <a:pt x="418" y="329"/>
                        </a:lnTo>
                        <a:lnTo>
                          <a:pt x="418" y="328"/>
                        </a:lnTo>
                        <a:lnTo>
                          <a:pt x="418" y="326"/>
                        </a:lnTo>
                        <a:lnTo>
                          <a:pt x="420" y="325"/>
                        </a:lnTo>
                        <a:lnTo>
                          <a:pt x="421" y="324"/>
                        </a:lnTo>
                        <a:lnTo>
                          <a:pt x="421" y="323"/>
                        </a:lnTo>
                        <a:lnTo>
                          <a:pt x="422" y="320"/>
                        </a:lnTo>
                        <a:lnTo>
                          <a:pt x="423" y="316"/>
                        </a:lnTo>
                        <a:lnTo>
                          <a:pt x="424" y="314"/>
                        </a:lnTo>
                        <a:lnTo>
                          <a:pt x="424" y="312"/>
                        </a:lnTo>
                        <a:lnTo>
                          <a:pt x="426" y="310"/>
                        </a:lnTo>
                        <a:lnTo>
                          <a:pt x="427" y="309"/>
                        </a:lnTo>
                        <a:lnTo>
                          <a:pt x="428" y="308"/>
                        </a:lnTo>
                        <a:lnTo>
                          <a:pt x="428" y="307"/>
                        </a:lnTo>
                        <a:lnTo>
                          <a:pt x="428" y="306"/>
                        </a:lnTo>
                        <a:lnTo>
                          <a:pt x="428" y="305"/>
                        </a:lnTo>
                        <a:lnTo>
                          <a:pt x="429" y="304"/>
                        </a:lnTo>
                        <a:lnTo>
                          <a:pt x="431" y="303"/>
                        </a:lnTo>
                        <a:lnTo>
                          <a:pt x="432" y="299"/>
                        </a:lnTo>
                        <a:lnTo>
                          <a:pt x="432" y="295"/>
                        </a:lnTo>
                        <a:lnTo>
                          <a:pt x="433" y="293"/>
                        </a:lnTo>
                        <a:lnTo>
                          <a:pt x="431" y="290"/>
                        </a:lnTo>
                        <a:lnTo>
                          <a:pt x="431" y="287"/>
                        </a:lnTo>
                        <a:lnTo>
                          <a:pt x="431" y="283"/>
                        </a:lnTo>
                        <a:lnTo>
                          <a:pt x="430" y="281"/>
                        </a:lnTo>
                        <a:lnTo>
                          <a:pt x="428" y="278"/>
                        </a:lnTo>
                        <a:lnTo>
                          <a:pt x="427" y="275"/>
                        </a:lnTo>
                        <a:lnTo>
                          <a:pt x="426" y="273"/>
                        </a:lnTo>
                        <a:lnTo>
                          <a:pt x="424" y="271"/>
                        </a:lnTo>
                        <a:lnTo>
                          <a:pt x="421" y="271"/>
                        </a:lnTo>
                        <a:lnTo>
                          <a:pt x="421" y="270"/>
                        </a:lnTo>
                        <a:lnTo>
                          <a:pt x="419" y="269"/>
                        </a:lnTo>
                        <a:lnTo>
                          <a:pt x="418" y="268"/>
                        </a:lnTo>
                        <a:lnTo>
                          <a:pt x="418" y="267"/>
                        </a:lnTo>
                        <a:lnTo>
                          <a:pt x="419" y="265"/>
                        </a:lnTo>
                        <a:lnTo>
                          <a:pt x="421" y="263"/>
                        </a:lnTo>
                        <a:lnTo>
                          <a:pt x="421" y="261"/>
                        </a:lnTo>
                        <a:lnTo>
                          <a:pt x="421" y="260"/>
                        </a:lnTo>
                        <a:lnTo>
                          <a:pt x="421" y="258"/>
                        </a:lnTo>
                        <a:lnTo>
                          <a:pt x="420" y="255"/>
                        </a:lnTo>
                        <a:lnTo>
                          <a:pt x="418" y="252"/>
                        </a:lnTo>
                        <a:lnTo>
                          <a:pt x="418" y="251"/>
                        </a:lnTo>
                        <a:lnTo>
                          <a:pt x="418" y="250"/>
                        </a:lnTo>
                        <a:lnTo>
                          <a:pt x="418" y="248"/>
                        </a:lnTo>
                        <a:lnTo>
                          <a:pt x="416" y="248"/>
                        </a:lnTo>
                        <a:lnTo>
                          <a:pt x="415" y="248"/>
                        </a:lnTo>
                        <a:lnTo>
                          <a:pt x="414" y="247"/>
                        </a:lnTo>
                        <a:lnTo>
                          <a:pt x="414" y="245"/>
                        </a:lnTo>
                        <a:lnTo>
                          <a:pt x="415" y="243"/>
                        </a:lnTo>
                        <a:lnTo>
                          <a:pt x="418" y="242"/>
                        </a:lnTo>
                        <a:lnTo>
                          <a:pt x="420" y="240"/>
                        </a:lnTo>
                        <a:lnTo>
                          <a:pt x="421" y="238"/>
                        </a:lnTo>
                        <a:lnTo>
                          <a:pt x="421" y="236"/>
                        </a:lnTo>
                        <a:lnTo>
                          <a:pt x="420" y="235"/>
                        </a:lnTo>
                        <a:lnTo>
                          <a:pt x="421" y="233"/>
                        </a:lnTo>
                        <a:lnTo>
                          <a:pt x="421" y="232"/>
                        </a:lnTo>
                        <a:lnTo>
                          <a:pt x="421" y="231"/>
                        </a:lnTo>
                        <a:lnTo>
                          <a:pt x="421" y="229"/>
                        </a:lnTo>
                        <a:lnTo>
                          <a:pt x="421" y="227"/>
                        </a:lnTo>
                        <a:lnTo>
                          <a:pt x="421" y="226"/>
                        </a:lnTo>
                        <a:lnTo>
                          <a:pt x="421" y="224"/>
                        </a:lnTo>
                        <a:lnTo>
                          <a:pt x="421" y="223"/>
                        </a:lnTo>
                        <a:lnTo>
                          <a:pt x="421" y="221"/>
                        </a:lnTo>
                        <a:lnTo>
                          <a:pt x="419" y="219"/>
                        </a:lnTo>
                        <a:lnTo>
                          <a:pt x="418" y="218"/>
                        </a:lnTo>
                        <a:lnTo>
                          <a:pt x="418" y="216"/>
                        </a:lnTo>
                        <a:lnTo>
                          <a:pt x="416" y="214"/>
                        </a:lnTo>
                        <a:lnTo>
                          <a:pt x="415" y="212"/>
                        </a:lnTo>
                        <a:lnTo>
                          <a:pt x="414" y="211"/>
                        </a:lnTo>
                        <a:lnTo>
                          <a:pt x="414" y="210"/>
                        </a:lnTo>
                        <a:lnTo>
                          <a:pt x="414" y="208"/>
                        </a:lnTo>
                        <a:lnTo>
                          <a:pt x="414" y="207"/>
                        </a:lnTo>
                        <a:lnTo>
                          <a:pt x="414" y="205"/>
                        </a:lnTo>
                        <a:lnTo>
                          <a:pt x="414" y="203"/>
                        </a:lnTo>
                        <a:lnTo>
                          <a:pt x="415" y="201"/>
                        </a:lnTo>
                        <a:lnTo>
                          <a:pt x="416" y="200"/>
                        </a:lnTo>
                        <a:lnTo>
                          <a:pt x="417" y="200"/>
                        </a:lnTo>
                        <a:lnTo>
                          <a:pt x="418" y="200"/>
                        </a:lnTo>
                        <a:lnTo>
                          <a:pt x="418" y="198"/>
                        </a:lnTo>
                        <a:lnTo>
                          <a:pt x="417" y="197"/>
                        </a:lnTo>
                        <a:lnTo>
                          <a:pt x="416" y="195"/>
                        </a:lnTo>
                        <a:lnTo>
                          <a:pt x="414" y="193"/>
                        </a:lnTo>
                        <a:lnTo>
                          <a:pt x="414" y="191"/>
                        </a:lnTo>
                        <a:lnTo>
                          <a:pt x="414" y="190"/>
                        </a:lnTo>
                        <a:lnTo>
                          <a:pt x="414" y="189"/>
                        </a:lnTo>
                        <a:lnTo>
                          <a:pt x="414" y="187"/>
                        </a:lnTo>
                        <a:lnTo>
                          <a:pt x="411" y="186"/>
                        </a:lnTo>
                        <a:lnTo>
                          <a:pt x="409" y="185"/>
                        </a:lnTo>
                        <a:lnTo>
                          <a:pt x="406" y="184"/>
                        </a:lnTo>
                        <a:lnTo>
                          <a:pt x="405" y="184"/>
                        </a:lnTo>
                        <a:lnTo>
                          <a:pt x="403" y="182"/>
                        </a:lnTo>
                        <a:lnTo>
                          <a:pt x="402" y="180"/>
                        </a:lnTo>
                        <a:lnTo>
                          <a:pt x="401" y="178"/>
                        </a:lnTo>
                        <a:lnTo>
                          <a:pt x="399" y="178"/>
                        </a:lnTo>
                        <a:lnTo>
                          <a:pt x="399" y="176"/>
                        </a:lnTo>
                        <a:lnTo>
                          <a:pt x="398" y="175"/>
                        </a:lnTo>
                        <a:lnTo>
                          <a:pt x="397" y="174"/>
                        </a:lnTo>
                        <a:lnTo>
                          <a:pt x="395" y="174"/>
                        </a:lnTo>
                        <a:lnTo>
                          <a:pt x="395" y="164"/>
                        </a:lnTo>
                        <a:lnTo>
                          <a:pt x="397" y="162"/>
                        </a:lnTo>
                        <a:lnTo>
                          <a:pt x="399" y="162"/>
                        </a:lnTo>
                        <a:lnTo>
                          <a:pt x="400" y="162"/>
                        </a:lnTo>
                        <a:lnTo>
                          <a:pt x="402" y="162"/>
                        </a:lnTo>
                        <a:lnTo>
                          <a:pt x="403" y="159"/>
                        </a:lnTo>
                        <a:lnTo>
                          <a:pt x="404" y="157"/>
                        </a:lnTo>
                        <a:lnTo>
                          <a:pt x="404" y="154"/>
                        </a:lnTo>
                        <a:lnTo>
                          <a:pt x="405" y="152"/>
                        </a:lnTo>
                        <a:lnTo>
                          <a:pt x="407" y="152"/>
                        </a:lnTo>
                        <a:lnTo>
                          <a:pt x="409" y="151"/>
                        </a:lnTo>
                        <a:lnTo>
                          <a:pt x="410" y="150"/>
                        </a:lnTo>
                        <a:lnTo>
                          <a:pt x="411" y="148"/>
                        </a:lnTo>
                        <a:lnTo>
                          <a:pt x="411" y="146"/>
                        </a:lnTo>
                        <a:lnTo>
                          <a:pt x="411" y="142"/>
                        </a:lnTo>
                        <a:lnTo>
                          <a:pt x="411" y="140"/>
                        </a:lnTo>
                        <a:lnTo>
                          <a:pt x="411" y="138"/>
                        </a:lnTo>
                        <a:lnTo>
                          <a:pt x="411" y="136"/>
                        </a:lnTo>
                        <a:lnTo>
                          <a:pt x="410" y="133"/>
                        </a:lnTo>
                        <a:lnTo>
                          <a:pt x="409" y="131"/>
                        </a:lnTo>
                        <a:lnTo>
                          <a:pt x="409" y="126"/>
                        </a:lnTo>
                        <a:lnTo>
                          <a:pt x="408" y="123"/>
                        </a:lnTo>
                        <a:lnTo>
                          <a:pt x="407" y="121"/>
                        </a:lnTo>
                        <a:lnTo>
                          <a:pt x="406" y="118"/>
                        </a:lnTo>
                        <a:lnTo>
                          <a:pt x="405" y="116"/>
                        </a:lnTo>
                        <a:lnTo>
                          <a:pt x="405" y="107"/>
                        </a:lnTo>
                        <a:lnTo>
                          <a:pt x="395" y="107"/>
                        </a:lnTo>
                        <a:lnTo>
                          <a:pt x="395" y="106"/>
                        </a:lnTo>
                        <a:lnTo>
                          <a:pt x="395" y="105"/>
                        </a:lnTo>
                        <a:lnTo>
                          <a:pt x="395" y="100"/>
                        </a:lnTo>
                        <a:lnTo>
                          <a:pt x="394" y="100"/>
                        </a:lnTo>
                        <a:lnTo>
                          <a:pt x="392" y="100"/>
                        </a:lnTo>
                        <a:lnTo>
                          <a:pt x="392" y="97"/>
                        </a:lnTo>
                        <a:lnTo>
                          <a:pt x="395" y="99"/>
                        </a:lnTo>
                        <a:lnTo>
                          <a:pt x="397" y="100"/>
                        </a:lnTo>
                        <a:lnTo>
                          <a:pt x="401" y="100"/>
                        </a:lnTo>
                        <a:lnTo>
                          <a:pt x="405" y="100"/>
                        </a:lnTo>
                        <a:lnTo>
                          <a:pt x="409" y="100"/>
                        </a:lnTo>
                        <a:lnTo>
                          <a:pt x="409" y="90"/>
                        </a:lnTo>
                        <a:lnTo>
                          <a:pt x="407" y="92"/>
                        </a:lnTo>
                        <a:lnTo>
                          <a:pt x="406" y="93"/>
                        </a:lnTo>
                        <a:lnTo>
                          <a:pt x="405" y="93"/>
                        </a:lnTo>
                        <a:lnTo>
                          <a:pt x="404" y="92"/>
                        </a:lnTo>
                        <a:lnTo>
                          <a:pt x="403" y="90"/>
                        </a:lnTo>
                        <a:lnTo>
                          <a:pt x="402" y="90"/>
                        </a:lnTo>
                        <a:lnTo>
                          <a:pt x="400" y="90"/>
                        </a:lnTo>
                        <a:lnTo>
                          <a:pt x="397" y="89"/>
                        </a:lnTo>
                        <a:lnTo>
                          <a:pt x="396" y="88"/>
                        </a:lnTo>
                        <a:lnTo>
                          <a:pt x="395" y="88"/>
                        </a:lnTo>
                        <a:lnTo>
                          <a:pt x="393" y="84"/>
                        </a:lnTo>
                        <a:lnTo>
                          <a:pt x="391" y="80"/>
                        </a:lnTo>
                        <a:lnTo>
                          <a:pt x="388" y="77"/>
                        </a:lnTo>
                        <a:lnTo>
                          <a:pt x="386" y="77"/>
                        </a:lnTo>
                        <a:lnTo>
                          <a:pt x="383" y="78"/>
                        </a:lnTo>
                        <a:lnTo>
                          <a:pt x="380" y="81"/>
                        </a:lnTo>
                        <a:lnTo>
                          <a:pt x="379" y="81"/>
                        </a:lnTo>
                        <a:lnTo>
                          <a:pt x="377" y="81"/>
                        </a:lnTo>
                        <a:lnTo>
                          <a:pt x="373" y="81"/>
                        </a:lnTo>
                        <a:lnTo>
                          <a:pt x="373" y="79"/>
                        </a:lnTo>
                        <a:lnTo>
                          <a:pt x="373" y="78"/>
                        </a:lnTo>
                        <a:lnTo>
                          <a:pt x="373" y="76"/>
                        </a:lnTo>
                        <a:lnTo>
                          <a:pt x="373" y="74"/>
                        </a:lnTo>
                        <a:lnTo>
                          <a:pt x="372" y="72"/>
                        </a:lnTo>
                        <a:lnTo>
                          <a:pt x="369" y="71"/>
                        </a:lnTo>
                        <a:lnTo>
                          <a:pt x="367" y="69"/>
                        </a:lnTo>
                        <a:lnTo>
                          <a:pt x="366" y="67"/>
                        </a:lnTo>
                        <a:lnTo>
                          <a:pt x="366" y="66"/>
                        </a:lnTo>
                        <a:lnTo>
                          <a:pt x="365" y="66"/>
                        </a:lnTo>
                        <a:lnTo>
                          <a:pt x="363" y="65"/>
                        </a:lnTo>
                        <a:lnTo>
                          <a:pt x="363" y="63"/>
                        </a:lnTo>
                        <a:lnTo>
                          <a:pt x="364" y="62"/>
                        </a:lnTo>
                        <a:lnTo>
                          <a:pt x="366" y="62"/>
                        </a:lnTo>
                        <a:lnTo>
                          <a:pt x="366" y="63"/>
                        </a:lnTo>
                        <a:lnTo>
                          <a:pt x="366" y="65"/>
                        </a:lnTo>
                        <a:lnTo>
                          <a:pt x="369" y="65"/>
                        </a:lnTo>
                        <a:lnTo>
                          <a:pt x="370" y="65"/>
                        </a:lnTo>
                        <a:lnTo>
                          <a:pt x="370" y="63"/>
                        </a:lnTo>
                        <a:lnTo>
                          <a:pt x="371" y="62"/>
                        </a:lnTo>
                        <a:lnTo>
                          <a:pt x="373" y="62"/>
                        </a:lnTo>
                        <a:lnTo>
                          <a:pt x="373" y="65"/>
                        </a:lnTo>
                        <a:lnTo>
                          <a:pt x="374" y="65"/>
                        </a:lnTo>
                        <a:lnTo>
                          <a:pt x="376" y="65"/>
                        </a:lnTo>
                        <a:lnTo>
                          <a:pt x="377" y="65"/>
                        </a:lnTo>
                        <a:lnTo>
                          <a:pt x="377" y="63"/>
                        </a:lnTo>
                        <a:lnTo>
                          <a:pt x="376" y="62"/>
                        </a:lnTo>
                        <a:lnTo>
                          <a:pt x="373" y="62"/>
                        </a:lnTo>
                        <a:lnTo>
                          <a:pt x="374" y="61"/>
                        </a:lnTo>
                        <a:lnTo>
                          <a:pt x="374" y="60"/>
                        </a:lnTo>
                        <a:lnTo>
                          <a:pt x="373" y="59"/>
                        </a:lnTo>
                        <a:lnTo>
                          <a:pt x="373" y="58"/>
                        </a:lnTo>
                        <a:lnTo>
                          <a:pt x="375" y="58"/>
                        </a:lnTo>
                        <a:lnTo>
                          <a:pt x="376" y="57"/>
                        </a:lnTo>
                        <a:lnTo>
                          <a:pt x="378" y="56"/>
                        </a:lnTo>
                        <a:lnTo>
                          <a:pt x="380" y="55"/>
                        </a:lnTo>
                        <a:lnTo>
                          <a:pt x="381" y="55"/>
                        </a:lnTo>
                        <a:lnTo>
                          <a:pt x="383" y="55"/>
                        </a:lnTo>
                        <a:lnTo>
                          <a:pt x="383" y="56"/>
                        </a:lnTo>
                        <a:lnTo>
                          <a:pt x="383" y="57"/>
                        </a:lnTo>
                        <a:lnTo>
                          <a:pt x="383" y="58"/>
                        </a:lnTo>
                        <a:lnTo>
                          <a:pt x="383" y="57"/>
                        </a:lnTo>
                        <a:lnTo>
                          <a:pt x="383" y="56"/>
                        </a:lnTo>
                        <a:lnTo>
                          <a:pt x="383" y="55"/>
                        </a:lnTo>
                        <a:lnTo>
                          <a:pt x="383" y="53"/>
                        </a:lnTo>
                        <a:lnTo>
                          <a:pt x="383" y="52"/>
                        </a:lnTo>
                        <a:lnTo>
                          <a:pt x="381" y="52"/>
                        </a:lnTo>
                        <a:lnTo>
                          <a:pt x="380" y="52"/>
                        </a:lnTo>
                        <a:lnTo>
                          <a:pt x="378" y="52"/>
                        </a:lnTo>
                        <a:lnTo>
                          <a:pt x="376" y="52"/>
                        </a:lnTo>
                        <a:lnTo>
                          <a:pt x="378" y="49"/>
                        </a:lnTo>
                        <a:lnTo>
                          <a:pt x="379" y="47"/>
                        </a:lnTo>
                        <a:lnTo>
                          <a:pt x="380" y="42"/>
                        </a:lnTo>
                        <a:lnTo>
                          <a:pt x="380" y="41"/>
                        </a:lnTo>
                        <a:lnTo>
                          <a:pt x="380" y="40"/>
                        </a:lnTo>
                        <a:lnTo>
                          <a:pt x="380" y="39"/>
                        </a:lnTo>
                        <a:lnTo>
                          <a:pt x="377" y="40"/>
                        </a:lnTo>
                        <a:lnTo>
                          <a:pt x="374" y="40"/>
                        </a:lnTo>
                        <a:lnTo>
                          <a:pt x="372" y="41"/>
                        </a:lnTo>
                        <a:lnTo>
                          <a:pt x="369" y="39"/>
                        </a:lnTo>
                        <a:lnTo>
                          <a:pt x="368" y="39"/>
                        </a:lnTo>
                        <a:lnTo>
                          <a:pt x="367" y="37"/>
                        </a:lnTo>
                        <a:lnTo>
                          <a:pt x="366" y="33"/>
                        </a:lnTo>
                        <a:lnTo>
                          <a:pt x="364" y="33"/>
                        </a:lnTo>
                        <a:lnTo>
                          <a:pt x="363" y="33"/>
                        </a:lnTo>
                        <a:lnTo>
                          <a:pt x="362" y="33"/>
                        </a:lnTo>
                        <a:lnTo>
                          <a:pt x="362" y="34"/>
                        </a:lnTo>
                        <a:lnTo>
                          <a:pt x="361" y="35"/>
                        </a:lnTo>
                        <a:lnTo>
                          <a:pt x="360" y="36"/>
                        </a:lnTo>
                        <a:lnTo>
                          <a:pt x="358" y="37"/>
                        </a:lnTo>
                        <a:lnTo>
                          <a:pt x="357" y="38"/>
                        </a:lnTo>
                        <a:lnTo>
                          <a:pt x="356" y="39"/>
                        </a:lnTo>
                        <a:lnTo>
                          <a:pt x="354" y="42"/>
                        </a:lnTo>
                        <a:lnTo>
                          <a:pt x="354" y="43"/>
                        </a:lnTo>
                        <a:lnTo>
                          <a:pt x="354" y="44"/>
                        </a:lnTo>
                        <a:lnTo>
                          <a:pt x="354" y="45"/>
                        </a:lnTo>
                        <a:lnTo>
                          <a:pt x="354" y="44"/>
                        </a:lnTo>
                        <a:lnTo>
                          <a:pt x="355" y="42"/>
                        </a:lnTo>
                        <a:lnTo>
                          <a:pt x="357" y="40"/>
                        </a:lnTo>
                        <a:lnTo>
                          <a:pt x="357" y="39"/>
                        </a:lnTo>
                        <a:lnTo>
                          <a:pt x="358" y="39"/>
                        </a:lnTo>
                        <a:lnTo>
                          <a:pt x="358" y="40"/>
                        </a:lnTo>
                        <a:lnTo>
                          <a:pt x="358" y="41"/>
                        </a:lnTo>
                        <a:lnTo>
                          <a:pt x="357" y="42"/>
                        </a:lnTo>
                        <a:lnTo>
                          <a:pt x="359" y="42"/>
                        </a:lnTo>
                        <a:lnTo>
                          <a:pt x="360" y="42"/>
                        </a:lnTo>
                        <a:lnTo>
                          <a:pt x="359" y="43"/>
                        </a:lnTo>
                        <a:lnTo>
                          <a:pt x="358" y="43"/>
                        </a:lnTo>
                        <a:lnTo>
                          <a:pt x="359" y="42"/>
                        </a:lnTo>
                        <a:lnTo>
                          <a:pt x="360" y="42"/>
                        </a:lnTo>
                        <a:lnTo>
                          <a:pt x="360" y="41"/>
                        </a:lnTo>
                        <a:lnTo>
                          <a:pt x="360" y="39"/>
                        </a:lnTo>
                        <a:lnTo>
                          <a:pt x="361" y="40"/>
                        </a:lnTo>
                        <a:lnTo>
                          <a:pt x="362" y="41"/>
                        </a:lnTo>
                        <a:lnTo>
                          <a:pt x="362" y="42"/>
                        </a:lnTo>
                        <a:lnTo>
                          <a:pt x="360" y="42"/>
                        </a:lnTo>
                        <a:lnTo>
                          <a:pt x="364" y="42"/>
                        </a:lnTo>
                        <a:lnTo>
                          <a:pt x="366" y="42"/>
                        </a:lnTo>
                        <a:lnTo>
                          <a:pt x="368" y="44"/>
                        </a:lnTo>
                        <a:lnTo>
                          <a:pt x="369" y="45"/>
                        </a:lnTo>
                        <a:lnTo>
                          <a:pt x="369" y="46"/>
                        </a:lnTo>
                        <a:lnTo>
                          <a:pt x="369" y="48"/>
                        </a:lnTo>
                        <a:lnTo>
                          <a:pt x="369" y="51"/>
                        </a:lnTo>
                        <a:lnTo>
                          <a:pt x="369" y="52"/>
                        </a:lnTo>
                        <a:lnTo>
                          <a:pt x="368" y="50"/>
                        </a:lnTo>
                        <a:lnTo>
                          <a:pt x="366" y="49"/>
                        </a:lnTo>
                        <a:lnTo>
                          <a:pt x="362" y="48"/>
                        </a:lnTo>
                        <a:lnTo>
                          <a:pt x="360" y="48"/>
                        </a:lnTo>
                        <a:lnTo>
                          <a:pt x="360" y="50"/>
                        </a:lnTo>
                        <a:lnTo>
                          <a:pt x="361" y="53"/>
                        </a:lnTo>
                        <a:lnTo>
                          <a:pt x="362" y="57"/>
                        </a:lnTo>
                        <a:lnTo>
                          <a:pt x="363" y="58"/>
                        </a:lnTo>
                        <a:lnTo>
                          <a:pt x="362" y="60"/>
                        </a:lnTo>
                        <a:lnTo>
                          <a:pt x="362" y="61"/>
                        </a:lnTo>
                        <a:lnTo>
                          <a:pt x="361" y="62"/>
                        </a:lnTo>
                        <a:lnTo>
                          <a:pt x="360" y="62"/>
                        </a:lnTo>
                        <a:lnTo>
                          <a:pt x="360" y="61"/>
                        </a:lnTo>
                        <a:lnTo>
                          <a:pt x="360" y="58"/>
                        </a:lnTo>
                        <a:lnTo>
                          <a:pt x="360" y="56"/>
                        </a:lnTo>
                        <a:lnTo>
                          <a:pt x="360" y="55"/>
                        </a:lnTo>
                        <a:lnTo>
                          <a:pt x="359" y="55"/>
                        </a:lnTo>
                        <a:lnTo>
                          <a:pt x="358" y="55"/>
                        </a:lnTo>
                        <a:lnTo>
                          <a:pt x="357" y="55"/>
                        </a:lnTo>
                        <a:lnTo>
                          <a:pt x="357" y="53"/>
                        </a:lnTo>
                        <a:lnTo>
                          <a:pt x="357" y="52"/>
                        </a:lnTo>
                        <a:lnTo>
                          <a:pt x="355" y="50"/>
                        </a:lnTo>
                        <a:lnTo>
                          <a:pt x="354" y="50"/>
                        </a:lnTo>
                        <a:lnTo>
                          <a:pt x="354" y="48"/>
                        </a:lnTo>
                        <a:lnTo>
                          <a:pt x="353" y="50"/>
                        </a:lnTo>
                        <a:lnTo>
                          <a:pt x="352" y="51"/>
                        </a:lnTo>
                        <a:lnTo>
                          <a:pt x="351" y="52"/>
                        </a:lnTo>
                        <a:lnTo>
                          <a:pt x="350" y="52"/>
                        </a:lnTo>
                        <a:lnTo>
                          <a:pt x="350" y="55"/>
                        </a:lnTo>
                        <a:lnTo>
                          <a:pt x="340" y="55"/>
                        </a:lnTo>
                        <a:lnTo>
                          <a:pt x="340" y="56"/>
                        </a:lnTo>
                        <a:lnTo>
                          <a:pt x="339" y="57"/>
                        </a:lnTo>
                        <a:lnTo>
                          <a:pt x="338" y="58"/>
                        </a:lnTo>
                        <a:lnTo>
                          <a:pt x="336" y="59"/>
                        </a:lnTo>
                        <a:lnTo>
                          <a:pt x="335" y="59"/>
                        </a:lnTo>
                        <a:lnTo>
                          <a:pt x="334" y="56"/>
                        </a:lnTo>
                        <a:lnTo>
                          <a:pt x="336" y="53"/>
                        </a:lnTo>
                        <a:lnTo>
                          <a:pt x="338" y="52"/>
                        </a:lnTo>
                        <a:lnTo>
                          <a:pt x="338" y="53"/>
                        </a:lnTo>
                        <a:lnTo>
                          <a:pt x="338" y="55"/>
                        </a:lnTo>
                        <a:lnTo>
                          <a:pt x="340" y="55"/>
                        </a:lnTo>
                        <a:lnTo>
                          <a:pt x="343" y="53"/>
                        </a:lnTo>
                        <a:lnTo>
                          <a:pt x="345" y="52"/>
                        </a:lnTo>
                        <a:lnTo>
                          <a:pt x="350" y="52"/>
                        </a:lnTo>
                        <a:lnTo>
                          <a:pt x="350" y="48"/>
                        </a:lnTo>
                        <a:lnTo>
                          <a:pt x="347" y="48"/>
                        </a:lnTo>
                        <a:lnTo>
                          <a:pt x="342" y="47"/>
                        </a:lnTo>
                        <a:lnTo>
                          <a:pt x="339" y="47"/>
                        </a:lnTo>
                        <a:lnTo>
                          <a:pt x="338" y="48"/>
                        </a:lnTo>
                        <a:lnTo>
                          <a:pt x="336" y="49"/>
                        </a:lnTo>
                        <a:lnTo>
                          <a:pt x="335" y="50"/>
                        </a:lnTo>
                        <a:lnTo>
                          <a:pt x="335" y="51"/>
                        </a:lnTo>
                        <a:lnTo>
                          <a:pt x="335" y="52"/>
                        </a:lnTo>
                        <a:lnTo>
                          <a:pt x="334" y="52"/>
                        </a:lnTo>
                        <a:lnTo>
                          <a:pt x="333" y="52"/>
                        </a:lnTo>
                        <a:lnTo>
                          <a:pt x="332" y="53"/>
                        </a:lnTo>
                        <a:lnTo>
                          <a:pt x="331" y="55"/>
                        </a:lnTo>
                        <a:lnTo>
                          <a:pt x="329" y="56"/>
                        </a:lnTo>
                        <a:lnTo>
                          <a:pt x="326" y="58"/>
                        </a:lnTo>
                        <a:lnTo>
                          <a:pt x="324" y="61"/>
                        </a:lnTo>
                        <a:lnTo>
                          <a:pt x="321" y="62"/>
                        </a:lnTo>
                        <a:lnTo>
                          <a:pt x="317" y="66"/>
                        </a:lnTo>
                        <a:lnTo>
                          <a:pt x="315" y="68"/>
                        </a:lnTo>
                        <a:lnTo>
                          <a:pt x="314" y="71"/>
                        </a:lnTo>
                        <a:lnTo>
                          <a:pt x="313" y="71"/>
                        </a:lnTo>
                        <a:lnTo>
                          <a:pt x="312" y="71"/>
                        </a:lnTo>
                        <a:lnTo>
                          <a:pt x="311" y="71"/>
                        </a:lnTo>
                        <a:lnTo>
                          <a:pt x="309" y="71"/>
                        </a:lnTo>
                        <a:lnTo>
                          <a:pt x="307" y="71"/>
                        </a:lnTo>
                        <a:lnTo>
                          <a:pt x="305" y="71"/>
                        </a:lnTo>
                        <a:lnTo>
                          <a:pt x="304" y="71"/>
                        </a:lnTo>
                        <a:lnTo>
                          <a:pt x="302" y="71"/>
                        </a:lnTo>
                        <a:lnTo>
                          <a:pt x="302" y="67"/>
                        </a:lnTo>
                        <a:lnTo>
                          <a:pt x="300" y="67"/>
                        </a:lnTo>
                        <a:lnTo>
                          <a:pt x="298" y="67"/>
                        </a:lnTo>
                        <a:lnTo>
                          <a:pt x="296" y="67"/>
                        </a:lnTo>
                        <a:lnTo>
                          <a:pt x="292" y="67"/>
                        </a:lnTo>
                        <a:lnTo>
                          <a:pt x="292" y="68"/>
                        </a:lnTo>
                        <a:lnTo>
                          <a:pt x="292" y="69"/>
                        </a:lnTo>
                        <a:lnTo>
                          <a:pt x="292" y="70"/>
                        </a:lnTo>
                        <a:lnTo>
                          <a:pt x="292" y="71"/>
                        </a:lnTo>
                        <a:lnTo>
                          <a:pt x="294" y="71"/>
                        </a:lnTo>
                        <a:lnTo>
                          <a:pt x="295" y="71"/>
                        </a:lnTo>
                        <a:lnTo>
                          <a:pt x="291" y="74"/>
                        </a:lnTo>
                        <a:lnTo>
                          <a:pt x="290" y="78"/>
                        </a:lnTo>
                        <a:lnTo>
                          <a:pt x="288" y="84"/>
                        </a:lnTo>
                        <a:lnTo>
                          <a:pt x="286" y="90"/>
                        </a:lnTo>
                        <a:lnTo>
                          <a:pt x="286" y="88"/>
                        </a:lnTo>
                        <a:lnTo>
                          <a:pt x="286" y="87"/>
                        </a:lnTo>
                        <a:lnTo>
                          <a:pt x="286" y="85"/>
                        </a:lnTo>
                        <a:lnTo>
                          <a:pt x="286" y="81"/>
                        </a:lnTo>
                        <a:lnTo>
                          <a:pt x="284" y="80"/>
                        </a:lnTo>
                        <a:lnTo>
                          <a:pt x="283" y="80"/>
                        </a:lnTo>
                        <a:lnTo>
                          <a:pt x="283" y="79"/>
                        </a:lnTo>
                        <a:lnTo>
                          <a:pt x="283" y="81"/>
                        </a:lnTo>
                        <a:lnTo>
                          <a:pt x="279" y="81"/>
                        </a:lnTo>
                        <a:lnTo>
                          <a:pt x="278" y="82"/>
                        </a:lnTo>
                        <a:lnTo>
                          <a:pt x="278" y="81"/>
                        </a:lnTo>
                        <a:lnTo>
                          <a:pt x="276" y="78"/>
                        </a:lnTo>
                        <a:lnTo>
                          <a:pt x="274" y="78"/>
                        </a:lnTo>
                        <a:lnTo>
                          <a:pt x="273" y="78"/>
                        </a:lnTo>
                        <a:lnTo>
                          <a:pt x="271" y="78"/>
                        </a:lnTo>
                        <a:lnTo>
                          <a:pt x="270" y="78"/>
                        </a:lnTo>
                        <a:lnTo>
                          <a:pt x="269" y="79"/>
                        </a:lnTo>
                        <a:lnTo>
                          <a:pt x="269" y="81"/>
                        </a:lnTo>
                        <a:lnTo>
                          <a:pt x="266" y="81"/>
                        </a:lnTo>
                        <a:lnTo>
                          <a:pt x="264" y="81"/>
                        </a:lnTo>
                        <a:lnTo>
                          <a:pt x="263" y="81"/>
                        </a:lnTo>
                        <a:lnTo>
                          <a:pt x="262" y="81"/>
                        </a:lnTo>
                        <a:lnTo>
                          <a:pt x="261" y="81"/>
                        </a:lnTo>
                        <a:lnTo>
                          <a:pt x="260" y="81"/>
                        </a:lnTo>
                        <a:lnTo>
                          <a:pt x="260" y="80"/>
                        </a:lnTo>
                        <a:lnTo>
                          <a:pt x="259" y="79"/>
                        </a:lnTo>
                        <a:lnTo>
                          <a:pt x="258" y="78"/>
                        </a:lnTo>
                        <a:lnTo>
                          <a:pt x="257" y="78"/>
                        </a:lnTo>
                        <a:lnTo>
                          <a:pt x="258" y="76"/>
                        </a:lnTo>
                        <a:lnTo>
                          <a:pt x="259" y="75"/>
                        </a:lnTo>
                        <a:lnTo>
                          <a:pt x="259" y="74"/>
                        </a:lnTo>
                        <a:lnTo>
                          <a:pt x="260" y="74"/>
                        </a:lnTo>
                        <a:lnTo>
                          <a:pt x="262" y="72"/>
                        </a:lnTo>
                        <a:lnTo>
                          <a:pt x="264" y="71"/>
                        </a:lnTo>
                        <a:lnTo>
                          <a:pt x="265" y="71"/>
                        </a:lnTo>
                        <a:lnTo>
                          <a:pt x="266" y="71"/>
                        </a:lnTo>
                        <a:lnTo>
                          <a:pt x="266" y="70"/>
                        </a:lnTo>
                        <a:lnTo>
                          <a:pt x="266" y="69"/>
                        </a:lnTo>
                        <a:lnTo>
                          <a:pt x="266" y="65"/>
                        </a:lnTo>
                        <a:lnTo>
                          <a:pt x="269" y="65"/>
                        </a:lnTo>
                        <a:lnTo>
                          <a:pt x="271" y="63"/>
                        </a:lnTo>
                        <a:lnTo>
                          <a:pt x="274" y="62"/>
                        </a:lnTo>
                        <a:lnTo>
                          <a:pt x="276" y="62"/>
                        </a:lnTo>
                        <a:lnTo>
                          <a:pt x="276" y="57"/>
                        </a:lnTo>
                        <a:lnTo>
                          <a:pt x="276" y="56"/>
                        </a:lnTo>
                        <a:lnTo>
                          <a:pt x="276" y="55"/>
                        </a:lnTo>
                        <a:lnTo>
                          <a:pt x="274" y="55"/>
                        </a:lnTo>
                        <a:lnTo>
                          <a:pt x="273" y="55"/>
                        </a:lnTo>
                        <a:lnTo>
                          <a:pt x="270" y="51"/>
                        </a:lnTo>
                        <a:lnTo>
                          <a:pt x="268" y="50"/>
                        </a:lnTo>
                        <a:lnTo>
                          <a:pt x="266" y="50"/>
                        </a:lnTo>
                        <a:lnTo>
                          <a:pt x="264" y="52"/>
                        </a:lnTo>
                        <a:lnTo>
                          <a:pt x="260" y="55"/>
                        </a:lnTo>
                        <a:lnTo>
                          <a:pt x="256" y="54"/>
                        </a:lnTo>
                        <a:lnTo>
                          <a:pt x="254" y="51"/>
                        </a:lnTo>
                        <a:lnTo>
                          <a:pt x="252" y="48"/>
                        </a:lnTo>
                        <a:lnTo>
                          <a:pt x="250" y="45"/>
                        </a:lnTo>
                        <a:lnTo>
                          <a:pt x="248" y="43"/>
                        </a:lnTo>
                        <a:lnTo>
                          <a:pt x="245" y="42"/>
                        </a:lnTo>
                        <a:lnTo>
                          <a:pt x="241" y="42"/>
                        </a:lnTo>
                        <a:lnTo>
                          <a:pt x="241" y="44"/>
                        </a:lnTo>
                        <a:lnTo>
                          <a:pt x="241" y="45"/>
                        </a:lnTo>
                        <a:lnTo>
                          <a:pt x="240" y="46"/>
                        </a:lnTo>
                        <a:lnTo>
                          <a:pt x="238" y="48"/>
                        </a:lnTo>
                        <a:lnTo>
                          <a:pt x="238" y="44"/>
                        </a:lnTo>
                        <a:lnTo>
                          <a:pt x="238" y="42"/>
                        </a:lnTo>
                        <a:lnTo>
                          <a:pt x="239" y="42"/>
                        </a:lnTo>
                        <a:lnTo>
                          <a:pt x="238" y="42"/>
                        </a:lnTo>
                        <a:lnTo>
                          <a:pt x="237" y="41"/>
                        </a:lnTo>
                        <a:lnTo>
                          <a:pt x="236" y="41"/>
                        </a:lnTo>
                        <a:lnTo>
                          <a:pt x="235" y="42"/>
                        </a:lnTo>
                        <a:lnTo>
                          <a:pt x="233" y="42"/>
                        </a:lnTo>
                        <a:lnTo>
                          <a:pt x="231" y="44"/>
                        </a:lnTo>
                        <a:lnTo>
                          <a:pt x="230" y="46"/>
                        </a:lnTo>
                        <a:lnTo>
                          <a:pt x="228" y="48"/>
                        </a:lnTo>
                        <a:lnTo>
                          <a:pt x="228" y="49"/>
                        </a:lnTo>
                        <a:lnTo>
                          <a:pt x="228" y="50"/>
                        </a:lnTo>
                        <a:lnTo>
                          <a:pt x="228" y="51"/>
                        </a:lnTo>
                        <a:lnTo>
                          <a:pt x="228" y="52"/>
                        </a:lnTo>
                        <a:lnTo>
                          <a:pt x="224" y="52"/>
                        </a:lnTo>
                        <a:lnTo>
                          <a:pt x="226" y="49"/>
                        </a:lnTo>
                        <a:lnTo>
                          <a:pt x="227" y="47"/>
                        </a:lnTo>
                        <a:lnTo>
                          <a:pt x="228" y="46"/>
                        </a:lnTo>
                        <a:lnTo>
                          <a:pt x="228" y="45"/>
                        </a:lnTo>
                        <a:lnTo>
                          <a:pt x="229" y="44"/>
                        </a:lnTo>
                        <a:lnTo>
                          <a:pt x="229" y="43"/>
                        </a:lnTo>
                        <a:lnTo>
                          <a:pt x="230" y="42"/>
                        </a:lnTo>
                        <a:lnTo>
                          <a:pt x="231" y="42"/>
                        </a:lnTo>
                        <a:lnTo>
                          <a:pt x="229" y="39"/>
                        </a:lnTo>
                        <a:lnTo>
                          <a:pt x="228" y="37"/>
                        </a:lnTo>
                        <a:lnTo>
                          <a:pt x="228" y="36"/>
                        </a:lnTo>
                        <a:lnTo>
                          <a:pt x="228" y="35"/>
                        </a:lnTo>
                        <a:lnTo>
                          <a:pt x="229" y="34"/>
                        </a:lnTo>
                        <a:lnTo>
                          <a:pt x="231" y="33"/>
                        </a:lnTo>
                        <a:lnTo>
                          <a:pt x="232" y="28"/>
                        </a:lnTo>
                        <a:lnTo>
                          <a:pt x="233" y="23"/>
                        </a:lnTo>
                        <a:lnTo>
                          <a:pt x="234" y="18"/>
                        </a:lnTo>
                        <a:lnTo>
                          <a:pt x="234" y="17"/>
                        </a:lnTo>
                        <a:lnTo>
                          <a:pt x="235" y="17"/>
                        </a:lnTo>
                        <a:lnTo>
                          <a:pt x="234" y="17"/>
                        </a:lnTo>
                        <a:lnTo>
                          <a:pt x="233" y="16"/>
                        </a:lnTo>
                        <a:lnTo>
                          <a:pt x="232" y="14"/>
                        </a:lnTo>
                        <a:lnTo>
                          <a:pt x="231" y="13"/>
                        </a:lnTo>
                        <a:lnTo>
                          <a:pt x="228" y="14"/>
                        </a:lnTo>
                        <a:lnTo>
                          <a:pt x="224" y="14"/>
                        </a:lnTo>
                        <a:lnTo>
                          <a:pt x="221" y="14"/>
                        </a:lnTo>
                        <a:lnTo>
                          <a:pt x="218" y="13"/>
                        </a:lnTo>
                        <a:lnTo>
                          <a:pt x="217" y="13"/>
                        </a:lnTo>
                        <a:lnTo>
                          <a:pt x="216" y="11"/>
                        </a:lnTo>
                        <a:lnTo>
                          <a:pt x="215" y="11"/>
                        </a:lnTo>
                        <a:lnTo>
                          <a:pt x="215" y="10"/>
                        </a:lnTo>
                        <a:lnTo>
                          <a:pt x="213" y="8"/>
                        </a:lnTo>
                        <a:lnTo>
                          <a:pt x="212" y="8"/>
                        </a:lnTo>
                        <a:lnTo>
                          <a:pt x="211" y="10"/>
                        </a:lnTo>
                        <a:lnTo>
                          <a:pt x="209" y="10"/>
                        </a:lnTo>
                        <a:lnTo>
                          <a:pt x="208" y="10"/>
                        </a:lnTo>
                        <a:lnTo>
                          <a:pt x="205" y="10"/>
                        </a:lnTo>
                        <a:lnTo>
                          <a:pt x="202" y="10"/>
                        </a:lnTo>
                        <a:lnTo>
                          <a:pt x="199" y="10"/>
                        </a:lnTo>
                        <a:lnTo>
                          <a:pt x="195" y="8"/>
                        </a:lnTo>
                        <a:lnTo>
                          <a:pt x="194" y="8"/>
                        </a:lnTo>
                        <a:lnTo>
                          <a:pt x="193" y="6"/>
                        </a:lnTo>
                        <a:lnTo>
                          <a:pt x="190" y="3"/>
                        </a:lnTo>
                        <a:lnTo>
                          <a:pt x="185" y="1"/>
                        </a:lnTo>
                        <a:lnTo>
                          <a:pt x="180" y="0"/>
                        </a:lnTo>
                        <a:lnTo>
                          <a:pt x="175" y="0"/>
                        </a:lnTo>
                        <a:lnTo>
                          <a:pt x="173" y="0"/>
                        </a:lnTo>
                        <a:lnTo>
                          <a:pt x="173" y="10"/>
                        </a:lnTo>
                        <a:lnTo>
                          <a:pt x="173" y="11"/>
                        </a:lnTo>
                        <a:lnTo>
                          <a:pt x="174" y="11"/>
                        </a:lnTo>
                        <a:lnTo>
                          <a:pt x="176" y="13"/>
                        </a:lnTo>
                        <a:lnTo>
                          <a:pt x="178" y="16"/>
                        </a:lnTo>
                        <a:lnTo>
                          <a:pt x="177" y="18"/>
                        </a:lnTo>
                        <a:lnTo>
                          <a:pt x="177" y="20"/>
                        </a:lnTo>
                        <a:lnTo>
                          <a:pt x="176" y="22"/>
                        </a:lnTo>
                        <a:lnTo>
                          <a:pt x="186" y="33"/>
                        </a:lnTo>
                        <a:lnTo>
                          <a:pt x="184" y="34"/>
                        </a:lnTo>
                        <a:lnTo>
                          <a:pt x="182" y="35"/>
                        </a:lnTo>
                        <a:lnTo>
                          <a:pt x="179" y="36"/>
                        </a:lnTo>
                        <a:lnTo>
                          <a:pt x="177" y="37"/>
                        </a:lnTo>
                        <a:lnTo>
                          <a:pt x="176" y="37"/>
                        </a:lnTo>
                        <a:lnTo>
                          <a:pt x="175" y="36"/>
                        </a:lnTo>
                        <a:lnTo>
                          <a:pt x="173" y="36"/>
                        </a:lnTo>
                        <a:lnTo>
                          <a:pt x="171" y="36"/>
                        </a:lnTo>
                        <a:lnTo>
                          <a:pt x="170" y="38"/>
                        </a:lnTo>
                        <a:lnTo>
                          <a:pt x="169" y="39"/>
                        </a:lnTo>
                        <a:lnTo>
                          <a:pt x="167" y="39"/>
                        </a:lnTo>
                        <a:lnTo>
                          <a:pt x="168" y="40"/>
                        </a:lnTo>
                        <a:lnTo>
                          <a:pt x="168" y="41"/>
                        </a:lnTo>
                        <a:lnTo>
                          <a:pt x="168" y="42"/>
                        </a:lnTo>
                        <a:lnTo>
                          <a:pt x="167" y="42"/>
                        </a:lnTo>
                        <a:lnTo>
                          <a:pt x="170" y="44"/>
                        </a:lnTo>
                        <a:lnTo>
                          <a:pt x="171" y="45"/>
                        </a:lnTo>
                        <a:lnTo>
                          <a:pt x="173" y="47"/>
                        </a:lnTo>
                        <a:lnTo>
                          <a:pt x="175" y="47"/>
                        </a:lnTo>
                        <a:lnTo>
                          <a:pt x="176" y="46"/>
                        </a:lnTo>
                        <a:lnTo>
                          <a:pt x="179" y="45"/>
                        </a:lnTo>
                        <a:lnTo>
                          <a:pt x="179" y="44"/>
                        </a:lnTo>
                        <a:lnTo>
                          <a:pt x="179" y="43"/>
                        </a:lnTo>
                        <a:lnTo>
                          <a:pt x="179" y="42"/>
                        </a:lnTo>
                        <a:lnTo>
                          <a:pt x="181" y="42"/>
                        </a:lnTo>
                        <a:lnTo>
                          <a:pt x="182" y="42"/>
                        </a:lnTo>
                        <a:lnTo>
                          <a:pt x="183" y="42"/>
                        </a:lnTo>
                        <a:lnTo>
                          <a:pt x="182" y="44"/>
                        </a:lnTo>
                        <a:lnTo>
                          <a:pt x="181" y="45"/>
                        </a:lnTo>
                        <a:lnTo>
                          <a:pt x="180" y="45"/>
                        </a:lnTo>
                        <a:lnTo>
                          <a:pt x="179" y="45"/>
                        </a:lnTo>
                        <a:lnTo>
                          <a:pt x="178" y="45"/>
                        </a:lnTo>
                        <a:lnTo>
                          <a:pt x="176" y="45"/>
                        </a:lnTo>
                        <a:lnTo>
                          <a:pt x="176" y="55"/>
                        </a:lnTo>
                        <a:lnTo>
                          <a:pt x="178" y="55"/>
                        </a:lnTo>
                        <a:lnTo>
                          <a:pt x="179" y="55"/>
                        </a:lnTo>
                        <a:lnTo>
                          <a:pt x="181" y="56"/>
                        </a:lnTo>
                        <a:lnTo>
                          <a:pt x="182" y="58"/>
                        </a:lnTo>
                        <a:lnTo>
                          <a:pt x="182" y="60"/>
                        </a:lnTo>
                        <a:lnTo>
                          <a:pt x="180" y="63"/>
                        </a:lnTo>
                        <a:lnTo>
                          <a:pt x="179" y="65"/>
                        </a:lnTo>
                        <a:lnTo>
                          <a:pt x="178" y="65"/>
                        </a:lnTo>
                        <a:lnTo>
                          <a:pt x="177" y="65"/>
                        </a:lnTo>
                        <a:lnTo>
                          <a:pt x="176" y="65"/>
                        </a:lnTo>
                        <a:lnTo>
                          <a:pt x="176" y="66"/>
                        </a:lnTo>
                        <a:lnTo>
                          <a:pt x="176" y="67"/>
                        </a:lnTo>
                        <a:lnTo>
                          <a:pt x="180" y="70"/>
                        </a:lnTo>
                        <a:lnTo>
                          <a:pt x="185" y="74"/>
                        </a:lnTo>
                        <a:lnTo>
                          <a:pt x="189" y="78"/>
                        </a:lnTo>
                        <a:lnTo>
                          <a:pt x="193" y="81"/>
                        </a:lnTo>
                        <a:lnTo>
                          <a:pt x="193" y="83"/>
                        </a:lnTo>
                        <a:lnTo>
                          <a:pt x="193" y="84"/>
                        </a:lnTo>
                        <a:lnTo>
                          <a:pt x="194" y="85"/>
                        </a:lnTo>
                        <a:lnTo>
                          <a:pt x="195" y="86"/>
                        </a:lnTo>
                        <a:lnTo>
                          <a:pt x="197" y="87"/>
                        </a:lnTo>
                        <a:lnTo>
                          <a:pt x="199" y="88"/>
                        </a:lnTo>
                        <a:lnTo>
                          <a:pt x="199" y="91"/>
                        </a:lnTo>
                        <a:lnTo>
                          <a:pt x="199" y="93"/>
                        </a:lnTo>
                        <a:lnTo>
                          <a:pt x="199" y="96"/>
                        </a:lnTo>
                        <a:lnTo>
                          <a:pt x="199" y="100"/>
                        </a:lnTo>
                        <a:lnTo>
                          <a:pt x="200" y="100"/>
                        </a:lnTo>
                        <a:lnTo>
                          <a:pt x="201" y="100"/>
                        </a:lnTo>
                        <a:lnTo>
                          <a:pt x="202" y="100"/>
                        </a:lnTo>
                        <a:lnTo>
                          <a:pt x="202" y="101"/>
                        </a:lnTo>
                        <a:lnTo>
                          <a:pt x="202" y="102"/>
                        </a:lnTo>
                        <a:lnTo>
                          <a:pt x="202" y="103"/>
                        </a:lnTo>
                        <a:lnTo>
                          <a:pt x="206" y="104"/>
                        </a:lnTo>
                        <a:lnTo>
                          <a:pt x="210" y="104"/>
                        </a:lnTo>
                        <a:lnTo>
                          <a:pt x="215" y="107"/>
                        </a:lnTo>
                        <a:lnTo>
                          <a:pt x="218" y="110"/>
                        </a:lnTo>
                        <a:lnTo>
                          <a:pt x="221" y="113"/>
                        </a:lnTo>
                        <a:lnTo>
                          <a:pt x="224" y="114"/>
                        </a:lnTo>
                        <a:lnTo>
                          <a:pt x="226" y="114"/>
                        </a:lnTo>
                        <a:lnTo>
                          <a:pt x="227" y="114"/>
                        </a:lnTo>
                        <a:lnTo>
                          <a:pt x="228" y="116"/>
                        </a:lnTo>
                        <a:lnTo>
                          <a:pt x="230" y="116"/>
                        </a:lnTo>
                        <a:lnTo>
                          <a:pt x="231" y="118"/>
                        </a:lnTo>
                        <a:lnTo>
                          <a:pt x="231" y="122"/>
                        </a:lnTo>
                        <a:lnTo>
                          <a:pt x="228" y="120"/>
                        </a:lnTo>
                        <a:lnTo>
                          <a:pt x="224" y="117"/>
                        </a:lnTo>
                        <a:lnTo>
                          <a:pt x="219" y="114"/>
                        </a:lnTo>
                        <a:lnTo>
                          <a:pt x="215" y="110"/>
                        </a:lnTo>
                        <a:lnTo>
                          <a:pt x="215" y="108"/>
                        </a:lnTo>
                        <a:lnTo>
                          <a:pt x="214" y="107"/>
                        </a:lnTo>
                        <a:lnTo>
                          <a:pt x="212" y="107"/>
                        </a:lnTo>
                        <a:lnTo>
                          <a:pt x="210" y="107"/>
                        </a:lnTo>
                        <a:lnTo>
                          <a:pt x="207" y="108"/>
                        </a:lnTo>
                        <a:lnTo>
                          <a:pt x="204" y="108"/>
                        </a:lnTo>
                        <a:lnTo>
                          <a:pt x="202" y="107"/>
                        </a:lnTo>
                        <a:lnTo>
                          <a:pt x="202" y="103"/>
                        </a:lnTo>
                        <a:lnTo>
                          <a:pt x="200" y="103"/>
                        </a:lnTo>
                        <a:lnTo>
                          <a:pt x="199" y="101"/>
                        </a:lnTo>
                        <a:lnTo>
                          <a:pt x="199" y="97"/>
                        </a:lnTo>
                        <a:lnTo>
                          <a:pt x="196" y="93"/>
                        </a:lnTo>
                        <a:lnTo>
                          <a:pt x="193" y="88"/>
                        </a:lnTo>
                        <a:lnTo>
                          <a:pt x="189" y="82"/>
                        </a:lnTo>
                        <a:lnTo>
                          <a:pt x="186" y="78"/>
                        </a:lnTo>
                        <a:lnTo>
                          <a:pt x="182" y="76"/>
                        </a:lnTo>
                        <a:lnTo>
                          <a:pt x="178" y="76"/>
                        </a:lnTo>
                        <a:lnTo>
                          <a:pt x="174" y="79"/>
                        </a:lnTo>
                        <a:lnTo>
                          <a:pt x="172" y="80"/>
                        </a:lnTo>
                        <a:lnTo>
                          <a:pt x="170" y="79"/>
                        </a:lnTo>
                        <a:lnTo>
                          <a:pt x="169" y="77"/>
                        </a:lnTo>
                        <a:lnTo>
                          <a:pt x="167" y="71"/>
                        </a:lnTo>
                        <a:lnTo>
                          <a:pt x="162" y="73"/>
                        </a:lnTo>
                        <a:lnTo>
                          <a:pt x="158" y="77"/>
                        </a:lnTo>
                        <a:lnTo>
                          <a:pt x="155" y="81"/>
                        </a:lnTo>
                        <a:lnTo>
                          <a:pt x="154" y="88"/>
                        </a:lnTo>
                        <a:lnTo>
                          <a:pt x="157" y="90"/>
                        </a:lnTo>
                        <a:lnTo>
                          <a:pt x="157" y="95"/>
                        </a:lnTo>
                        <a:lnTo>
                          <a:pt x="157" y="96"/>
                        </a:lnTo>
                        <a:lnTo>
                          <a:pt x="157" y="97"/>
                        </a:lnTo>
                        <a:lnTo>
                          <a:pt x="154" y="97"/>
                        </a:lnTo>
                        <a:lnTo>
                          <a:pt x="154" y="107"/>
                        </a:lnTo>
                        <a:lnTo>
                          <a:pt x="156" y="107"/>
                        </a:lnTo>
                        <a:lnTo>
                          <a:pt x="157" y="107"/>
                        </a:lnTo>
                        <a:lnTo>
                          <a:pt x="157" y="108"/>
                        </a:lnTo>
                        <a:lnTo>
                          <a:pt x="157" y="110"/>
                        </a:lnTo>
                        <a:lnTo>
                          <a:pt x="156" y="110"/>
                        </a:lnTo>
                        <a:lnTo>
                          <a:pt x="155" y="110"/>
                        </a:lnTo>
                        <a:lnTo>
                          <a:pt x="154" y="110"/>
                        </a:lnTo>
                        <a:lnTo>
                          <a:pt x="154" y="106"/>
                        </a:lnTo>
                        <a:lnTo>
                          <a:pt x="153" y="102"/>
                        </a:lnTo>
                        <a:lnTo>
                          <a:pt x="152" y="99"/>
                        </a:lnTo>
                        <a:lnTo>
                          <a:pt x="150" y="97"/>
                        </a:lnTo>
                        <a:lnTo>
                          <a:pt x="150" y="96"/>
                        </a:lnTo>
                        <a:lnTo>
                          <a:pt x="150" y="95"/>
                        </a:lnTo>
                        <a:lnTo>
                          <a:pt x="150" y="94"/>
                        </a:lnTo>
                        <a:lnTo>
                          <a:pt x="150" y="93"/>
                        </a:lnTo>
                        <a:lnTo>
                          <a:pt x="148" y="93"/>
                        </a:lnTo>
                        <a:lnTo>
                          <a:pt x="147" y="93"/>
                        </a:lnTo>
                        <a:lnTo>
                          <a:pt x="146" y="93"/>
                        </a:lnTo>
                        <a:lnTo>
                          <a:pt x="145" y="93"/>
                        </a:lnTo>
                        <a:lnTo>
                          <a:pt x="144" y="96"/>
                        </a:lnTo>
                        <a:lnTo>
                          <a:pt x="143" y="98"/>
                        </a:lnTo>
                        <a:lnTo>
                          <a:pt x="143" y="99"/>
                        </a:lnTo>
                        <a:lnTo>
                          <a:pt x="145" y="100"/>
                        </a:lnTo>
                        <a:lnTo>
                          <a:pt x="145" y="101"/>
                        </a:lnTo>
                        <a:lnTo>
                          <a:pt x="145" y="102"/>
                        </a:lnTo>
                        <a:lnTo>
                          <a:pt x="145" y="103"/>
                        </a:lnTo>
                        <a:lnTo>
                          <a:pt x="146" y="103"/>
                        </a:lnTo>
                        <a:lnTo>
                          <a:pt x="146" y="107"/>
                        </a:lnTo>
                        <a:lnTo>
                          <a:pt x="145" y="110"/>
                        </a:lnTo>
                        <a:lnTo>
                          <a:pt x="143" y="111"/>
                        </a:lnTo>
                        <a:lnTo>
                          <a:pt x="141" y="110"/>
                        </a:lnTo>
                        <a:lnTo>
                          <a:pt x="138" y="108"/>
                        </a:lnTo>
                        <a:lnTo>
                          <a:pt x="137" y="105"/>
                        </a:lnTo>
                        <a:lnTo>
                          <a:pt x="136" y="101"/>
                        </a:lnTo>
                        <a:lnTo>
                          <a:pt x="134" y="97"/>
                        </a:lnTo>
                        <a:lnTo>
                          <a:pt x="135" y="97"/>
                        </a:lnTo>
                        <a:lnTo>
                          <a:pt x="137" y="97"/>
                        </a:lnTo>
                        <a:lnTo>
                          <a:pt x="141" y="97"/>
                        </a:lnTo>
                        <a:lnTo>
                          <a:pt x="139" y="95"/>
                        </a:lnTo>
                        <a:lnTo>
                          <a:pt x="138" y="93"/>
                        </a:lnTo>
                        <a:lnTo>
                          <a:pt x="138" y="92"/>
                        </a:lnTo>
                        <a:lnTo>
                          <a:pt x="138" y="90"/>
                        </a:lnTo>
                        <a:lnTo>
                          <a:pt x="134" y="90"/>
                        </a:lnTo>
                        <a:lnTo>
                          <a:pt x="134" y="86"/>
                        </a:lnTo>
                        <a:lnTo>
                          <a:pt x="134" y="85"/>
                        </a:lnTo>
                        <a:lnTo>
                          <a:pt x="134" y="84"/>
                        </a:lnTo>
                        <a:lnTo>
                          <a:pt x="129" y="82"/>
                        </a:lnTo>
                        <a:lnTo>
                          <a:pt x="123" y="81"/>
                        </a:lnTo>
                        <a:lnTo>
                          <a:pt x="118" y="81"/>
                        </a:lnTo>
                        <a:lnTo>
                          <a:pt x="112" y="81"/>
                        </a:lnTo>
                        <a:lnTo>
                          <a:pt x="112" y="84"/>
                        </a:lnTo>
                        <a:lnTo>
                          <a:pt x="110" y="84"/>
                        </a:lnTo>
                        <a:lnTo>
                          <a:pt x="107" y="83"/>
                        </a:lnTo>
                        <a:lnTo>
                          <a:pt x="106" y="83"/>
                        </a:lnTo>
                        <a:lnTo>
                          <a:pt x="105" y="84"/>
                        </a:lnTo>
                        <a:lnTo>
                          <a:pt x="102" y="84"/>
                        </a:lnTo>
                        <a:lnTo>
                          <a:pt x="100" y="84"/>
                        </a:lnTo>
                        <a:lnTo>
                          <a:pt x="99" y="84"/>
                        </a:lnTo>
                        <a:lnTo>
                          <a:pt x="98" y="84"/>
                        </a:lnTo>
                        <a:lnTo>
                          <a:pt x="96" y="84"/>
                        </a:lnTo>
                        <a:lnTo>
                          <a:pt x="94" y="85"/>
                        </a:lnTo>
                        <a:lnTo>
                          <a:pt x="92" y="88"/>
                        </a:lnTo>
                        <a:lnTo>
                          <a:pt x="91" y="90"/>
                        </a:lnTo>
                        <a:lnTo>
                          <a:pt x="93" y="93"/>
                        </a:lnTo>
                        <a:lnTo>
                          <a:pt x="92" y="93"/>
                        </a:lnTo>
                        <a:lnTo>
                          <a:pt x="91" y="92"/>
                        </a:lnTo>
                        <a:lnTo>
                          <a:pt x="90" y="90"/>
                        </a:lnTo>
                        <a:lnTo>
                          <a:pt x="89" y="95"/>
                        </a:lnTo>
                        <a:lnTo>
                          <a:pt x="88" y="98"/>
                        </a:lnTo>
                        <a:lnTo>
                          <a:pt x="86" y="100"/>
                        </a:lnTo>
                        <a:lnTo>
                          <a:pt x="91" y="103"/>
                        </a:lnTo>
                        <a:lnTo>
                          <a:pt x="95" y="105"/>
                        </a:lnTo>
                        <a:lnTo>
                          <a:pt x="98" y="108"/>
                        </a:lnTo>
                        <a:lnTo>
                          <a:pt x="102" y="110"/>
                        </a:lnTo>
                        <a:lnTo>
                          <a:pt x="100" y="110"/>
                        </a:lnTo>
                        <a:lnTo>
                          <a:pt x="99" y="110"/>
                        </a:lnTo>
                        <a:lnTo>
                          <a:pt x="98" y="110"/>
                        </a:lnTo>
                        <a:lnTo>
                          <a:pt x="96" y="110"/>
                        </a:lnTo>
                        <a:lnTo>
                          <a:pt x="95" y="116"/>
                        </a:lnTo>
                        <a:lnTo>
                          <a:pt x="93" y="122"/>
                        </a:lnTo>
                        <a:lnTo>
                          <a:pt x="91" y="127"/>
                        </a:lnTo>
                        <a:lnTo>
                          <a:pt x="90" y="133"/>
                        </a:lnTo>
                        <a:lnTo>
                          <a:pt x="88" y="138"/>
                        </a:lnTo>
                        <a:lnTo>
                          <a:pt x="89" y="142"/>
                        </a:lnTo>
                        <a:lnTo>
                          <a:pt x="88" y="144"/>
                        </a:lnTo>
                        <a:lnTo>
                          <a:pt x="86" y="145"/>
                        </a:lnTo>
                        <a:lnTo>
                          <a:pt x="83" y="145"/>
                        </a:lnTo>
                        <a:lnTo>
                          <a:pt x="74" y="145"/>
                        </a:lnTo>
                        <a:lnTo>
                          <a:pt x="70" y="152"/>
                        </a:lnTo>
                        <a:lnTo>
                          <a:pt x="70" y="154"/>
                        </a:lnTo>
                        <a:lnTo>
                          <a:pt x="70" y="158"/>
                        </a:lnTo>
                        <a:lnTo>
                          <a:pt x="71" y="160"/>
                        </a:lnTo>
                        <a:lnTo>
                          <a:pt x="74" y="162"/>
                        </a:lnTo>
                        <a:lnTo>
                          <a:pt x="75" y="164"/>
                        </a:lnTo>
                        <a:lnTo>
                          <a:pt x="76" y="167"/>
                        </a:lnTo>
                        <a:lnTo>
                          <a:pt x="76" y="171"/>
                        </a:lnTo>
                        <a:lnTo>
                          <a:pt x="77" y="172"/>
                        </a:lnTo>
                        <a:lnTo>
                          <a:pt x="77" y="174"/>
                        </a:lnTo>
                        <a:lnTo>
                          <a:pt x="76" y="175"/>
                        </a:lnTo>
                        <a:lnTo>
                          <a:pt x="75" y="176"/>
                        </a:lnTo>
                        <a:lnTo>
                          <a:pt x="74" y="178"/>
                        </a:lnTo>
                        <a:lnTo>
                          <a:pt x="71" y="179"/>
                        </a:lnTo>
                        <a:lnTo>
                          <a:pt x="69" y="180"/>
                        </a:lnTo>
                        <a:lnTo>
                          <a:pt x="66" y="181"/>
                        </a:lnTo>
                        <a:lnTo>
                          <a:pt x="64" y="184"/>
                        </a:lnTo>
                        <a:lnTo>
                          <a:pt x="64" y="185"/>
                        </a:lnTo>
                        <a:lnTo>
                          <a:pt x="65" y="186"/>
                        </a:lnTo>
                        <a:lnTo>
                          <a:pt x="65" y="187"/>
                        </a:lnTo>
                        <a:lnTo>
                          <a:pt x="64" y="190"/>
                        </a:lnTo>
                        <a:lnTo>
                          <a:pt x="60" y="192"/>
                        </a:lnTo>
                        <a:lnTo>
                          <a:pt x="56" y="195"/>
                        </a:lnTo>
                        <a:lnTo>
                          <a:pt x="52" y="196"/>
                        </a:lnTo>
                        <a:lnTo>
                          <a:pt x="50" y="197"/>
                        </a:lnTo>
                        <a:lnTo>
                          <a:pt x="48" y="196"/>
                        </a:lnTo>
                        <a:lnTo>
                          <a:pt x="45" y="193"/>
                        </a:lnTo>
                        <a:lnTo>
                          <a:pt x="41" y="191"/>
                        </a:lnTo>
                        <a:lnTo>
                          <a:pt x="38" y="190"/>
                        </a:lnTo>
                        <a:lnTo>
                          <a:pt x="36" y="191"/>
                        </a:lnTo>
                        <a:lnTo>
                          <a:pt x="34" y="193"/>
                        </a:lnTo>
                        <a:lnTo>
                          <a:pt x="33" y="194"/>
                        </a:lnTo>
                        <a:lnTo>
                          <a:pt x="31" y="193"/>
                        </a:lnTo>
                        <a:lnTo>
                          <a:pt x="29" y="196"/>
                        </a:lnTo>
                        <a:lnTo>
                          <a:pt x="28" y="198"/>
                        </a:lnTo>
                        <a:lnTo>
                          <a:pt x="28" y="199"/>
                        </a:lnTo>
                        <a:lnTo>
                          <a:pt x="28" y="200"/>
                        </a:lnTo>
                        <a:lnTo>
                          <a:pt x="31" y="210"/>
                        </a:lnTo>
                        <a:lnTo>
                          <a:pt x="28" y="223"/>
                        </a:lnTo>
                        <a:lnTo>
                          <a:pt x="26" y="227"/>
                        </a:lnTo>
                        <a:lnTo>
                          <a:pt x="25" y="230"/>
                        </a:lnTo>
                        <a:lnTo>
                          <a:pt x="24" y="233"/>
                        </a:lnTo>
                        <a:lnTo>
                          <a:pt x="22" y="235"/>
                        </a:lnTo>
                        <a:lnTo>
                          <a:pt x="20" y="237"/>
                        </a:lnTo>
                        <a:lnTo>
                          <a:pt x="17" y="238"/>
                        </a:lnTo>
                        <a:lnTo>
                          <a:pt x="14" y="240"/>
                        </a:lnTo>
                        <a:lnTo>
                          <a:pt x="12" y="242"/>
                        </a:lnTo>
                        <a:lnTo>
                          <a:pt x="11" y="245"/>
                        </a:lnTo>
                        <a:lnTo>
                          <a:pt x="10" y="248"/>
                        </a:lnTo>
                        <a:lnTo>
                          <a:pt x="10" y="251"/>
                        </a:lnTo>
                        <a:lnTo>
                          <a:pt x="9" y="252"/>
                        </a:lnTo>
                        <a:lnTo>
                          <a:pt x="6" y="253"/>
                        </a:lnTo>
                        <a:lnTo>
                          <a:pt x="2" y="252"/>
                        </a:lnTo>
                        <a:lnTo>
                          <a:pt x="1" y="251"/>
                        </a:lnTo>
                        <a:lnTo>
                          <a:pt x="0" y="252"/>
                        </a:lnTo>
                        <a:lnTo>
                          <a:pt x="0" y="254"/>
                        </a:lnTo>
                        <a:lnTo>
                          <a:pt x="0" y="255"/>
                        </a:lnTo>
                        <a:lnTo>
                          <a:pt x="0" y="256"/>
                        </a:lnTo>
                        <a:lnTo>
                          <a:pt x="0" y="258"/>
                        </a:lnTo>
                        <a:lnTo>
                          <a:pt x="9" y="258"/>
                        </a:lnTo>
                        <a:lnTo>
                          <a:pt x="13" y="262"/>
                        </a:lnTo>
                        <a:lnTo>
                          <a:pt x="15" y="265"/>
                        </a:lnTo>
                        <a:lnTo>
                          <a:pt x="15" y="267"/>
                        </a:lnTo>
                        <a:lnTo>
                          <a:pt x="13" y="269"/>
                        </a:lnTo>
                        <a:lnTo>
                          <a:pt x="11" y="271"/>
                        </a:lnTo>
                        <a:lnTo>
                          <a:pt x="9" y="272"/>
                        </a:lnTo>
                        <a:lnTo>
                          <a:pt x="9" y="274"/>
                        </a:lnTo>
                        <a:lnTo>
                          <a:pt x="7" y="276"/>
                        </a:lnTo>
                        <a:lnTo>
                          <a:pt x="7" y="278"/>
                        </a:lnTo>
                        <a:lnTo>
                          <a:pt x="8" y="279"/>
                        </a:lnTo>
                        <a:lnTo>
                          <a:pt x="9" y="281"/>
                        </a:lnTo>
                        <a:lnTo>
                          <a:pt x="9" y="282"/>
                        </a:lnTo>
                        <a:lnTo>
                          <a:pt x="11" y="284"/>
                        </a:lnTo>
                        <a:lnTo>
                          <a:pt x="13" y="287"/>
                        </a:lnTo>
                        <a:lnTo>
                          <a:pt x="15" y="290"/>
                        </a:lnTo>
                        <a:lnTo>
                          <a:pt x="18" y="292"/>
                        </a:lnTo>
                        <a:lnTo>
                          <a:pt x="20" y="295"/>
                        </a:lnTo>
                        <a:lnTo>
                          <a:pt x="20" y="298"/>
                        </a:lnTo>
                        <a:lnTo>
                          <a:pt x="19" y="300"/>
                        </a:lnTo>
                        <a:lnTo>
                          <a:pt x="17" y="303"/>
                        </a:lnTo>
                        <a:lnTo>
                          <a:pt x="16" y="305"/>
                        </a:lnTo>
                        <a:lnTo>
                          <a:pt x="15" y="306"/>
                        </a:lnTo>
                        <a:lnTo>
                          <a:pt x="15" y="307"/>
                        </a:lnTo>
                        <a:lnTo>
                          <a:pt x="16" y="308"/>
                        </a:lnTo>
                        <a:lnTo>
                          <a:pt x="17" y="311"/>
                        </a:lnTo>
                        <a:lnTo>
                          <a:pt x="18" y="313"/>
                        </a:lnTo>
                        <a:lnTo>
                          <a:pt x="19" y="316"/>
                        </a:lnTo>
                        <a:lnTo>
                          <a:pt x="18" y="318"/>
                        </a:lnTo>
                        <a:lnTo>
                          <a:pt x="17" y="320"/>
                        </a:lnTo>
                        <a:lnTo>
                          <a:pt x="14" y="322"/>
                        </a:lnTo>
                        <a:lnTo>
                          <a:pt x="12" y="323"/>
                        </a:lnTo>
                        <a:lnTo>
                          <a:pt x="10" y="326"/>
                        </a:lnTo>
                        <a:lnTo>
                          <a:pt x="7" y="329"/>
                        </a:lnTo>
                        <a:lnTo>
                          <a:pt x="6" y="331"/>
                        </a:lnTo>
                        <a:lnTo>
                          <a:pt x="5" y="333"/>
                        </a:lnTo>
                        <a:lnTo>
                          <a:pt x="5" y="336"/>
                        </a:lnTo>
                        <a:lnTo>
                          <a:pt x="5" y="340"/>
                        </a:lnTo>
                        <a:lnTo>
                          <a:pt x="5" y="348"/>
                        </a:lnTo>
                        <a:lnTo>
                          <a:pt x="5" y="352"/>
                        </a:lnTo>
                        <a:lnTo>
                          <a:pt x="5" y="355"/>
                        </a:lnTo>
                        <a:lnTo>
                          <a:pt x="5" y="356"/>
                        </a:lnTo>
                        <a:lnTo>
                          <a:pt x="5" y="358"/>
                        </a:lnTo>
                        <a:lnTo>
                          <a:pt x="8" y="361"/>
                        </a:lnTo>
                        <a:lnTo>
                          <a:pt x="12" y="363"/>
                        </a:lnTo>
                        <a:lnTo>
                          <a:pt x="14" y="366"/>
                        </a:lnTo>
                        <a:lnTo>
                          <a:pt x="15" y="368"/>
                        </a:lnTo>
                        <a:lnTo>
                          <a:pt x="15" y="369"/>
                        </a:lnTo>
                        <a:lnTo>
                          <a:pt x="13" y="370"/>
                        </a:lnTo>
                        <a:lnTo>
                          <a:pt x="11" y="371"/>
                        </a:lnTo>
                        <a:lnTo>
                          <a:pt x="9" y="374"/>
                        </a:lnTo>
                        <a:lnTo>
                          <a:pt x="8" y="377"/>
                        </a:lnTo>
                        <a:lnTo>
                          <a:pt x="7" y="381"/>
                        </a:lnTo>
                        <a:lnTo>
                          <a:pt x="6" y="383"/>
                        </a:lnTo>
                        <a:lnTo>
                          <a:pt x="5" y="384"/>
                        </a:lnTo>
                        <a:lnTo>
                          <a:pt x="6" y="384"/>
                        </a:lnTo>
                        <a:lnTo>
                          <a:pt x="7" y="384"/>
                        </a:lnTo>
                        <a:lnTo>
                          <a:pt x="8" y="384"/>
                        </a:lnTo>
                        <a:lnTo>
                          <a:pt x="9" y="384"/>
                        </a:lnTo>
                        <a:lnTo>
                          <a:pt x="11" y="386"/>
                        </a:lnTo>
                        <a:lnTo>
                          <a:pt x="12" y="388"/>
                        </a:lnTo>
                        <a:lnTo>
                          <a:pt x="12" y="389"/>
                        </a:lnTo>
                        <a:lnTo>
                          <a:pt x="12" y="391"/>
                        </a:lnTo>
                        <a:lnTo>
                          <a:pt x="14" y="391"/>
                        </a:lnTo>
                        <a:lnTo>
                          <a:pt x="15" y="391"/>
                        </a:lnTo>
                        <a:lnTo>
                          <a:pt x="15" y="392"/>
                        </a:lnTo>
                        <a:lnTo>
                          <a:pt x="14" y="393"/>
                        </a:lnTo>
                        <a:lnTo>
                          <a:pt x="14" y="395"/>
                        </a:lnTo>
                        <a:lnTo>
                          <a:pt x="15" y="397"/>
                        </a:lnTo>
                        <a:lnTo>
                          <a:pt x="15" y="398"/>
                        </a:lnTo>
                        <a:lnTo>
                          <a:pt x="15" y="400"/>
                        </a:lnTo>
                        <a:lnTo>
                          <a:pt x="17" y="401"/>
                        </a:lnTo>
                        <a:lnTo>
                          <a:pt x="17" y="402"/>
                        </a:lnTo>
                        <a:lnTo>
                          <a:pt x="17" y="403"/>
                        </a:lnTo>
                        <a:lnTo>
                          <a:pt x="19" y="403"/>
                        </a:lnTo>
                        <a:lnTo>
                          <a:pt x="19" y="405"/>
                        </a:lnTo>
                        <a:lnTo>
                          <a:pt x="19" y="406"/>
                        </a:lnTo>
                        <a:lnTo>
                          <a:pt x="20" y="407"/>
                        </a:lnTo>
                        <a:lnTo>
                          <a:pt x="22" y="407"/>
                        </a:lnTo>
                        <a:lnTo>
                          <a:pt x="23" y="407"/>
                        </a:lnTo>
                        <a:lnTo>
                          <a:pt x="24" y="406"/>
                        </a:lnTo>
                        <a:lnTo>
                          <a:pt x="25" y="405"/>
                        </a:lnTo>
                        <a:lnTo>
                          <a:pt x="25" y="403"/>
                        </a:lnTo>
                        <a:lnTo>
                          <a:pt x="26" y="403"/>
                        </a:lnTo>
                        <a:lnTo>
                          <a:pt x="27" y="403"/>
                        </a:lnTo>
                        <a:lnTo>
                          <a:pt x="28" y="403"/>
                        </a:lnTo>
                        <a:lnTo>
                          <a:pt x="28" y="402"/>
                        </a:lnTo>
                        <a:lnTo>
                          <a:pt x="30" y="402"/>
                        </a:lnTo>
                        <a:lnTo>
                          <a:pt x="32" y="403"/>
                        </a:lnTo>
                        <a:lnTo>
                          <a:pt x="34" y="403"/>
                        </a:lnTo>
                        <a:lnTo>
                          <a:pt x="34" y="404"/>
                        </a:lnTo>
                        <a:lnTo>
                          <a:pt x="34" y="405"/>
                        </a:lnTo>
                        <a:lnTo>
                          <a:pt x="34" y="406"/>
                        </a:lnTo>
                        <a:lnTo>
                          <a:pt x="34" y="407"/>
                        </a:lnTo>
                        <a:lnTo>
                          <a:pt x="34" y="409"/>
                        </a:lnTo>
                        <a:lnTo>
                          <a:pt x="34" y="410"/>
                        </a:lnTo>
                        <a:lnTo>
                          <a:pt x="35" y="412"/>
                        </a:lnTo>
                        <a:lnTo>
                          <a:pt x="36" y="412"/>
                        </a:lnTo>
                        <a:lnTo>
                          <a:pt x="37" y="412"/>
                        </a:lnTo>
                        <a:lnTo>
                          <a:pt x="38" y="413"/>
                        </a:lnTo>
                        <a:lnTo>
                          <a:pt x="40" y="414"/>
                        </a:lnTo>
                        <a:lnTo>
                          <a:pt x="41" y="415"/>
                        </a:lnTo>
                        <a:lnTo>
                          <a:pt x="43" y="415"/>
                        </a:lnTo>
                        <a:lnTo>
                          <a:pt x="45" y="416"/>
                        </a:lnTo>
                        <a:lnTo>
                          <a:pt x="46" y="416"/>
                        </a:lnTo>
                        <a:lnTo>
                          <a:pt x="48" y="416"/>
                        </a:lnTo>
                        <a:lnTo>
                          <a:pt x="48" y="415"/>
                        </a:lnTo>
                        <a:lnTo>
                          <a:pt x="49" y="414"/>
                        </a:lnTo>
                        <a:lnTo>
                          <a:pt x="50" y="413"/>
                        </a:lnTo>
                        <a:lnTo>
                          <a:pt x="50" y="414"/>
                        </a:lnTo>
                        <a:lnTo>
                          <a:pt x="50" y="415"/>
                        </a:lnTo>
                        <a:lnTo>
                          <a:pt x="50" y="416"/>
                        </a:lnTo>
                        <a:lnTo>
                          <a:pt x="52" y="416"/>
                        </a:lnTo>
                        <a:lnTo>
                          <a:pt x="51" y="418"/>
                        </a:lnTo>
                        <a:lnTo>
                          <a:pt x="51" y="419"/>
                        </a:lnTo>
                        <a:lnTo>
                          <a:pt x="50" y="419"/>
                        </a:lnTo>
                        <a:lnTo>
                          <a:pt x="50" y="420"/>
                        </a:lnTo>
                        <a:lnTo>
                          <a:pt x="50" y="421"/>
                        </a:lnTo>
                        <a:lnTo>
                          <a:pt x="50" y="422"/>
                        </a:lnTo>
                        <a:lnTo>
                          <a:pt x="50" y="423"/>
                        </a:lnTo>
                        <a:lnTo>
                          <a:pt x="52" y="423"/>
                        </a:lnTo>
                        <a:lnTo>
                          <a:pt x="54" y="423"/>
                        </a:lnTo>
                        <a:lnTo>
                          <a:pt x="55" y="423"/>
                        </a:lnTo>
                        <a:lnTo>
                          <a:pt x="57" y="423"/>
                        </a:lnTo>
                        <a:lnTo>
                          <a:pt x="57" y="425"/>
                        </a:lnTo>
                        <a:lnTo>
                          <a:pt x="59" y="426"/>
                        </a:lnTo>
                        <a:lnTo>
                          <a:pt x="60" y="427"/>
                        </a:lnTo>
                        <a:lnTo>
                          <a:pt x="60" y="429"/>
                        </a:lnTo>
                        <a:lnTo>
                          <a:pt x="61" y="431"/>
                        </a:lnTo>
                        <a:lnTo>
                          <a:pt x="62" y="431"/>
                        </a:lnTo>
                        <a:lnTo>
                          <a:pt x="63" y="431"/>
                        </a:lnTo>
                        <a:lnTo>
                          <a:pt x="64" y="433"/>
                        </a:lnTo>
                        <a:lnTo>
                          <a:pt x="65" y="433"/>
                        </a:lnTo>
                        <a:lnTo>
                          <a:pt x="67" y="433"/>
                        </a:lnTo>
                        <a:lnTo>
                          <a:pt x="68" y="435"/>
                        </a:lnTo>
                        <a:lnTo>
                          <a:pt x="69" y="436"/>
                        </a:lnTo>
                        <a:lnTo>
                          <a:pt x="70" y="436"/>
                        </a:lnTo>
                        <a:lnTo>
                          <a:pt x="73" y="438"/>
                        </a:lnTo>
                        <a:lnTo>
                          <a:pt x="74" y="439"/>
                        </a:lnTo>
                        <a:lnTo>
                          <a:pt x="76" y="440"/>
                        </a:lnTo>
                        <a:lnTo>
                          <a:pt x="76" y="442"/>
                        </a:lnTo>
                        <a:lnTo>
                          <a:pt x="79" y="442"/>
                        </a:lnTo>
                        <a:lnTo>
                          <a:pt x="80" y="442"/>
                        </a:lnTo>
                        <a:lnTo>
                          <a:pt x="81" y="442"/>
                        </a:lnTo>
                        <a:lnTo>
                          <a:pt x="79" y="442"/>
                        </a:lnTo>
                        <a:lnTo>
                          <a:pt x="79" y="444"/>
                        </a:lnTo>
                        <a:lnTo>
                          <a:pt x="79" y="445"/>
                        </a:lnTo>
                        <a:lnTo>
                          <a:pt x="78" y="445"/>
                        </a:lnTo>
                        <a:lnTo>
                          <a:pt x="76" y="445"/>
                        </a:lnTo>
                        <a:lnTo>
                          <a:pt x="76" y="447"/>
                        </a:lnTo>
                        <a:lnTo>
                          <a:pt x="74" y="448"/>
                        </a:lnTo>
                        <a:lnTo>
                          <a:pt x="72" y="450"/>
                        </a:lnTo>
                        <a:lnTo>
                          <a:pt x="71" y="452"/>
                        </a:lnTo>
                        <a:lnTo>
                          <a:pt x="70" y="453"/>
                        </a:lnTo>
                        <a:lnTo>
                          <a:pt x="70" y="455"/>
                        </a:lnTo>
                        <a:lnTo>
                          <a:pt x="68" y="456"/>
                        </a:lnTo>
                        <a:lnTo>
                          <a:pt x="67" y="457"/>
                        </a:lnTo>
                        <a:lnTo>
                          <a:pt x="66" y="458"/>
                        </a:lnTo>
                        <a:lnTo>
                          <a:pt x="64" y="458"/>
                        </a:lnTo>
                        <a:lnTo>
                          <a:pt x="64" y="460"/>
                        </a:lnTo>
                        <a:lnTo>
                          <a:pt x="64" y="462"/>
                        </a:lnTo>
                        <a:lnTo>
                          <a:pt x="64" y="463"/>
                        </a:lnTo>
                        <a:lnTo>
                          <a:pt x="64" y="464"/>
                        </a:lnTo>
                        <a:lnTo>
                          <a:pt x="62" y="466"/>
                        </a:lnTo>
                        <a:lnTo>
                          <a:pt x="61" y="467"/>
                        </a:lnTo>
                        <a:lnTo>
                          <a:pt x="60" y="468"/>
                        </a:lnTo>
                        <a:lnTo>
                          <a:pt x="60" y="470"/>
                        </a:lnTo>
                        <a:lnTo>
                          <a:pt x="60" y="471"/>
                        </a:lnTo>
                        <a:lnTo>
                          <a:pt x="59" y="472"/>
                        </a:lnTo>
                        <a:lnTo>
                          <a:pt x="57" y="474"/>
                        </a:lnTo>
                        <a:lnTo>
                          <a:pt x="56" y="475"/>
                        </a:lnTo>
                        <a:lnTo>
                          <a:pt x="55" y="476"/>
                        </a:lnTo>
                        <a:lnTo>
                          <a:pt x="54" y="477"/>
                        </a:lnTo>
                        <a:lnTo>
                          <a:pt x="54" y="478"/>
                        </a:lnTo>
                        <a:lnTo>
                          <a:pt x="53" y="482"/>
                        </a:lnTo>
                        <a:lnTo>
                          <a:pt x="52" y="484"/>
                        </a:lnTo>
                        <a:lnTo>
                          <a:pt x="50" y="484"/>
                        </a:lnTo>
                        <a:lnTo>
                          <a:pt x="50" y="489"/>
                        </a:lnTo>
                        <a:lnTo>
                          <a:pt x="50" y="492"/>
                        </a:lnTo>
                        <a:lnTo>
                          <a:pt x="48" y="497"/>
                        </a:lnTo>
                        <a:lnTo>
                          <a:pt x="47" y="502"/>
                        </a:lnTo>
                        <a:lnTo>
                          <a:pt x="46" y="504"/>
                        </a:lnTo>
                        <a:lnTo>
                          <a:pt x="45" y="507"/>
                        </a:lnTo>
                        <a:lnTo>
                          <a:pt x="44" y="509"/>
                        </a:lnTo>
                        <a:lnTo>
                          <a:pt x="43" y="511"/>
                        </a:lnTo>
                        <a:lnTo>
                          <a:pt x="42" y="512"/>
                        </a:lnTo>
                        <a:lnTo>
                          <a:pt x="41" y="516"/>
                        </a:lnTo>
                        <a:lnTo>
                          <a:pt x="42" y="518"/>
                        </a:lnTo>
                        <a:lnTo>
                          <a:pt x="43" y="521"/>
                        </a:lnTo>
                        <a:lnTo>
                          <a:pt x="48" y="526"/>
                        </a:lnTo>
                        <a:lnTo>
                          <a:pt x="50" y="526"/>
                        </a:lnTo>
                        <a:lnTo>
                          <a:pt x="50" y="527"/>
                        </a:lnTo>
                        <a:lnTo>
                          <a:pt x="48" y="529"/>
                        </a:lnTo>
                        <a:lnTo>
                          <a:pt x="50" y="530"/>
                        </a:lnTo>
                        <a:lnTo>
                          <a:pt x="52" y="531"/>
                        </a:lnTo>
                        <a:lnTo>
                          <a:pt x="54" y="532"/>
                        </a:lnTo>
                        <a:lnTo>
                          <a:pt x="57" y="533"/>
                        </a:lnTo>
                        <a:lnTo>
                          <a:pt x="59" y="533"/>
                        </a:lnTo>
                        <a:lnTo>
                          <a:pt x="60" y="533"/>
                        </a:lnTo>
                        <a:lnTo>
                          <a:pt x="61" y="533"/>
                        </a:lnTo>
                        <a:lnTo>
                          <a:pt x="62" y="533"/>
                        </a:lnTo>
                        <a:lnTo>
                          <a:pt x="64" y="533"/>
                        </a:lnTo>
                        <a:lnTo>
                          <a:pt x="64" y="532"/>
                        </a:lnTo>
                        <a:lnTo>
                          <a:pt x="65" y="531"/>
                        </a:lnTo>
                        <a:lnTo>
                          <a:pt x="67" y="531"/>
                        </a:lnTo>
                        <a:lnTo>
                          <a:pt x="67" y="533"/>
                        </a:lnTo>
                        <a:lnTo>
                          <a:pt x="68" y="533"/>
                        </a:lnTo>
                        <a:lnTo>
                          <a:pt x="69" y="533"/>
                        </a:lnTo>
                        <a:lnTo>
                          <a:pt x="70" y="533"/>
                        </a:lnTo>
                        <a:lnTo>
                          <a:pt x="71" y="533"/>
                        </a:lnTo>
                        <a:lnTo>
                          <a:pt x="72" y="534"/>
                        </a:lnTo>
                        <a:lnTo>
                          <a:pt x="73" y="534"/>
                        </a:lnTo>
                        <a:lnTo>
                          <a:pt x="74" y="533"/>
                        </a:lnTo>
                        <a:lnTo>
                          <a:pt x="75" y="533"/>
                        </a:lnTo>
                        <a:lnTo>
                          <a:pt x="76" y="533"/>
                        </a:lnTo>
                        <a:lnTo>
                          <a:pt x="77" y="533"/>
                        </a:lnTo>
                        <a:lnTo>
                          <a:pt x="79" y="533"/>
                        </a:lnTo>
                        <a:lnTo>
                          <a:pt x="80" y="533"/>
                        </a:lnTo>
                        <a:lnTo>
                          <a:pt x="81" y="532"/>
                        </a:lnTo>
                        <a:lnTo>
                          <a:pt x="82" y="531"/>
                        </a:lnTo>
                        <a:lnTo>
                          <a:pt x="83" y="529"/>
                        </a:lnTo>
                        <a:lnTo>
                          <a:pt x="85" y="529"/>
                        </a:lnTo>
                        <a:lnTo>
                          <a:pt x="86" y="529"/>
                        </a:lnTo>
                        <a:lnTo>
                          <a:pt x="88" y="531"/>
                        </a:lnTo>
                        <a:lnTo>
                          <a:pt x="89" y="532"/>
                        </a:lnTo>
                        <a:lnTo>
                          <a:pt x="90" y="533"/>
                        </a:lnTo>
                        <a:lnTo>
                          <a:pt x="92" y="534"/>
                        </a:lnTo>
                        <a:lnTo>
                          <a:pt x="95" y="534"/>
                        </a:lnTo>
                        <a:lnTo>
                          <a:pt x="97" y="535"/>
                        </a:lnTo>
                        <a:lnTo>
                          <a:pt x="99" y="536"/>
                        </a:lnTo>
                        <a:lnTo>
                          <a:pt x="99" y="535"/>
                        </a:lnTo>
                        <a:lnTo>
                          <a:pt x="100" y="535"/>
                        </a:lnTo>
                        <a:lnTo>
                          <a:pt x="102" y="536"/>
                        </a:lnTo>
                        <a:lnTo>
                          <a:pt x="102" y="535"/>
                        </a:lnTo>
                        <a:lnTo>
                          <a:pt x="102" y="533"/>
                        </a:lnTo>
                        <a:lnTo>
                          <a:pt x="103" y="532"/>
                        </a:lnTo>
                        <a:lnTo>
                          <a:pt x="103" y="531"/>
                        </a:lnTo>
                        <a:lnTo>
                          <a:pt x="102" y="530"/>
                        </a:lnTo>
                        <a:lnTo>
                          <a:pt x="102" y="529"/>
                        </a:lnTo>
                        <a:lnTo>
                          <a:pt x="104" y="528"/>
                        </a:lnTo>
                        <a:lnTo>
                          <a:pt x="105" y="526"/>
                        </a:lnTo>
                        <a:lnTo>
                          <a:pt x="102" y="526"/>
                        </a:lnTo>
                        <a:lnTo>
                          <a:pt x="99" y="528"/>
                        </a:lnTo>
                        <a:lnTo>
                          <a:pt x="97" y="529"/>
                        </a:lnTo>
                        <a:lnTo>
                          <a:pt x="96" y="529"/>
                        </a:lnTo>
                        <a:lnTo>
                          <a:pt x="96" y="527"/>
                        </a:lnTo>
                        <a:lnTo>
                          <a:pt x="96" y="526"/>
                        </a:lnTo>
                        <a:lnTo>
                          <a:pt x="97" y="524"/>
                        </a:lnTo>
                        <a:lnTo>
                          <a:pt x="98" y="523"/>
                        </a:lnTo>
                        <a:lnTo>
                          <a:pt x="99" y="523"/>
                        </a:lnTo>
                        <a:lnTo>
                          <a:pt x="101" y="521"/>
                        </a:lnTo>
                        <a:lnTo>
                          <a:pt x="102" y="521"/>
                        </a:lnTo>
                        <a:lnTo>
                          <a:pt x="102" y="519"/>
                        </a:lnTo>
                        <a:lnTo>
                          <a:pt x="104" y="519"/>
                        </a:lnTo>
                        <a:lnTo>
                          <a:pt x="105" y="519"/>
                        </a:lnTo>
                        <a:lnTo>
                          <a:pt x="107" y="519"/>
                        </a:lnTo>
                        <a:lnTo>
                          <a:pt x="108" y="520"/>
                        </a:lnTo>
                        <a:lnTo>
                          <a:pt x="109" y="521"/>
                        </a:lnTo>
                        <a:lnTo>
                          <a:pt x="109" y="523"/>
                        </a:lnTo>
                        <a:lnTo>
                          <a:pt x="110" y="523"/>
                        </a:lnTo>
                        <a:lnTo>
                          <a:pt x="110" y="525"/>
                        </a:lnTo>
                        <a:lnTo>
                          <a:pt x="109" y="527"/>
                        </a:lnTo>
                        <a:lnTo>
                          <a:pt x="109" y="529"/>
                        </a:lnTo>
                        <a:lnTo>
                          <a:pt x="111" y="531"/>
                        </a:lnTo>
                        <a:lnTo>
                          <a:pt x="112" y="532"/>
                        </a:lnTo>
                        <a:lnTo>
                          <a:pt x="112" y="533"/>
                        </a:lnTo>
                        <a:lnTo>
                          <a:pt x="114" y="535"/>
                        </a:lnTo>
                        <a:lnTo>
                          <a:pt x="115" y="536"/>
                        </a:lnTo>
                        <a:lnTo>
                          <a:pt x="116" y="536"/>
                        </a:lnTo>
                        <a:lnTo>
                          <a:pt x="117" y="536"/>
                        </a:lnTo>
                        <a:lnTo>
                          <a:pt x="122" y="536"/>
                        </a:lnTo>
                        <a:lnTo>
                          <a:pt x="119" y="536"/>
                        </a:lnTo>
                        <a:close/>
                      </a:path>
                    </a:pathLst>
                  </a:custGeom>
                  <a:solidFill>
                    <a:srgbClr val="EAEAEA"/>
                  </a:solidFill>
                  <a:ln w="9525"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2" name="Freeform 2067">
                    <a:extLst>
                      <a:ext uri="{FF2B5EF4-FFF2-40B4-BE49-F238E27FC236}">
                        <a16:creationId xmlns:a16="http://schemas.microsoft.com/office/drawing/2014/main" xmlns="" id="{358D0ADD-88D3-41FE-AA29-E3540B6C41FC}"/>
                      </a:ext>
                    </a:extLst>
                  </p:cNvPr>
                  <p:cNvSpPr>
                    <a:spLocks/>
                  </p:cNvSpPr>
                  <p:nvPr/>
                </p:nvSpPr>
                <p:spPr bwMode="gray">
                  <a:xfrm>
                    <a:off x="4483233" y="3090674"/>
                    <a:ext cx="7787" cy="7787"/>
                  </a:xfrm>
                  <a:custGeom>
                    <a:avLst/>
                    <a:gdLst>
                      <a:gd name="T0" fmla="*/ 2147483647 w 7"/>
                      <a:gd name="T1" fmla="*/ 2147483647 h 7"/>
                      <a:gd name="T2" fmla="*/ 2147483647 w 7"/>
                      <a:gd name="T3" fmla="*/ 2147483647 h 7"/>
                      <a:gd name="T4" fmla="*/ 2147483647 w 7"/>
                      <a:gd name="T5" fmla="*/ 2147483647 h 7"/>
                      <a:gd name="T6" fmla="*/ 2147483647 w 7"/>
                      <a:gd name="T7" fmla="*/ 2147483647 h 7"/>
                      <a:gd name="T8" fmla="*/ 2147483647 w 7"/>
                      <a:gd name="T9" fmla="*/ 2147483647 h 7"/>
                      <a:gd name="T10" fmla="*/ 0 w 7"/>
                      <a:gd name="T11" fmla="*/ 2147483647 h 7"/>
                      <a:gd name="T12" fmla="*/ 0 w 7"/>
                      <a:gd name="T13" fmla="*/ 2147483647 h 7"/>
                      <a:gd name="T14" fmla="*/ 2147483647 w 7"/>
                      <a:gd name="T15" fmla="*/ 2147483647 h 7"/>
                      <a:gd name="T16" fmla="*/ 2147483647 w 7"/>
                      <a:gd name="T17" fmla="*/ 2147483647 h 7"/>
                      <a:gd name="T18" fmla="*/ 0 w 7"/>
                      <a:gd name="T19" fmla="*/ 2147483647 h 7"/>
                      <a:gd name="T20" fmla="*/ 2147483647 w 7"/>
                      <a:gd name="T21" fmla="*/ 2147483647 h 7"/>
                      <a:gd name="T22" fmla="*/ 2147483647 w 7"/>
                      <a:gd name="T23" fmla="*/ 2147483647 h 7"/>
                      <a:gd name="T24" fmla="*/ 2147483647 w 7"/>
                      <a:gd name="T25" fmla="*/ 2147483647 h 7"/>
                      <a:gd name="T26" fmla="*/ 2147483647 w 7"/>
                      <a:gd name="T27" fmla="*/ 2147483647 h 7"/>
                      <a:gd name="T28" fmla="*/ 2147483647 w 7"/>
                      <a:gd name="T29" fmla="*/ 2147483647 h 7"/>
                      <a:gd name="T30" fmla="*/ 2147483647 w 7"/>
                      <a:gd name="T31" fmla="*/ 0 h 7"/>
                      <a:gd name="T32" fmla="*/ 2147483647 w 7"/>
                      <a:gd name="T33" fmla="*/ 0 h 7"/>
                      <a:gd name="T34" fmla="*/ 2147483647 w 7"/>
                      <a:gd name="T35" fmla="*/ 2147483647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 h="7">
                        <a:moveTo>
                          <a:pt x="6" y="1"/>
                        </a:moveTo>
                        <a:lnTo>
                          <a:pt x="4" y="1"/>
                        </a:lnTo>
                        <a:lnTo>
                          <a:pt x="4" y="2"/>
                        </a:lnTo>
                        <a:lnTo>
                          <a:pt x="3" y="3"/>
                        </a:lnTo>
                        <a:lnTo>
                          <a:pt x="0" y="3"/>
                        </a:lnTo>
                        <a:lnTo>
                          <a:pt x="0" y="4"/>
                        </a:lnTo>
                        <a:lnTo>
                          <a:pt x="1" y="5"/>
                        </a:lnTo>
                        <a:lnTo>
                          <a:pt x="1" y="6"/>
                        </a:lnTo>
                        <a:lnTo>
                          <a:pt x="0" y="7"/>
                        </a:lnTo>
                        <a:lnTo>
                          <a:pt x="2" y="7"/>
                        </a:lnTo>
                        <a:lnTo>
                          <a:pt x="3" y="7"/>
                        </a:lnTo>
                        <a:lnTo>
                          <a:pt x="5" y="5"/>
                        </a:lnTo>
                        <a:lnTo>
                          <a:pt x="6" y="3"/>
                        </a:lnTo>
                        <a:lnTo>
                          <a:pt x="7" y="0"/>
                        </a:lnTo>
                        <a:lnTo>
                          <a:pt x="6" y="0"/>
                        </a:lnTo>
                        <a:lnTo>
                          <a:pt x="6"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3" name="Freeform 2069">
                    <a:extLst>
                      <a:ext uri="{FF2B5EF4-FFF2-40B4-BE49-F238E27FC236}">
                        <a16:creationId xmlns:a16="http://schemas.microsoft.com/office/drawing/2014/main" xmlns="" id="{AE108E67-C81F-482A-AE6C-EAF3EB49024F}"/>
                      </a:ext>
                    </a:extLst>
                  </p:cNvPr>
                  <p:cNvSpPr>
                    <a:spLocks/>
                  </p:cNvSpPr>
                  <p:nvPr/>
                </p:nvSpPr>
                <p:spPr bwMode="gray">
                  <a:xfrm>
                    <a:off x="4464322" y="3050625"/>
                    <a:ext cx="14463" cy="18911"/>
                  </a:xfrm>
                  <a:custGeom>
                    <a:avLst/>
                    <a:gdLst>
                      <a:gd name="T0" fmla="*/ 2147483647 w 13"/>
                      <a:gd name="T1" fmla="*/ 0 h 17"/>
                      <a:gd name="T2" fmla="*/ 2147483647 w 13"/>
                      <a:gd name="T3" fmla="*/ 2147483647 h 17"/>
                      <a:gd name="T4" fmla="*/ 2147483647 w 13"/>
                      <a:gd name="T5" fmla="*/ 2147483647 h 17"/>
                      <a:gd name="T6" fmla="*/ 2147483647 w 13"/>
                      <a:gd name="T7" fmla="*/ 2147483647 h 17"/>
                      <a:gd name="T8" fmla="*/ 0 w 13"/>
                      <a:gd name="T9" fmla="*/ 2147483647 h 17"/>
                      <a:gd name="T10" fmla="*/ 2147483647 w 13"/>
                      <a:gd name="T11" fmla="*/ 2147483647 h 17"/>
                      <a:gd name="T12" fmla="*/ 2147483647 w 13"/>
                      <a:gd name="T13" fmla="*/ 2147483647 h 17"/>
                      <a:gd name="T14" fmla="*/ 2147483647 w 13"/>
                      <a:gd name="T15" fmla="*/ 2147483647 h 17"/>
                      <a:gd name="T16" fmla="*/ 2147483647 w 13"/>
                      <a:gd name="T17" fmla="*/ 2147483647 h 17"/>
                      <a:gd name="T18" fmla="*/ 2147483647 w 13"/>
                      <a:gd name="T19" fmla="*/ 2147483647 h 17"/>
                      <a:gd name="T20" fmla="*/ 2147483647 w 13"/>
                      <a:gd name="T21" fmla="*/ 2147483647 h 17"/>
                      <a:gd name="T22" fmla="*/ 2147483647 w 13"/>
                      <a:gd name="T23" fmla="*/ 2147483647 h 17"/>
                      <a:gd name="T24" fmla="*/ 2147483647 w 13"/>
                      <a:gd name="T25" fmla="*/ 2147483647 h 17"/>
                      <a:gd name="T26" fmla="*/ 2147483647 w 13"/>
                      <a:gd name="T27" fmla="*/ 2147483647 h 17"/>
                      <a:gd name="T28" fmla="*/ 2147483647 w 13"/>
                      <a:gd name="T29" fmla="*/ 2147483647 h 17"/>
                      <a:gd name="T30" fmla="*/ 2147483647 w 13"/>
                      <a:gd name="T31" fmla="*/ 2147483647 h 17"/>
                      <a:gd name="T32" fmla="*/ 2147483647 w 13"/>
                      <a:gd name="T33" fmla="*/ 2147483647 h 17"/>
                      <a:gd name="T34" fmla="*/ 2147483647 w 13"/>
                      <a:gd name="T35" fmla="*/ 2147483647 h 17"/>
                      <a:gd name="T36" fmla="*/ 2147483647 w 13"/>
                      <a:gd name="T37" fmla="*/ 2147483647 h 17"/>
                      <a:gd name="T38" fmla="*/ 2147483647 w 13"/>
                      <a:gd name="T39" fmla="*/ 2147483647 h 17"/>
                      <a:gd name="T40" fmla="*/ 2147483647 w 13"/>
                      <a:gd name="T41" fmla="*/ 2147483647 h 17"/>
                      <a:gd name="T42" fmla="*/ 2147483647 w 13"/>
                      <a:gd name="T43" fmla="*/ 2147483647 h 17"/>
                      <a:gd name="T44" fmla="*/ 2147483647 w 13"/>
                      <a:gd name="T45" fmla="*/ 2147483647 h 17"/>
                      <a:gd name="T46" fmla="*/ 2147483647 w 13"/>
                      <a:gd name="T47" fmla="*/ 2147483647 h 17"/>
                      <a:gd name="T48" fmla="*/ 2147483647 w 13"/>
                      <a:gd name="T49" fmla="*/ 2147483647 h 17"/>
                      <a:gd name="T50" fmla="*/ 2147483647 w 13"/>
                      <a:gd name="T51" fmla="*/ 2147483647 h 17"/>
                      <a:gd name="T52" fmla="*/ 2147483647 w 13"/>
                      <a:gd name="T53" fmla="*/ 2147483647 h 17"/>
                      <a:gd name="T54" fmla="*/ 2147483647 w 13"/>
                      <a:gd name="T55" fmla="*/ 2147483647 h 17"/>
                      <a:gd name="T56" fmla="*/ 2147483647 w 13"/>
                      <a:gd name="T57" fmla="*/ 0 h 1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 h="17">
                        <a:moveTo>
                          <a:pt x="3" y="0"/>
                        </a:moveTo>
                        <a:lnTo>
                          <a:pt x="3" y="2"/>
                        </a:lnTo>
                        <a:lnTo>
                          <a:pt x="3" y="3"/>
                        </a:lnTo>
                        <a:lnTo>
                          <a:pt x="2" y="3"/>
                        </a:lnTo>
                        <a:lnTo>
                          <a:pt x="0" y="3"/>
                        </a:lnTo>
                        <a:lnTo>
                          <a:pt x="2" y="6"/>
                        </a:lnTo>
                        <a:lnTo>
                          <a:pt x="3" y="10"/>
                        </a:lnTo>
                        <a:lnTo>
                          <a:pt x="5" y="12"/>
                        </a:lnTo>
                        <a:lnTo>
                          <a:pt x="7" y="13"/>
                        </a:lnTo>
                        <a:lnTo>
                          <a:pt x="8" y="13"/>
                        </a:lnTo>
                        <a:lnTo>
                          <a:pt x="11" y="13"/>
                        </a:lnTo>
                        <a:lnTo>
                          <a:pt x="11" y="14"/>
                        </a:lnTo>
                        <a:lnTo>
                          <a:pt x="11" y="15"/>
                        </a:lnTo>
                        <a:lnTo>
                          <a:pt x="11" y="16"/>
                        </a:lnTo>
                        <a:lnTo>
                          <a:pt x="11" y="17"/>
                        </a:lnTo>
                        <a:lnTo>
                          <a:pt x="12" y="17"/>
                        </a:lnTo>
                        <a:lnTo>
                          <a:pt x="13" y="17"/>
                        </a:lnTo>
                        <a:lnTo>
                          <a:pt x="13" y="13"/>
                        </a:lnTo>
                        <a:lnTo>
                          <a:pt x="13" y="10"/>
                        </a:lnTo>
                        <a:lnTo>
                          <a:pt x="12" y="9"/>
                        </a:lnTo>
                        <a:lnTo>
                          <a:pt x="11" y="7"/>
                        </a:lnTo>
                        <a:lnTo>
                          <a:pt x="11" y="3"/>
                        </a:lnTo>
                        <a:lnTo>
                          <a:pt x="9" y="2"/>
                        </a:lnTo>
                        <a:lnTo>
                          <a:pt x="7" y="2"/>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4" name="Freeform 2071">
                    <a:extLst>
                      <a:ext uri="{FF2B5EF4-FFF2-40B4-BE49-F238E27FC236}">
                        <a16:creationId xmlns:a16="http://schemas.microsoft.com/office/drawing/2014/main" xmlns="" id="{37802908-DDA6-450F-BA2F-4BD06B6BEE73}"/>
                      </a:ext>
                    </a:extLst>
                  </p:cNvPr>
                  <p:cNvSpPr>
                    <a:spLocks/>
                  </p:cNvSpPr>
                  <p:nvPr/>
                </p:nvSpPr>
                <p:spPr bwMode="gray">
                  <a:xfrm>
                    <a:off x="4242936" y="3098460"/>
                    <a:ext cx="10013" cy="5563"/>
                  </a:xfrm>
                  <a:custGeom>
                    <a:avLst/>
                    <a:gdLst>
                      <a:gd name="T0" fmla="*/ 2147483647 w 9"/>
                      <a:gd name="T1" fmla="*/ 0 h 5"/>
                      <a:gd name="T2" fmla="*/ 2147483647 w 9"/>
                      <a:gd name="T3" fmla="*/ 0 h 5"/>
                      <a:gd name="T4" fmla="*/ 2147483647 w 9"/>
                      <a:gd name="T5" fmla="*/ 0 h 5"/>
                      <a:gd name="T6" fmla="*/ 2147483647 w 9"/>
                      <a:gd name="T7" fmla="*/ 2147483647 h 5"/>
                      <a:gd name="T8" fmla="*/ 0 w 9"/>
                      <a:gd name="T9" fmla="*/ 2147483647 h 5"/>
                      <a:gd name="T10" fmla="*/ 0 w 9"/>
                      <a:gd name="T11" fmla="*/ 2147483647 h 5"/>
                      <a:gd name="T12" fmla="*/ 0 w 9"/>
                      <a:gd name="T13" fmla="*/ 2147483647 h 5"/>
                      <a:gd name="T14" fmla="*/ 0 w 9"/>
                      <a:gd name="T15" fmla="*/ 2147483647 h 5"/>
                      <a:gd name="T16" fmla="*/ 2147483647 w 9"/>
                      <a:gd name="T17" fmla="*/ 2147483647 h 5"/>
                      <a:gd name="T18" fmla="*/ 2147483647 w 9"/>
                      <a:gd name="T19" fmla="*/ 2147483647 h 5"/>
                      <a:gd name="T20" fmla="*/ 2147483647 w 9"/>
                      <a:gd name="T21" fmla="*/ 2147483647 h 5"/>
                      <a:gd name="T22" fmla="*/ 2147483647 w 9"/>
                      <a:gd name="T23" fmla="*/ 2147483647 h 5"/>
                      <a:gd name="T24" fmla="*/ 2147483647 w 9"/>
                      <a:gd name="T25" fmla="*/ 2147483647 h 5"/>
                      <a:gd name="T26" fmla="*/ 2147483647 w 9"/>
                      <a:gd name="T27" fmla="*/ 2147483647 h 5"/>
                      <a:gd name="T28" fmla="*/ 2147483647 w 9"/>
                      <a:gd name="T29" fmla="*/ 0 h 5"/>
                      <a:gd name="T30" fmla="*/ 2147483647 w 9"/>
                      <a:gd name="T31" fmla="*/ 0 h 5"/>
                      <a:gd name="T32" fmla="*/ 2147483647 w 9"/>
                      <a:gd name="T33" fmla="*/ 0 h 5"/>
                      <a:gd name="T34" fmla="*/ 2147483647 w 9"/>
                      <a:gd name="T35" fmla="*/ 0 h 5"/>
                      <a:gd name="T36" fmla="*/ 2147483647 w 9"/>
                      <a:gd name="T37" fmla="*/ 0 h 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 h="5">
                        <a:moveTo>
                          <a:pt x="3" y="0"/>
                        </a:moveTo>
                        <a:lnTo>
                          <a:pt x="3" y="0"/>
                        </a:lnTo>
                        <a:lnTo>
                          <a:pt x="2" y="0"/>
                        </a:lnTo>
                        <a:lnTo>
                          <a:pt x="1" y="1"/>
                        </a:lnTo>
                        <a:lnTo>
                          <a:pt x="0" y="2"/>
                        </a:lnTo>
                        <a:lnTo>
                          <a:pt x="0" y="3"/>
                        </a:lnTo>
                        <a:lnTo>
                          <a:pt x="0" y="5"/>
                        </a:lnTo>
                        <a:lnTo>
                          <a:pt x="1" y="5"/>
                        </a:lnTo>
                        <a:lnTo>
                          <a:pt x="2" y="5"/>
                        </a:lnTo>
                        <a:lnTo>
                          <a:pt x="3" y="5"/>
                        </a:lnTo>
                        <a:lnTo>
                          <a:pt x="5" y="3"/>
                        </a:lnTo>
                        <a:lnTo>
                          <a:pt x="6" y="2"/>
                        </a:lnTo>
                        <a:lnTo>
                          <a:pt x="7" y="0"/>
                        </a:lnTo>
                        <a:lnTo>
                          <a:pt x="9" y="0"/>
                        </a:lnTo>
                        <a:lnTo>
                          <a:pt x="5" y="0"/>
                        </a:lnTo>
                        <a:lnTo>
                          <a:pt x="4"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5" name="Freeform 2073">
                    <a:extLst>
                      <a:ext uri="{FF2B5EF4-FFF2-40B4-BE49-F238E27FC236}">
                        <a16:creationId xmlns:a16="http://schemas.microsoft.com/office/drawing/2014/main" xmlns="" id="{BAC2D7D3-47DE-46EA-A4D2-CF102B97A3B5}"/>
                      </a:ext>
                    </a:extLst>
                  </p:cNvPr>
                  <p:cNvSpPr>
                    <a:spLocks/>
                  </p:cNvSpPr>
                  <p:nvPr/>
                </p:nvSpPr>
                <p:spPr bwMode="gray">
                  <a:xfrm>
                    <a:off x="4306349" y="3094011"/>
                    <a:ext cx="12237" cy="4450"/>
                  </a:xfrm>
                  <a:custGeom>
                    <a:avLst/>
                    <a:gdLst>
                      <a:gd name="T0" fmla="*/ 2147483647 w 11"/>
                      <a:gd name="T1" fmla="*/ 0 h 4"/>
                      <a:gd name="T2" fmla="*/ 0 w 11"/>
                      <a:gd name="T3" fmla="*/ 2147483647 h 4"/>
                      <a:gd name="T4" fmla="*/ 2147483647 w 11"/>
                      <a:gd name="T5" fmla="*/ 2147483647 h 4"/>
                      <a:gd name="T6" fmla="*/ 2147483647 w 11"/>
                      <a:gd name="T7" fmla="*/ 2147483647 h 4"/>
                      <a:gd name="T8" fmla="*/ 2147483647 w 11"/>
                      <a:gd name="T9" fmla="*/ 2147483647 h 4"/>
                      <a:gd name="T10" fmla="*/ 2147483647 w 11"/>
                      <a:gd name="T11" fmla="*/ 2147483647 h 4"/>
                      <a:gd name="T12" fmla="*/ 2147483647 w 11"/>
                      <a:gd name="T13" fmla="*/ 2147483647 h 4"/>
                      <a:gd name="T14" fmla="*/ 2147483647 w 11"/>
                      <a:gd name="T15" fmla="*/ 0 h 4"/>
                      <a:gd name="T16" fmla="*/ 2147483647 w 11"/>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4">
                        <a:moveTo>
                          <a:pt x="4" y="0"/>
                        </a:moveTo>
                        <a:lnTo>
                          <a:pt x="0" y="4"/>
                        </a:lnTo>
                        <a:lnTo>
                          <a:pt x="7" y="3"/>
                        </a:lnTo>
                        <a:lnTo>
                          <a:pt x="10" y="2"/>
                        </a:lnTo>
                        <a:lnTo>
                          <a:pt x="11" y="2"/>
                        </a:lnTo>
                        <a:lnTo>
                          <a:pt x="11" y="1"/>
                        </a:lnTo>
                        <a:lnTo>
                          <a:pt x="10" y="1"/>
                        </a:lnTo>
                        <a:lnTo>
                          <a:pt x="8"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6" name="Freeform 2075">
                    <a:extLst>
                      <a:ext uri="{FF2B5EF4-FFF2-40B4-BE49-F238E27FC236}">
                        <a16:creationId xmlns:a16="http://schemas.microsoft.com/office/drawing/2014/main" xmlns="" id="{02551FB8-5E4C-4220-A393-B01680D01785}"/>
                      </a:ext>
                    </a:extLst>
                  </p:cNvPr>
                  <p:cNvSpPr>
                    <a:spLocks/>
                  </p:cNvSpPr>
                  <p:nvPr/>
                </p:nvSpPr>
                <p:spPr bwMode="gray">
                  <a:xfrm>
                    <a:off x="4292999" y="3094011"/>
                    <a:ext cx="10013" cy="5563"/>
                  </a:xfrm>
                  <a:custGeom>
                    <a:avLst/>
                    <a:gdLst>
                      <a:gd name="T0" fmla="*/ 0 w 9"/>
                      <a:gd name="T1" fmla="*/ 0 h 5"/>
                      <a:gd name="T2" fmla="*/ 2147483647 w 9"/>
                      <a:gd name="T3" fmla="*/ 2147483647 h 5"/>
                      <a:gd name="T4" fmla="*/ 2147483647 w 9"/>
                      <a:gd name="T5" fmla="*/ 2147483647 h 5"/>
                      <a:gd name="T6" fmla="*/ 0 w 9"/>
                      <a:gd name="T7" fmla="*/ 2147483647 h 5"/>
                      <a:gd name="T8" fmla="*/ 0 w 9"/>
                      <a:gd name="T9" fmla="*/ 2147483647 h 5"/>
                      <a:gd name="T10" fmla="*/ 0 w 9"/>
                      <a:gd name="T11" fmla="*/ 2147483647 h 5"/>
                      <a:gd name="T12" fmla="*/ 2147483647 w 9"/>
                      <a:gd name="T13" fmla="*/ 2147483647 h 5"/>
                      <a:gd name="T14" fmla="*/ 2147483647 w 9"/>
                      <a:gd name="T15" fmla="*/ 2147483647 h 5"/>
                      <a:gd name="T16" fmla="*/ 2147483647 w 9"/>
                      <a:gd name="T17" fmla="*/ 2147483647 h 5"/>
                      <a:gd name="T18" fmla="*/ 2147483647 w 9"/>
                      <a:gd name="T19" fmla="*/ 2147483647 h 5"/>
                      <a:gd name="T20" fmla="*/ 2147483647 w 9"/>
                      <a:gd name="T21" fmla="*/ 2147483647 h 5"/>
                      <a:gd name="T22" fmla="*/ 2147483647 w 9"/>
                      <a:gd name="T23" fmla="*/ 2147483647 h 5"/>
                      <a:gd name="T24" fmla="*/ 2147483647 w 9"/>
                      <a:gd name="T25" fmla="*/ 2147483647 h 5"/>
                      <a:gd name="T26" fmla="*/ 2147483647 w 9"/>
                      <a:gd name="T27" fmla="*/ 0 h 5"/>
                      <a:gd name="T28" fmla="*/ 0 w 9"/>
                      <a:gd name="T29" fmla="*/ 0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 h="5">
                        <a:moveTo>
                          <a:pt x="0" y="0"/>
                        </a:moveTo>
                        <a:lnTo>
                          <a:pt x="1" y="2"/>
                        </a:lnTo>
                        <a:lnTo>
                          <a:pt x="1" y="3"/>
                        </a:lnTo>
                        <a:lnTo>
                          <a:pt x="0" y="3"/>
                        </a:lnTo>
                        <a:lnTo>
                          <a:pt x="0" y="4"/>
                        </a:lnTo>
                        <a:lnTo>
                          <a:pt x="3" y="5"/>
                        </a:lnTo>
                        <a:lnTo>
                          <a:pt x="4" y="5"/>
                        </a:lnTo>
                        <a:lnTo>
                          <a:pt x="7" y="4"/>
                        </a:lnTo>
                        <a:lnTo>
                          <a:pt x="9" y="4"/>
                        </a:lnTo>
                        <a:lnTo>
                          <a:pt x="8" y="2"/>
                        </a:lnTo>
                        <a:lnTo>
                          <a:pt x="5" y="1"/>
                        </a:lnTo>
                        <a:lnTo>
                          <a:pt x="3"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7" name="Freeform 2077">
                    <a:extLst>
                      <a:ext uri="{FF2B5EF4-FFF2-40B4-BE49-F238E27FC236}">
                        <a16:creationId xmlns:a16="http://schemas.microsoft.com/office/drawing/2014/main" xmlns="" id="{6D4B02EC-CB53-4488-853E-167E05C1FE13}"/>
                      </a:ext>
                    </a:extLst>
                  </p:cNvPr>
                  <p:cNvSpPr>
                    <a:spLocks/>
                  </p:cNvSpPr>
                  <p:nvPr/>
                </p:nvSpPr>
                <p:spPr bwMode="gray">
                  <a:xfrm>
                    <a:off x="4278536" y="3094011"/>
                    <a:ext cx="10013" cy="4450"/>
                  </a:xfrm>
                  <a:custGeom>
                    <a:avLst/>
                    <a:gdLst>
                      <a:gd name="T0" fmla="*/ 2147483647 w 9"/>
                      <a:gd name="T1" fmla="*/ 0 h 4"/>
                      <a:gd name="T2" fmla="*/ 2147483647 w 9"/>
                      <a:gd name="T3" fmla="*/ 2147483647 h 4"/>
                      <a:gd name="T4" fmla="*/ 2147483647 w 9"/>
                      <a:gd name="T5" fmla="*/ 2147483647 h 4"/>
                      <a:gd name="T6" fmla="*/ 0 w 9"/>
                      <a:gd name="T7" fmla="*/ 2147483647 h 4"/>
                      <a:gd name="T8" fmla="*/ 0 w 9"/>
                      <a:gd name="T9" fmla="*/ 2147483647 h 4"/>
                      <a:gd name="T10" fmla="*/ 2147483647 w 9"/>
                      <a:gd name="T11" fmla="*/ 2147483647 h 4"/>
                      <a:gd name="T12" fmla="*/ 2147483647 w 9"/>
                      <a:gd name="T13" fmla="*/ 2147483647 h 4"/>
                      <a:gd name="T14" fmla="*/ 2147483647 w 9"/>
                      <a:gd name="T15" fmla="*/ 2147483647 h 4"/>
                      <a:gd name="T16" fmla="*/ 2147483647 w 9"/>
                      <a:gd name="T17" fmla="*/ 2147483647 h 4"/>
                      <a:gd name="T18" fmla="*/ 2147483647 w 9"/>
                      <a:gd name="T19" fmla="*/ 2147483647 h 4"/>
                      <a:gd name="T20" fmla="*/ 2147483647 w 9"/>
                      <a:gd name="T21" fmla="*/ 2147483647 h 4"/>
                      <a:gd name="T22" fmla="*/ 2147483647 w 9"/>
                      <a:gd name="T23" fmla="*/ 0 h 4"/>
                      <a:gd name="T24" fmla="*/ 2147483647 w 9"/>
                      <a:gd name="T25" fmla="*/ 0 h 4"/>
                      <a:gd name="T26" fmla="*/ 2147483647 w 9"/>
                      <a:gd name="T27" fmla="*/ 0 h 4"/>
                      <a:gd name="T28" fmla="*/ 2147483647 w 9"/>
                      <a:gd name="T29" fmla="*/ 0 h 4"/>
                      <a:gd name="T30" fmla="*/ 2147483647 w 9"/>
                      <a:gd name="T31" fmla="*/ 0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 h="4">
                        <a:moveTo>
                          <a:pt x="3" y="0"/>
                        </a:moveTo>
                        <a:lnTo>
                          <a:pt x="2" y="1"/>
                        </a:lnTo>
                        <a:lnTo>
                          <a:pt x="1" y="2"/>
                        </a:lnTo>
                        <a:lnTo>
                          <a:pt x="0" y="3"/>
                        </a:lnTo>
                        <a:lnTo>
                          <a:pt x="0" y="4"/>
                        </a:lnTo>
                        <a:lnTo>
                          <a:pt x="4" y="4"/>
                        </a:lnTo>
                        <a:lnTo>
                          <a:pt x="5" y="4"/>
                        </a:lnTo>
                        <a:lnTo>
                          <a:pt x="7" y="3"/>
                        </a:lnTo>
                        <a:lnTo>
                          <a:pt x="8" y="2"/>
                        </a:lnTo>
                        <a:lnTo>
                          <a:pt x="9" y="1"/>
                        </a:lnTo>
                        <a:lnTo>
                          <a:pt x="9" y="0"/>
                        </a:lnTo>
                        <a:lnTo>
                          <a:pt x="7" y="0"/>
                        </a:lnTo>
                        <a:lnTo>
                          <a:pt x="5" y="0"/>
                        </a:lnTo>
                        <a:lnTo>
                          <a:pt x="4"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8" name="Freeform 2079">
                    <a:extLst>
                      <a:ext uri="{FF2B5EF4-FFF2-40B4-BE49-F238E27FC236}">
                        <a16:creationId xmlns:a16="http://schemas.microsoft.com/office/drawing/2014/main" xmlns="" id="{6D101E2B-8CBB-46B6-BCD3-B9F788A9F35E}"/>
                      </a:ext>
                    </a:extLst>
                  </p:cNvPr>
                  <p:cNvSpPr>
                    <a:spLocks/>
                  </p:cNvSpPr>
                  <p:nvPr/>
                </p:nvSpPr>
                <p:spPr bwMode="gray">
                  <a:xfrm>
                    <a:off x="4268524" y="3094011"/>
                    <a:ext cx="5563" cy="4450"/>
                  </a:xfrm>
                  <a:custGeom>
                    <a:avLst/>
                    <a:gdLst>
                      <a:gd name="T0" fmla="*/ 2147483647 w 5"/>
                      <a:gd name="T1" fmla="*/ 0 h 4"/>
                      <a:gd name="T2" fmla="*/ 2147483647 w 5"/>
                      <a:gd name="T3" fmla="*/ 0 h 4"/>
                      <a:gd name="T4" fmla="*/ 2147483647 w 5"/>
                      <a:gd name="T5" fmla="*/ 2147483647 h 4"/>
                      <a:gd name="T6" fmla="*/ 0 w 5"/>
                      <a:gd name="T7" fmla="*/ 2147483647 h 4"/>
                      <a:gd name="T8" fmla="*/ 0 w 5"/>
                      <a:gd name="T9" fmla="*/ 2147483647 h 4"/>
                      <a:gd name="T10" fmla="*/ 2147483647 w 5"/>
                      <a:gd name="T11" fmla="*/ 2147483647 h 4"/>
                      <a:gd name="T12" fmla="*/ 2147483647 w 5"/>
                      <a:gd name="T13" fmla="*/ 2147483647 h 4"/>
                      <a:gd name="T14" fmla="*/ 2147483647 w 5"/>
                      <a:gd name="T15" fmla="*/ 2147483647 h 4"/>
                      <a:gd name="T16" fmla="*/ 2147483647 w 5"/>
                      <a:gd name="T17" fmla="*/ 2147483647 h 4"/>
                      <a:gd name="T18" fmla="*/ 2147483647 w 5"/>
                      <a:gd name="T19" fmla="*/ 2147483647 h 4"/>
                      <a:gd name="T20" fmla="*/ 2147483647 w 5"/>
                      <a:gd name="T21" fmla="*/ 2147483647 h 4"/>
                      <a:gd name="T22" fmla="*/ 2147483647 w 5"/>
                      <a:gd name="T23" fmla="*/ 2147483647 h 4"/>
                      <a:gd name="T24" fmla="*/ 2147483647 w 5"/>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4">
                        <a:moveTo>
                          <a:pt x="2" y="0"/>
                        </a:moveTo>
                        <a:lnTo>
                          <a:pt x="2" y="0"/>
                        </a:lnTo>
                        <a:lnTo>
                          <a:pt x="1" y="1"/>
                        </a:lnTo>
                        <a:lnTo>
                          <a:pt x="0" y="2"/>
                        </a:lnTo>
                        <a:lnTo>
                          <a:pt x="0" y="4"/>
                        </a:lnTo>
                        <a:lnTo>
                          <a:pt x="1" y="4"/>
                        </a:lnTo>
                        <a:lnTo>
                          <a:pt x="2" y="4"/>
                        </a:lnTo>
                        <a:lnTo>
                          <a:pt x="3" y="4"/>
                        </a:lnTo>
                        <a:lnTo>
                          <a:pt x="5" y="4"/>
                        </a:lnTo>
                        <a:lnTo>
                          <a:pt x="4" y="3"/>
                        </a:lnTo>
                        <a:lnTo>
                          <a:pt x="4" y="2"/>
                        </a:lnTo>
                        <a:lnTo>
                          <a:pt x="3" y="1"/>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39" name="Freeform 2081">
                    <a:extLst>
                      <a:ext uri="{FF2B5EF4-FFF2-40B4-BE49-F238E27FC236}">
                        <a16:creationId xmlns:a16="http://schemas.microsoft.com/office/drawing/2014/main" xmlns="" id="{2AF7D034-1F96-45BF-88CD-995980570677}"/>
                      </a:ext>
                    </a:extLst>
                  </p:cNvPr>
                  <p:cNvSpPr>
                    <a:spLocks/>
                  </p:cNvSpPr>
                  <p:nvPr/>
                </p:nvSpPr>
                <p:spPr bwMode="gray">
                  <a:xfrm>
                    <a:off x="4252948" y="3094011"/>
                    <a:ext cx="11125" cy="4450"/>
                  </a:xfrm>
                  <a:custGeom>
                    <a:avLst/>
                    <a:gdLst>
                      <a:gd name="T0" fmla="*/ 0 w 10"/>
                      <a:gd name="T1" fmla="*/ 0 h 4"/>
                      <a:gd name="T2" fmla="*/ 2147483647 w 10"/>
                      <a:gd name="T3" fmla="*/ 2147483647 h 4"/>
                      <a:gd name="T4" fmla="*/ 2147483647 w 10"/>
                      <a:gd name="T5" fmla="*/ 2147483647 h 4"/>
                      <a:gd name="T6" fmla="*/ 2147483647 w 10"/>
                      <a:gd name="T7" fmla="*/ 2147483647 h 4"/>
                      <a:gd name="T8" fmla="*/ 0 w 10"/>
                      <a:gd name="T9" fmla="*/ 2147483647 h 4"/>
                      <a:gd name="T10" fmla="*/ 2147483647 w 10"/>
                      <a:gd name="T11" fmla="*/ 2147483647 h 4"/>
                      <a:gd name="T12" fmla="*/ 2147483647 w 10"/>
                      <a:gd name="T13" fmla="*/ 0 h 4"/>
                      <a:gd name="T14" fmla="*/ 0 w 10"/>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4">
                        <a:moveTo>
                          <a:pt x="0" y="0"/>
                        </a:moveTo>
                        <a:lnTo>
                          <a:pt x="2" y="1"/>
                        </a:lnTo>
                        <a:lnTo>
                          <a:pt x="3" y="2"/>
                        </a:lnTo>
                        <a:lnTo>
                          <a:pt x="2" y="3"/>
                        </a:lnTo>
                        <a:lnTo>
                          <a:pt x="0" y="4"/>
                        </a:lnTo>
                        <a:lnTo>
                          <a:pt x="10" y="4"/>
                        </a:lnTo>
                        <a:lnTo>
                          <a:pt x="10"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0" name="Freeform 2083">
                    <a:extLst>
                      <a:ext uri="{FF2B5EF4-FFF2-40B4-BE49-F238E27FC236}">
                        <a16:creationId xmlns:a16="http://schemas.microsoft.com/office/drawing/2014/main" xmlns="" id="{FF13948B-F0D9-4649-AC6F-CF184B7ADCB8}"/>
                      </a:ext>
                    </a:extLst>
                  </p:cNvPr>
                  <p:cNvSpPr>
                    <a:spLocks/>
                  </p:cNvSpPr>
                  <p:nvPr/>
                </p:nvSpPr>
                <p:spPr bwMode="gray">
                  <a:xfrm>
                    <a:off x="4595596" y="3098460"/>
                    <a:ext cx="7787" cy="14462"/>
                  </a:xfrm>
                  <a:custGeom>
                    <a:avLst/>
                    <a:gdLst>
                      <a:gd name="T0" fmla="*/ 2147483647 w 7"/>
                      <a:gd name="T1" fmla="*/ 0 h 13"/>
                      <a:gd name="T2" fmla="*/ 2147483647 w 7"/>
                      <a:gd name="T3" fmla="*/ 2147483647 h 13"/>
                      <a:gd name="T4" fmla="*/ 2147483647 w 7"/>
                      <a:gd name="T5" fmla="*/ 2147483647 h 13"/>
                      <a:gd name="T6" fmla="*/ 2147483647 w 7"/>
                      <a:gd name="T7" fmla="*/ 2147483647 h 13"/>
                      <a:gd name="T8" fmla="*/ 2147483647 w 7"/>
                      <a:gd name="T9" fmla="*/ 2147483647 h 13"/>
                      <a:gd name="T10" fmla="*/ 2147483647 w 7"/>
                      <a:gd name="T11" fmla="*/ 2147483647 h 13"/>
                      <a:gd name="T12" fmla="*/ 2147483647 w 7"/>
                      <a:gd name="T13" fmla="*/ 2147483647 h 13"/>
                      <a:gd name="T14" fmla="*/ 2147483647 w 7"/>
                      <a:gd name="T15" fmla="*/ 2147483647 h 13"/>
                      <a:gd name="T16" fmla="*/ 2147483647 w 7"/>
                      <a:gd name="T17" fmla="*/ 2147483647 h 13"/>
                      <a:gd name="T18" fmla="*/ 2147483647 w 7"/>
                      <a:gd name="T19" fmla="*/ 2147483647 h 13"/>
                      <a:gd name="T20" fmla="*/ 2147483647 w 7"/>
                      <a:gd name="T21" fmla="*/ 2147483647 h 13"/>
                      <a:gd name="T22" fmla="*/ 2147483647 w 7"/>
                      <a:gd name="T23" fmla="*/ 2147483647 h 13"/>
                      <a:gd name="T24" fmla="*/ 2147483647 w 7"/>
                      <a:gd name="T25" fmla="*/ 2147483647 h 13"/>
                      <a:gd name="T26" fmla="*/ 2147483647 w 7"/>
                      <a:gd name="T27" fmla="*/ 2147483647 h 13"/>
                      <a:gd name="T28" fmla="*/ 2147483647 w 7"/>
                      <a:gd name="T29" fmla="*/ 2147483647 h 13"/>
                      <a:gd name="T30" fmla="*/ 2147483647 w 7"/>
                      <a:gd name="T31" fmla="*/ 2147483647 h 13"/>
                      <a:gd name="T32" fmla="*/ 2147483647 w 7"/>
                      <a:gd name="T33" fmla="*/ 2147483647 h 13"/>
                      <a:gd name="T34" fmla="*/ 2147483647 w 7"/>
                      <a:gd name="T35" fmla="*/ 2147483647 h 13"/>
                      <a:gd name="T36" fmla="*/ 2147483647 w 7"/>
                      <a:gd name="T37" fmla="*/ 2147483647 h 13"/>
                      <a:gd name="T38" fmla="*/ 2147483647 w 7"/>
                      <a:gd name="T39" fmla="*/ 2147483647 h 13"/>
                      <a:gd name="T40" fmla="*/ 2147483647 w 7"/>
                      <a:gd name="T41" fmla="*/ 2147483647 h 13"/>
                      <a:gd name="T42" fmla="*/ 0 w 7"/>
                      <a:gd name="T43" fmla="*/ 2147483647 h 13"/>
                      <a:gd name="T44" fmla="*/ 0 w 7"/>
                      <a:gd name="T45" fmla="*/ 2147483647 h 13"/>
                      <a:gd name="T46" fmla="*/ 2147483647 w 7"/>
                      <a:gd name="T47" fmla="*/ 2147483647 h 13"/>
                      <a:gd name="T48" fmla="*/ 2147483647 w 7"/>
                      <a:gd name="T49" fmla="*/ 0 h 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 h="13">
                        <a:moveTo>
                          <a:pt x="1" y="0"/>
                        </a:moveTo>
                        <a:lnTo>
                          <a:pt x="4" y="3"/>
                        </a:lnTo>
                        <a:lnTo>
                          <a:pt x="4" y="5"/>
                        </a:lnTo>
                        <a:lnTo>
                          <a:pt x="4" y="6"/>
                        </a:lnTo>
                        <a:lnTo>
                          <a:pt x="5" y="8"/>
                        </a:lnTo>
                        <a:lnTo>
                          <a:pt x="7" y="10"/>
                        </a:lnTo>
                        <a:lnTo>
                          <a:pt x="5" y="10"/>
                        </a:lnTo>
                        <a:lnTo>
                          <a:pt x="4" y="10"/>
                        </a:lnTo>
                        <a:lnTo>
                          <a:pt x="5" y="11"/>
                        </a:lnTo>
                        <a:lnTo>
                          <a:pt x="6" y="13"/>
                        </a:lnTo>
                        <a:lnTo>
                          <a:pt x="7" y="13"/>
                        </a:lnTo>
                        <a:lnTo>
                          <a:pt x="6" y="13"/>
                        </a:lnTo>
                        <a:lnTo>
                          <a:pt x="5" y="13"/>
                        </a:lnTo>
                        <a:lnTo>
                          <a:pt x="4" y="13"/>
                        </a:lnTo>
                        <a:lnTo>
                          <a:pt x="2" y="11"/>
                        </a:lnTo>
                        <a:lnTo>
                          <a:pt x="2" y="10"/>
                        </a:lnTo>
                        <a:lnTo>
                          <a:pt x="1" y="10"/>
                        </a:lnTo>
                        <a:lnTo>
                          <a:pt x="0" y="7"/>
                        </a:lnTo>
                        <a:lnTo>
                          <a:pt x="0" y="5"/>
                        </a:lnTo>
                        <a:lnTo>
                          <a:pt x="1" y="1"/>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1" name="Freeform 2085">
                    <a:extLst>
                      <a:ext uri="{FF2B5EF4-FFF2-40B4-BE49-F238E27FC236}">
                        <a16:creationId xmlns:a16="http://schemas.microsoft.com/office/drawing/2014/main" xmlns="" id="{F1154A76-A09E-4E7A-98A9-F5C68856E67F}"/>
                      </a:ext>
                    </a:extLst>
                  </p:cNvPr>
                  <p:cNvSpPr>
                    <a:spLocks/>
                  </p:cNvSpPr>
                  <p:nvPr/>
                </p:nvSpPr>
                <p:spPr bwMode="gray">
                  <a:xfrm>
                    <a:off x="4363085" y="3043952"/>
                    <a:ext cx="8900" cy="5563"/>
                  </a:xfrm>
                  <a:custGeom>
                    <a:avLst/>
                    <a:gdLst>
                      <a:gd name="T0" fmla="*/ 2147483647 w 8"/>
                      <a:gd name="T1" fmla="*/ 0 h 5"/>
                      <a:gd name="T2" fmla="*/ 2147483647 w 8"/>
                      <a:gd name="T3" fmla="*/ 2147483647 h 5"/>
                      <a:gd name="T4" fmla="*/ 2147483647 w 8"/>
                      <a:gd name="T5" fmla="*/ 2147483647 h 5"/>
                      <a:gd name="T6" fmla="*/ 2147483647 w 8"/>
                      <a:gd name="T7" fmla="*/ 2147483647 h 5"/>
                      <a:gd name="T8" fmla="*/ 0 w 8"/>
                      <a:gd name="T9" fmla="*/ 2147483647 h 5"/>
                      <a:gd name="T10" fmla="*/ 0 w 8"/>
                      <a:gd name="T11" fmla="*/ 2147483647 h 5"/>
                      <a:gd name="T12" fmla="*/ 0 w 8"/>
                      <a:gd name="T13" fmla="*/ 2147483647 h 5"/>
                      <a:gd name="T14" fmla="*/ 0 w 8"/>
                      <a:gd name="T15" fmla="*/ 2147483647 h 5"/>
                      <a:gd name="T16" fmla="*/ 0 w 8"/>
                      <a:gd name="T17" fmla="*/ 2147483647 h 5"/>
                      <a:gd name="T18" fmla="*/ 2147483647 w 8"/>
                      <a:gd name="T19" fmla="*/ 2147483647 h 5"/>
                      <a:gd name="T20" fmla="*/ 2147483647 w 8"/>
                      <a:gd name="T21" fmla="*/ 2147483647 h 5"/>
                      <a:gd name="T22" fmla="*/ 2147483647 w 8"/>
                      <a:gd name="T23" fmla="*/ 2147483647 h 5"/>
                      <a:gd name="T24" fmla="*/ 2147483647 w 8"/>
                      <a:gd name="T25" fmla="*/ 2147483647 h 5"/>
                      <a:gd name="T26" fmla="*/ 2147483647 w 8"/>
                      <a:gd name="T27" fmla="*/ 2147483647 h 5"/>
                      <a:gd name="T28" fmla="*/ 2147483647 w 8"/>
                      <a:gd name="T29" fmla="*/ 2147483647 h 5"/>
                      <a:gd name="T30" fmla="*/ 2147483647 w 8"/>
                      <a:gd name="T31" fmla="*/ 0 h 5"/>
                      <a:gd name="T32" fmla="*/ 2147483647 w 8"/>
                      <a:gd name="T33" fmla="*/ 0 h 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 h="5">
                        <a:moveTo>
                          <a:pt x="4" y="0"/>
                        </a:moveTo>
                        <a:lnTo>
                          <a:pt x="4" y="1"/>
                        </a:lnTo>
                        <a:lnTo>
                          <a:pt x="3" y="1"/>
                        </a:lnTo>
                        <a:lnTo>
                          <a:pt x="2" y="2"/>
                        </a:lnTo>
                        <a:lnTo>
                          <a:pt x="0" y="4"/>
                        </a:lnTo>
                        <a:lnTo>
                          <a:pt x="0" y="5"/>
                        </a:lnTo>
                        <a:lnTo>
                          <a:pt x="0" y="4"/>
                        </a:lnTo>
                        <a:lnTo>
                          <a:pt x="3" y="4"/>
                        </a:lnTo>
                        <a:lnTo>
                          <a:pt x="4" y="4"/>
                        </a:lnTo>
                        <a:lnTo>
                          <a:pt x="6" y="4"/>
                        </a:lnTo>
                        <a:lnTo>
                          <a:pt x="8" y="4"/>
                        </a:lnTo>
                        <a:lnTo>
                          <a:pt x="7" y="1"/>
                        </a:lnTo>
                        <a:lnTo>
                          <a:pt x="6" y="1"/>
                        </a:lnTo>
                        <a:lnTo>
                          <a:pt x="5"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2" name="Freeform 2087">
                    <a:extLst>
                      <a:ext uri="{FF2B5EF4-FFF2-40B4-BE49-F238E27FC236}">
                        <a16:creationId xmlns:a16="http://schemas.microsoft.com/office/drawing/2014/main" xmlns="" id="{A5AFF7AF-865D-4483-9F12-A7A4DB4CCAFB}"/>
                      </a:ext>
                    </a:extLst>
                  </p:cNvPr>
                  <p:cNvSpPr>
                    <a:spLocks/>
                  </p:cNvSpPr>
                  <p:nvPr/>
                </p:nvSpPr>
                <p:spPr bwMode="gray">
                  <a:xfrm>
                    <a:off x="4355298" y="3040614"/>
                    <a:ext cx="5563" cy="7787"/>
                  </a:xfrm>
                  <a:custGeom>
                    <a:avLst/>
                    <a:gdLst>
                      <a:gd name="T0" fmla="*/ 2147483647 w 5"/>
                      <a:gd name="T1" fmla="*/ 0 h 7"/>
                      <a:gd name="T2" fmla="*/ 2147483647 w 5"/>
                      <a:gd name="T3" fmla="*/ 2147483647 h 7"/>
                      <a:gd name="T4" fmla="*/ 0 w 5"/>
                      <a:gd name="T5" fmla="*/ 2147483647 h 7"/>
                      <a:gd name="T6" fmla="*/ 0 w 5"/>
                      <a:gd name="T7" fmla="*/ 2147483647 h 7"/>
                      <a:gd name="T8" fmla="*/ 2147483647 w 5"/>
                      <a:gd name="T9" fmla="*/ 2147483647 h 7"/>
                      <a:gd name="T10" fmla="*/ 2147483647 w 5"/>
                      <a:gd name="T11" fmla="*/ 2147483647 h 7"/>
                      <a:gd name="T12" fmla="*/ 0 w 5"/>
                      <a:gd name="T13" fmla="*/ 2147483647 h 7"/>
                      <a:gd name="T14" fmla="*/ 2147483647 w 5"/>
                      <a:gd name="T15" fmla="*/ 2147483647 h 7"/>
                      <a:gd name="T16" fmla="*/ 2147483647 w 5"/>
                      <a:gd name="T17" fmla="*/ 2147483647 h 7"/>
                      <a:gd name="T18" fmla="*/ 2147483647 w 5"/>
                      <a:gd name="T19" fmla="*/ 2147483647 h 7"/>
                      <a:gd name="T20" fmla="*/ 2147483647 w 5"/>
                      <a:gd name="T21" fmla="*/ 2147483647 h 7"/>
                      <a:gd name="T22" fmla="*/ 2147483647 w 5"/>
                      <a:gd name="T23" fmla="*/ 2147483647 h 7"/>
                      <a:gd name="T24" fmla="*/ 2147483647 w 5"/>
                      <a:gd name="T25" fmla="*/ 2147483647 h 7"/>
                      <a:gd name="T26" fmla="*/ 2147483647 w 5"/>
                      <a:gd name="T27" fmla="*/ 0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 h="7">
                        <a:moveTo>
                          <a:pt x="1" y="0"/>
                        </a:moveTo>
                        <a:lnTo>
                          <a:pt x="1" y="3"/>
                        </a:lnTo>
                        <a:lnTo>
                          <a:pt x="0" y="3"/>
                        </a:lnTo>
                        <a:lnTo>
                          <a:pt x="1" y="3"/>
                        </a:lnTo>
                        <a:lnTo>
                          <a:pt x="0" y="5"/>
                        </a:lnTo>
                        <a:lnTo>
                          <a:pt x="1" y="6"/>
                        </a:lnTo>
                        <a:lnTo>
                          <a:pt x="5" y="7"/>
                        </a:lnTo>
                        <a:lnTo>
                          <a:pt x="2" y="5"/>
                        </a:lnTo>
                        <a:lnTo>
                          <a:pt x="2" y="3"/>
                        </a:lnTo>
                        <a:lnTo>
                          <a:pt x="2" y="1"/>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3" name="Freeform 2089">
                    <a:extLst>
                      <a:ext uri="{FF2B5EF4-FFF2-40B4-BE49-F238E27FC236}">
                        <a16:creationId xmlns:a16="http://schemas.microsoft.com/office/drawing/2014/main" xmlns="" id="{BFDD11A8-51F9-4174-9867-BEF9A4C4DCA1}"/>
                      </a:ext>
                    </a:extLst>
                  </p:cNvPr>
                  <p:cNvSpPr>
                    <a:spLocks/>
                  </p:cNvSpPr>
                  <p:nvPr/>
                </p:nvSpPr>
                <p:spPr bwMode="gray">
                  <a:xfrm>
                    <a:off x="4350848" y="3037276"/>
                    <a:ext cx="6675" cy="3337"/>
                  </a:xfrm>
                  <a:custGeom>
                    <a:avLst/>
                    <a:gdLst>
                      <a:gd name="T0" fmla="*/ 0 w 6"/>
                      <a:gd name="T1" fmla="*/ 0 h 3"/>
                      <a:gd name="T2" fmla="*/ 0 w 6"/>
                      <a:gd name="T3" fmla="*/ 2147483647 h 3"/>
                      <a:gd name="T4" fmla="*/ 2147483647 w 6"/>
                      <a:gd name="T5" fmla="*/ 2147483647 h 3"/>
                      <a:gd name="T6" fmla="*/ 2147483647 w 6"/>
                      <a:gd name="T7" fmla="*/ 2147483647 h 3"/>
                      <a:gd name="T8" fmla="*/ 2147483647 w 6"/>
                      <a:gd name="T9" fmla="*/ 2147483647 h 3"/>
                      <a:gd name="T10" fmla="*/ 0 w 6"/>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3">
                        <a:moveTo>
                          <a:pt x="0" y="0"/>
                        </a:moveTo>
                        <a:lnTo>
                          <a:pt x="0" y="3"/>
                        </a:lnTo>
                        <a:lnTo>
                          <a:pt x="4" y="1"/>
                        </a:lnTo>
                        <a:lnTo>
                          <a:pt x="6" y="1"/>
                        </a:lnTo>
                        <a:lnTo>
                          <a:pt x="4"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4" name="Freeform 2091">
                    <a:extLst>
                      <a:ext uri="{FF2B5EF4-FFF2-40B4-BE49-F238E27FC236}">
                        <a16:creationId xmlns:a16="http://schemas.microsoft.com/office/drawing/2014/main" xmlns="" id="{FC8F1D2C-7205-4707-AFE1-B5993FD4BF5C}"/>
                      </a:ext>
                    </a:extLst>
                  </p:cNvPr>
                  <p:cNvSpPr>
                    <a:spLocks/>
                  </p:cNvSpPr>
                  <p:nvPr/>
                </p:nvSpPr>
                <p:spPr bwMode="gray">
                  <a:xfrm>
                    <a:off x="4341949" y="3025039"/>
                    <a:ext cx="6675" cy="12237"/>
                  </a:xfrm>
                  <a:custGeom>
                    <a:avLst/>
                    <a:gdLst>
                      <a:gd name="T0" fmla="*/ 0 w 6"/>
                      <a:gd name="T1" fmla="*/ 0 h 11"/>
                      <a:gd name="T2" fmla="*/ 0 w 6"/>
                      <a:gd name="T3" fmla="*/ 2147483647 h 11"/>
                      <a:gd name="T4" fmla="*/ 0 w 6"/>
                      <a:gd name="T5" fmla="*/ 2147483647 h 11"/>
                      <a:gd name="T6" fmla="*/ 0 w 6"/>
                      <a:gd name="T7" fmla="*/ 2147483647 h 11"/>
                      <a:gd name="T8" fmla="*/ 2147483647 w 6"/>
                      <a:gd name="T9" fmla="*/ 2147483647 h 11"/>
                      <a:gd name="T10" fmla="*/ 2147483647 w 6"/>
                      <a:gd name="T11" fmla="*/ 2147483647 h 11"/>
                      <a:gd name="T12" fmla="*/ 2147483647 w 6"/>
                      <a:gd name="T13" fmla="*/ 2147483647 h 11"/>
                      <a:gd name="T14" fmla="*/ 2147483647 w 6"/>
                      <a:gd name="T15" fmla="*/ 2147483647 h 11"/>
                      <a:gd name="T16" fmla="*/ 2147483647 w 6"/>
                      <a:gd name="T17" fmla="*/ 2147483647 h 11"/>
                      <a:gd name="T18" fmla="*/ 2147483647 w 6"/>
                      <a:gd name="T19" fmla="*/ 2147483647 h 11"/>
                      <a:gd name="T20" fmla="*/ 2147483647 w 6"/>
                      <a:gd name="T21" fmla="*/ 2147483647 h 11"/>
                      <a:gd name="T22" fmla="*/ 2147483647 w 6"/>
                      <a:gd name="T23" fmla="*/ 2147483647 h 11"/>
                      <a:gd name="T24" fmla="*/ 2147483647 w 6"/>
                      <a:gd name="T25" fmla="*/ 2147483647 h 11"/>
                      <a:gd name="T26" fmla="*/ 2147483647 w 6"/>
                      <a:gd name="T27" fmla="*/ 2147483647 h 11"/>
                      <a:gd name="T28" fmla="*/ 2147483647 w 6"/>
                      <a:gd name="T29" fmla="*/ 2147483647 h 11"/>
                      <a:gd name="T30" fmla="*/ 2147483647 w 6"/>
                      <a:gd name="T31" fmla="*/ 0 h 11"/>
                      <a:gd name="T32" fmla="*/ 2147483647 w 6"/>
                      <a:gd name="T33" fmla="*/ 2147483647 h 11"/>
                      <a:gd name="T34" fmla="*/ 0 w 6"/>
                      <a:gd name="T35" fmla="*/ 2147483647 h 11"/>
                      <a:gd name="T36" fmla="*/ 0 w 6"/>
                      <a:gd name="T37" fmla="*/ 2147483647 h 11"/>
                      <a:gd name="T38" fmla="*/ 0 w 6"/>
                      <a:gd name="T39" fmla="*/ 0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 h="11">
                        <a:moveTo>
                          <a:pt x="0" y="0"/>
                        </a:moveTo>
                        <a:lnTo>
                          <a:pt x="0" y="6"/>
                        </a:lnTo>
                        <a:lnTo>
                          <a:pt x="0" y="8"/>
                        </a:lnTo>
                        <a:lnTo>
                          <a:pt x="1" y="9"/>
                        </a:lnTo>
                        <a:lnTo>
                          <a:pt x="2" y="10"/>
                        </a:lnTo>
                        <a:lnTo>
                          <a:pt x="2" y="11"/>
                        </a:lnTo>
                        <a:lnTo>
                          <a:pt x="4" y="11"/>
                        </a:lnTo>
                        <a:lnTo>
                          <a:pt x="5" y="11"/>
                        </a:lnTo>
                        <a:lnTo>
                          <a:pt x="6" y="10"/>
                        </a:lnTo>
                        <a:lnTo>
                          <a:pt x="6" y="9"/>
                        </a:lnTo>
                        <a:lnTo>
                          <a:pt x="4" y="8"/>
                        </a:lnTo>
                        <a:lnTo>
                          <a:pt x="4" y="6"/>
                        </a:lnTo>
                        <a:lnTo>
                          <a:pt x="4" y="5"/>
                        </a:lnTo>
                        <a:lnTo>
                          <a:pt x="4" y="3"/>
                        </a:lnTo>
                        <a:lnTo>
                          <a:pt x="4" y="0"/>
                        </a:lnTo>
                        <a:lnTo>
                          <a:pt x="1" y="2"/>
                        </a:lnTo>
                        <a:lnTo>
                          <a:pt x="0" y="3"/>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5" name="Freeform 2093">
                    <a:extLst>
                      <a:ext uri="{FF2B5EF4-FFF2-40B4-BE49-F238E27FC236}">
                        <a16:creationId xmlns:a16="http://schemas.microsoft.com/office/drawing/2014/main" xmlns="" id="{C0CE9F94-DD35-4A02-A41C-020F3F27DBD1}"/>
                      </a:ext>
                    </a:extLst>
                  </p:cNvPr>
                  <p:cNvSpPr>
                    <a:spLocks/>
                  </p:cNvSpPr>
                  <p:nvPr/>
                </p:nvSpPr>
                <p:spPr bwMode="gray">
                  <a:xfrm>
                    <a:off x="4350848" y="3025039"/>
                    <a:ext cx="5563" cy="8899"/>
                  </a:xfrm>
                  <a:custGeom>
                    <a:avLst/>
                    <a:gdLst>
                      <a:gd name="T0" fmla="*/ 0 w 5"/>
                      <a:gd name="T1" fmla="*/ 0 h 8"/>
                      <a:gd name="T2" fmla="*/ 0 w 5"/>
                      <a:gd name="T3" fmla="*/ 2147483647 h 8"/>
                      <a:gd name="T4" fmla="*/ 0 w 5"/>
                      <a:gd name="T5" fmla="*/ 2147483647 h 8"/>
                      <a:gd name="T6" fmla="*/ 0 w 5"/>
                      <a:gd name="T7" fmla="*/ 2147483647 h 8"/>
                      <a:gd name="T8" fmla="*/ 0 w 5"/>
                      <a:gd name="T9" fmla="*/ 2147483647 h 8"/>
                      <a:gd name="T10" fmla="*/ 0 w 5"/>
                      <a:gd name="T11" fmla="*/ 2147483647 h 8"/>
                      <a:gd name="T12" fmla="*/ 2147483647 w 5"/>
                      <a:gd name="T13" fmla="*/ 2147483647 h 8"/>
                      <a:gd name="T14" fmla="*/ 2147483647 w 5"/>
                      <a:gd name="T15" fmla="*/ 2147483647 h 8"/>
                      <a:gd name="T16" fmla="*/ 2147483647 w 5"/>
                      <a:gd name="T17" fmla="*/ 2147483647 h 8"/>
                      <a:gd name="T18" fmla="*/ 2147483647 w 5"/>
                      <a:gd name="T19" fmla="*/ 2147483647 h 8"/>
                      <a:gd name="T20" fmla="*/ 2147483647 w 5"/>
                      <a:gd name="T21" fmla="*/ 2147483647 h 8"/>
                      <a:gd name="T22" fmla="*/ 2147483647 w 5"/>
                      <a:gd name="T23" fmla="*/ 2147483647 h 8"/>
                      <a:gd name="T24" fmla="*/ 2147483647 w 5"/>
                      <a:gd name="T25" fmla="*/ 0 h 8"/>
                      <a:gd name="T26" fmla="*/ 2147483647 w 5"/>
                      <a:gd name="T27" fmla="*/ 0 h 8"/>
                      <a:gd name="T28" fmla="*/ 2147483647 w 5"/>
                      <a:gd name="T29" fmla="*/ 0 h 8"/>
                      <a:gd name="T30" fmla="*/ 2147483647 w 5"/>
                      <a:gd name="T31" fmla="*/ 0 h 8"/>
                      <a:gd name="T32" fmla="*/ 2147483647 w 5"/>
                      <a:gd name="T33" fmla="*/ 0 h 8"/>
                      <a:gd name="T34" fmla="*/ 0 w 5"/>
                      <a:gd name="T35" fmla="*/ 0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8">
                        <a:moveTo>
                          <a:pt x="0" y="0"/>
                        </a:moveTo>
                        <a:lnTo>
                          <a:pt x="0" y="2"/>
                        </a:lnTo>
                        <a:lnTo>
                          <a:pt x="0" y="3"/>
                        </a:lnTo>
                        <a:lnTo>
                          <a:pt x="0" y="5"/>
                        </a:lnTo>
                        <a:lnTo>
                          <a:pt x="0" y="6"/>
                        </a:lnTo>
                        <a:lnTo>
                          <a:pt x="1" y="8"/>
                        </a:lnTo>
                        <a:lnTo>
                          <a:pt x="2" y="8"/>
                        </a:lnTo>
                        <a:lnTo>
                          <a:pt x="3" y="8"/>
                        </a:lnTo>
                        <a:lnTo>
                          <a:pt x="4" y="8"/>
                        </a:lnTo>
                        <a:lnTo>
                          <a:pt x="5" y="8"/>
                        </a:lnTo>
                        <a:lnTo>
                          <a:pt x="5" y="0"/>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6" name="Freeform 2095">
                    <a:extLst>
                      <a:ext uri="{FF2B5EF4-FFF2-40B4-BE49-F238E27FC236}">
                        <a16:creationId xmlns:a16="http://schemas.microsoft.com/office/drawing/2014/main" xmlns="" id="{CB0F88E7-917F-4BF2-91DD-8F3FF411ED42}"/>
                      </a:ext>
                    </a:extLst>
                  </p:cNvPr>
                  <p:cNvSpPr>
                    <a:spLocks/>
                  </p:cNvSpPr>
                  <p:nvPr/>
                </p:nvSpPr>
                <p:spPr bwMode="gray">
                  <a:xfrm>
                    <a:off x="4338611" y="2997228"/>
                    <a:ext cx="14463" cy="23362"/>
                  </a:xfrm>
                  <a:custGeom>
                    <a:avLst/>
                    <a:gdLst>
                      <a:gd name="T0" fmla="*/ 2147483647 w 13"/>
                      <a:gd name="T1" fmla="*/ 0 h 21"/>
                      <a:gd name="T2" fmla="*/ 2147483647 w 13"/>
                      <a:gd name="T3" fmla="*/ 2147483647 h 21"/>
                      <a:gd name="T4" fmla="*/ 2147483647 w 13"/>
                      <a:gd name="T5" fmla="*/ 2147483647 h 21"/>
                      <a:gd name="T6" fmla="*/ 2147483647 w 13"/>
                      <a:gd name="T7" fmla="*/ 2147483647 h 21"/>
                      <a:gd name="T8" fmla="*/ 0 w 13"/>
                      <a:gd name="T9" fmla="*/ 2147483647 h 21"/>
                      <a:gd name="T10" fmla="*/ 0 w 13"/>
                      <a:gd name="T11" fmla="*/ 2147483647 h 21"/>
                      <a:gd name="T12" fmla="*/ 0 w 13"/>
                      <a:gd name="T13" fmla="*/ 2147483647 h 21"/>
                      <a:gd name="T14" fmla="*/ 2147483647 w 13"/>
                      <a:gd name="T15" fmla="*/ 2147483647 h 21"/>
                      <a:gd name="T16" fmla="*/ 2147483647 w 13"/>
                      <a:gd name="T17" fmla="*/ 2147483647 h 21"/>
                      <a:gd name="T18" fmla="*/ 2147483647 w 13"/>
                      <a:gd name="T19" fmla="*/ 2147483647 h 21"/>
                      <a:gd name="T20" fmla="*/ 2147483647 w 13"/>
                      <a:gd name="T21" fmla="*/ 2147483647 h 21"/>
                      <a:gd name="T22" fmla="*/ 2147483647 w 13"/>
                      <a:gd name="T23" fmla="*/ 2147483647 h 21"/>
                      <a:gd name="T24" fmla="*/ 2147483647 w 13"/>
                      <a:gd name="T25" fmla="*/ 2147483647 h 21"/>
                      <a:gd name="T26" fmla="*/ 2147483647 w 13"/>
                      <a:gd name="T27" fmla="*/ 2147483647 h 21"/>
                      <a:gd name="T28" fmla="*/ 2147483647 w 13"/>
                      <a:gd name="T29" fmla="*/ 2147483647 h 21"/>
                      <a:gd name="T30" fmla="*/ 2147483647 w 13"/>
                      <a:gd name="T31" fmla="*/ 2147483647 h 21"/>
                      <a:gd name="T32" fmla="*/ 2147483647 w 13"/>
                      <a:gd name="T33" fmla="*/ 2147483647 h 21"/>
                      <a:gd name="T34" fmla="*/ 2147483647 w 13"/>
                      <a:gd name="T35" fmla="*/ 2147483647 h 21"/>
                      <a:gd name="T36" fmla="*/ 2147483647 w 13"/>
                      <a:gd name="T37" fmla="*/ 2147483647 h 21"/>
                      <a:gd name="T38" fmla="*/ 2147483647 w 13"/>
                      <a:gd name="T39" fmla="*/ 2147483647 h 21"/>
                      <a:gd name="T40" fmla="*/ 2147483647 w 13"/>
                      <a:gd name="T41" fmla="*/ 2147483647 h 21"/>
                      <a:gd name="T42" fmla="*/ 2147483647 w 13"/>
                      <a:gd name="T43" fmla="*/ 2147483647 h 21"/>
                      <a:gd name="T44" fmla="*/ 2147483647 w 13"/>
                      <a:gd name="T45" fmla="*/ 2147483647 h 21"/>
                      <a:gd name="T46" fmla="*/ 2147483647 w 13"/>
                      <a:gd name="T47" fmla="*/ 2147483647 h 21"/>
                      <a:gd name="T48" fmla="*/ 2147483647 w 13"/>
                      <a:gd name="T49" fmla="*/ 2147483647 h 21"/>
                      <a:gd name="T50" fmla="*/ 2147483647 w 13"/>
                      <a:gd name="T51" fmla="*/ 2147483647 h 21"/>
                      <a:gd name="T52" fmla="*/ 2147483647 w 13"/>
                      <a:gd name="T53" fmla="*/ 2147483647 h 21"/>
                      <a:gd name="T54" fmla="*/ 2147483647 w 13"/>
                      <a:gd name="T55" fmla="*/ 2147483647 h 21"/>
                      <a:gd name="T56" fmla="*/ 2147483647 w 13"/>
                      <a:gd name="T57" fmla="*/ 0 h 21"/>
                      <a:gd name="T58" fmla="*/ 2147483647 w 13"/>
                      <a:gd name="T59" fmla="*/ 0 h 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3" h="21">
                        <a:moveTo>
                          <a:pt x="10" y="0"/>
                        </a:moveTo>
                        <a:lnTo>
                          <a:pt x="9" y="4"/>
                        </a:lnTo>
                        <a:lnTo>
                          <a:pt x="6" y="8"/>
                        </a:lnTo>
                        <a:lnTo>
                          <a:pt x="3" y="13"/>
                        </a:lnTo>
                        <a:lnTo>
                          <a:pt x="0" y="16"/>
                        </a:lnTo>
                        <a:lnTo>
                          <a:pt x="0" y="17"/>
                        </a:lnTo>
                        <a:lnTo>
                          <a:pt x="0" y="19"/>
                        </a:lnTo>
                        <a:lnTo>
                          <a:pt x="1" y="21"/>
                        </a:lnTo>
                        <a:lnTo>
                          <a:pt x="3" y="20"/>
                        </a:lnTo>
                        <a:lnTo>
                          <a:pt x="3" y="19"/>
                        </a:lnTo>
                        <a:lnTo>
                          <a:pt x="5" y="16"/>
                        </a:lnTo>
                        <a:lnTo>
                          <a:pt x="6" y="14"/>
                        </a:lnTo>
                        <a:lnTo>
                          <a:pt x="6" y="13"/>
                        </a:lnTo>
                        <a:lnTo>
                          <a:pt x="8" y="13"/>
                        </a:lnTo>
                        <a:lnTo>
                          <a:pt x="10" y="13"/>
                        </a:lnTo>
                        <a:lnTo>
                          <a:pt x="11" y="13"/>
                        </a:lnTo>
                        <a:lnTo>
                          <a:pt x="13" y="13"/>
                        </a:lnTo>
                        <a:lnTo>
                          <a:pt x="13" y="12"/>
                        </a:lnTo>
                        <a:lnTo>
                          <a:pt x="13" y="11"/>
                        </a:lnTo>
                        <a:lnTo>
                          <a:pt x="13" y="10"/>
                        </a:lnTo>
                        <a:lnTo>
                          <a:pt x="12" y="10"/>
                        </a:lnTo>
                        <a:lnTo>
                          <a:pt x="10" y="10"/>
                        </a:lnTo>
                        <a:lnTo>
                          <a:pt x="11" y="7"/>
                        </a:lnTo>
                        <a:lnTo>
                          <a:pt x="12" y="4"/>
                        </a:lnTo>
                        <a:lnTo>
                          <a:pt x="13" y="2"/>
                        </a:lnTo>
                        <a:lnTo>
                          <a:pt x="12" y="0"/>
                        </a:lnTo>
                        <a:lnTo>
                          <a:pt x="1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7" name="Freeform 2097">
                    <a:extLst>
                      <a:ext uri="{FF2B5EF4-FFF2-40B4-BE49-F238E27FC236}">
                        <a16:creationId xmlns:a16="http://schemas.microsoft.com/office/drawing/2014/main" xmlns="" id="{71F0A291-0C83-45DA-9A42-41AABF68CF04}"/>
                      </a:ext>
                    </a:extLst>
                  </p:cNvPr>
                  <p:cNvSpPr>
                    <a:spLocks/>
                  </p:cNvSpPr>
                  <p:nvPr/>
                </p:nvSpPr>
                <p:spPr bwMode="gray">
                  <a:xfrm>
                    <a:off x="3578781" y="3265326"/>
                    <a:ext cx="678618" cy="700838"/>
                  </a:xfrm>
                  <a:custGeom>
                    <a:avLst/>
                    <a:gdLst>
                      <a:gd name="T0" fmla="*/ 2147483647 w 610"/>
                      <a:gd name="T1" fmla="*/ 2147483647 h 630"/>
                      <a:gd name="T2" fmla="*/ 2147483647 w 610"/>
                      <a:gd name="T3" fmla="*/ 2147483647 h 630"/>
                      <a:gd name="T4" fmla="*/ 2147483647 w 610"/>
                      <a:gd name="T5" fmla="*/ 2147483647 h 630"/>
                      <a:gd name="T6" fmla="*/ 2147483647 w 610"/>
                      <a:gd name="T7" fmla="*/ 2147483647 h 630"/>
                      <a:gd name="T8" fmla="*/ 2147483647 w 610"/>
                      <a:gd name="T9" fmla="*/ 2147483647 h 630"/>
                      <a:gd name="T10" fmla="*/ 2147483647 w 610"/>
                      <a:gd name="T11" fmla="*/ 2147483647 h 630"/>
                      <a:gd name="T12" fmla="*/ 2147483647 w 610"/>
                      <a:gd name="T13" fmla="*/ 2147483647 h 630"/>
                      <a:gd name="T14" fmla="*/ 2147483647 w 610"/>
                      <a:gd name="T15" fmla="*/ 2147483647 h 630"/>
                      <a:gd name="T16" fmla="*/ 2147483647 w 610"/>
                      <a:gd name="T17" fmla="*/ 2147483647 h 630"/>
                      <a:gd name="T18" fmla="*/ 2147483647 w 610"/>
                      <a:gd name="T19" fmla="*/ 2147483647 h 630"/>
                      <a:gd name="T20" fmla="*/ 2147483647 w 610"/>
                      <a:gd name="T21" fmla="*/ 2147483647 h 630"/>
                      <a:gd name="T22" fmla="*/ 2147483647 w 610"/>
                      <a:gd name="T23" fmla="*/ 2147483647 h 630"/>
                      <a:gd name="T24" fmla="*/ 2147483647 w 610"/>
                      <a:gd name="T25" fmla="*/ 2147483647 h 630"/>
                      <a:gd name="T26" fmla="*/ 2147483647 w 610"/>
                      <a:gd name="T27" fmla="*/ 2147483647 h 630"/>
                      <a:gd name="T28" fmla="*/ 2147483647 w 610"/>
                      <a:gd name="T29" fmla="*/ 2147483647 h 630"/>
                      <a:gd name="T30" fmla="*/ 2147483647 w 610"/>
                      <a:gd name="T31" fmla="*/ 2147483647 h 630"/>
                      <a:gd name="T32" fmla="*/ 2147483647 w 610"/>
                      <a:gd name="T33" fmla="*/ 2147483647 h 630"/>
                      <a:gd name="T34" fmla="*/ 2147483647 w 610"/>
                      <a:gd name="T35" fmla="*/ 2147483647 h 630"/>
                      <a:gd name="T36" fmla="*/ 2147483647 w 610"/>
                      <a:gd name="T37" fmla="*/ 2147483647 h 630"/>
                      <a:gd name="T38" fmla="*/ 2147483647 w 610"/>
                      <a:gd name="T39" fmla="*/ 2147483647 h 630"/>
                      <a:gd name="T40" fmla="*/ 2147483647 w 610"/>
                      <a:gd name="T41" fmla="*/ 2147483647 h 630"/>
                      <a:gd name="T42" fmla="*/ 2147483647 w 610"/>
                      <a:gd name="T43" fmla="*/ 2147483647 h 630"/>
                      <a:gd name="T44" fmla="*/ 2147483647 w 610"/>
                      <a:gd name="T45" fmla="*/ 2147483647 h 630"/>
                      <a:gd name="T46" fmla="*/ 2147483647 w 610"/>
                      <a:gd name="T47" fmla="*/ 2147483647 h 630"/>
                      <a:gd name="T48" fmla="*/ 2147483647 w 610"/>
                      <a:gd name="T49" fmla="*/ 2147483647 h 630"/>
                      <a:gd name="T50" fmla="*/ 2147483647 w 610"/>
                      <a:gd name="T51" fmla="*/ 2147483647 h 630"/>
                      <a:gd name="T52" fmla="*/ 2147483647 w 610"/>
                      <a:gd name="T53" fmla="*/ 2147483647 h 630"/>
                      <a:gd name="T54" fmla="*/ 2147483647 w 610"/>
                      <a:gd name="T55" fmla="*/ 2147483647 h 630"/>
                      <a:gd name="T56" fmla="*/ 2147483647 w 610"/>
                      <a:gd name="T57" fmla="*/ 2147483647 h 630"/>
                      <a:gd name="T58" fmla="*/ 2147483647 w 610"/>
                      <a:gd name="T59" fmla="*/ 2147483647 h 630"/>
                      <a:gd name="T60" fmla="*/ 2147483647 w 610"/>
                      <a:gd name="T61" fmla="*/ 2147483647 h 630"/>
                      <a:gd name="T62" fmla="*/ 2147483647 w 610"/>
                      <a:gd name="T63" fmla="*/ 2147483647 h 630"/>
                      <a:gd name="T64" fmla="*/ 2147483647 w 610"/>
                      <a:gd name="T65" fmla="*/ 2147483647 h 630"/>
                      <a:gd name="T66" fmla="*/ 2147483647 w 610"/>
                      <a:gd name="T67" fmla="*/ 2147483647 h 630"/>
                      <a:gd name="T68" fmla="*/ 2147483647 w 610"/>
                      <a:gd name="T69" fmla="*/ 2147483647 h 630"/>
                      <a:gd name="T70" fmla="*/ 2147483647 w 610"/>
                      <a:gd name="T71" fmla="*/ 2147483647 h 630"/>
                      <a:gd name="T72" fmla="*/ 2147483647 w 610"/>
                      <a:gd name="T73" fmla="*/ 2147483647 h 630"/>
                      <a:gd name="T74" fmla="*/ 2147483647 w 610"/>
                      <a:gd name="T75" fmla="*/ 2147483647 h 630"/>
                      <a:gd name="T76" fmla="*/ 2147483647 w 610"/>
                      <a:gd name="T77" fmla="*/ 2147483647 h 630"/>
                      <a:gd name="T78" fmla="*/ 2147483647 w 610"/>
                      <a:gd name="T79" fmla="*/ 2147483647 h 630"/>
                      <a:gd name="T80" fmla="*/ 2147483647 w 610"/>
                      <a:gd name="T81" fmla="*/ 2147483647 h 630"/>
                      <a:gd name="T82" fmla="*/ 2147483647 w 610"/>
                      <a:gd name="T83" fmla="*/ 2147483647 h 630"/>
                      <a:gd name="T84" fmla="*/ 2147483647 w 610"/>
                      <a:gd name="T85" fmla="*/ 2147483647 h 630"/>
                      <a:gd name="T86" fmla="*/ 2147483647 w 610"/>
                      <a:gd name="T87" fmla="*/ 2147483647 h 630"/>
                      <a:gd name="T88" fmla="*/ 2147483647 w 610"/>
                      <a:gd name="T89" fmla="*/ 2147483647 h 630"/>
                      <a:gd name="T90" fmla="*/ 2147483647 w 610"/>
                      <a:gd name="T91" fmla="*/ 2147483647 h 630"/>
                      <a:gd name="T92" fmla="*/ 2147483647 w 610"/>
                      <a:gd name="T93" fmla="*/ 2147483647 h 630"/>
                      <a:gd name="T94" fmla="*/ 2147483647 w 610"/>
                      <a:gd name="T95" fmla="*/ 2147483647 h 630"/>
                      <a:gd name="T96" fmla="*/ 2147483647 w 610"/>
                      <a:gd name="T97" fmla="*/ 2147483647 h 630"/>
                      <a:gd name="T98" fmla="*/ 2147483647 w 610"/>
                      <a:gd name="T99" fmla="*/ 2147483647 h 630"/>
                      <a:gd name="T100" fmla="*/ 2147483647 w 610"/>
                      <a:gd name="T101" fmla="*/ 2147483647 h 630"/>
                      <a:gd name="T102" fmla="*/ 2147483647 w 610"/>
                      <a:gd name="T103" fmla="*/ 2147483647 h 630"/>
                      <a:gd name="T104" fmla="*/ 2147483647 w 610"/>
                      <a:gd name="T105" fmla="*/ 2147483647 h 630"/>
                      <a:gd name="T106" fmla="*/ 2147483647 w 610"/>
                      <a:gd name="T107" fmla="*/ 2147483647 h 630"/>
                      <a:gd name="T108" fmla="*/ 2147483647 w 610"/>
                      <a:gd name="T109" fmla="*/ 2147483647 h 630"/>
                      <a:gd name="T110" fmla="*/ 2147483647 w 610"/>
                      <a:gd name="T111" fmla="*/ 2147483647 h 630"/>
                      <a:gd name="T112" fmla="*/ 2147483647 w 610"/>
                      <a:gd name="T113" fmla="*/ 2147483647 h 630"/>
                      <a:gd name="T114" fmla="*/ 2147483647 w 610"/>
                      <a:gd name="T115" fmla="*/ 2147483647 h 630"/>
                      <a:gd name="T116" fmla="*/ 2147483647 w 610"/>
                      <a:gd name="T117" fmla="*/ 2147483647 h 630"/>
                      <a:gd name="T118" fmla="*/ 2147483647 w 610"/>
                      <a:gd name="T119" fmla="*/ 2147483647 h 630"/>
                      <a:gd name="T120" fmla="*/ 2147483647 w 610"/>
                      <a:gd name="T121" fmla="*/ 2147483647 h 630"/>
                      <a:gd name="T122" fmla="*/ 2147483647 w 610"/>
                      <a:gd name="T123" fmla="*/ 2147483647 h 6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0" h="630">
                        <a:moveTo>
                          <a:pt x="510" y="378"/>
                        </a:moveTo>
                        <a:lnTo>
                          <a:pt x="507" y="379"/>
                        </a:lnTo>
                        <a:lnTo>
                          <a:pt x="503" y="379"/>
                        </a:lnTo>
                        <a:lnTo>
                          <a:pt x="499" y="378"/>
                        </a:lnTo>
                        <a:lnTo>
                          <a:pt x="496" y="378"/>
                        </a:lnTo>
                        <a:lnTo>
                          <a:pt x="496" y="379"/>
                        </a:lnTo>
                        <a:lnTo>
                          <a:pt x="496" y="381"/>
                        </a:lnTo>
                        <a:lnTo>
                          <a:pt x="495" y="382"/>
                        </a:lnTo>
                        <a:lnTo>
                          <a:pt x="493" y="384"/>
                        </a:lnTo>
                        <a:lnTo>
                          <a:pt x="492" y="384"/>
                        </a:lnTo>
                        <a:lnTo>
                          <a:pt x="490" y="384"/>
                        </a:lnTo>
                        <a:lnTo>
                          <a:pt x="489" y="384"/>
                        </a:lnTo>
                        <a:lnTo>
                          <a:pt x="489" y="385"/>
                        </a:lnTo>
                        <a:lnTo>
                          <a:pt x="487" y="386"/>
                        </a:lnTo>
                        <a:lnTo>
                          <a:pt x="486" y="387"/>
                        </a:lnTo>
                        <a:lnTo>
                          <a:pt x="484" y="386"/>
                        </a:lnTo>
                        <a:lnTo>
                          <a:pt x="483" y="385"/>
                        </a:lnTo>
                        <a:lnTo>
                          <a:pt x="483" y="384"/>
                        </a:lnTo>
                        <a:lnTo>
                          <a:pt x="483" y="382"/>
                        </a:lnTo>
                        <a:lnTo>
                          <a:pt x="484" y="381"/>
                        </a:lnTo>
                        <a:lnTo>
                          <a:pt x="486" y="379"/>
                        </a:lnTo>
                        <a:lnTo>
                          <a:pt x="486" y="378"/>
                        </a:lnTo>
                        <a:lnTo>
                          <a:pt x="489" y="378"/>
                        </a:lnTo>
                        <a:lnTo>
                          <a:pt x="489" y="376"/>
                        </a:lnTo>
                        <a:lnTo>
                          <a:pt x="489" y="375"/>
                        </a:lnTo>
                        <a:lnTo>
                          <a:pt x="489" y="372"/>
                        </a:lnTo>
                        <a:lnTo>
                          <a:pt x="489" y="369"/>
                        </a:lnTo>
                        <a:lnTo>
                          <a:pt x="489" y="367"/>
                        </a:lnTo>
                        <a:lnTo>
                          <a:pt x="489" y="365"/>
                        </a:lnTo>
                        <a:lnTo>
                          <a:pt x="489" y="364"/>
                        </a:lnTo>
                        <a:lnTo>
                          <a:pt x="489" y="363"/>
                        </a:lnTo>
                        <a:lnTo>
                          <a:pt x="489" y="362"/>
                        </a:lnTo>
                        <a:lnTo>
                          <a:pt x="492" y="360"/>
                        </a:lnTo>
                        <a:lnTo>
                          <a:pt x="493" y="358"/>
                        </a:lnTo>
                        <a:lnTo>
                          <a:pt x="495" y="357"/>
                        </a:lnTo>
                        <a:lnTo>
                          <a:pt x="496" y="355"/>
                        </a:lnTo>
                        <a:lnTo>
                          <a:pt x="496" y="354"/>
                        </a:lnTo>
                        <a:lnTo>
                          <a:pt x="496" y="352"/>
                        </a:lnTo>
                        <a:lnTo>
                          <a:pt x="498" y="352"/>
                        </a:lnTo>
                        <a:lnTo>
                          <a:pt x="497" y="351"/>
                        </a:lnTo>
                        <a:lnTo>
                          <a:pt x="497" y="350"/>
                        </a:lnTo>
                        <a:lnTo>
                          <a:pt x="496" y="348"/>
                        </a:lnTo>
                        <a:lnTo>
                          <a:pt x="498" y="348"/>
                        </a:lnTo>
                        <a:lnTo>
                          <a:pt x="499" y="348"/>
                        </a:lnTo>
                        <a:lnTo>
                          <a:pt x="500" y="347"/>
                        </a:lnTo>
                        <a:lnTo>
                          <a:pt x="500" y="345"/>
                        </a:lnTo>
                        <a:lnTo>
                          <a:pt x="502" y="345"/>
                        </a:lnTo>
                        <a:lnTo>
                          <a:pt x="503" y="345"/>
                        </a:lnTo>
                        <a:lnTo>
                          <a:pt x="504" y="345"/>
                        </a:lnTo>
                        <a:lnTo>
                          <a:pt x="506" y="345"/>
                        </a:lnTo>
                        <a:lnTo>
                          <a:pt x="506" y="341"/>
                        </a:lnTo>
                        <a:lnTo>
                          <a:pt x="506" y="340"/>
                        </a:lnTo>
                        <a:lnTo>
                          <a:pt x="506" y="339"/>
                        </a:lnTo>
                        <a:lnTo>
                          <a:pt x="507" y="339"/>
                        </a:lnTo>
                        <a:lnTo>
                          <a:pt x="508" y="337"/>
                        </a:lnTo>
                        <a:lnTo>
                          <a:pt x="510" y="336"/>
                        </a:lnTo>
                        <a:lnTo>
                          <a:pt x="510" y="334"/>
                        </a:lnTo>
                        <a:lnTo>
                          <a:pt x="510" y="333"/>
                        </a:lnTo>
                        <a:lnTo>
                          <a:pt x="513" y="332"/>
                        </a:lnTo>
                        <a:lnTo>
                          <a:pt x="514" y="332"/>
                        </a:lnTo>
                        <a:lnTo>
                          <a:pt x="516" y="332"/>
                        </a:lnTo>
                        <a:lnTo>
                          <a:pt x="519" y="332"/>
                        </a:lnTo>
                        <a:lnTo>
                          <a:pt x="520" y="331"/>
                        </a:lnTo>
                        <a:lnTo>
                          <a:pt x="523" y="330"/>
                        </a:lnTo>
                        <a:lnTo>
                          <a:pt x="525" y="329"/>
                        </a:lnTo>
                        <a:lnTo>
                          <a:pt x="526" y="327"/>
                        </a:lnTo>
                        <a:lnTo>
                          <a:pt x="526" y="326"/>
                        </a:lnTo>
                        <a:lnTo>
                          <a:pt x="527" y="326"/>
                        </a:lnTo>
                        <a:lnTo>
                          <a:pt x="529" y="326"/>
                        </a:lnTo>
                        <a:lnTo>
                          <a:pt x="529" y="324"/>
                        </a:lnTo>
                        <a:lnTo>
                          <a:pt x="531" y="323"/>
                        </a:lnTo>
                        <a:lnTo>
                          <a:pt x="531" y="322"/>
                        </a:lnTo>
                        <a:lnTo>
                          <a:pt x="534" y="320"/>
                        </a:lnTo>
                        <a:lnTo>
                          <a:pt x="537" y="319"/>
                        </a:lnTo>
                        <a:lnTo>
                          <a:pt x="538" y="319"/>
                        </a:lnTo>
                        <a:lnTo>
                          <a:pt x="540" y="319"/>
                        </a:lnTo>
                        <a:lnTo>
                          <a:pt x="543" y="318"/>
                        </a:lnTo>
                        <a:lnTo>
                          <a:pt x="544" y="317"/>
                        </a:lnTo>
                        <a:lnTo>
                          <a:pt x="545" y="317"/>
                        </a:lnTo>
                        <a:lnTo>
                          <a:pt x="549" y="316"/>
                        </a:lnTo>
                        <a:lnTo>
                          <a:pt x="551" y="315"/>
                        </a:lnTo>
                        <a:lnTo>
                          <a:pt x="551" y="313"/>
                        </a:lnTo>
                        <a:lnTo>
                          <a:pt x="551" y="311"/>
                        </a:lnTo>
                        <a:lnTo>
                          <a:pt x="551" y="310"/>
                        </a:lnTo>
                        <a:lnTo>
                          <a:pt x="550" y="310"/>
                        </a:lnTo>
                        <a:lnTo>
                          <a:pt x="548" y="310"/>
                        </a:lnTo>
                        <a:lnTo>
                          <a:pt x="547" y="310"/>
                        </a:lnTo>
                        <a:lnTo>
                          <a:pt x="546" y="310"/>
                        </a:lnTo>
                        <a:lnTo>
                          <a:pt x="545" y="310"/>
                        </a:lnTo>
                        <a:lnTo>
                          <a:pt x="547" y="308"/>
                        </a:lnTo>
                        <a:lnTo>
                          <a:pt x="548" y="307"/>
                        </a:lnTo>
                        <a:lnTo>
                          <a:pt x="548" y="305"/>
                        </a:lnTo>
                        <a:lnTo>
                          <a:pt x="548" y="303"/>
                        </a:lnTo>
                        <a:lnTo>
                          <a:pt x="549" y="302"/>
                        </a:lnTo>
                        <a:lnTo>
                          <a:pt x="551" y="300"/>
                        </a:lnTo>
                        <a:lnTo>
                          <a:pt x="553" y="300"/>
                        </a:lnTo>
                        <a:lnTo>
                          <a:pt x="554" y="302"/>
                        </a:lnTo>
                        <a:lnTo>
                          <a:pt x="555" y="303"/>
                        </a:lnTo>
                        <a:lnTo>
                          <a:pt x="558" y="303"/>
                        </a:lnTo>
                        <a:lnTo>
                          <a:pt x="561" y="303"/>
                        </a:lnTo>
                        <a:lnTo>
                          <a:pt x="561" y="304"/>
                        </a:lnTo>
                        <a:lnTo>
                          <a:pt x="561" y="305"/>
                        </a:lnTo>
                        <a:lnTo>
                          <a:pt x="561" y="307"/>
                        </a:lnTo>
                        <a:lnTo>
                          <a:pt x="559" y="307"/>
                        </a:lnTo>
                        <a:lnTo>
                          <a:pt x="559" y="308"/>
                        </a:lnTo>
                        <a:lnTo>
                          <a:pt x="561" y="309"/>
                        </a:lnTo>
                        <a:lnTo>
                          <a:pt x="561" y="310"/>
                        </a:lnTo>
                        <a:lnTo>
                          <a:pt x="562" y="309"/>
                        </a:lnTo>
                        <a:lnTo>
                          <a:pt x="564" y="309"/>
                        </a:lnTo>
                        <a:lnTo>
                          <a:pt x="565" y="309"/>
                        </a:lnTo>
                        <a:lnTo>
                          <a:pt x="567" y="310"/>
                        </a:lnTo>
                        <a:lnTo>
                          <a:pt x="569" y="310"/>
                        </a:lnTo>
                        <a:lnTo>
                          <a:pt x="570" y="310"/>
                        </a:lnTo>
                        <a:lnTo>
                          <a:pt x="573" y="308"/>
                        </a:lnTo>
                        <a:lnTo>
                          <a:pt x="575" y="307"/>
                        </a:lnTo>
                        <a:lnTo>
                          <a:pt x="577" y="305"/>
                        </a:lnTo>
                        <a:lnTo>
                          <a:pt x="577" y="303"/>
                        </a:lnTo>
                        <a:lnTo>
                          <a:pt x="579" y="303"/>
                        </a:lnTo>
                        <a:lnTo>
                          <a:pt x="580" y="302"/>
                        </a:lnTo>
                        <a:lnTo>
                          <a:pt x="580" y="300"/>
                        </a:lnTo>
                        <a:lnTo>
                          <a:pt x="577" y="300"/>
                        </a:lnTo>
                        <a:lnTo>
                          <a:pt x="578" y="299"/>
                        </a:lnTo>
                        <a:lnTo>
                          <a:pt x="579" y="298"/>
                        </a:lnTo>
                        <a:lnTo>
                          <a:pt x="579" y="297"/>
                        </a:lnTo>
                        <a:lnTo>
                          <a:pt x="580" y="296"/>
                        </a:lnTo>
                        <a:lnTo>
                          <a:pt x="579" y="296"/>
                        </a:lnTo>
                        <a:lnTo>
                          <a:pt x="578" y="296"/>
                        </a:lnTo>
                        <a:lnTo>
                          <a:pt x="577" y="296"/>
                        </a:lnTo>
                        <a:lnTo>
                          <a:pt x="573" y="292"/>
                        </a:lnTo>
                        <a:lnTo>
                          <a:pt x="571" y="290"/>
                        </a:lnTo>
                        <a:lnTo>
                          <a:pt x="570" y="287"/>
                        </a:lnTo>
                        <a:lnTo>
                          <a:pt x="571" y="284"/>
                        </a:lnTo>
                        <a:lnTo>
                          <a:pt x="572" y="281"/>
                        </a:lnTo>
                        <a:lnTo>
                          <a:pt x="573" y="279"/>
                        </a:lnTo>
                        <a:lnTo>
                          <a:pt x="574" y="277"/>
                        </a:lnTo>
                        <a:lnTo>
                          <a:pt x="576" y="275"/>
                        </a:lnTo>
                        <a:lnTo>
                          <a:pt x="577" y="272"/>
                        </a:lnTo>
                        <a:lnTo>
                          <a:pt x="577" y="268"/>
                        </a:lnTo>
                        <a:lnTo>
                          <a:pt x="579" y="264"/>
                        </a:lnTo>
                        <a:lnTo>
                          <a:pt x="579" y="260"/>
                        </a:lnTo>
                        <a:lnTo>
                          <a:pt x="580" y="255"/>
                        </a:lnTo>
                        <a:lnTo>
                          <a:pt x="582" y="254"/>
                        </a:lnTo>
                        <a:lnTo>
                          <a:pt x="583" y="253"/>
                        </a:lnTo>
                        <a:lnTo>
                          <a:pt x="583" y="248"/>
                        </a:lnTo>
                        <a:lnTo>
                          <a:pt x="585" y="247"/>
                        </a:lnTo>
                        <a:lnTo>
                          <a:pt x="586" y="246"/>
                        </a:lnTo>
                        <a:lnTo>
                          <a:pt x="588" y="244"/>
                        </a:lnTo>
                        <a:lnTo>
                          <a:pt x="589" y="242"/>
                        </a:lnTo>
                        <a:lnTo>
                          <a:pt x="591" y="241"/>
                        </a:lnTo>
                        <a:lnTo>
                          <a:pt x="591" y="239"/>
                        </a:lnTo>
                        <a:lnTo>
                          <a:pt x="591" y="238"/>
                        </a:lnTo>
                        <a:lnTo>
                          <a:pt x="593" y="236"/>
                        </a:lnTo>
                        <a:lnTo>
                          <a:pt x="593" y="234"/>
                        </a:lnTo>
                        <a:lnTo>
                          <a:pt x="593" y="232"/>
                        </a:lnTo>
                        <a:lnTo>
                          <a:pt x="593" y="231"/>
                        </a:lnTo>
                        <a:lnTo>
                          <a:pt x="593" y="229"/>
                        </a:lnTo>
                        <a:lnTo>
                          <a:pt x="595" y="228"/>
                        </a:lnTo>
                        <a:lnTo>
                          <a:pt x="596" y="227"/>
                        </a:lnTo>
                        <a:lnTo>
                          <a:pt x="598" y="226"/>
                        </a:lnTo>
                        <a:lnTo>
                          <a:pt x="600" y="226"/>
                        </a:lnTo>
                        <a:lnTo>
                          <a:pt x="600" y="224"/>
                        </a:lnTo>
                        <a:lnTo>
                          <a:pt x="600" y="223"/>
                        </a:lnTo>
                        <a:lnTo>
                          <a:pt x="601" y="222"/>
                        </a:lnTo>
                        <a:lnTo>
                          <a:pt x="603" y="220"/>
                        </a:lnTo>
                        <a:lnTo>
                          <a:pt x="604" y="220"/>
                        </a:lnTo>
                        <a:lnTo>
                          <a:pt x="606" y="219"/>
                        </a:lnTo>
                        <a:lnTo>
                          <a:pt x="606" y="217"/>
                        </a:lnTo>
                        <a:lnTo>
                          <a:pt x="607" y="217"/>
                        </a:lnTo>
                        <a:lnTo>
                          <a:pt x="609" y="216"/>
                        </a:lnTo>
                        <a:lnTo>
                          <a:pt x="609" y="215"/>
                        </a:lnTo>
                        <a:lnTo>
                          <a:pt x="609" y="213"/>
                        </a:lnTo>
                        <a:lnTo>
                          <a:pt x="610" y="213"/>
                        </a:lnTo>
                        <a:lnTo>
                          <a:pt x="609" y="213"/>
                        </a:lnTo>
                        <a:lnTo>
                          <a:pt x="606" y="213"/>
                        </a:lnTo>
                        <a:lnTo>
                          <a:pt x="606" y="211"/>
                        </a:lnTo>
                        <a:lnTo>
                          <a:pt x="603" y="210"/>
                        </a:lnTo>
                        <a:lnTo>
                          <a:pt x="602" y="208"/>
                        </a:lnTo>
                        <a:lnTo>
                          <a:pt x="600" y="206"/>
                        </a:lnTo>
                        <a:lnTo>
                          <a:pt x="599" y="206"/>
                        </a:lnTo>
                        <a:lnTo>
                          <a:pt x="598" y="206"/>
                        </a:lnTo>
                        <a:lnTo>
                          <a:pt x="597" y="205"/>
                        </a:lnTo>
                        <a:lnTo>
                          <a:pt x="596" y="203"/>
                        </a:lnTo>
                        <a:lnTo>
                          <a:pt x="594" y="203"/>
                        </a:lnTo>
                        <a:lnTo>
                          <a:pt x="593" y="203"/>
                        </a:lnTo>
                        <a:lnTo>
                          <a:pt x="593" y="202"/>
                        </a:lnTo>
                        <a:lnTo>
                          <a:pt x="591" y="201"/>
                        </a:lnTo>
                        <a:lnTo>
                          <a:pt x="591" y="200"/>
                        </a:lnTo>
                        <a:lnTo>
                          <a:pt x="589" y="199"/>
                        </a:lnTo>
                        <a:lnTo>
                          <a:pt x="588" y="197"/>
                        </a:lnTo>
                        <a:lnTo>
                          <a:pt x="588" y="196"/>
                        </a:lnTo>
                        <a:lnTo>
                          <a:pt x="586" y="194"/>
                        </a:lnTo>
                        <a:lnTo>
                          <a:pt x="585" y="194"/>
                        </a:lnTo>
                        <a:lnTo>
                          <a:pt x="583" y="194"/>
                        </a:lnTo>
                        <a:lnTo>
                          <a:pt x="582" y="194"/>
                        </a:lnTo>
                        <a:lnTo>
                          <a:pt x="580" y="194"/>
                        </a:lnTo>
                        <a:lnTo>
                          <a:pt x="580" y="192"/>
                        </a:lnTo>
                        <a:lnTo>
                          <a:pt x="580" y="191"/>
                        </a:lnTo>
                        <a:lnTo>
                          <a:pt x="580" y="190"/>
                        </a:lnTo>
                        <a:lnTo>
                          <a:pt x="582" y="189"/>
                        </a:lnTo>
                        <a:lnTo>
                          <a:pt x="582" y="188"/>
                        </a:lnTo>
                        <a:lnTo>
                          <a:pt x="580" y="187"/>
                        </a:lnTo>
                        <a:lnTo>
                          <a:pt x="580" y="186"/>
                        </a:lnTo>
                        <a:lnTo>
                          <a:pt x="580" y="184"/>
                        </a:lnTo>
                        <a:lnTo>
                          <a:pt x="579" y="184"/>
                        </a:lnTo>
                        <a:lnTo>
                          <a:pt x="578" y="186"/>
                        </a:lnTo>
                        <a:lnTo>
                          <a:pt x="577" y="187"/>
                        </a:lnTo>
                        <a:lnTo>
                          <a:pt x="575" y="187"/>
                        </a:lnTo>
                        <a:lnTo>
                          <a:pt x="574" y="187"/>
                        </a:lnTo>
                        <a:lnTo>
                          <a:pt x="572" y="187"/>
                        </a:lnTo>
                        <a:lnTo>
                          <a:pt x="570" y="186"/>
                        </a:lnTo>
                        <a:lnTo>
                          <a:pt x="569" y="184"/>
                        </a:lnTo>
                        <a:lnTo>
                          <a:pt x="567" y="184"/>
                        </a:lnTo>
                        <a:lnTo>
                          <a:pt x="567" y="182"/>
                        </a:lnTo>
                        <a:lnTo>
                          <a:pt x="564" y="182"/>
                        </a:lnTo>
                        <a:lnTo>
                          <a:pt x="564" y="181"/>
                        </a:lnTo>
                        <a:lnTo>
                          <a:pt x="564" y="180"/>
                        </a:lnTo>
                        <a:lnTo>
                          <a:pt x="564" y="179"/>
                        </a:lnTo>
                        <a:lnTo>
                          <a:pt x="564" y="177"/>
                        </a:lnTo>
                        <a:lnTo>
                          <a:pt x="564" y="176"/>
                        </a:lnTo>
                        <a:lnTo>
                          <a:pt x="564" y="175"/>
                        </a:lnTo>
                        <a:lnTo>
                          <a:pt x="561" y="174"/>
                        </a:lnTo>
                        <a:lnTo>
                          <a:pt x="559" y="174"/>
                        </a:lnTo>
                        <a:lnTo>
                          <a:pt x="558" y="174"/>
                        </a:lnTo>
                        <a:lnTo>
                          <a:pt x="558" y="175"/>
                        </a:lnTo>
                        <a:lnTo>
                          <a:pt x="555" y="175"/>
                        </a:lnTo>
                        <a:lnTo>
                          <a:pt x="554" y="176"/>
                        </a:lnTo>
                        <a:lnTo>
                          <a:pt x="553" y="177"/>
                        </a:lnTo>
                        <a:lnTo>
                          <a:pt x="552" y="177"/>
                        </a:lnTo>
                        <a:lnTo>
                          <a:pt x="551" y="177"/>
                        </a:lnTo>
                        <a:lnTo>
                          <a:pt x="549" y="177"/>
                        </a:lnTo>
                        <a:lnTo>
                          <a:pt x="548" y="177"/>
                        </a:lnTo>
                        <a:lnTo>
                          <a:pt x="548" y="176"/>
                        </a:lnTo>
                        <a:lnTo>
                          <a:pt x="548" y="175"/>
                        </a:lnTo>
                        <a:lnTo>
                          <a:pt x="546" y="174"/>
                        </a:lnTo>
                        <a:lnTo>
                          <a:pt x="546" y="173"/>
                        </a:lnTo>
                        <a:lnTo>
                          <a:pt x="546" y="172"/>
                        </a:lnTo>
                        <a:lnTo>
                          <a:pt x="545" y="172"/>
                        </a:lnTo>
                        <a:lnTo>
                          <a:pt x="545" y="170"/>
                        </a:lnTo>
                        <a:lnTo>
                          <a:pt x="545" y="169"/>
                        </a:lnTo>
                        <a:lnTo>
                          <a:pt x="545" y="168"/>
                        </a:lnTo>
                        <a:lnTo>
                          <a:pt x="543" y="166"/>
                        </a:lnTo>
                        <a:lnTo>
                          <a:pt x="543" y="165"/>
                        </a:lnTo>
                        <a:lnTo>
                          <a:pt x="544" y="163"/>
                        </a:lnTo>
                        <a:lnTo>
                          <a:pt x="545" y="161"/>
                        </a:lnTo>
                        <a:lnTo>
                          <a:pt x="544" y="161"/>
                        </a:lnTo>
                        <a:lnTo>
                          <a:pt x="543" y="161"/>
                        </a:lnTo>
                        <a:lnTo>
                          <a:pt x="541" y="161"/>
                        </a:lnTo>
                        <a:lnTo>
                          <a:pt x="541" y="159"/>
                        </a:lnTo>
                        <a:lnTo>
                          <a:pt x="541" y="158"/>
                        </a:lnTo>
                        <a:lnTo>
                          <a:pt x="540" y="157"/>
                        </a:lnTo>
                        <a:lnTo>
                          <a:pt x="538" y="155"/>
                        </a:lnTo>
                        <a:lnTo>
                          <a:pt x="537" y="155"/>
                        </a:lnTo>
                        <a:lnTo>
                          <a:pt x="535" y="155"/>
                        </a:lnTo>
                        <a:lnTo>
                          <a:pt x="534" y="154"/>
                        </a:lnTo>
                        <a:lnTo>
                          <a:pt x="531" y="152"/>
                        </a:lnTo>
                        <a:lnTo>
                          <a:pt x="527" y="152"/>
                        </a:lnTo>
                        <a:lnTo>
                          <a:pt x="525" y="153"/>
                        </a:lnTo>
                        <a:lnTo>
                          <a:pt x="522" y="155"/>
                        </a:lnTo>
                        <a:lnTo>
                          <a:pt x="520" y="156"/>
                        </a:lnTo>
                        <a:lnTo>
                          <a:pt x="517" y="156"/>
                        </a:lnTo>
                        <a:lnTo>
                          <a:pt x="516" y="154"/>
                        </a:lnTo>
                        <a:lnTo>
                          <a:pt x="513" y="151"/>
                        </a:lnTo>
                        <a:lnTo>
                          <a:pt x="513" y="149"/>
                        </a:lnTo>
                        <a:lnTo>
                          <a:pt x="510" y="146"/>
                        </a:lnTo>
                        <a:lnTo>
                          <a:pt x="507" y="148"/>
                        </a:lnTo>
                        <a:lnTo>
                          <a:pt x="506" y="150"/>
                        </a:lnTo>
                        <a:lnTo>
                          <a:pt x="505" y="151"/>
                        </a:lnTo>
                        <a:lnTo>
                          <a:pt x="503" y="151"/>
                        </a:lnTo>
                        <a:lnTo>
                          <a:pt x="499" y="152"/>
                        </a:lnTo>
                        <a:lnTo>
                          <a:pt x="495" y="153"/>
                        </a:lnTo>
                        <a:lnTo>
                          <a:pt x="493" y="153"/>
                        </a:lnTo>
                        <a:lnTo>
                          <a:pt x="493" y="151"/>
                        </a:lnTo>
                        <a:lnTo>
                          <a:pt x="493" y="148"/>
                        </a:lnTo>
                        <a:lnTo>
                          <a:pt x="492" y="144"/>
                        </a:lnTo>
                        <a:lnTo>
                          <a:pt x="492" y="140"/>
                        </a:lnTo>
                        <a:lnTo>
                          <a:pt x="489" y="136"/>
                        </a:lnTo>
                        <a:lnTo>
                          <a:pt x="489" y="134"/>
                        </a:lnTo>
                        <a:lnTo>
                          <a:pt x="489" y="132"/>
                        </a:lnTo>
                        <a:lnTo>
                          <a:pt x="489" y="131"/>
                        </a:lnTo>
                        <a:lnTo>
                          <a:pt x="486" y="129"/>
                        </a:lnTo>
                        <a:lnTo>
                          <a:pt x="486" y="125"/>
                        </a:lnTo>
                        <a:lnTo>
                          <a:pt x="486" y="122"/>
                        </a:lnTo>
                        <a:lnTo>
                          <a:pt x="483" y="120"/>
                        </a:lnTo>
                        <a:lnTo>
                          <a:pt x="482" y="121"/>
                        </a:lnTo>
                        <a:lnTo>
                          <a:pt x="480" y="121"/>
                        </a:lnTo>
                        <a:lnTo>
                          <a:pt x="477" y="120"/>
                        </a:lnTo>
                        <a:lnTo>
                          <a:pt x="477" y="119"/>
                        </a:lnTo>
                        <a:lnTo>
                          <a:pt x="477" y="118"/>
                        </a:lnTo>
                        <a:lnTo>
                          <a:pt x="477" y="113"/>
                        </a:lnTo>
                        <a:lnTo>
                          <a:pt x="474" y="112"/>
                        </a:lnTo>
                        <a:lnTo>
                          <a:pt x="471" y="112"/>
                        </a:lnTo>
                        <a:lnTo>
                          <a:pt x="471" y="111"/>
                        </a:lnTo>
                        <a:lnTo>
                          <a:pt x="471" y="109"/>
                        </a:lnTo>
                        <a:lnTo>
                          <a:pt x="471" y="106"/>
                        </a:lnTo>
                        <a:lnTo>
                          <a:pt x="473" y="104"/>
                        </a:lnTo>
                        <a:lnTo>
                          <a:pt x="474" y="103"/>
                        </a:lnTo>
                        <a:lnTo>
                          <a:pt x="471" y="101"/>
                        </a:lnTo>
                        <a:lnTo>
                          <a:pt x="469" y="99"/>
                        </a:lnTo>
                        <a:lnTo>
                          <a:pt x="468" y="97"/>
                        </a:lnTo>
                        <a:lnTo>
                          <a:pt x="469" y="91"/>
                        </a:lnTo>
                        <a:lnTo>
                          <a:pt x="469" y="86"/>
                        </a:lnTo>
                        <a:lnTo>
                          <a:pt x="469" y="85"/>
                        </a:lnTo>
                        <a:lnTo>
                          <a:pt x="468" y="84"/>
                        </a:lnTo>
                        <a:lnTo>
                          <a:pt x="465" y="83"/>
                        </a:lnTo>
                        <a:lnTo>
                          <a:pt x="463" y="84"/>
                        </a:lnTo>
                        <a:lnTo>
                          <a:pt x="462" y="88"/>
                        </a:lnTo>
                        <a:lnTo>
                          <a:pt x="459" y="92"/>
                        </a:lnTo>
                        <a:lnTo>
                          <a:pt x="459" y="93"/>
                        </a:lnTo>
                        <a:lnTo>
                          <a:pt x="458" y="94"/>
                        </a:lnTo>
                        <a:lnTo>
                          <a:pt x="454" y="95"/>
                        </a:lnTo>
                        <a:lnTo>
                          <a:pt x="451" y="99"/>
                        </a:lnTo>
                        <a:lnTo>
                          <a:pt x="447" y="101"/>
                        </a:lnTo>
                        <a:lnTo>
                          <a:pt x="444" y="101"/>
                        </a:lnTo>
                        <a:lnTo>
                          <a:pt x="441" y="101"/>
                        </a:lnTo>
                        <a:lnTo>
                          <a:pt x="435" y="97"/>
                        </a:lnTo>
                        <a:lnTo>
                          <a:pt x="432" y="93"/>
                        </a:lnTo>
                        <a:lnTo>
                          <a:pt x="429" y="89"/>
                        </a:lnTo>
                        <a:lnTo>
                          <a:pt x="429" y="87"/>
                        </a:lnTo>
                        <a:lnTo>
                          <a:pt x="430" y="86"/>
                        </a:lnTo>
                        <a:lnTo>
                          <a:pt x="431" y="82"/>
                        </a:lnTo>
                        <a:lnTo>
                          <a:pt x="431" y="78"/>
                        </a:lnTo>
                        <a:lnTo>
                          <a:pt x="431" y="76"/>
                        </a:lnTo>
                        <a:lnTo>
                          <a:pt x="429" y="75"/>
                        </a:lnTo>
                        <a:lnTo>
                          <a:pt x="428" y="73"/>
                        </a:lnTo>
                        <a:lnTo>
                          <a:pt x="427" y="71"/>
                        </a:lnTo>
                        <a:lnTo>
                          <a:pt x="424" y="70"/>
                        </a:lnTo>
                        <a:lnTo>
                          <a:pt x="423" y="68"/>
                        </a:lnTo>
                        <a:lnTo>
                          <a:pt x="420" y="66"/>
                        </a:lnTo>
                        <a:lnTo>
                          <a:pt x="420" y="63"/>
                        </a:lnTo>
                        <a:lnTo>
                          <a:pt x="420" y="58"/>
                        </a:lnTo>
                        <a:lnTo>
                          <a:pt x="420" y="55"/>
                        </a:lnTo>
                        <a:lnTo>
                          <a:pt x="417" y="55"/>
                        </a:lnTo>
                        <a:lnTo>
                          <a:pt x="414" y="56"/>
                        </a:lnTo>
                        <a:lnTo>
                          <a:pt x="412" y="56"/>
                        </a:lnTo>
                        <a:lnTo>
                          <a:pt x="412" y="55"/>
                        </a:lnTo>
                        <a:lnTo>
                          <a:pt x="411" y="53"/>
                        </a:lnTo>
                        <a:lnTo>
                          <a:pt x="410" y="51"/>
                        </a:lnTo>
                        <a:lnTo>
                          <a:pt x="409" y="46"/>
                        </a:lnTo>
                        <a:lnTo>
                          <a:pt x="407" y="43"/>
                        </a:lnTo>
                        <a:lnTo>
                          <a:pt x="406" y="41"/>
                        </a:lnTo>
                        <a:lnTo>
                          <a:pt x="405" y="38"/>
                        </a:lnTo>
                        <a:lnTo>
                          <a:pt x="403" y="36"/>
                        </a:lnTo>
                        <a:lnTo>
                          <a:pt x="399" y="36"/>
                        </a:lnTo>
                        <a:lnTo>
                          <a:pt x="396" y="37"/>
                        </a:lnTo>
                        <a:lnTo>
                          <a:pt x="396" y="38"/>
                        </a:lnTo>
                        <a:lnTo>
                          <a:pt x="394" y="39"/>
                        </a:lnTo>
                        <a:lnTo>
                          <a:pt x="394" y="41"/>
                        </a:lnTo>
                        <a:lnTo>
                          <a:pt x="393" y="42"/>
                        </a:lnTo>
                        <a:lnTo>
                          <a:pt x="390" y="39"/>
                        </a:lnTo>
                        <a:lnTo>
                          <a:pt x="388" y="34"/>
                        </a:lnTo>
                        <a:lnTo>
                          <a:pt x="387" y="31"/>
                        </a:lnTo>
                        <a:lnTo>
                          <a:pt x="387" y="30"/>
                        </a:lnTo>
                        <a:lnTo>
                          <a:pt x="385" y="31"/>
                        </a:lnTo>
                        <a:lnTo>
                          <a:pt x="384" y="31"/>
                        </a:lnTo>
                        <a:lnTo>
                          <a:pt x="383" y="29"/>
                        </a:lnTo>
                        <a:lnTo>
                          <a:pt x="382" y="27"/>
                        </a:lnTo>
                        <a:lnTo>
                          <a:pt x="382" y="20"/>
                        </a:lnTo>
                        <a:lnTo>
                          <a:pt x="381" y="18"/>
                        </a:lnTo>
                        <a:lnTo>
                          <a:pt x="380" y="16"/>
                        </a:lnTo>
                        <a:lnTo>
                          <a:pt x="377" y="13"/>
                        </a:lnTo>
                        <a:lnTo>
                          <a:pt x="376" y="8"/>
                        </a:lnTo>
                        <a:lnTo>
                          <a:pt x="376" y="5"/>
                        </a:lnTo>
                        <a:lnTo>
                          <a:pt x="377" y="3"/>
                        </a:lnTo>
                        <a:lnTo>
                          <a:pt x="377" y="0"/>
                        </a:lnTo>
                        <a:lnTo>
                          <a:pt x="377" y="3"/>
                        </a:lnTo>
                        <a:lnTo>
                          <a:pt x="375" y="3"/>
                        </a:lnTo>
                        <a:lnTo>
                          <a:pt x="370" y="3"/>
                        </a:lnTo>
                        <a:lnTo>
                          <a:pt x="367" y="3"/>
                        </a:lnTo>
                        <a:lnTo>
                          <a:pt x="363" y="3"/>
                        </a:lnTo>
                        <a:lnTo>
                          <a:pt x="363" y="2"/>
                        </a:lnTo>
                        <a:lnTo>
                          <a:pt x="363" y="0"/>
                        </a:lnTo>
                        <a:lnTo>
                          <a:pt x="362" y="0"/>
                        </a:lnTo>
                        <a:lnTo>
                          <a:pt x="361" y="2"/>
                        </a:lnTo>
                        <a:lnTo>
                          <a:pt x="360" y="2"/>
                        </a:lnTo>
                        <a:lnTo>
                          <a:pt x="358" y="3"/>
                        </a:lnTo>
                        <a:lnTo>
                          <a:pt x="354" y="3"/>
                        </a:lnTo>
                        <a:lnTo>
                          <a:pt x="349" y="3"/>
                        </a:lnTo>
                        <a:lnTo>
                          <a:pt x="345" y="5"/>
                        </a:lnTo>
                        <a:lnTo>
                          <a:pt x="342" y="7"/>
                        </a:lnTo>
                        <a:lnTo>
                          <a:pt x="342" y="16"/>
                        </a:lnTo>
                        <a:lnTo>
                          <a:pt x="339" y="20"/>
                        </a:lnTo>
                        <a:lnTo>
                          <a:pt x="339" y="30"/>
                        </a:lnTo>
                        <a:lnTo>
                          <a:pt x="334" y="34"/>
                        </a:lnTo>
                        <a:lnTo>
                          <a:pt x="332" y="36"/>
                        </a:lnTo>
                        <a:lnTo>
                          <a:pt x="332" y="39"/>
                        </a:lnTo>
                        <a:lnTo>
                          <a:pt x="332" y="40"/>
                        </a:lnTo>
                        <a:lnTo>
                          <a:pt x="332" y="42"/>
                        </a:lnTo>
                        <a:lnTo>
                          <a:pt x="332" y="45"/>
                        </a:lnTo>
                        <a:lnTo>
                          <a:pt x="332" y="46"/>
                        </a:lnTo>
                        <a:lnTo>
                          <a:pt x="331" y="47"/>
                        </a:lnTo>
                        <a:lnTo>
                          <a:pt x="330" y="50"/>
                        </a:lnTo>
                        <a:lnTo>
                          <a:pt x="325" y="55"/>
                        </a:lnTo>
                        <a:lnTo>
                          <a:pt x="321" y="59"/>
                        </a:lnTo>
                        <a:lnTo>
                          <a:pt x="319" y="61"/>
                        </a:lnTo>
                        <a:lnTo>
                          <a:pt x="318" y="61"/>
                        </a:lnTo>
                        <a:lnTo>
                          <a:pt x="313" y="63"/>
                        </a:lnTo>
                        <a:lnTo>
                          <a:pt x="305" y="65"/>
                        </a:lnTo>
                        <a:lnTo>
                          <a:pt x="297" y="67"/>
                        </a:lnTo>
                        <a:lnTo>
                          <a:pt x="294" y="68"/>
                        </a:lnTo>
                        <a:lnTo>
                          <a:pt x="292" y="68"/>
                        </a:lnTo>
                        <a:lnTo>
                          <a:pt x="289" y="68"/>
                        </a:lnTo>
                        <a:lnTo>
                          <a:pt x="287" y="66"/>
                        </a:lnTo>
                        <a:lnTo>
                          <a:pt x="284" y="65"/>
                        </a:lnTo>
                        <a:lnTo>
                          <a:pt x="280" y="65"/>
                        </a:lnTo>
                        <a:lnTo>
                          <a:pt x="279" y="65"/>
                        </a:lnTo>
                        <a:lnTo>
                          <a:pt x="277" y="66"/>
                        </a:lnTo>
                        <a:lnTo>
                          <a:pt x="274" y="68"/>
                        </a:lnTo>
                        <a:lnTo>
                          <a:pt x="273" y="68"/>
                        </a:lnTo>
                        <a:lnTo>
                          <a:pt x="264" y="68"/>
                        </a:lnTo>
                        <a:lnTo>
                          <a:pt x="264" y="71"/>
                        </a:lnTo>
                        <a:lnTo>
                          <a:pt x="260" y="71"/>
                        </a:lnTo>
                        <a:lnTo>
                          <a:pt x="256" y="70"/>
                        </a:lnTo>
                        <a:lnTo>
                          <a:pt x="253" y="70"/>
                        </a:lnTo>
                        <a:lnTo>
                          <a:pt x="252" y="71"/>
                        </a:lnTo>
                        <a:lnTo>
                          <a:pt x="246" y="76"/>
                        </a:lnTo>
                        <a:lnTo>
                          <a:pt x="246" y="78"/>
                        </a:lnTo>
                        <a:lnTo>
                          <a:pt x="244" y="78"/>
                        </a:lnTo>
                        <a:lnTo>
                          <a:pt x="243" y="83"/>
                        </a:lnTo>
                        <a:lnTo>
                          <a:pt x="244" y="86"/>
                        </a:lnTo>
                        <a:lnTo>
                          <a:pt x="249" y="87"/>
                        </a:lnTo>
                        <a:lnTo>
                          <a:pt x="255" y="87"/>
                        </a:lnTo>
                        <a:lnTo>
                          <a:pt x="255" y="90"/>
                        </a:lnTo>
                        <a:lnTo>
                          <a:pt x="256" y="93"/>
                        </a:lnTo>
                        <a:lnTo>
                          <a:pt x="258" y="94"/>
                        </a:lnTo>
                        <a:lnTo>
                          <a:pt x="256" y="94"/>
                        </a:lnTo>
                        <a:lnTo>
                          <a:pt x="255" y="94"/>
                        </a:lnTo>
                        <a:lnTo>
                          <a:pt x="252" y="94"/>
                        </a:lnTo>
                        <a:lnTo>
                          <a:pt x="250" y="94"/>
                        </a:lnTo>
                        <a:lnTo>
                          <a:pt x="247" y="94"/>
                        </a:lnTo>
                        <a:lnTo>
                          <a:pt x="246" y="94"/>
                        </a:lnTo>
                        <a:lnTo>
                          <a:pt x="244" y="94"/>
                        </a:lnTo>
                        <a:lnTo>
                          <a:pt x="243" y="94"/>
                        </a:lnTo>
                        <a:lnTo>
                          <a:pt x="242" y="96"/>
                        </a:lnTo>
                        <a:lnTo>
                          <a:pt x="242" y="97"/>
                        </a:lnTo>
                        <a:lnTo>
                          <a:pt x="239" y="99"/>
                        </a:lnTo>
                        <a:lnTo>
                          <a:pt x="235" y="100"/>
                        </a:lnTo>
                        <a:lnTo>
                          <a:pt x="231" y="101"/>
                        </a:lnTo>
                        <a:lnTo>
                          <a:pt x="228" y="101"/>
                        </a:lnTo>
                        <a:lnTo>
                          <a:pt x="224" y="99"/>
                        </a:lnTo>
                        <a:lnTo>
                          <a:pt x="219" y="96"/>
                        </a:lnTo>
                        <a:lnTo>
                          <a:pt x="213" y="92"/>
                        </a:lnTo>
                        <a:lnTo>
                          <a:pt x="209" y="91"/>
                        </a:lnTo>
                        <a:lnTo>
                          <a:pt x="209" y="88"/>
                        </a:lnTo>
                        <a:lnTo>
                          <a:pt x="207" y="86"/>
                        </a:lnTo>
                        <a:lnTo>
                          <a:pt x="206" y="85"/>
                        </a:lnTo>
                        <a:lnTo>
                          <a:pt x="206" y="84"/>
                        </a:lnTo>
                        <a:lnTo>
                          <a:pt x="204" y="84"/>
                        </a:lnTo>
                        <a:lnTo>
                          <a:pt x="202" y="84"/>
                        </a:lnTo>
                        <a:lnTo>
                          <a:pt x="201" y="84"/>
                        </a:lnTo>
                        <a:lnTo>
                          <a:pt x="199" y="84"/>
                        </a:lnTo>
                        <a:lnTo>
                          <a:pt x="197" y="83"/>
                        </a:lnTo>
                        <a:lnTo>
                          <a:pt x="195" y="82"/>
                        </a:lnTo>
                        <a:lnTo>
                          <a:pt x="192" y="81"/>
                        </a:lnTo>
                        <a:lnTo>
                          <a:pt x="190" y="81"/>
                        </a:lnTo>
                        <a:lnTo>
                          <a:pt x="190" y="82"/>
                        </a:lnTo>
                        <a:lnTo>
                          <a:pt x="190" y="84"/>
                        </a:lnTo>
                        <a:lnTo>
                          <a:pt x="187" y="84"/>
                        </a:lnTo>
                        <a:lnTo>
                          <a:pt x="187" y="75"/>
                        </a:lnTo>
                        <a:lnTo>
                          <a:pt x="186" y="73"/>
                        </a:lnTo>
                        <a:lnTo>
                          <a:pt x="185" y="71"/>
                        </a:lnTo>
                        <a:lnTo>
                          <a:pt x="184" y="70"/>
                        </a:lnTo>
                        <a:lnTo>
                          <a:pt x="183" y="68"/>
                        </a:lnTo>
                        <a:lnTo>
                          <a:pt x="184" y="66"/>
                        </a:lnTo>
                        <a:lnTo>
                          <a:pt x="185" y="64"/>
                        </a:lnTo>
                        <a:lnTo>
                          <a:pt x="187" y="62"/>
                        </a:lnTo>
                        <a:lnTo>
                          <a:pt x="190" y="61"/>
                        </a:lnTo>
                        <a:lnTo>
                          <a:pt x="190" y="59"/>
                        </a:lnTo>
                        <a:lnTo>
                          <a:pt x="190" y="58"/>
                        </a:lnTo>
                        <a:lnTo>
                          <a:pt x="190" y="57"/>
                        </a:lnTo>
                        <a:lnTo>
                          <a:pt x="190" y="55"/>
                        </a:lnTo>
                        <a:lnTo>
                          <a:pt x="186" y="55"/>
                        </a:lnTo>
                        <a:lnTo>
                          <a:pt x="181" y="55"/>
                        </a:lnTo>
                        <a:lnTo>
                          <a:pt x="175" y="55"/>
                        </a:lnTo>
                        <a:lnTo>
                          <a:pt x="171" y="55"/>
                        </a:lnTo>
                        <a:lnTo>
                          <a:pt x="170" y="55"/>
                        </a:lnTo>
                        <a:lnTo>
                          <a:pt x="169" y="52"/>
                        </a:lnTo>
                        <a:lnTo>
                          <a:pt x="167" y="50"/>
                        </a:lnTo>
                        <a:lnTo>
                          <a:pt x="164" y="49"/>
                        </a:lnTo>
                        <a:lnTo>
                          <a:pt x="164" y="47"/>
                        </a:lnTo>
                        <a:lnTo>
                          <a:pt x="162" y="47"/>
                        </a:lnTo>
                        <a:lnTo>
                          <a:pt x="161" y="47"/>
                        </a:lnTo>
                        <a:lnTo>
                          <a:pt x="161" y="46"/>
                        </a:lnTo>
                        <a:lnTo>
                          <a:pt x="160" y="52"/>
                        </a:lnTo>
                        <a:lnTo>
                          <a:pt x="158" y="60"/>
                        </a:lnTo>
                        <a:lnTo>
                          <a:pt x="156" y="68"/>
                        </a:lnTo>
                        <a:lnTo>
                          <a:pt x="157" y="75"/>
                        </a:lnTo>
                        <a:lnTo>
                          <a:pt x="158" y="77"/>
                        </a:lnTo>
                        <a:lnTo>
                          <a:pt x="161" y="78"/>
                        </a:lnTo>
                        <a:lnTo>
                          <a:pt x="163" y="79"/>
                        </a:lnTo>
                        <a:lnTo>
                          <a:pt x="164" y="81"/>
                        </a:lnTo>
                        <a:lnTo>
                          <a:pt x="164" y="84"/>
                        </a:lnTo>
                        <a:lnTo>
                          <a:pt x="162" y="89"/>
                        </a:lnTo>
                        <a:lnTo>
                          <a:pt x="161" y="92"/>
                        </a:lnTo>
                        <a:lnTo>
                          <a:pt x="161" y="94"/>
                        </a:lnTo>
                        <a:lnTo>
                          <a:pt x="160" y="103"/>
                        </a:lnTo>
                        <a:lnTo>
                          <a:pt x="159" y="111"/>
                        </a:lnTo>
                        <a:lnTo>
                          <a:pt x="158" y="120"/>
                        </a:lnTo>
                        <a:lnTo>
                          <a:pt x="157" y="129"/>
                        </a:lnTo>
                        <a:lnTo>
                          <a:pt x="155" y="127"/>
                        </a:lnTo>
                        <a:lnTo>
                          <a:pt x="154" y="127"/>
                        </a:lnTo>
                        <a:lnTo>
                          <a:pt x="153" y="127"/>
                        </a:lnTo>
                        <a:lnTo>
                          <a:pt x="151" y="127"/>
                        </a:lnTo>
                        <a:lnTo>
                          <a:pt x="150" y="126"/>
                        </a:lnTo>
                        <a:lnTo>
                          <a:pt x="149" y="125"/>
                        </a:lnTo>
                        <a:lnTo>
                          <a:pt x="148" y="124"/>
                        </a:lnTo>
                        <a:lnTo>
                          <a:pt x="147" y="123"/>
                        </a:lnTo>
                        <a:lnTo>
                          <a:pt x="146" y="124"/>
                        </a:lnTo>
                        <a:lnTo>
                          <a:pt x="145" y="124"/>
                        </a:lnTo>
                        <a:lnTo>
                          <a:pt x="143" y="125"/>
                        </a:lnTo>
                        <a:lnTo>
                          <a:pt x="141" y="123"/>
                        </a:lnTo>
                        <a:lnTo>
                          <a:pt x="141" y="122"/>
                        </a:lnTo>
                        <a:lnTo>
                          <a:pt x="141" y="120"/>
                        </a:lnTo>
                        <a:lnTo>
                          <a:pt x="136" y="118"/>
                        </a:lnTo>
                        <a:lnTo>
                          <a:pt x="130" y="119"/>
                        </a:lnTo>
                        <a:lnTo>
                          <a:pt x="125" y="119"/>
                        </a:lnTo>
                        <a:lnTo>
                          <a:pt x="122" y="120"/>
                        </a:lnTo>
                        <a:lnTo>
                          <a:pt x="122" y="119"/>
                        </a:lnTo>
                        <a:lnTo>
                          <a:pt x="121" y="118"/>
                        </a:lnTo>
                        <a:lnTo>
                          <a:pt x="119" y="116"/>
                        </a:lnTo>
                        <a:lnTo>
                          <a:pt x="119" y="113"/>
                        </a:lnTo>
                        <a:lnTo>
                          <a:pt x="118" y="113"/>
                        </a:lnTo>
                        <a:lnTo>
                          <a:pt x="117" y="113"/>
                        </a:lnTo>
                        <a:lnTo>
                          <a:pt x="116" y="113"/>
                        </a:lnTo>
                        <a:lnTo>
                          <a:pt x="116" y="114"/>
                        </a:lnTo>
                        <a:lnTo>
                          <a:pt x="116" y="115"/>
                        </a:lnTo>
                        <a:lnTo>
                          <a:pt x="116" y="116"/>
                        </a:lnTo>
                        <a:lnTo>
                          <a:pt x="114" y="116"/>
                        </a:lnTo>
                        <a:lnTo>
                          <a:pt x="113" y="116"/>
                        </a:lnTo>
                        <a:lnTo>
                          <a:pt x="112" y="116"/>
                        </a:lnTo>
                        <a:lnTo>
                          <a:pt x="110" y="117"/>
                        </a:lnTo>
                        <a:lnTo>
                          <a:pt x="109" y="118"/>
                        </a:lnTo>
                        <a:lnTo>
                          <a:pt x="109" y="119"/>
                        </a:lnTo>
                        <a:lnTo>
                          <a:pt x="109" y="120"/>
                        </a:lnTo>
                        <a:lnTo>
                          <a:pt x="107" y="121"/>
                        </a:lnTo>
                        <a:lnTo>
                          <a:pt x="106" y="121"/>
                        </a:lnTo>
                        <a:lnTo>
                          <a:pt x="104" y="120"/>
                        </a:lnTo>
                        <a:lnTo>
                          <a:pt x="102" y="120"/>
                        </a:lnTo>
                        <a:lnTo>
                          <a:pt x="102" y="119"/>
                        </a:lnTo>
                        <a:lnTo>
                          <a:pt x="100" y="116"/>
                        </a:lnTo>
                        <a:lnTo>
                          <a:pt x="99" y="114"/>
                        </a:lnTo>
                        <a:lnTo>
                          <a:pt x="96" y="113"/>
                        </a:lnTo>
                        <a:lnTo>
                          <a:pt x="96" y="111"/>
                        </a:lnTo>
                        <a:lnTo>
                          <a:pt x="96" y="110"/>
                        </a:lnTo>
                        <a:lnTo>
                          <a:pt x="96" y="108"/>
                        </a:lnTo>
                        <a:lnTo>
                          <a:pt x="96" y="106"/>
                        </a:lnTo>
                        <a:lnTo>
                          <a:pt x="95" y="106"/>
                        </a:lnTo>
                        <a:lnTo>
                          <a:pt x="94" y="106"/>
                        </a:lnTo>
                        <a:lnTo>
                          <a:pt x="93" y="106"/>
                        </a:lnTo>
                        <a:lnTo>
                          <a:pt x="92" y="102"/>
                        </a:lnTo>
                        <a:lnTo>
                          <a:pt x="91" y="98"/>
                        </a:lnTo>
                        <a:lnTo>
                          <a:pt x="90" y="94"/>
                        </a:lnTo>
                        <a:lnTo>
                          <a:pt x="86" y="91"/>
                        </a:lnTo>
                        <a:lnTo>
                          <a:pt x="83" y="89"/>
                        </a:lnTo>
                        <a:lnTo>
                          <a:pt x="79" y="88"/>
                        </a:lnTo>
                        <a:lnTo>
                          <a:pt x="73" y="87"/>
                        </a:lnTo>
                        <a:lnTo>
                          <a:pt x="67" y="87"/>
                        </a:lnTo>
                        <a:lnTo>
                          <a:pt x="65" y="90"/>
                        </a:lnTo>
                        <a:lnTo>
                          <a:pt x="64" y="92"/>
                        </a:lnTo>
                        <a:lnTo>
                          <a:pt x="61" y="93"/>
                        </a:lnTo>
                        <a:lnTo>
                          <a:pt x="55" y="94"/>
                        </a:lnTo>
                        <a:lnTo>
                          <a:pt x="55" y="93"/>
                        </a:lnTo>
                        <a:lnTo>
                          <a:pt x="55" y="92"/>
                        </a:lnTo>
                        <a:lnTo>
                          <a:pt x="55" y="91"/>
                        </a:lnTo>
                        <a:lnTo>
                          <a:pt x="50" y="91"/>
                        </a:lnTo>
                        <a:lnTo>
                          <a:pt x="49" y="91"/>
                        </a:lnTo>
                        <a:lnTo>
                          <a:pt x="48" y="91"/>
                        </a:lnTo>
                        <a:lnTo>
                          <a:pt x="46" y="91"/>
                        </a:lnTo>
                        <a:lnTo>
                          <a:pt x="45" y="91"/>
                        </a:lnTo>
                        <a:lnTo>
                          <a:pt x="45" y="88"/>
                        </a:lnTo>
                        <a:lnTo>
                          <a:pt x="46" y="86"/>
                        </a:lnTo>
                        <a:lnTo>
                          <a:pt x="46" y="85"/>
                        </a:lnTo>
                        <a:lnTo>
                          <a:pt x="45" y="84"/>
                        </a:lnTo>
                        <a:lnTo>
                          <a:pt x="42" y="83"/>
                        </a:lnTo>
                        <a:lnTo>
                          <a:pt x="40" y="83"/>
                        </a:lnTo>
                        <a:lnTo>
                          <a:pt x="37" y="83"/>
                        </a:lnTo>
                        <a:lnTo>
                          <a:pt x="35" y="84"/>
                        </a:lnTo>
                        <a:lnTo>
                          <a:pt x="34" y="83"/>
                        </a:lnTo>
                        <a:lnTo>
                          <a:pt x="32" y="82"/>
                        </a:lnTo>
                        <a:lnTo>
                          <a:pt x="31" y="81"/>
                        </a:lnTo>
                        <a:lnTo>
                          <a:pt x="29" y="81"/>
                        </a:lnTo>
                        <a:lnTo>
                          <a:pt x="27" y="82"/>
                        </a:lnTo>
                        <a:lnTo>
                          <a:pt x="25" y="83"/>
                        </a:lnTo>
                        <a:lnTo>
                          <a:pt x="22" y="84"/>
                        </a:lnTo>
                        <a:lnTo>
                          <a:pt x="18" y="84"/>
                        </a:lnTo>
                        <a:lnTo>
                          <a:pt x="14" y="83"/>
                        </a:lnTo>
                        <a:lnTo>
                          <a:pt x="10" y="84"/>
                        </a:lnTo>
                        <a:lnTo>
                          <a:pt x="5" y="87"/>
                        </a:lnTo>
                        <a:lnTo>
                          <a:pt x="4" y="90"/>
                        </a:lnTo>
                        <a:lnTo>
                          <a:pt x="4" y="94"/>
                        </a:lnTo>
                        <a:lnTo>
                          <a:pt x="5" y="98"/>
                        </a:lnTo>
                        <a:lnTo>
                          <a:pt x="5" y="101"/>
                        </a:lnTo>
                        <a:lnTo>
                          <a:pt x="8" y="103"/>
                        </a:lnTo>
                        <a:lnTo>
                          <a:pt x="10" y="103"/>
                        </a:lnTo>
                        <a:lnTo>
                          <a:pt x="16" y="103"/>
                        </a:lnTo>
                        <a:lnTo>
                          <a:pt x="16" y="106"/>
                        </a:lnTo>
                        <a:lnTo>
                          <a:pt x="13" y="106"/>
                        </a:lnTo>
                        <a:lnTo>
                          <a:pt x="11" y="106"/>
                        </a:lnTo>
                        <a:lnTo>
                          <a:pt x="10" y="106"/>
                        </a:lnTo>
                        <a:lnTo>
                          <a:pt x="10" y="107"/>
                        </a:lnTo>
                        <a:lnTo>
                          <a:pt x="10" y="108"/>
                        </a:lnTo>
                        <a:lnTo>
                          <a:pt x="10" y="110"/>
                        </a:lnTo>
                        <a:lnTo>
                          <a:pt x="7" y="109"/>
                        </a:lnTo>
                        <a:lnTo>
                          <a:pt x="7" y="110"/>
                        </a:lnTo>
                        <a:lnTo>
                          <a:pt x="8" y="112"/>
                        </a:lnTo>
                        <a:lnTo>
                          <a:pt x="10" y="113"/>
                        </a:lnTo>
                        <a:lnTo>
                          <a:pt x="11" y="113"/>
                        </a:lnTo>
                        <a:lnTo>
                          <a:pt x="13" y="113"/>
                        </a:lnTo>
                        <a:lnTo>
                          <a:pt x="16" y="113"/>
                        </a:lnTo>
                        <a:lnTo>
                          <a:pt x="16" y="115"/>
                        </a:lnTo>
                        <a:lnTo>
                          <a:pt x="17" y="116"/>
                        </a:lnTo>
                        <a:lnTo>
                          <a:pt x="18" y="118"/>
                        </a:lnTo>
                        <a:lnTo>
                          <a:pt x="19" y="120"/>
                        </a:lnTo>
                        <a:lnTo>
                          <a:pt x="19" y="122"/>
                        </a:lnTo>
                        <a:lnTo>
                          <a:pt x="19" y="123"/>
                        </a:lnTo>
                        <a:lnTo>
                          <a:pt x="14" y="123"/>
                        </a:lnTo>
                        <a:lnTo>
                          <a:pt x="10" y="123"/>
                        </a:lnTo>
                        <a:lnTo>
                          <a:pt x="5" y="123"/>
                        </a:lnTo>
                        <a:lnTo>
                          <a:pt x="0" y="123"/>
                        </a:lnTo>
                        <a:lnTo>
                          <a:pt x="2" y="124"/>
                        </a:lnTo>
                        <a:lnTo>
                          <a:pt x="3" y="125"/>
                        </a:lnTo>
                        <a:lnTo>
                          <a:pt x="3" y="126"/>
                        </a:lnTo>
                        <a:lnTo>
                          <a:pt x="3" y="127"/>
                        </a:lnTo>
                        <a:lnTo>
                          <a:pt x="4" y="127"/>
                        </a:lnTo>
                        <a:lnTo>
                          <a:pt x="5" y="128"/>
                        </a:lnTo>
                        <a:lnTo>
                          <a:pt x="8" y="130"/>
                        </a:lnTo>
                        <a:lnTo>
                          <a:pt x="10" y="132"/>
                        </a:lnTo>
                        <a:lnTo>
                          <a:pt x="10" y="135"/>
                        </a:lnTo>
                        <a:lnTo>
                          <a:pt x="10" y="137"/>
                        </a:lnTo>
                        <a:lnTo>
                          <a:pt x="10" y="140"/>
                        </a:lnTo>
                        <a:lnTo>
                          <a:pt x="10" y="142"/>
                        </a:lnTo>
                        <a:lnTo>
                          <a:pt x="11" y="144"/>
                        </a:lnTo>
                        <a:lnTo>
                          <a:pt x="13" y="146"/>
                        </a:lnTo>
                        <a:lnTo>
                          <a:pt x="13" y="147"/>
                        </a:lnTo>
                        <a:lnTo>
                          <a:pt x="13" y="149"/>
                        </a:lnTo>
                        <a:lnTo>
                          <a:pt x="14" y="149"/>
                        </a:lnTo>
                        <a:lnTo>
                          <a:pt x="16" y="147"/>
                        </a:lnTo>
                        <a:lnTo>
                          <a:pt x="16" y="146"/>
                        </a:lnTo>
                        <a:lnTo>
                          <a:pt x="17" y="148"/>
                        </a:lnTo>
                        <a:lnTo>
                          <a:pt x="19" y="149"/>
                        </a:lnTo>
                        <a:lnTo>
                          <a:pt x="20" y="149"/>
                        </a:lnTo>
                        <a:lnTo>
                          <a:pt x="22" y="149"/>
                        </a:lnTo>
                        <a:lnTo>
                          <a:pt x="19" y="146"/>
                        </a:lnTo>
                        <a:lnTo>
                          <a:pt x="17" y="146"/>
                        </a:lnTo>
                        <a:lnTo>
                          <a:pt x="18" y="146"/>
                        </a:lnTo>
                        <a:lnTo>
                          <a:pt x="19" y="146"/>
                        </a:lnTo>
                        <a:lnTo>
                          <a:pt x="28" y="146"/>
                        </a:lnTo>
                        <a:lnTo>
                          <a:pt x="31" y="149"/>
                        </a:lnTo>
                        <a:lnTo>
                          <a:pt x="31" y="151"/>
                        </a:lnTo>
                        <a:lnTo>
                          <a:pt x="34" y="154"/>
                        </a:lnTo>
                        <a:lnTo>
                          <a:pt x="35" y="155"/>
                        </a:lnTo>
                        <a:lnTo>
                          <a:pt x="35" y="156"/>
                        </a:lnTo>
                        <a:lnTo>
                          <a:pt x="37" y="156"/>
                        </a:lnTo>
                        <a:lnTo>
                          <a:pt x="40" y="155"/>
                        </a:lnTo>
                        <a:lnTo>
                          <a:pt x="41" y="155"/>
                        </a:lnTo>
                        <a:lnTo>
                          <a:pt x="43" y="158"/>
                        </a:lnTo>
                        <a:lnTo>
                          <a:pt x="44" y="161"/>
                        </a:lnTo>
                        <a:lnTo>
                          <a:pt x="45" y="164"/>
                        </a:lnTo>
                        <a:lnTo>
                          <a:pt x="45" y="165"/>
                        </a:lnTo>
                        <a:lnTo>
                          <a:pt x="47" y="167"/>
                        </a:lnTo>
                        <a:lnTo>
                          <a:pt x="50" y="168"/>
                        </a:lnTo>
                        <a:lnTo>
                          <a:pt x="55" y="168"/>
                        </a:lnTo>
                        <a:lnTo>
                          <a:pt x="55" y="172"/>
                        </a:lnTo>
                        <a:lnTo>
                          <a:pt x="58" y="175"/>
                        </a:lnTo>
                        <a:lnTo>
                          <a:pt x="59" y="179"/>
                        </a:lnTo>
                        <a:lnTo>
                          <a:pt x="61" y="181"/>
                        </a:lnTo>
                        <a:lnTo>
                          <a:pt x="65" y="182"/>
                        </a:lnTo>
                        <a:lnTo>
                          <a:pt x="69" y="182"/>
                        </a:lnTo>
                        <a:lnTo>
                          <a:pt x="73" y="182"/>
                        </a:lnTo>
                        <a:lnTo>
                          <a:pt x="76" y="184"/>
                        </a:lnTo>
                        <a:lnTo>
                          <a:pt x="76" y="186"/>
                        </a:lnTo>
                        <a:lnTo>
                          <a:pt x="76" y="187"/>
                        </a:lnTo>
                        <a:lnTo>
                          <a:pt x="73" y="187"/>
                        </a:lnTo>
                        <a:lnTo>
                          <a:pt x="70" y="187"/>
                        </a:lnTo>
                        <a:lnTo>
                          <a:pt x="71" y="187"/>
                        </a:lnTo>
                        <a:lnTo>
                          <a:pt x="73" y="190"/>
                        </a:lnTo>
                        <a:lnTo>
                          <a:pt x="74" y="192"/>
                        </a:lnTo>
                        <a:lnTo>
                          <a:pt x="75" y="194"/>
                        </a:lnTo>
                        <a:lnTo>
                          <a:pt x="76" y="194"/>
                        </a:lnTo>
                        <a:lnTo>
                          <a:pt x="79" y="194"/>
                        </a:lnTo>
                        <a:lnTo>
                          <a:pt x="80" y="194"/>
                        </a:lnTo>
                        <a:lnTo>
                          <a:pt x="82" y="194"/>
                        </a:lnTo>
                        <a:lnTo>
                          <a:pt x="83" y="194"/>
                        </a:lnTo>
                        <a:lnTo>
                          <a:pt x="84" y="194"/>
                        </a:lnTo>
                        <a:lnTo>
                          <a:pt x="85" y="194"/>
                        </a:lnTo>
                        <a:lnTo>
                          <a:pt x="86" y="194"/>
                        </a:lnTo>
                        <a:lnTo>
                          <a:pt x="86" y="200"/>
                        </a:lnTo>
                        <a:lnTo>
                          <a:pt x="84" y="199"/>
                        </a:lnTo>
                        <a:lnTo>
                          <a:pt x="83" y="198"/>
                        </a:lnTo>
                        <a:lnTo>
                          <a:pt x="83" y="197"/>
                        </a:lnTo>
                        <a:lnTo>
                          <a:pt x="83" y="201"/>
                        </a:lnTo>
                        <a:lnTo>
                          <a:pt x="83" y="204"/>
                        </a:lnTo>
                        <a:lnTo>
                          <a:pt x="83" y="210"/>
                        </a:lnTo>
                        <a:lnTo>
                          <a:pt x="86" y="213"/>
                        </a:lnTo>
                        <a:lnTo>
                          <a:pt x="88" y="216"/>
                        </a:lnTo>
                        <a:lnTo>
                          <a:pt x="92" y="217"/>
                        </a:lnTo>
                        <a:lnTo>
                          <a:pt x="96" y="217"/>
                        </a:lnTo>
                        <a:lnTo>
                          <a:pt x="96" y="213"/>
                        </a:lnTo>
                        <a:lnTo>
                          <a:pt x="101" y="213"/>
                        </a:lnTo>
                        <a:lnTo>
                          <a:pt x="105" y="214"/>
                        </a:lnTo>
                        <a:lnTo>
                          <a:pt x="108" y="217"/>
                        </a:lnTo>
                        <a:lnTo>
                          <a:pt x="112" y="223"/>
                        </a:lnTo>
                        <a:lnTo>
                          <a:pt x="106" y="220"/>
                        </a:lnTo>
                        <a:lnTo>
                          <a:pt x="101" y="218"/>
                        </a:lnTo>
                        <a:lnTo>
                          <a:pt x="98" y="220"/>
                        </a:lnTo>
                        <a:lnTo>
                          <a:pt x="93" y="223"/>
                        </a:lnTo>
                        <a:lnTo>
                          <a:pt x="94" y="224"/>
                        </a:lnTo>
                        <a:lnTo>
                          <a:pt x="95" y="226"/>
                        </a:lnTo>
                        <a:lnTo>
                          <a:pt x="96" y="227"/>
                        </a:lnTo>
                        <a:lnTo>
                          <a:pt x="96" y="229"/>
                        </a:lnTo>
                        <a:lnTo>
                          <a:pt x="97" y="229"/>
                        </a:lnTo>
                        <a:lnTo>
                          <a:pt x="99" y="231"/>
                        </a:lnTo>
                        <a:lnTo>
                          <a:pt x="100" y="232"/>
                        </a:lnTo>
                        <a:lnTo>
                          <a:pt x="99" y="232"/>
                        </a:lnTo>
                        <a:lnTo>
                          <a:pt x="98" y="235"/>
                        </a:lnTo>
                        <a:lnTo>
                          <a:pt x="98" y="237"/>
                        </a:lnTo>
                        <a:lnTo>
                          <a:pt x="98" y="240"/>
                        </a:lnTo>
                        <a:lnTo>
                          <a:pt x="96" y="242"/>
                        </a:lnTo>
                        <a:lnTo>
                          <a:pt x="95" y="244"/>
                        </a:lnTo>
                        <a:lnTo>
                          <a:pt x="93" y="245"/>
                        </a:lnTo>
                        <a:lnTo>
                          <a:pt x="91" y="246"/>
                        </a:lnTo>
                        <a:lnTo>
                          <a:pt x="90" y="246"/>
                        </a:lnTo>
                        <a:lnTo>
                          <a:pt x="90" y="247"/>
                        </a:lnTo>
                        <a:lnTo>
                          <a:pt x="90" y="248"/>
                        </a:lnTo>
                        <a:lnTo>
                          <a:pt x="90" y="251"/>
                        </a:lnTo>
                        <a:lnTo>
                          <a:pt x="92" y="252"/>
                        </a:lnTo>
                        <a:lnTo>
                          <a:pt x="93" y="254"/>
                        </a:lnTo>
                        <a:lnTo>
                          <a:pt x="93" y="258"/>
                        </a:lnTo>
                        <a:lnTo>
                          <a:pt x="94" y="259"/>
                        </a:lnTo>
                        <a:lnTo>
                          <a:pt x="95" y="260"/>
                        </a:lnTo>
                        <a:lnTo>
                          <a:pt x="96" y="261"/>
                        </a:lnTo>
                        <a:lnTo>
                          <a:pt x="96" y="262"/>
                        </a:lnTo>
                        <a:lnTo>
                          <a:pt x="98" y="268"/>
                        </a:lnTo>
                        <a:lnTo>
                          <a:pt x="98" y="272"/>
                        </a:lnTo>
                        <a:lnTo>
                          <a:pt x="98" y="276"/>
                        </a:lnTo>
                        <a:lnTo>
                          <a:pt x="99" y="281"/>
                        </a:lnTo>
                        <a:lnTo>
                          <a:pt x="101" y="281"/>
                        </a:lnTo>
                        <a:lnTo>
                          <a:pt x="103" y="283"/>
                        </a:lnTo>
                        <a:lnTo>
                          <a:pt x="105" y="285"/>
                        </a:lnTo>
                        <a:lnTo>
                          <a:pt x="106" y="287"/>
                        </a:lnTo>
                        <a:lnTo>
                          <a:pt x="108" y="287"/>
                        </a:lnTo>
                        <a:lnTo>
                          <a:pt x="109" y="287"/>
                        </a:lnTo>
                        <a:lnTo>
                          <a:pt x="110" y="287"/>
                        </a:lnTo>
                        <a:lnTo>
                          <a:pt x="112" y="287"/>
                        </a:lnTo>
                        <a:lnTo>
                          <a:pt x="112" y="288"/>
                        </a:lnTo>
                        <a:lnTo>
                          <a:pt x="112" y="289"/>
                        </a:lnTo>
                        <a:lnTo>
                          <a:pt x="112" y="290"/>
                        </a:lnTo>
                        <a:lnTo>
                          <a:pt x="112" y="291"/>
                        </a:lnTo>
                        <a:lnTo>
                          <a:pt x="113" y="291"/>
                        </a:lnTo>
                        <a:lnTo>
                          <a:pt x="114" y="292"/>
                        </a:lnTo>
                        <a:lnTo>
                          <a:pt x="116" y="294"/>
                        </a:lnTo>
                        <a:lnTo>
                          <a:pt x="119" y="294"/>
                        </a:lnTo>
                        <a:lnTo>
                          <a:pt x="119" y="295"/>
                        </a:lnTo>
                        <a:lnTo>
                          <a:pt x="119" y="296"/>
                        </a:lnTo>
                        <a:lnTo>
                          <a:pt x="121" y="298"/>
                        </a:lnTo>
                        <a:lnTo>
                          <a:pt x="123" y="298"/>
                        </a:lnTo>
                        <a:lnTo>
                          <a:pt x="124" y="298"/>
                        </a:lnTo>
                        <a:lnTo>
                          <a:pt x="125" y="300"/>
                        </a:lnTo>
                        <a:lnTo>
                          <a:pt x="123" y="300"/>
                        </a:lnTo>
                        <a:lnTo>
                          <a:pt x="123" y="302"/>
                        </a:lnTo>
                        <a:lnTo>
                          <a:pt x="123" y="303"/>
                        </a:lnTo>
                        <a:lnTo>
                          <a:pt x="122" y="303"/>
                        </a:lnTo>
                        <a:lnTo>
                          <a:pt x="122" y="304"/>
                        </a:lnTo>
                        <a:lnTo>
                          <a:pt x="121" y="305"/>
                        </a:lnTo>
                        <a:lnTo>
                          <a:pt x="119" y="306"/>
                        </a:lnTo>
                        <a:lnTo>
                          <a:pt x="119" y="307"/>
                        </a:lnTo>
                        <a:lnTo>
                          <a:pt x="119" y="309"/>
                        </a:lnTo>
                        <a:lnTo>
                          <a:pt x="121" y="311"/>
                        </a:lnTo>
                        <a:lnTo>
                          <a:pt x="122" y="313"/>
                        </a:lnTo>
                        <a:lnTo>
                          <a:pt x="121" y="319"/>
                        </a:lnTo>
                        <a:lnTo>
                          <a:pt x="119" y="325"/>
                        </a:lnTo>
                        <a:lnTo>
                          <a:pt x="117" y="331"/>
                        </a:lnTo>
                        <a:lnTo>
                          <a:pt x="116" y="336"/>
                        </a:lnTo>
                        <a:lnTo>
                          <a:pt x="114" y="336"/>
                        </a:lnTo>
                        <a:lnTo>
                          <a:pt x="112" y="336"/>
                        </a:lnTo>
                        <a:lnTo>
                          <a:pt x="111" y="336"/>
                        </a:lnTo>
                        <a:lnTo>
                          <a:pt x="109" y="336"/>
                        </a:lnTo>
                        <a:lnTo>
                          <a:pt x="106" y="339"/>
                        </a:lnTo>
                        <a:lnTo>
                          <a:pt x="109" y="341"/>
                        </a:lnTo>
                        <a:lnTo>
                          <a:pt x="111" y="343"/>
                        </a:lnTo>
                        <a:lnTo>
                          <a:pt x="114" y="347"/>
                        </a:lnTo>
                        <a:lnTo>
                          <a:pt x="115" y="350"/>
                        </a:lnTo>
                        <a:lnTo>
                          <a:pt x="119" y="355"/>
                        </a:lnTo>
                        <a:lnTo>
                          <a:pt x="120" y="357"/>
                        </a:lnTo>
                        <a:lnTo>
                          <a:pt x="121" y="358"/>
                        </a:lnTo>
                        <a:lnTo>
                          <a:pt x="123" y="360"/>
                        </a:lnTo>
                        <a:lnTo>
                          <a:pt x="125" y="362"/>
                        </a:lnTo>
                        <a:lnTo>
                          <a:pt x="125" y="365"/>
                        </a:lnTo>
                        <a:lnTo>
                          <a:pt x="125" y="369"/>
                        </a:lnTo>
                        <a:lnTo>
                          <a:pt x="125" y="378"/>
                        </a:lnTo>
                        <a:lnTo>
                          <a:pt x="125" y="379"/>
                        </a:lnTo>
                        <a:lnTo>
                          <a:pt x="125" y="380"/>
                        </a:lnTo>
                        <a:lnTo>
                          <a:pt x="125" y="381"/>
                        </a:lnTo>
                        <a:lnTo>
                          <a:pt x="123" y="375"/>
                        </a:lnTo>
                        <a:lnTo>
                          <a:pt x="120" y="367"/>
                        </a:lnTo>
                        <a:lnTo>
                          <a:pt x="117" y="362"/>
                        </a:lnTo>
                        <a:lnTo>
                          <a:pt x="112" y="355"/>
                        </a:lnTo>
                        <a:lnTo>
                          <a:pt x="111" y="355"/>
                        </a:lnTo>
                        <a:lnTo>
                          <a:pt x="109" y="355"/>
                        </a:lnTo>
                        <a:lnTo>
                          <a:pt x="107" y="360"/>
                        </a:lnTo>
                        <a:lnTo>
                          <a:pt x="104" y="367"/>
                        </a:lnTo>
                        <a:lnTo>
                          <a:pt x="100" y="375"/>
                        </a:lnTo>
                        <a:lnTo>
                          <a:pt x="97" y="382"/>
                        </a:lnTo>
                        <a:lnTo>
                          <a:pt x="94" y="391"/>
                        </a:lnTo>
                        <a:lnTo>
                          <a:pt x="91" y="399"/>
                        </a:lnTo>
                        <a:lnTo>
                          <a:pt x="89" y="405"/>
                        </a:lnTo>
                        <a:lnTo>
                          <a:pt x="90" y="410"/>
                        </a:lnTo>
                        <a:lnTo>
                          <a:pt x="93" y="410"/>
                        </a:lnTo>
                        <a:lnTo>
                          <a:pt x="93" y="411"/>
                        </a:lnTo>
                        <a:lnTo>
                          <a:pt x="93" y="412"/>
                        </a:lnTo>
                        <a:lnTo>
                          <a:pt x="93" y="417"/>
                        </a:lnTo>
                        <a:lnTo>
                          <a:pt x="92" y="417"/>
                        </a:lnTo>
                        <a:lnTo>
                          <a:pt x="90" y="417"/>
                        </a:lnTo>
                        <a:lnTo>
                          <a:pt x="87" y="417"/>
                        </a:lnTo>
                        <a:lnTo>
                          <a:pt x="86" y="420"/>
                        </a:lnTo>
                        <a:lnTo>
                          <a:pt x="84" y="424"/>
                        </a:lnTo>
                        <a:lnTo>
                          <a:pt x="82" y="429"/>
                        </a:lnTo>
                        <a:lnTo>
                          <a:pt x="79" y="435"/>
                        </a:lnTo>
                        <a:lnTo>
                          <a:pt x="76" y="439"/>
                        </a:lnTo>
                        <a:lnTo>
                          <a:pt x="76" y="446"/>
                        </a:lnTo>
                        <a:lnTo>
                          <a:pt x="74" y="451"/>
                        </a:lnTo>
                        <a:lnTo>
                          <a:pt x="70" y="454"/>
                        </a:lnTo>
                        <a:lnTo>
                          <a:pt x="67" y="458"/>
                        </a:lnTo>
                        <a:lnTo>
                          <a:pt x="65" y="466"/>
                        </a:lnTo>
                        <a:lnTo>
                          <a:pt x="64" y="473"/>
                        </a:lnTo>
                        <a:lnTo>
                          <a:pt x="61" y="479"/>
                        </a:lnTo>
                        <a:lnTo>
                          <a:pt x="58" y="484"/>
                        </a:lnTo>
                        <a:lnTo>
                          <a:pt x="55" y="484"/>
                        </a:lnTo>
                        <a:lnTo>
                          <a:pt x="53" y="486"/>
                        </a:lnTo>
                        <a:lnTo>
                          <a:pt x="52" y="487"/>
                        </a:lnTo>
                        <a:lnTo>
                          <a:pt x="52" y="488"/>
                        </a:lnTo>
                        <a:lnTo>
                          <a:pt x="51" y="488"/>
                        </a:lnTo>
                        <a:lnTo>
                          <a:pt x="49" y="490"/>
                        </a:lnTo>
                        <a:lnTo>
                          <a:pt x="48" y="492"/>
                        </a:lnTo>
                        <a:lnTo>
                          <a:pt x="47" y="494"/>
                        </a:lnTo>
                        <a:lnTo>
                          <a:pt x="45" y="494"/>
                        </a:lnTo>
                        <a:lnTo>
                          <a:pt x="46" y="496"/>
                        </a:lnTo>
                        <a:lnTo>
                          <a:pt x="49" y="500"/>
                        </a:lnTo>
                        <a:lnTo>
                          <a:pt x="52" y="503"/>
                        </a:lnTo>
                        <a:lnTo>
                          <a:pt x="55" y="507"/>
                        </a:lnTo>
                        <a:lnTo>
                          <a:pt x="58" y="506"/>
                        </a:lnTo>
                        <a:lnTo>
                          <a:pt x="58" y="504"/>
                        </a:lnTo>
                        <a:lnTo>
                          <a:pt x="59" y="504"/>
                        </a:lnTo>
                        <a:lnTo>
                          <a:pt x="59" y="505"/>
                        </a:lnTo>
                        <a:lnTo>
                          <a:pt x="61" y="507"/>
                        </a:lnTo>
                        <a:lnTo>
                          <a:pt x="62" y="509"/>
                        </a:lnTo>
                        <a:lnTo>
                          <a:pt x="61" y="511"/>
                        </a:lnTo>
                        <a:lnTo>
                          <a:pt x="61" y="513"/>
                        </a:lnTo>
                        <a:lnTo>
                          <a:pt x="58" y="513"/>
                        </a:lnTo>
                        <a:lnTo>
                          <a:pt x="58" y="518"/>
                        </a:lnTo>
                        <a:lnTo>
                          <a:pt x="58" y="520"/>
                        </a:lnTo>
                        <a:lnTo>
                          <a:pt x="61" y="522"/>
                        </a:lnTo>
                        <a:lnTo>
                          <a:pt x="62" y="523"/>
                        </a:lnTo>
                        <a:lnTo>
                          <a:pt x="64" y="523"/>
                        </a:lnTo>
                        <a:lnTo>
                          <a:pt x="66" y="525"/>
                        </a:lnTo>
                        <a:lnTo>
                          <a:pt x="67" y="527"/>
                        </a:lnTo>
                        <a:lnTo>
                          <a:pt x="67" y="529"/>
                        </a:lnTo>
                        <a:lnTo>
                          <a:pt x="70" y="533"/>
                        </a:lnTo>
                        <a:lnTo>
                          <a:pt x="74" y="534"/>
                        </a:lnTo>
                        <a:lnTo>
                          <a:pt x="77" y="536"/>
                        </a:lnTo>
                        <a:lnTo>
                          <a:pt x="80" y="539"/>
                        </a:lnTo>
                        <a:lnTo>
                          <a:pt x="83" y="542"/>
                        </a:lnTo>
                        <a:lnTo>
                          <a:pt x="84" y="546"/>
                        </a:lnTo>
                        <a:lnTo>
                          <a:pt x="85" y="549"/>
                        </a:lnTo>
                        <a:lnTo>
                          <a:pt x="86" y="552"/>
                        </a:lnTo>
                        <a:lnTo>
                          <a:pt x="90" y="553"/>
                        </a:lnTo>
                        <a:lnTo>
                          <a:pt x="93" y="553"/>
                        </a:lnTo>
                        <a:lnTo>
                          <a:pt x="96" y="554"/>
                        </a:lnTo>
                        <a:lnTo>
                          <a:pt x="99" y="555"/>
                        </a:lnTo>
                        <a:lnTo>
                          <a:pt x="103" y="558"/>
                        </a:lnTo>
                        <a:lnTo>
                          <a:pt x="105" y="562"/>
                        </a:lnTo>
                        <a:lnTo>
                          <a:pt x="107" y="565"/>
                        </a:lnTo>
                        <a:lnTo>
                          <a:pt x="109" y="568"/>
                        </a:lnTo>
                        <a:lnTo>
                          <a:pt x="113" y="571"/>
                        </a:lnTo>
                        <a:lnTo>
                          <a:pt x="117" y="572"/>
                        </a:lnTo>
                        <a:lnTo>
                          <a:pt x="120" y="574"/>
                        </a:lnTo>
                        <a:lnTo>
                          <a:pt x="122" y="578"/>
                        </a:lnTo>
                        <a:lnTo>
                          <a:pt x="123" y="578"/>
                        </a:lnTo>
                        <a:lnTo>
                          <a:pt x="125" y="580"/>
                        </a:lnTo>
                        <a:lnTo>
                          <a:pt x="126" y="582"/>
                        </a:lnTo>
                        <a:lnTo>
                          <a:pt x="128" y="584"/>
                        </a:lnTo>
                        <a:lnTo>
                          <a:pt x="131" y="584"/>
                        </a:lnTo>
                        <a:lnTo>
                          <a:pt x="135" y="585"/>
                        </a:lnTo>
                        <a:lnTo>
                          <a:pt x="138" y="586"/>
                        </a:lnTo>
                        <a:lnTo>
                          <a:pt x="141" y="588"/>
                        </a:lnTo>
                        <a:lnTo>
                          <a:pt x="147" y="592"/>
                        </a:lnTo>
                        <a:lnTo>
                          <a:pt x="148" y="594"/>
                        </a:lnTo>
                        <a:lnTo>
                          <a:pt x="151" y="594"/>
                        </a:lnTo>
                        <a:lnTo>
                          <a:pt x="152" y="591"/>
                        </a:lnTo>
                        <a:lnTo>
                          <a:pt x="151" y="588"/>
                        </a:lnTo>
                        <a:lnTo>
                          <a:pt x="150" y="584"/>
                        </a:lnTo>
                        <a:lnTo>
                          <a:pt x="151" y="581"/>
                        </a:lnTo>
                        <a:lnTo>
                          <a:pt x="155" y="582"/>
                        </a:lnTo>
                        <a:lnTo>
                          <a:pt x="157" y="583"/>
                        </a:lnTo>
                        <a:lnTo>
                          <a:pt x="160" y="585"/>
                        </a:lnTo>
                        <a:lnTo>
                          <a:pt x="164" y="588"/>
                        </a:lnTo>
                        <a:lnTo>
                          <a:pt x="166" y="590"/>
                        </a:lnTo>
                        <a:lnTo>
                          <a:pt x="167" y="592"/>
                        </a:lnTo>
                        <a:lnTo>
                          <a:pt x="169" y="594"/>
                        </a:lnTo>
                        <a:lnTo>
                          <a:pt x="171" y="594"/>
                        </a:lnTo>
                        <a:lnTo>
                          <a:pt x="171" y="596"/>
                        </a:lnTo>
                        <a:lnTo>
                          <a:pt x="171" y="598"/>
                        </a:lnTo>
                        <a:lnTo>
                          <a:pt x="172" y="601"/>
                        </a:lnTo>
                        <a:lnTo>
                          <a:pt x="173" y="603"/>
                        </a:lnTo>
                        <a:lnTo>
                          <a:pt x="174" y="602"/>
                        </a:lnTo>
                        <a:lnTo>
                          <a:pt x="175" y="601"/>
                        </a:lnTo>
                        <a:lnTo>
                          <a:pt x="180" y="600"/>
                        </a:lnTo>
                        <a:lnTo>
                          <a:pt x="183" y="600"/>
                        </a:lnTo>
                        <a:lnTo>
                          <a:pt x="186" y="601"/>
                        </a:lnTo>
                        <a:lnTo>
                          <a:pt x="189" y="602"/>
                        </a:lnTo>
                        <a:lnTo>
                          <a:pt x="190" y="603"/>
                        </a:lnTo>
                        <a:lnTo>
                          <a:pt x="191" y="605"/>
                        </a:lnTo>
                        <a:lnTo>
                          <a:pt x="191" y="607"/>
                        </a:lnTo>
                        <a:lnTo>
                          <a:pt x="190" y="608"/>
                        </a:lnTo>
                        <a:lnTo>
                          <a:pt x="190" y="610"/>
                        </a:lnTo>
                        <a:lnTo>
                          <a:pt x="190" y="611"/>
                        </a:lnTo>
                        <a:lnTo>
                          <a:pt x="190" y="612"/>
                        </a:lnTo>
                        <a:lnTo>
                          <a:pt x="190" y="617"/>
                        </a:lnTo>
                        <a:lnTo>
                          <a:pt x="192" y="617"/>
                        </a:lnTo>
                        <a:lnTo>
                          <a:pt x="195" y="619"/>
                        </a:lnTo>
                        <a:lnTo>
                          <a:pt x="195" y="620"/>
                        </a:lnTo>
                        <a:lnTo>
                          <a:pt x="196" y="620"/>
                        </a:lnTo>
                        <a:lnTo>
                          <a:pt x="198" y="618"/>
                        </a:lnTo>
                        <a:lnTo>
                          <a:pt x="200" y="617"/>
                        </a:lnTo>
                        <a:lnTo>
                          <a:pt x="202" y="617"/>
                        </a:lnTo>
                        <a:lnTo>
                          <a:pt x="203" y="620"/>
                        </a:lnTo>
                        <a:lnTo>
                          <a:pt x="204" y="622"/>
                        </a:lnTo>
                        <a:lnTo>
                          <a:pt x="207" y="625"/>
                        </a:lnTo>
                        <a:lnTo>
                          <a:pt x="209" y="626"/>
                        </a:lnTo>
                        <a:lnTo>
                          <a:pt x="212" y="625"/>
                        </a:lnTo>
                        <a:lnTo>
                          <a:pt x="214" y="625"/>
                        </a:lnTo>
                        <a:lnTo>
                          <a:pt x="217" y="625"/>
                        </a:lnTo>
                        <a:lnTo>
                          <a:pt x="219" y="626"/>
                        </a:lnTo>
                        <a:lnTo>
                          <a:pt x="221" y="629"/>
                        </a:lnTo>
                        <a:lnTo>
                          <a:pt x="225" y="630"/>
                        </a:lnTo>
                        <a:lnTo>
                          <a:pt x="230" y="630"/>
                        </a:lnTo>
                        <a:lnTo>
                          <a:pt x="235" y="629"/>
                        </a:lnTo>
                        <a:lnTo>
                          <a:pt x="238" y="629"/>
                        </a:lnTo>
                        <a:lnTo>
                          <a:pt x="240" y="628"/>
                        </a:lnTo>
                        <a:lnTo>
                          <a:pt x="243" y="626"/>
                        </a:lnTo>
                        <a:lnTo>
                          <a:pt x="247" y="626"/>
                        </a:lnTo>
                        <a:lnTo>
                          <a:pt x="250" y="624"/>
                        </a:lnTo>
                        <a:lnTo>
                          <a:pt x="253" y="623"/>
                        </a:lnTo>
                        <a:lnTo>
                          <a:pt x="257" y="623"/>
                        </a:lnTo>
                        <a:lnTo>
                          <a:pt x="262" y="623"/>
                        </a:lnTo>
                        <a:lnTo>
                          <a:pt x="267" y="624"/>
                        </a:lnTo>
                        <a:lnTo>
                          <a:pt x="270" y="625"/>
                        </a:lnTo>
                        <a:lnTo>
                          <a:pt x="270" y="626"/>
                        </a:lnTo>
                        <a:lnTo>
                          <a:pt x="270" y="623"/>
                        </a:lnTo>
                        <a:lnTo>
                          <a:pt x="270" y="620"/>
                        </a:lnTo>
                        <a:lnTo>
                          <a:pt x="270" y="617"/>
                        </a:lnTo>
                        <a:lnTo>
                          <a:pt x="270" y="613"/>
                        </a:lnTo>
                        <a:lnTo>
                          <a:pt x="273" y="613"/>
                        </a:lnTo>
                        <a:lnTo>
                          <a:pt x="273" y="612"/>
                        </a:lnTo>
                        <a:lnTo>
                          <a:pt x="273" y="610"/>
                        </a:lnTo>
                        <a:lnTo>
                          <a:pt x="271" y="610"/>
                        </a:lnTo>
                        <a:lnTo>
                          <a:pt x="270" y="610"/>
                        </a:lnTo>
                        <a:lnTo>
                          <a:pt x="273" y="610"/>
                        </a:lnTo>
                        <a:lnTo>
                          <a:pt x="273" y="608"/>
                        </a:lnTo>
                        <a:lnTo>
                          <a:pt x="273" y="603"/>
                        </a:lnTo>
                        <a:lnTo>
                          <a:pt x="271" y="603"/>
                        </a:lnTo>
                        <a:lnTo>
                          <a:pt x="270" y="603"/>
                        </a:lnTo>
                        <a:lnTo>
                          <a:pt x="270" y="601"/>
                        </a:lnTo>
                        <a:lnTo>
                          <a:pt x="270" y="597"/>
                        </a:lnTo>
                        <a:lnTo>
                          <a:pt x="271" y="596"/>
                        </a:lnTo>
                        <a:lnTo>
                          <a:pt x="273" y="596"/>
                        </a:lnTo>
                        <a:lnTo>
                          <a:pt x="273" y="595"/>
                        </a:lnTo>
                        <a:lnTo>
                          <a:pt x="273" y="594"/>
                        </a:lnTo>
                        <a:lnTo>
                          <a:pt x="274" y="594"/>
                        </a:lnTo>
                        <a:lnTo>
                          <a:pt x="276" y="594"/>
                        </a:lnTo>
                        <a:lnTo>
                          <a:pt x="277" y="594"/>
                        </a:lnTo>
                        <a:lnTo>
                          <a:pt x="279" y="592"/>
                        </a:lnTo>
                        <a:lnTo>
                          <a:pt x="280" y="590"/>
                        </a:lnTo>
                        <a:lnTo>
                          <a:pt x="280" y="588"/>
                        </a:lnTo>
                        <a:lnTo>
                          <a:pt x="281" y="585"/>
                        </a:lnTo>
                        <a:lnTo>
                          <a:pt x="282" y="583"/>
                        </a:lnTo>
                        <a:lnTo>
                          <a:pt x="287" y="578"/>
                        </a:lnTo>
                        <a:lnTo>
                          <a:pt x="290" y="577"/>
                        </a:lnTo>
                        <a:lnTo>
                          <a:pt x="292" y="574"/>
                        </a:lnTo>
                        <a:lnTo>
                          <a:pt x="297" y="572"/>
                        </a:lnTo>
                        <a:lnTo>
                          <a:pt x="300" y="572"/>
                        </a:lnTo>
                        <a:lnTo>
                          <a:pt x="304" y="572"/>
                        </a:lnTo>
                        <a:lnTo>
                          <a:pt x="305" y="572"/>
                        </a:lnTo>
                        <a:lnTo>
                          <a:pt x="306" y="572"/>
                        </a:lnTo>
                        <a:lnTo>
                          <a:pt x="308" y="571"/>
                        </a:lnTo>
                        <a:lnTo>
                          <a:pt x="311" y="570"/>
                        </a:lnTo>
                        <a:lnTo>
                          <a:pt x="312" y="569"/>
                        </a:lnTo>
                        <a:lnTo>
                          <a:pt x="313" y="568"/>
                        </a:lnTo>
                        <a:lnTo>
                          <a:pt x="316" y="568"/>
                        </a:lnTo>
                        <a:lnTo>
                          <a:pt x="318" y="568"/>
                        </a:lnTo>
                        <a:lnTo>
                          <a:pt x="322" y="567"/>
                        </a:lnTo>
                        <a:lnTo>
                          <a:pt x="325" y="565"/>
                        </a:lnTo>
                        <a:lnTo>
                          <a:pt x="327" y="561"/>
                        </a:lnTo>
                        <a:lnTo>
                          <a:pt x="328" y="558"/>
                        </a:lnTo>
                        <a:lnTo>
                          <a:pt x="333" y="559"/>
                        </a:lnTo>
                        <a:lnTo>
                          <a:pt x="336" y="559"/>
                        </a:lnTo>
                        <a:lnTo>
                          <a:pt x="339" y="560"/>
                        </a:lnTo>
                        <a:lnTo>
                          <a:pt x="342" y="562"/>
                        </a:lnTo>
                        <a:lnTo>
                          <a:pt x="342" y="563"/>
                        </a:lnTo>
                        <a:lnTo>
                          <a:pt x="342" y="565"/>
                        </a:lnTo>
                        <a:lnTo>
                          <a:pt x="342" y="567"/>
                        </a:lnTo>
                        <a:lnTo>
                          <a:pt x="342" y="568"/>
                        </a:lnTo>
                        <a:lnTo>
                          <a:pt x="348" y="571"/>
                        </a:lnTo>
                        <a:lnTo>
                          <a:pt x="353" y="572"/>
                        </a:lnTo>
                        <a:lnTo>
                          <a:pt x="358" y="572"/>
                        </a:lnTo>
                        <a:lnTo>
                          <a:pt x="363" y="572"/>
                        </a:lnTo>
                        <a:lnTo>
                          <a:pt x="364" y="572"/>
                        </a:lnTo>
                        <a:lnTo>
                          <a:pt x="366" y="572"/>
                        </a:lnTo>
                        <a:lnTo>
                          <a:pt x="367" y="574"/>
                        </a:lnTo>
                        <a:lnTo>
                          <a:pt x="366" y="574"/>
                        </a:lnTo>
                        <a:lnTo>
                          <a:pt x="364" y="575"/>
                        </a:lnTo>
                        <a:lnTo>
                          <a:pt x="364" y="576"/>
                        </a:lnTo>
                        <a:lnTo>
                          <a:pt x="363" y="578"/>
                        </a:lnTo>
                        <a:lnTo>
                          <a:pt x="363" y="577"/>
                        </a:lnTo>
                        <a:lnTo>
                          <a:pt x="363" y="578"/>
                        </a:lnTo>
                        <a:lnTo>
                          <a:pt x="363" y="580"/>
                        </a:lnTo>
                        <a:lnTo>
                          <a:pt x="363" y="581"/>
                        </a:lnTo>
                        <a:lnTo>
                          <a:pt x="364" y="581"/>
                        </a:lnTo>
                        <a:lnTo>
                          <a:pt x="366" y="581"/>
                        </a:lnTo>
                        <a:lnTo>
                          <a:pt x="367" y="581"/>
                        </a:lnTo>
                        <a:lnTo>
                          <a:pt x="370" y="584"/>
                        </a:lnTo>
                        <a:lnTo>
                          <a:pt x="372" y="584"/>
                        </a:lnTo>
                        <a:lnTo>
                          <a:pt x="373" y="584"/>
                        </a:lnTo>
                        <a:lnTo>
                          <a:pt x="375" y="584"/>
                        </a:lnTo>
                        <a:lnTo>
                          <a:pt x="377" y="584"/>
                        </a:lnTo>
                        <a:lnTo>
                          <a:pt x="377" y="582"/>
                        </a:lnTo>
                        <a:lnTo>
                          <a:pt x="377" y="581"/>
                        </a:lnTo>
                        <a:lnTo>
                          <a:pt x="377" y="580"/>
                        </a:lnTo>
                        <a:lnTo>
                          <a:pt x="377" y="578"/>
                        </a:lnTo>
                        <a:lnTo>
                          <a:pt x="379" y="579"/>
                        </a:lnTo>
                        <a:lnTo>
                          <a:pt x="380" y="579"/>
                        </a:lnTo>
                        <a:lnTo>
                          <a:pt x="380" y="578"/>
                        </a:lnTo>
                        <a:lnTo>
                          <a:pt x="380" y="581"/>
                        </a:lnTo>
                        <a:lnTo>
                          <a:pt x="382" y="582"/>
                        </a:lnTo>
                        <a:lnTo>
                          <a:pt x="385" y="584"/>
                        </a:lnTo>
                        <a:lnTo>
                          <a:pt x="388" y="587"/>
                        </a:lnTo>
                        <a:lnTo>
                          <a:pt x="390" y="588"/>
                        </a:lnTo>
                        <a:lnTo>
                          <a:pt x="399" y="588"/>
                        </a:lnTo>
                        <a:lnTo>
                          <a:pt x="399" y="591"/>
                        </a:lnTo>
                        <a:lnTo>
                          <a:pt x="399" y="594"/>
                        </a:lnTo>
                        <a:lnTo>
                          <a:pt x="399" y="596"/>
                        </a:lnTo>
                        <a:lnTo>
                          <a:pt x="399" y="597"/>
                        </a:lnTo>
                        <a:lnTo>
                          <a:pt x="402" y="597"/>
                        </a:lnTo>
                        <a:lnTo>
                          <a:pt x="404" y="598"/>
                        </a:lnTo>
                        <a:lnTo>
                          <a:pt x="407" y="600"/>
                        </a:lnTo>
                        <a:lnTo>
                          <a:pt x="409" y="600"/>
                        </a:lnTo>
                        <a:lnTo>
                          <a:pt x="409" y="602"/>
                        </a:lnTo>
                        <a:lnTo>
                          <a:pt x="409" y="603"/>
                        </a:lnTo>
                        <a:lnTo>
                          <a:pt x="412" y="603"/>
                        </a:lnTo>
                        <a:lnTo>
                          <a:pt x="414" y="603"/>
                        </a:lnTo>
                        <a:lnTo>
                          <a:pt x="415" y="603"/>
                        </a:lnTo>
                        <a:lnTo>
                          <a:pt x="420" y="603"/>
                        </a:lnTo>
                        <a:lnTo>
                          <a:pt x="420" y="605"/>
                        </a:lnTo>
                        <a:lnTo>
                          <a:pt x="420" y="608"/>
                        </a:lnTo>
                        <a:lnTo>
                          <a:pt x="420" y="612"/>
                        </a:lnTo>
                        <a:lnTo>
                          <a:pt x="420" y="613"/>
                        </a:lnTo>
                        <a:lnTo>
                          <a:pt x="423" y="613"/>
                        </a:lnTo>
                        <a:lnTo>
                          <a:pt x="427" y="613"/>
                        </a:lnTo>
                        <a:lnTo>
                          <a:pt x="431" y="613"/>
                        </a:lnTo>
                        <a:lnTo>
                          <a:pt x="435" y="613"/>
                        </a:lnTo>
                        <a:lnTo>
                          <a:pt x="435" y="616"/>
                        </a:lnTo>
                        <a:lnTo>
                          <a:pt x="435" y="618"/>
                        </a:lnTo>
                        <a:lnTo>
                          <a:pt x="438" y="620"/>
                        </a:lnTo>
                        <a:lnTo>
                          <a:pt x="441" y="620"/>
                        </a:lnTo>
                        <a:lnTo>
                          <a:pt x="444" y="618"/>
                        </a:lnTo>
                        <a:lnTo>
                          <a:pt x="444" y="616"/>
                        </a:lnTo>
                        <a:lnTo>
                          <a:pt x="444" y="614"/>
                        </a:lnTo>
                        <a:lnTo>
                          <a:pt x="444" y="613"/>
                        </a:lnTo>
                        <a:lnTo>
                          <a:pt x="447" y="613"/>
                        </a:lnTo>
                        <a:lnTo>
                          <a:pt x="448" y="613"/>
                        </a:lnTo>
                        <a:lnTo>
                          <a:pt x="448" y="614"/>
                        </a:lnTo>
                        <a:lnTo>
                          <a:pt x="448" y="615"/>
                        </a:lnTo>
                        <a:lnTo>
                          <a:pt x="448" y="616"/>
                        </a:lnTo>
                        <a:lnTo>
                          <a:pt x="448" y="617"/>
                        </a:lnTo>
                        <a:lnTo>
                          <a:pt x="450" y="617"/>
                        </a:lnTo>
                        <a:lnTo>
                          <a:pt x="451" y="617"/>
                        </a:lnTo>
                        <a:lnTo>
                          <a:pt x="453" y="616"/>
                        </a:lnTo>
                        <a:lnTo>
                          <a:pt x="455" y="614"/>
                        </a:lnTo>
                        <a:lnTo>
                          <a:pt x="457" y="613"/>
                        </a:lnTo>
                        <a:lnTo>
                          <a:pt x="460" y="613"/>
                        </a:lnTo>
                        <a:lnTo>
                          <a:pt x="460" y="617"/>
                        </a:lnTo>
                        <a:lnTo>
                          <a:pt x="465" y="617"/>
                        </a:lnTo>
                        <a:lnTo>
                          <a:pt x="466" y="617"/>
                        </a:lnTo>
                        <a:lnTo>
                          <a:pt x="468" y="617"/>
                        </a:lnTo>
                        <a:lnTo>
                          <a:pt x="469" y="615"/>
                        </a:lnTo>
                        <a:lnTo>
                          <a:pt x="471" y="613"/>
                        </a:lnTo>
                        <a:lnTo>
                          <a:pt x="471" y="612"/>
                        </a:lnTo>
                        <a:lnTo>
                          <a:pt x="471" y="610"/>
                        </a:lnTo>
                        <a:lnTo>
                          <a:pt x="472" y="611"/>
                        </a:lnTo>
                        <a:lnTo>
                          <a:pt x="473" y="610"/>
                        </a:lnTo>
                        <a:lnTo>
                          <a:pt x="472" y="608"/>
                        </a:lnTo>
                        <a:lnTo>
                          <a:pt x="471" y="607"/>
                        </a:lnTo>
                        <a:lnTo>
                          <a:pt x="469" y="605"/>
                        </a:lnTo>
                        <a:lnTo>
                          <a:pt x="469" y="606"/>
                        </a:lnTo>
                        <a:lnTo>
                          <a:pt x="468" y="606"/>
                        </a:lnTo>
                        <a:lnTo>
                          <a:pt x="468" y="607"/>
                        </a:lnTo>
                        <a:lnTo>
                          <a:pt x="468" y="606"/>
                        </a:lnTo>
                        <a:lnTo>
                          <a:pt x="468" y="605"/>
                        </a:lnTo>
                        <a:lnTo>
                          <a:pt x="468" y="604"/>
                        </a:lnTo>
                        <a:lnTo>
                          <a:pt x="468" y="603"/>
                        </a:lnTo>
                        <a:lnTo>
                          <a:pt x="471" y="603"/>
                        </a:lnTo>
                        <a:lnTo>
                          <a:pt x="474" y="603"/>
                        </a:lnTo>
                        <a:lnTo>
                          <a:pt x="477" y="603"/>
                        </a:lnTo>
                        <a:lnTo>
                          <a:pt x="478" y="599"/>
                        </a:lnTo>
                        <a:lnTo>
                          <a:pt x="479" y="597"/>
                        </a:lnTo>
                        <a:lnTo>
                          <a:pt x="480" y="597"/>
                        </a:lnTo>
                        <a:lnTo>
                          <a:pt x="481" y="597"/>
                        </a:lnTo>
                        <a:lnTo>
                          <a:pt x="482" y="597"/>
                        </a:lnTo>
                        <a:lnTo>
                          <a:pt x="483" y="597"/>
                        </a:lnTo>
                        <a:lnTo>
                          <a:pt x="483" y="596"/>
                        </a:lnTo>
                        <a:lnTo>
                          <a:pt x="484" y="595"/>
                        </a:lnTo>
                        <a:lnTo>
                          <a:pt x="486" y="594"/>
                        </a:lnTo>
                        <a:lnTo>
                          <a:pt x="487" y="594"/>
                        </a:lnTo>
                        <a:lnTo>
                          <a:pt x="489" y="594"/>
                        </a:lnTo>
                        <a:lnTo>
                          <a:pt x="492" y="593"/>
                        </a:lnTo>
                        <a:lnTo>
                          <a:pt x="495" y="591"/>
                        </a:lnTo>
                        <a:lnTo>
                          <a:pt x="496" y="589"/>
                        </a:lnTo>
                        <a:lnTo>
                          <a:pt x="496" y="588"/>
                        </a:lnTo>
                        <a:lnTo>
                          <a:pt x="500" y="586"/>
                        </a:lnTo>
                        <a:lnTo>
                          <a:pt x="503" y="586"/>
                        </a:lnTo>
                        <a:lnTo>
                          <a:pt x="506" y="586"/>
                        </a:lnTo>
                        <a:lnTo>
                          <a:pt x="510" y="584"/>
                        </a:lnTo>
                        <a:lnTo>
                          <a:pt x="506" y="578"/>
                        </a:lnTo>
                        <a:lnTo>
                          <a:pt x="513" y="574"/>
                        </a:lnTo>
                        <a:lnTo>
                          <a:pt x="516" y="581"/>
                        </a:lnTo>
                        <a:lnTo>
                          <a:pt x="522" y="581"/>
                        </a:lnTo>
                        <a:lnTo>
                          <a:pt x="522" y="579"/>
                        </a:lnTo>
                        <a:lnTo>
                          <a:pt x="522" y="578"/>
                        </a:lnTo>
                        <a:lnTo>
                          <a:pt x="522" y="576"/>
                        </a:lnTo>
                        <a:lnTo>
                          <a:pt x="522" y="574"/>
                        </a:lnTo>
                        <a:lnTo>
                          <a:pt x="523" y="572"/>
                        </a:lnTo>
                        <a:lnTo>
                          <a:pt x="524" y="572"/>
                        </a:lnTo>
                        <a:lnTo>
                          <a:pt x="526" y="570"/>
                        </a:lnTo>
                        <a:lnTo>
                          <a:pt x="529" y="568"/>
                        </a:lnTo>
                        <a:lnTo>
                          <a:pt x="531" y="568"/>
                        </a:lnTo>
                        <a:lnTo>
                          <a:pt x="531" y="567"/>
                        </a:lnTo>
                        <a:lnTo>
                          <a:pt x="534" y="566"/>
                        </a:lnTo>
                        <a:lnTo>
                          <a:pt x="535" y="565"/>
                        </a:lnTo>
                        <a:lnTo>
                          <a:pt x="535" y="563"/>
                        </a:lnTo>
                        <a:lnTo>
                          <a:pt x="535" y="562"/>
                        </a:lnTo>
                        <a:lnTo>
                          <a:pt x="537" y="560"/>
                        </a:lnTo>
                        <a:lnTo>
                          <a:pt x="538" y="558"/>
                        </a:lnTo>
                        <a:lnTo>
                          <a:pt x="538" y="556"/>
                        </a:lnTo>
                        <a:lnTo>
                          <a:pt x="540" y="555"/>
                        </a:lnTo>
                        <a:lnTo>
                          <a:pt x="541" y="554"/>
                        </a:lnTo>
                        <a:lnTo>
                          <a:pt x="541" y="552"/>
                        </a:lnTo>
                        <a:lnTo>
                          <a:pt x="540" y="552"/>
                        </a:lnTo>
                        <a:lnTo>
                          <a:pt x="538" y="551"/>
                        </a:lnTo>
                        <a:lnTo>
                          <a:pt x="538" y="550"/>
                        </a:lnTo>
                        <a:lnTo>
                          <a:pt x="538" y="548"/>
                        </a:lnTo>
                        <a:lnTo>
                          <a:pt x="537" y="547"/>
                        </a:lnTo>
                        <a:lnTo>
                          <a:pt x="537" y="546"/>
                        </a:lnTo>
                        <a:lnTo>
                          <a:pt x="537" y="545"/>
                        </a:lnTo>
                        <a:lnTo>
                          <a:pt x="535" y="543"/>
                        </a:lnTo>
                        <a:lnTo>
                          <a:pt x="534" y="543"/>
                        </a:lnTo>
                        <a:lnTo>
                          <a:pt x="531" y="544"/>
                        </a:lnTo>
                        <a:lnTo>
                          <a:pt x="529" y="543"/>
                        </a:lnTo>
                        <a:lnTo>
                          <a:pt x="526" y="542"/>
                        </a:lnTo>
                        <a:lnTo>
                          <a:pt x="524" y="541"/>
                        </a:lnTo>
                        <a:lnTo>
                          <a:pt x="519" y="536"/>
                        </a:lnTo>
                        <a:lnTo>
                          <a:pt x="516" y="535"/>
                        </a:lnTo>
                        <a:lnTo>
                          <a:pt x="514" y="534"/>
                        </a:lnTo>
                        <a:lnTo>
                          <a:pt x="510" y="529"/>
                        </a:lnTo>
                        <a:lnTo>
                          <a:pt x="507" y="527"/>
                        </a:lnTo>
                        <a:lnTo>
                          <a:pt x="506" y="525"/>
                        </a:lnTo>
                        <a:lnTo>
                          <a:pt x="505" y="524"/>
                        </a:lnTo>
                        <a:lnTo>
                          <a:pt x="503" y="520"/>
                        </a:lnTo>
                        <a:lnTo>
                          <a:pt x="500" y="518"/>
                        </a:lnTo>
                        <a:lnTo>
                          <a:pt x="497" y="515"/>
                        </a:lnTo>
                        <a:lnTo>
                          <a:pt x="497" y="513"/>
                        </a:lnTo>
                        <a:lnTo>
                          <a:pt x="498" y="511"/>
                        </a:lnTo>
                        <a:lnTo>
                          <a:pt x="500" y="510"/>
                        </a:lnTo>
                        <a:lnTo>
                          <a:pt x="502" y="508"/>
                        </a:lnTo>
                        <a:lnTo>
                          <a:pt x="503" y="507"/>
                        </a:lnTo>
                        <a:lnTo>
                          <a:pt x="504" y="505"/>
                        </a:lnTo>
                        <a:lnTo>
                          <a:pt x="506" y="503"/>
                        </a:lnTo>
                        <a:lnTo>
                          <a:pt x="507" y="500"/>
                        </a:lnTo>
                        <a:lnTo>
                          <a:pt x="507" y="496"/>
                        </a:lnTo>
                        <a:lnTo>
                          <a:pt x="510" y="494"/>
                        </a:lnTo>
                        <a:lnTo>
                          <a:pt x="513" y="491"/>
                        </a:lnTo>
                        <a:lnTo>
                          <a:pt x="513" y="488"/>
                        </a:lnTo>
                        <a:lnTo>
                          <a:pt x="513" y="485"/>
                        </a:lnTo>
                        <a:lnTo>
                          <a:pt x="511" y="482"/>
                        </a:lnTo>
                        <a:lnTo>
                          <a:pt x="510" y="477"/>
                        </a:lnTo>
                        <a:lnTo>
                          <a:pt x="508" y="477"/>
                        </a:lnTo>
                        <a:lnTo>
                          <a:pt x="507" y="477"/>
                        </a:lnTo>
                        <a:lnTo>
                          <a:pt x="506" y="477"/>
                        </a:lnTo>
                        <a:lnTo>
                          <a:pt x="504" y="478"/>
                        </a:lnTo>
                        <a:lnTo>
                          <a:pt x="503" y="479"/>
                        </a:lnTo>
                        <a:lnTo>
                          <a:pt x="502" y="479"/>
                        </a:lnTo>
                        <a:lnTo>
                          <a:pt x="500" y="477"/>
                        </a:lnTo>
                        <a:lnTo>
                          <a:pt x="498" y="477"/>
                        </a:lnTo>
                        <a:lnTo>
                          <a:pt x="498" y="476"/>
                        </a:lnTo>
                        <a:lnTo>
                          <a:pt x="498" y="474"/>
                        </a:lnTo>
                        <a:lnTo>
                          <a:pt x="496" y="472"/>
                        </a:lnTo>
                        <a:lnTo>
                          <a:pt x="496" y="471"/>
                        </a:lnTo>
                        <a:lnTo>
                          <a:pt x="495" y="470"/>
                        </a:lnTo>
                        <a:lnTo>
                          <a:pt x="493" y="468"/>
                        </a:lnTo>
                        <a:lnTo>
                          <a:pt x="493" y="465"/>
                        </a:lnTo>
                        <a:lnTo>
                          <a:pt x="489" y="465"/>
                        </a:lnTo>
                        <a:lnTo>
                          <a:pt x="487" y="464"/>
                        </a:lnTo>
                        <a:lnTo>
                          <a:pt x="486" y="462"/>
                        </a:lnTo>
                        <a:lnTo>
                          <a:pt x="489" y="460"/>
                        </a:lnTo>
                        <a:lnTo>
                          <a:pt x="492" y="460"/>
                        </a:lnTo>
                        <a:lnTo>
                          <a:pt x="493" y="458"/>
                        </a:lnTo>
                        <a:lnTo>
                          <a:pt x="495" y="457"/>
                        </a:lnTo>
                        <a:lnTo>
                          <a:pt x="498" y="457"/>
                        </a:lnTo>
                        <a:lnTo>
                          <a:pt x="500" y="456"/>
                        </a:lnTo>
                        <a:lnTo>
                          <a:pt x="503" y="455"/>
                        </a:lnTo>
                        <a:lnTo>
                          <a:pt x="505" y="454"/>
                        </a:lnTo>
                        <a:lnTo>
                          <a:pt x="507" y="453"/>
                        </a:lnTo>
                        <a:lnTo>
                          <a:pt x="508" y="452"/>
                        </a:lnTo>
                        <a:lnTo>
                          <a:pt x="510" y="449"/>
                        </a:lnTo>
                        <a:lnTo>
                          <a:pt x="513" y="449"/>
                        </a:lnTo>
                        <a:lnTo>
                          <a:pt x="516" y="448"/>
                        </a:lnTo>
                        <a:lnTo>
                          <a:pt x="516" y="446"/>
                        </a:lnTo>
                        <a:lnTo>
                          <a:pt x="517" y="444"/>
                        </a:lnTo>
                        <a:lnTo>
                          <a:pt x="519" y="443"/>
                        </a:lnTo>
                        <a:lnTo>
                          <a:pt x="519" y="441"/>
                        </a:lnTo>
                        <a:lnTo>
                          <a:pt x="519" y="439"/>
                        </a:lnTo>
                        <a:lnTo>
                          <a:pt x="514" y="439"/>
                        </a:lnTo>
                        <a:lnTo>
                          <a:pt x="513" y="438"/>
                        </a:lnTo>
                        <a:lnTo>
                          <a:pt x="513" y="436"/>
                        </a:lnTo>
                        <a:lnTo>
                          <a:pt x="513" y="431"/>
                        </a:lnTo>
                        <a:lnTo>
                          <a:pt x="513" y="428"/>
                        </a:lnTo>
                        <a:lnTo>
                          <a:pt x="516" y="427"/>
                        </a:lnTo>
                        <a:lnTo>
                          <a:pt x="516" y="426"/>
                        </a:lnTo>
                        <a:lnTo>
                          <a:pt x="516" y="425"/>
                        </a:lnTo>
                        <a:lnTo>
                          <a:pt x="516" y="423"/>
                        </a:lnTo>
                        <a:lnTo>
                          <a:pt x="516" y="421"/>
                        </a:lnTo>
                        <a:lnTo>
                          <a:pt x="517" y="420"/>
                        </a:lnTo>
                        <a:lnTo>
                          <a:pt x="517" y="419"/>
                        </a:lnTo>
                        <a:lnTo>
                          <a:pt x="516" y="417"/>
                        </a:lnTo>
                        <a:lnTo>
                          <a:pt x="516" y="416"/>
                        </a:lnTo>
                        <a:lnTo>
                          <a:pt x="514" y="415"/>
                        </a:lnTo>
                        <a:lnTo>
                          <a:pt x="513" y="413"/>
                        </a:lnTo>
                        <a:lnTo>
                          <a:pt x="513" y="411"/>
                        </a:lnTo>
                        <a:lnTo>
                          <a:pt x="514" y="410"/>
                        </a:lnTo>
                        <a:lnTo>
                          <a:pt x="516" y="410"/>
                        </a:lnTo>
                        <a:lnTo>
                          <a:pt x="517" y="408"/>
                        </a:lnTo>
                        <a:lnTo>
                          <a:pt x="519" y="405"/>
                        </a:lnTo>
                        <a:lnTo>
                          <a:pt x="519" y="404"/>
                        </a:lnTo>
                        <a:lnTo>
                          <a:pt x="519" y="401"/>
                        </a:lnTo>
                        <a:lnTo>
                          <a:pt x="519" y="399"/>
                        </a:lnTo>
                        <a:lnTo>
                          <a:pt x="517" y="396"/>
                        </a:lnTo>
                        <a:lnTo>
                          <a:pt x="516" y="393"/>
                        </a:lnTo>
                        <a:lnTo>
                          <a:pt x="514" y="393"/>
                        </a:lnTo>
                        <a:lnTo>
                          <a:pt x="513" y="391"/>
                        </a:lnTo>
                        <a:lnTo>
                          <a:pt x="513" y="390"/>
                        </a:lnTo>
                        <a:lnTo>
                          <a:pt x="513" y="389"/>
                        </a:lnTo>
                        <a:lnTo>
                          <a:pt x="513" y="388"/>
                        </a:lnTo>
                        <a:lnTo>
                          <a:pt x="513" y="387"/>
                        </a:lnTo>
                        <a:lnTo>
                          <a:pt x="511" y="386"/>
                        </a:lnTo>
                        <a:lnTo>
                          <a:pt x="510" y="386"/>
                        </a:lnTo>
                        <a:lnTo>
                          <a:pt x="510" y="384"/>
                        </a:lnTo>
                        <a:lnTo>
                          <a:pt x="510" y="383"/>
                        </a:lnTo>
                        <a:lnTo>
                          <a:pt x="513" y="381"/>
                        </a:lnTo>
                        <a:lnTo>
                          <a:pt x="513" y="380"/>
                        </a:lnTo>
                        <a:lnTo>
                          <a:pt x="513" y="379"/>
                        </a:lnTo>
                        <a:lnTo>
                          <a:pt x="513" y="378"/>
                        </a:lnTo>
                        <a:lnTo>
                          <a:pt x="510" y="378"/>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8" name="Freeform 2099">
                    <a:extLst>
                      <a:ext uri="{FF2B5EF4-FFF2-40B4-BE49-F238E27FC236}">
                        <a16:creationId xmlns:a16="http://schemas.microsoft.com/office/drawing/2014/main" xmlns="" id="{D1747FBF-014A-40FD-BDC2-473AA3539ECB}"/>
                      </a:ext>
                    </a:extLst>
                  </p:cNvPr>
                  <p:cNvSpPr>
                    <a:spLocks/>
                  </p:cNvSpPr>
                  <p:nvPr/>
                </p:nvSpPr>
                <p:spPr bwMode="gray">
                  <a:xfrm>
                    <a:off x="4210674" y="3986188"/>
                    <a:ext cx="64524" cy="133493"/>
                  </a:xfrm>
                  <a:custGeom>
                    <a:avLst/>
                    <a:gdLst>
                      <a:gd name="T0" fmla="*/ 2147483647 w 58"/>
                      <a:gd name="T1" fmla="*/ 0 h 120"/>
                      <a:gd name="T2" fmla="*/ 2147483647 w 58"/>
                      <a:gd name="T3" fmla="*/ 2147483647 h 120"/>
                      <a:gd name="T4" fmla="*/ 2147483647 w 58"/>
                      <a:gd name="T5" fmla="*/ 2147483647 h 120"/>
                      <a:gd name="T6" fmla="*/ 2147483647 w 58"/>
                      <a:gd name="T7" fmla="*/ 2147483647 h 120"/>
                      <a:gd name="T8" fmla="*/ 2147483647 w 58"/>
                      <a:gd name="T9" fmla="*/ 2147483647 h 120"/>
                      <a:gd name="T10" fmla="*/ 2147483647 w 58"/>
                      <a:gd name="T11" fmla="*/ 2147483647 h 120"/>
                      <a:gd name="T12" fmla="*/ 2147483647 w 58"/>
                      <a:gd name="T13" fmla="*/ 2147483647 h 120"/>
                      <a:gd name="T14" fmla="*/ 2147483647 w 58"/>
                      <a:gd name="T15" fmla="*/ 2147483647 h 120"/>
                      <a:gd name="T16" fmla="*/ 2147483647 w 58"/>
                      <a:gd name="T17" fmla="*/ 2147483647 h 120"/>
                      <a:gd name="T18" fmla="*/ 2147483647 w 58"/>
                      <a:gd name="T19" fmla="*/ 2147483647 h 120"/>
                      <a:gd name="T20" fmla="*/ 2147483647 w 58"/>
                      <a:gd name="T21" fmla="*/ 2147483647 h 120"/>
                      <a:gd name="T22" fmla="*/ 2147483647 w 58"/>
                      <a:gd name="T23" fmla="*/ 2147483647 h 120"/>
                      <a:gd name="T24" fmla="*/ 2147483647 w 58"/>
                      <a:gd name="T25" fmla="*/ 2147483647 h 120"/>
                      <a:gd name="T26" fmla="*/ 2147483647 w 58"/>
                      <a:gd name="T27" fmla="*/ 2147483647 h 120"/>
                      <a:gd name="T28" fmla="*/ 2147483647 w 58"/>
                      <a:gd name="T29" fmla="*/ 2147483647 h 120"/>
                      <a:gd name="T30" fmla="*/ 2147483647 w 58"/>
                      <a:gd name="T31" fmla="*/ 2147483647 h 120"/>
                      <a:gd name="T32" fmla="*/ 2147483647 w 58"/>
                      <a:gd name="T33" fmla="*/ 2147483647 h 120"/>
                      <a:gd name="T34" fmla="*/ 2147483647 w 58"/>
                      <a:gd name="T35" fmla="*/ 2147483647 h 120"/>
                      <a:gd name="T36" fmla="*/ 2147483647 w 58"/>
                      <a:gd name="T37" fmla="*/ 2147483647 h 120"/>
                      <a:gd name="T38" fmla="*/ 2147483647 w 58"/>
                      <a:gd name="T39" fmla="*/ 2147483647 h 120"/>
                      <a:gd name="T40" fmla="*/ 2147483647 w 58"/>
                      <a:gd name="T41" fmla="*/ 2147483647 h 120"/>
                      <a:gd name="T42" fmla="*/ 2147483647 w 58"/>
                      <a:gd name="T43" fmla="*/ 2147483647 h 120"/>
                      <a:gd name="T44" fmla="*/ 2147483647 w 58"/>
                      <a:gd name="T45" fmla="*/ 2147483647 h 120"/>
                      <a:gd name="T46" fmla="*/ 2147483647 w 58"/>
                      <a:gd name="T47" fmla="*/ 2147483647 h 120"/>
                      <a:gd name="T48" fmla="*/ 2147483647 w 58"/>
                      <a:gd name="T49" fmla="*/ 2147483647 h 120"/>
                      <a:gd name="T50" fmla="*/ 2147483647 w 58"/>
                      <a:gd name="T51" fmla="*/ 2147483647 h 120"/>
                      <a:gd name="T52" fmla="*/ 2147483647 w 58"/>
                      <a:gd name="T53" fmla="*/ 2147483647 h 120"/>
                      <a:gd name="T54" fmla="*/ 2147483647 w 58"/>
                      <a:gd name="T55" fmla="*/ 2147483647 h 120"/>
                      <a:gd name="T56" fmla="*/ 2147483647 w 58"/>
                      <a:gd name="T57" fmla="*/ 2147483647 h 120"/>
                      <a:gd name="T58" fmla="*/ 2147483647 w 58"/>
                      <a:gd name="T59" fmla="*/ 2147483647 h 120"/>
                      <a:gd name="T60" fmla="*/ 2147483647 w 58"/>
                      <a:gd name="T61" fmla="*/ 2147483647 h 120"/>
                      <a:gd name="T62" fmla="*/ 2147483647 w 58"/>
                      <a:gd name="T63" fmla="*/ 2147483647 h 120"/>
                      <a:gd name="T64" fmla="*/ 2147483647 w 58"/>
                      <a:gd name="T65" fmla="*/ 2147483647 h 120"/>
                      <a:gd name="T66" fmla="*/ 2147483647 w 58"/>
                      <a:gd name="T67" fmla="*/ 2147483647 h 120"/>
                      <a:gd name="T68" fmla="*/ 2147483647 w 58"/>
                      <a:gd name="T69" fmla="*/ 2147483647 h 120"/>
                      <a:gd name="T70" fmla="*/ 2147483647 w 58"/>
                      <a:gd name="T71" fmla="*/ 2147483647 h 120"/>
                      <a:gd name="T72" fmla="*/ 2147483647 w 58"/>
                      <a:gd name="T73" fmla="*/ 2147483647 h 120"/>
                      <a:gd name="T74" fmla="*/ 2147483647 w 58"/>
                      <a:gd name="T75" fmla="*/ 2147483647 h 120"/>
                      <a:gd name="T76" fmla="*/ 2147483647 w 58"/>
                      <a:gd name="T77" fmla="*/ 2147483647 h 120"/>
                      <a:gd name="T78" fmla="*/ 2147483647 w 58"/>
                      <a:gd name="T79" fmla="*/ 2147483647 h 120"/>
                      <a:gd name="T80" fmla="*/ 2147483647 w 58"/>
                      <a:gd name="T81" fmla="*/ 2147483647 h 120"/>
                      <a:gd name="T82" fmla="*/ 2147483647 w 58"/>
                      <a:gd name="T83" fmla="*/ 2147483647 h 120"/>
                      <a:gd name="T84" fmla="*/ 2147483647 w 58"/>
                      <a:gd name="T85" fmla="*/ 2147483647 h 120"/>
                      <a:gd name="T86" fmla="*/ 2147483647 w 58"/>
                      <a:gd name="T87" fmla="*/ 2147483647 h 120"/>
                      <a:gd name="T88" fmla="*/ 2147483647 w 58"/>
                      <a:gd name="T89" fmla="*/ 2147483647 h 120"/>
                      <a:gd name="T90" fmla="*/ 2147483647 w 58"/>
                      <a:gd name="T91" fmla="*/ 2147483647 h 120"/>
                      <a:gd name="T92" fmla="*/ 2147483647 w 58"/>
                      <a:gd name="T93" fmla="*/ 2147483647 h 120"/>
                      <a:gd name="T94" fmla="*/ 2147483647 w 58"/>
                      <a:gd name="T95" fmla="*/ 2147483647 h 120"/>
                      <a:gd name="T96" fmla="*/ 2147483647 w 58"/>
                      <a:gd name="T97" fmla="*/ 2147483647 h 120"/>
                      <a:gd name="T98" fmla="*/ 2147483647 w 58"/>
                      <a:gd name="T99" fmla="*/ 2147483647 h 120"/>
                      <a:gd name="T100" fmla="*/ 2147483647 w 58"/>
                      <a:gd name="T101" fmla="*/ 2147483647 h 120"/>
                      <a:gd name="T102" fmla="*/ 2147483647 w 58"/>
                      <a:gd name="T103" fmla="*/ 2147483647 h 120"/>
                      <a:gd name="T104" fmla="*/ 2147483647 w 58"/>
                      <a:gd name="T105" fmla="*/ 0 h 120"/>
                      <a:gd name="T106" fmla="*/ 2147483647 w 58"/>
                      <a:gd name="T107" fmla="*/ 0 h 1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8" h="120">
                        <a:moveTo>
                          <a:pt x="54" y="0"/>
                        </a:moveTo>
                        <a:lnTo>
                          <a:pt x="54" y="0"/>
                        </a:lnTo>
                        <a:lnTo>
                          <a:pt x="52" y="0"/>
                        </a:lnTo>
                        <a:lnTo>
                          <a:pt x="48" y="0"/>
                        </a:lnTo>
                        <a:lnTo>
                          <a:pt x="48" y="3"/>
                        </a:lnTo>
                        <a:lnTo>
                          <a:pt x="49" y="5"/>
                        </a:lnTo>
                        <a:lnTo>
                          <a:pt x="49" y="7"/>
                        </a:lnTo>
                        <a:lnTo>
                          <a:pt x="48" y="7"/>
                        </a:lnTo>
                        <a:lnTo>
                          <a:pt x="48" y="8"/>
                        </a:lnTo>
                        <a:lnTo>
                          <a:pt x="48" y="9"/>
                        </a:lnTo>
                        <a:lnTo>
                          <a:pt x="47" y="12"/>
                        </a:lnTo>
                        <a:lnTo>
                          <a:pt x="47" y="14"/>
                        </a:lnTo>
                        <a:lnTo>
                          <a:pt x="47" y="16"/>
                        </a:lnTo>
                        <a:lnTo>
                          <a:pt x="48" y="16"/>
                        </a:lnTo>
                        <a:lnTo>
                          <a:pt x="48" y="17"/>
                        </a:lnTo>
                        <a:lnTo>
                          <a:pt x="48" y="18"/>
                        </a:lnTo>
                        <a:lnTo>
                          <a:pt x="48" y="19"/>
                        </a:lnTo>
                        <a:lnTo>
                          <a:pt x="48" y="20"/>
                        </a:lnTo>
                        <a:lnTo>
                          <a:pt x="44" y="21"/>
                        </a:lnTo>
                        <a:lnTo>
                          <a:pt x="41" y="20"/>
                        </a:lnTo>
                        <a:lnTo>
                          <a:pt x="39" y="19"/>
                        </a:lnTo>
                        <a:lnTo>
                          <a:pt x="38" y="16"/>
                        </a:lnTo>
                        <a:lnTo>
                          <a:pt x="35" y="19"/>
                        </a:lnTo>
                        <a:lnTo>
                          <a:pt x="32" y="23"/>
                        </a:lnTo>
                        <a:lnTo>
                          <a:pt x="29" y="25"/>
                        </a:lnTo>
                        <a:lnTo>
                          <a:pt x="26" y="26"/>
                        </a:lnTo>
                        <a:lnTo>
                          <a:pt x="22" y="28"/>
                        </a:lnTo>
                        <a:lnTo>
                          <a:pt x="18" y="28"/>
                        </a:lnTo>
                        <a:lnTo>
                          <a:pt x="15" y="28"/>
                        </a:lnTo>
                        <a:lnTo>
                          <a:pt x="13" y="30"/>
                        </a:lnTo>
                        <a:lnTo>
                          <a:pt x="13" y="31"/>
                        </a:lnTo>
                        <a:lnTo>
                          <a:pt x="13" y="32"/>
                        </a:lnTo>
                        <a:lnTo>
                          <a:pt x="8" y="37"/>
                        </a:lnTo>
                        <a:lnTo>
                          <a:pt x="5" y="38"/>
                        </a:lnTo>
                        <a:lnTo>
                          <a:pt x="0" y="39"/>
                        </a:lnTo>
                        <a:lnTo>
                          <a:pt x="2" y="41"/>
                        </a:lnTo>
                        <a:lnTo>
                          <a:pt x="3" y="43"/>
                        </a:lnTo>
                        <a:lnTo>
                          <a:pt x="5" y="45"/>
                        </a:lnTo>
                        <a:lnTo>
                          <a:pt x="7" y="45"/>
                        </a:lnTo>
                        <a:lnTo>
                          <a:pt x="5" y="49"/>
                        </a:lnTo>
                        <a:lnTo>
                          <a:pt x="4" y="52"/>
                        </a:lnTo>
                        <a:lnTo>
                          <a:pt x="4" y="55"/>
                        </a:lnTo>
                        <a:lnTo>
                          <a:pt x="3" y="58"/>
                        </a:lnTo>
                        <a:lnTo>
                          <a:pt x="4" y="60"/>
                        </a:lnTo>
                        <a:lnTo>
                          <a:pt x="5" y="63"/>
                        </a:lnTo>
                        <a:lnTo>
                          <a:pt x="5" y="65"/>
                        </a:lnTo>
                        <a:lnTo>
                          <a:pt x="3" y="68"/>
                        </a:lnTo>
                        <a:lnTo>
                          <a:pt x="2" y="70"/>
                        </a:lnTo>
                        <a:lnTo>
                          <a:pt x="2" y="71"/>
                        </a:lnTo>
                        <a:lnTo>
                          <a:pt x="3" y="73"/>
                        </a:lnTo>
                        <a:lnTo>
                          <a:pt x="3" y="75"/>
                        </a:lnTo>
                        <a:lnTo>
                          <a:pt x="4" y="75"/>
                        </a:lnTo>
                        <a:lnTo>
                          <a:pt x="6" y="76"/>
                        </a:lnTo>
                        <a:lnTo>
                          <a:pt x="8" y="77"/>
                        </a:lnTo>
                        <a:lnTo>
                          <a:pt x="10" y="78"/>
                        </a:lnTo>
                        <a:lnTo>
                          <a:pt x="9" y="80"/>
                        </a:lnTo>
                        <a:lnTo>
                          <a:pt x="7" y="80"/>
                        </a:lnTo>
                        <a:lnTo>
                          <a:pt x="5" y="82"/>
                        </a:lnTo>
                        <a:lnTo>
                          <a:pt x="3" y="84"/>
                        </a:lnTo>
                        <a:lnTo>
                          <a:pt x="3" y="85"/>
                        </a:lnTo>
                        <a:lnTo>
                          <a:pt x="3" y="87"/>
                        </a:lnTo>
                        <a:lnTo>
                          <a:pt x="5" y="87"/>
                        </a:lnTo>
                        <a:lnTo>
                          <a:pt x="6" y="88"/>
                        </a:lnTo>
                        <a:lnTo>
                          <a:pt x="7" y="89"/>
                        </a:lnTo>
                        <a:lnTo>
                          <a:pt x="7" y="90"/>
                        </a:lnTo>
                        <a:lnTo>
                          <a:pt x="8" y="91"/>
                        </a:lnTo>
                        <a:lnTo>
                          <a:pt x="9" y="92"/>
                        </a:lnTo>
                        <a:lnTo>
                          <a:pt x="9" y="93"/>
                        </a:lnTo>
                        <a:lnTo>
                          <a:pt x="10" y="94"/>
                        </a:lnTo>
                        <a:lnTo>
                          <a:pt x="8" y="94"/>
                        </a:lnTo>
                        <a:lnTo>
                          <a:pt x="7" y="94"/>
                        </a:lnTo>
                        <a:lnTo>
                          <a:pt x="5" y="94"/>
                        </a:lnTo>
                        <a:lnTo>
                          <a:pt x="3" y="94"/>
                        </a:lnTo>
                        <a:lnTo>
                          <a:pt x="3" y="95"/>
                        </a:lnTo>
                        <a:lnTo>
                          <a:pt x="3" y="97"/>
                        </a:lnTo>
                        <a:lnTo>
                          <a:pt x="3" y="99"/>
                        </a:lnTo>
                        <a:lnTo>
                          <a:pt x="3" y="100"/>
                        </a:lnTo>
                        <a:lnTo>
                          <a:pt x="6" y="102"/>
                        </a:lnTo>
                        <a:lnTo>
                          <a:pt x="8" y="103"/>
                        </a:lnTo>
                        <a:lnTo>
                          <a:pt x="10" y="104"/>
                        </a:lnTo>
                        <a:lnTo>
                          <a:pt x="12" y="105"/>
                        </a:lnTo>
                        <a:lnTo>
                          <a:pt x="12" y="107"/>
                        </a:lnTo>
                        <a:lnTo>
                          <a:pt x="13" y="109"/>
                        </a:lnTo>
                        <a:lnTo>
                          <a:pt x="13" y="110"/>
                        </a:lnTo>
                        <a:lnTo>
                          <a:pt x="17" y="110"/>
                        </a:lnTo>
                        <a:lnTo>
                          <a:pt x="19" y="110"/>
                        </a:lnTo>
                        <a:lnTo>
                          <a:pt x="20" y="111"/>
                        </a:lnTo>
                        <a:lnTo>
                          <a:pt x="21" y="113"/>
                        </a:lnTo>
                        <a:lnTo>
                          <a:pt x="22" y="117"/>
                        </a:lnTo>
                        <a:lnTo>
                          <a:pt x="23" y="120"/>
                        </a:lnTo>
                        <a:lnTo>
                          <a:pt x="25" y="120"/>
                        </a:lnTo>
                        <a:lnTo>
                          <a:pt x="29" y="120"/>
                        </a:lnTo>
                        <a:lnTo>
                          <a:pt x="30" y="117"/>
                        </a:lnTo>
                        <a:lnTo>
                          <a:pt x="31" y="115"/>
                        </a:lnTo>
                        <a:lnTo>
                          <a:pt x="32" y="112"/>
                        </a:lnTo>
                        <a:lnTo>
                          <a:pt x="32" y="110"/>
                        </a:lnTo>
                        <a:lnTo>
                          <a:pt x="34" y="109"/>
                        </a:lnTo>
                        <a:lnTo>
                          <a:pt x="36" y="108"/>
                        </a:lnTo>
                        <a:lnTo>
                          <a:pt x="38" y="107"/>
                        </a:lnTo>
                        <a:lnTo>
                          <a:pt x="38" y="106"/>
                        </a:lnTo>
                        <a:lnTo>
                          <a:pt x="38" y="104"/>
                        </a:lnTo>
                        <a:lnTo>
                          <a:pt x="38" y="102"/>
                        </a:lnTo>
                        <a:lnTo>
                          <a:pt x="38" y="100"/>
                        </a:lnTo>
                        <a:lnTo>
                          <a:pt x="39" y="100"/>
                        </a:lnTo>
                        <a:lnTo>
                          <a:pt x="40" y="100"/>
                        </a:lnTo>
                        <a:lnTo>
                          <a:pt x="41" y="99"/>
                        </a:lnTo>
                        <a:lnTo>
                          <a:pt x="42" y="97"/>
                        </a:lnTo>
                        <a:lnTo>
                          <a:pt x="43" y="92"/>
                        </a:lnTo>
                        <a:lnTo>
                          <a:pt x="44" y="87"/>
                        </a:lnTo>
                        <a:lnTo>
                          <a:pt x="44" y="82"/>
                        </a:lnTo>
                        <a:lnTo>
                          <a:pt x="45" y="78"/>
                        </a:lnTo>
                        <a:lnTo>
                          <a:pt x="46" y="75"/>
                        </a:lnTo>
                        <a:lnTo>
                          <a:pt x="48" y="73"/>
                        </a:lnTo>
                        <a:lnTo>
                          <a:pt x="50" y="70"/>
                        </a:lnTo>
                        <a:lnTo>
                          <a:pt x="51" y="68"/>
                        </a:lnTo>
                        <a:lnTo>
                          <a:pt x="52" y="67"/>
                        </a:lnTo>
                        <a:lnTo>
                          <a:pt x="52" y="66"/>
                        </a:lnTo>
                        <a:lnTo>
                          <a:pt x="51" y="64"/>
                        </a:lnTo>
                        <a:lnTo>
                          <a:pt x="51" y="61"/>
                        </a:lnTo>
                        <a:lnTo>
                          <a:pt x="52" y="61"/>
                        </a:lnTo>
                        <a:lnTo>
                          <a:pt x="54" y="61"/>
                        </a:lnTo>
                        <a:lnTo>
                          <a:pt x="57" y="61"/>
                        </a:lnTo>
                        <a:lnTo>
                          <a:pt x="58" y="61"/>
                        </a:lnTo>
                        <a:lnTo>
                          <a:pt x="57" y="56"/>
                        </a:lnTo>
                        <a:lnTo>
                          <a:pt x="56" y="52"/>
                        </a:lnTo>
                        <a:lnTo>
                          <a:pt x="55" y="47"/>
                        </a:lnTo>
                        <a:lnTo>
                          <a:pt x="54" y="42"/>
                        </a:lnTo>
                        <a:lnTo>
                          <a:pt x="55" y="37"/>
                        </a:lnTo>
                        <a:lnTo>
                          <a:pt x="56" y="32"/>
                        </a:lnTo>
                        <a:lnTo>
                          <a:pt x="57" y="29"/>
                        </a:lnTo>
                        <a:lnTo>
                          <a:pt x="58" y="26"/>
                        </a:lnTo>
                        <a:lnTo>
                          <a:pt x="57" y="26"/>
                        </a:lnTo>
                        <a:lnTo>
                          <a:pt x="56" y="26"/>
                        </a:lnTo>
                        <a:lnTo>
                          <a:pt x="55" y="26"/>
                        </a:lnTo>
                        <a:lnTo>
                          <a:pt x="54" y="26"/>
                        </a:lnTo>
                        <a:lnTo>
                          <a:pt x="54" y="25"/>
                        </a:lnTo>
                        <a:lnTo>
                          <a:pt x="54" y="23"/>
                        </a:lnTo>
                        <a:lnTo>
                          <a:pt x="55" y="21"/>
                        </a:lnTo>
                        <a:lnTo>
                          <a:pt x="56" y="18"/>
                        </a:lnTo>
                        <a:lnTo>
                          <a:pt x="57" y="12"/>
                        </a:lnTo>
                        <a:lnTo>
                          <a:pt x="58" y="7"/>
                        </a:lnTo>
                        <a:lnTo>
                          <a:pt x="58" y="5"/>
                        </a:lnTo>
                        <a:lnTo>
                          <a:pt x="58" y="4"/>
                        </a:lnTo>
                        <a:lnTo>
                          <a:pt x="58" y="2"/>
                        </a:lnTo>
                        <a:lnTo>
                          <a:pt x="58" y="0"/>
                        </a:lnTo>
                        <a:lnTo>
                          <a:pt x="57" y="0"/>
                        </a:lnTo>
                        <a:lnTo>
                          <a:pt x="56" y="0"/>
                        </a:lnTo>
                        <a:lnTo>
                          <a:pt x="55" y="0"/>
                        </a:lnTo>
                        <a:lnTo>
                          <a:pt x="5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49" name="Freeform 2101">
                    <a:extLst>
                      <a:ext uri="{FF2B5EF4-FFF2-40B4-BE49-F238E27FC236}">
                        <a16:creationId xmlns:a16="http://schemas.microsoft.com/office/drawing/2014/main" xmlns="" id="{D8EF8E57-B622-4332-8642-09BDFF7EADF8}"/>
                      </a:ext>
                    </a:extLst>
                  </p:cNvPr>
                  <p:cNvSpPr>
                    <a:spLocks/>
                  </p:cNvSpPr>
                  <p:nvPr/>
                </p:nvSpPr>
                <p:spPr bwMode="gray">
                  <a:xfrm>
                    <a:off x="4080514" y="3953928"/>
                    <a:ext cx="3338" cy="4450"/>
                  </a:xfrm>
                  <a:custGeom>
                    <a:avLst/>
                    <a:gdLst>
                      <a:gd name="T0" fmla="*/ 2147483647 w 3"/>
                      <a:gd name="T1" fmla="*/ 0 h 4"/>
                      <a:gd name="T2" fmla="*/ 0 w 3"/>
                      <a:gd name="T3" fmla="*/ 2147483647 h 4"/>
                      <a:gd name="T4" fmla="*/ 2147483647 w 3"/>
                      <a:gd name="T5" fmla="*/ 2147483647 h 4"/>
                      <a:gd name="T6" fmla="*/ 2147483647 w 3"/>
                      <a:gd name="T7" fmla="*/ 2147483647 h 4"/>
                      <a:gd name="T8" fmla="*/ 2147483647 w 3"/>
                      <a:gd name="T9" fmla="*/ 2147483647 h 4"/>
                      <a:gd name="T10" fmla="*/ 2147483647 w 3"/>
                      <a:gd name="T11" fmla="*/ 2147483647 h 4"/>
                      <a:gd name="T12" fmla="*/ 2147483647 w 3"/>
                      <a:gd name="T13" fmla="*/ 2147483647 h 4"/>
                      <a:gd name="T14" fmla="*/ 2147483647 w 3"/>
                      <a:gd name="T15" fmla="*/ 0 h 4"/>
                      <a:gd name="T16" fmla="*/ 2147483647 w 3"/>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4">
                        <a:moveTo>
                          <a:pt x="1" y="0"/>
                        </a:moveTo>
                        <a:lnTo>
                          <a:pt x="0" y="1"/>
                        </a:lnTo>
                        <a:lnTo>
                          <a:pt x="2" y="2"/>
                        </a:lnTo>
                        <a:lnTo>
                          <a:pt x="2" y="4"/>
                        </a:lnTo>
                        <a:lnTo>
                          <a:pt x="3" y="4"/>
                        </a:lnTo>
                        <a:lnTo>
                          <a:pt x="3" y="2"/>
                        </a:lnTo>
                        <a:lnTo>
                          <a:pt x="3" y="1"/>
                        </a:lnTo>
                        <a:lnTo>
                          <a:pt x="2"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0" name="Freeform 2103">
                    <a:extLst>
                      <a:ext uri="{FF2B5EF4-FFF2-40B4-BE49-F238E27FC236}">
                        <a16:creationId xmlns:a16="http://schemas.microsoft.com/office/drawing/2014/main" xmlns="" id="{83242BB0-551C-46AB-8F59-32AAC69EB9F8}"/>
                      </a:ext>
                    </a:extLst>
                  </p:cNvPr>
                  <p:cNvSpPr>
                    <a:spLocks/>
                  </p:cNvSpPr>
                  <p:nvPr/>
                </p:nvSpPr>
                <p:spPr bwMode="gray">
                  <a:xfrm>
                    <a:off x="4067164" y="3953928"/>
                    <a:ext cx="4450" cy="4450"/>
                  </a:xfrm>
                  <a:custGeom>
                    <a:avLst/>
                    <a:gdLst>
                      <a:gd name="T0" fmla="*/ 2147483647 w 4"/>
                      <a:gd name="T1" fmla="*/ 0 h 4"/>
                      <a:gd name="T2" fmla="*/ 2147483647 w 4"/>
                      <a:gd name="T3" fmla="*/ 0 h 4"/>
                      <a:gd name="T4" fmla="*/ 2147483647 w 4"/>
                      <a:gd name="T5" fmla="*/ 0 h 4"/>
                      <a:gd name="T6" fmla="*/ 0 w 4"/>
                      <a:gd name="T7" fmla="*/ 0 h 4"/>
                      <a:gd name="T8" fmla="*/ 0 w 4"/>
                      <a:gd name="T9" fmla="*/ 0 h 4"/>
                      <a:gd name="T10" fmla="*/ 0 w 4"/>
                      <a:gd name="T11" fmla="*/ 2147483647 h 4"/>
                      <a:gd name="T12" fmla="*/ 0 w 4"/>
                      <a:gd name="T13" fmla="*/ 2147483647 h 4"/>
                      <a:gd name="T14" fmla="*/ 0 w 4"/>
                      <a:gd name="T15" fmla="*/ 2147483647 h 4"/>
                      <a:gd name="T16" fmla="*/ 2147483647 w 4"/>
                      <a:gd name="T17" fmla="*/ 2147483647 h 4"/>
                      <a:gd name="T18" fmla="*/ 2147483647 w 4"/>
                      <a:gd name="T19" fmla="*/ 2147483647 h 4"/>
                      <a:gd name="T20" fmla="*/ 2147483647 w 4"/>
                      <a:gd name="T21" fmla="*/ 0 h 4"/>
                      <a:gd name="T22" fmla="*/ 2147483647 w 4"/>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 h="4">
                        <a:moveTo>
                          <a:pt x="2" y="0"/>
                        </a:moveTo>
                        <a:lnTo>
                          <a:pt x="2" y="0"/>
                        </a:lnTo>
                        <a:lnTo>
                          <a:pt x="1" y="0"/>
                        </a:lnTo>
                        <a:lnTo>
                          <a:pt x="0" y="0"/>
                        </a:lnTo>
                        <a:lnTo>
                          <a:pt x="0" y="1"/>
                        </a:lnTo>
                        <a:lnTo>
                          <a:pt x="0" y="2"/>
                        </a:lnTo>
                        <a:lnTo>
                          <a:pt x="0" y="4"/>
                        </a:lnTo>
                        <a:lnTo>
                          <a:pt x="3" y="2"/>
                        </a:lnTo>
                        <a:lnTo>
                          <a:pt x="4" y="1"/>
                        </a:lnTo>
                        <a:lnTo>
                          <a:pt x="4" y="0"/>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1" name="Freeform 2105">
                    <a:extLst>
                      <a:ext uri="{FF2B5EF4-FFF2-40B4-BE49-F238E27FC236}">
                        <a16:creationId xmlns:a16="http://schemas.microsoft.com/office/drawing/2014/main" xmlns="" id="{618ED072-A201-4088-BE4C-3352E3784E64}"/>
                      </a:ext>
                    </a:extLst>
                  </p:cNvPr>
                  <p:cNvSpPr>
                    <a:spLocks/>
                  </p:cNvSpPr>
                  <p:nvPr/>
                </p:nvSpPr>
                <p:spPr bwMode="gray">
                  <a:xfrm>
                    <a:off x="4012651" y="3903869"/>
                    <a:ext cx="3338" cy="11125"/>
                  </a:xfrm>
                  <a:custGeom>
                    <a:avLst/>
                    <a:gdLst>
                      <a:gd name="T0" fmla="*/ 0 w 3"/>
                      <a:gd name="T1" fmla="*/ 0 h 10"/>
                      <a:gd name="T2" fmla="*/ 2147483647 w 3"/>
                      <a:gd name="T3" fmla="*/ 2147483647 h 10"/>
                      <a:gd name="T4" fmla="*/ 2147483647 w 3"/>
                      <a:gd name="T5" fmla="*/ 2147483647 h 10"/>
                      <a:gd name="T6" fmla="*/ 2147483647 w 3"/>
                      <a:gd name="T7" fmla="*/ 2147483647 h 10"/>
                      <a:gd name="T8" fmla="*/ 2147483647 w 3"/>
                      <a:gd name="T9" fmla="*/ 2147483647 h 10"/>
                      <a:gd name="T10" fmla="*/ 2147483647 w 3"/>
                      <a:gd name="T11" fmla="*/ 2147483647 h 10"/>
                      <a:gd name="T12" fmla="*/ 2147483647 w 3"/>
                      <a:gd name="T13" fmla="*/ 2147483647 h 10"/>
                      <a:gd name="T14" fmla="*/ 2147483647 w 3"/>
                      <a:gd name="T15" fmla="*/ 2147483647 h 10"/>
                      <a:gd name="T16" fmla="*/ 0 w 3"/>
                      <a:gd name="T17" fmla="*/ 2147483647 h 10"/>
                      <a:gd name="T18" fmla="*/ 0 w 3"/>
                      <a:gd name="T19" fmla="*/ 2147483647 h 10"/>
                      <a:gd name="T20" fmla="*/ 0 w 3"/>
                      <a:gd name="T21" fmla="*/ 2147483647 h 10"/>
                      <a:gd name="T22" fmla="*/ 0 w 3"/>
                      <a:gd name="T23" fmla="*/ 2147483647 h 10"/>
                      <a:gd name="T24" fmla="*/ 0 w 3"/>
                      <a:gd name="T25" fmla="*/ 2147483647 h 10"/>
                      <a:gd name="T26" fmla="*/ 0 w 3"/>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 h="10">
                        <a:moveTo>
                          <a:pt x="0" y="0"/>
                        </a:moveTo>
                        <a:lnTo>
                          <a:pt x="2" y="3"/>
                        </a:lnTo>
                        <a:lnTo>
                          <a:pt x="3" y="7"/>
                        </a:lnTo>
                        <a:lnTo>
                          <a:pt x="3" y="9"/>
                        </a:lnTo>
                        <a:lnTo>
                          <a:pt x="3" y="10"/>
                        </a:lnTo>
                        <a:lnTo>
                          <a:pt x="2" y="9"/>
                        </a:lnTo>
                        <a:lnTo>
                          <a:pt x="1" y="7"/>
                        </a:lnTo>
                        <a:lnTo>
                          <a:pt x="0" y="5"/>
                        </a:lnTo>
                        <a:lnTo>
                          <a:pt x="0" y="4"/>
                        </a:lnTo>
                        <a:lnTo>
                          <a:pt x="0" y="3"/>
                        </a:lnTo>
                        <a:lnTo>
                          <a:pt x="0" y="2"/>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2" name="Freeform 2107">
                    <a:extLst>
                      <a:ext uri="{FF2B5EF4-FFF2-40B4-BE49-F238E27FC236}">
                        <a16:creationId xmlns:a16="http://schemas.microsoft.com/office/drawing/2014/main" xmlns="" id="{094EE902-A45C-4B5F-AB5E-5B54FA8FF6C5}"/>
                      </a:ext>
                    </a:extLst>
                  </p:cNvPr>
                  <p:cNvSpPr>
                    <a:spLocks/>
                  </p:cNvSpPr>
                  <p:nvPr/>
                </p:nvSpPr>
                <p:spPr bwMode="gray">
                  <a:xfrm>
                    <a:off x="3700043" y="3617970"/>
                    <a:ext cx="4450" cy="10012"/>
                  </a:xfrm>
                  <a:custGeom>
                    <a:avLst/>
                    <a:gdLst>
                      <a:gd name="T0" fmla="*/ 0 w 4"/>
                      <a:gd name="T1" fmla="*/ 0 h 9"/>
                      <a:gd name="T2" fmla="*/ 0 w 4"/>
                      <a:gd name="T3" fmla="*/ 2147483647 h 9"/>
                      <a:gd name="T4" fmla="*/ 0 w 4"/>
                      <a:gd name="T5" fmla="*/ 2147483647 h 9"/>
                      <a:gd name="T6" fmla="*/ 2147483647 w 4"/>
                      <a:gd name="T7" fmla="*/ 2147483647 h 9"/>
                      <a:gd name="T8" fmla="*/ 2147483647 w 4"/>
                      <a:gd name="T9" fmla="*/ 2147483647 h 9"/>
                      <a:gd name="T10" fmla="*/ 2147483647 w 4"/>
                      <a:gd name="T11" fmla="*/ 2147483647 h 9"/>
                      <a:gd name="T12" fmla="*/ 2147483647 w 4"/>
                      <a:gd name="T13" fmla="*/ 2147483647 h 9"/>
                      <a:gd name="T14" fmla="*/ 2147483647 w 4"/>
                      <a:gd name="T15" fmla="*/ 2147483647 h 9"/>
                      <a:gd name="T16" fmla="*/ 2147483647 w 4"/>
                      <a:gd name="T17" fmla="*/ 2147483647 h 9"/>
                      <a:gd name="T18" fmla="*/ 2147483647 w 4"/>
                      <a:gd name="T19" fmla="*/ 2147483647 h 9"/>
                      <a:gd name="T20" fmla="*/ 2147483647 w 4"/>
                      <a:gd name="T21" fmla="*/ 2147483647 h 9"/>
                      <a:gd name="T22" fmla="*/ 2147483647 w 4"/>
                      <a:gd name="T23" fmla="*/ 2147483647 h 9"/>
                      <a:gd name="T24" fmla="*/ 2147483647 w 4"/>
                      <a:gd name="T25" fmla="*/ 0 h 9"/>
                      <a:gd name="T26" fmla="*/ 0 w 4"/>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9">
                        <a:moveTo>
                          <a:pt x="0" y="0"/>
                        </a:moveTo>
                        <a:lnTo>
                          <a:pt x="0" y="9"/>
                        </a:lnTo>
                        <a:lnTo>
                          <a:pt x="0" y="8"/>
                        </a:lnTo>
                        <a:lnTo>
                          <a:pt x="3" y="7"/>
                        </a:lnTo>
                        <a:lnTo>
                          <a:pt x="4" y="7"/>
                        </a:lnTo>
                        <a:lnTo>
                          <a:pt x="4" y="9"/>
                        </a:lnTo>
                        <a:lnTo>
                          <a:pt x="4" y="7"/>
                        </a:lnTo>
                        <a:lnTo>
                          <a:pt x="4" y="5"/>
                        </a:lnTo>
                        <a:lnTo>
                          <a:pt x="4" y="4"/>
                        </a:lnTo>
                        <a:lnTo>
                          <a:pt x="4" y="3"/>
                        </a:lnTo>
                        <a:lnTo>
                          <a:pt x="4" y="2"/>
                        </a:lnTo>
                        <a:lnTo>
                          <a:pt x="4" y="1"/>
                        </a:lnTo>
                        <a:lnTo>
                          <a:pt x="3"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3" name="Freeform 2109">
                    <a:extLst>
                      <a:ext uri="{FF2B5EF4-FFF2-40B4-BE49-F238E27FC236}">
                        <a16:creationId xmlns:a16="http://schemas.microsoft.com/office/drawing/2014/main" xmlns="" id="{B72236F7-8503-4B30-8E2B-C95E14C1B41C}"/>
                      </a:ext>
                    </a:extLst>
                  </p:cNvPr>
                  <p:cNvSpPr>
                    <a:spLocks/>
                  </p:cNvSpPr>
                  <p:nvPr/>
                </p:nvSpPr>
                <p:spPr bwMode="gray">
                  <a:xfrm>
                    <a:off x="3693369" y="3595721"/>
                    <a:ext cx="13350" cy="6675"/>
                  </a:xfrm>
                  <a:custGeom>
                    <a:avLst/>
                    <a:gdLst>
                      <a:gd name="T0" fmla="*/ 0 w 12"/>
                      <a:gd name="T1" fmla="*/ 0 h 6"/>
                      <a:gd name="T2" fmla="*/ 2147483647 w 12"/>
                      <a:gd name="T3" fmla="*/ 2147483647 h 6"/>
                      <a:gd name="T4" fmla="*/ 2147483647 w 12"/>
                      <a:gd name="T5" fmla="*/ 2147483647 h 6"/>
                      <a:gd name="T6" fmla="*/ 2147483647 w 12"/>
                      <a:gd name="T7" fmla="*/ 2147483647 h 6"/>
                      <a:gd name="T8" fmla="*/ 2147483647 w 12"/>
                      <a:gd name="T9" fmla="*/ 2147483647 h 6"/>
                      <a:gd name="T10" fmla="*/ 2147483647 w 12"/>
                      <a:gd name="T11" fmla="*/ 2147483647 h 6"/>
                      <a:gd name="T12" fmla="*/ 2147483647 w 12"/>
                      <a:gd name="T13" fmla="*/ 2147483647 h 6"/>
                      <a:gd name="T14" fmla="*/ 2147483647 w 12"/>
                      <a:gd name="T15" fmla="*/ 2147483647 h 6"/>
                      <a:gd name="T16" fmla="*/ 2147483647 w 12"/>
                      <a:gd name="T17" fmla="*/ 2147483647 h 6"/>
                      <a:gd name="T18" fmla="*/ 2147483647 w 12"/>
                      <a:gd name="T19" fmla="*/ 2147483647 h 6"/>
                      <a:gd name="T20" fmla="*/ 2147483647 w 12"/>
                      <a:gd name="T21" fmla="*/ 2147483647 h 6"/>
                      <a:gd name="T22" fmla="*/ 2147483647 w 12"/>
                      <a:gd name="T23" fmla="*/ 2147483647 h 6"/>
                      <a:gd name="T24" fmla="*/ 2147483647 w 12"/>
                      <a:gd name="T25" fmla="*/ 2147483647 h 6"/>
                      <a:gd name="T26" fmla="*/ 2147483647 w 12"/>
                      <a:gd name="T27" fmla="*/ 2147483647 h 6"/>
                      <a:gd name="T28" fmla="*/ 0 w 12"/>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 h="6">
                        <a:moveTo>
                          <a:pt x="0" y="0"/>
                        </a:moveTo>
                        <a:lnTo>
                          <a:pt x="5" y="4"/>
                        </a:lnTo>
                        <a:lnTo>
                          <a:pt x="6" y="6"/>
                        </a:lnTo>
                        <a:lnTo>
                          <a:pt x="7" y="6"/>
                        </a:lnTo>
                        <a:lnTo>
                          <a:pt x="9" y="6"/>
                        </a:lnTo>
                        <a:lnTo>
                          <a:pt x="10" y="6"/>
                        </a:lnTo>
                        <a:lnTo>
                          <a:pt x="12" y="6"/>
                        </a:lnTo>
                        <a:lnTo>
                          <a:pt x="11" y="6"/>
                        </a:lnTo>
                        <a:lnTo>
                          <a:pt x="10" y="6"/>
                        </a:lnTo>
                        <a:lnTo>
                          <a:pt x="8" y="4"/>
                        </a:lnTo>
                        <a:lnTo>
                          <a:pt x="7" y="3"/>
                        </a:lnTo>
                        <a:lnTo>
                          <a:pt x="4"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4" name="Freeform 2111">
                    <a:extLst>
                      <a:ext uri="{FF2B5EF4-FFF2-40B4-BE49-F238E27FC236}">
                        <a16:creationId xmlns:a16="http://schemas.microsoft.com/office/drawing/2014/main" xmlns="" id="{44B00958-1D93-4268-9BF3-495FB0C86AE1}"/>
                      </a:ext>
                    </a:extLst>
                  </p:cNvPr>
                  <p:cNvSpPr>
                    <a:spLocks/>
                  </p:cNvSpPr>
                  <p:nvPr/>
                </p:nvSpPr>
                <p:spPr bwMode="gray">
                  <a:xfrm>
                    <a:off x="3674455" y="3523413"/>
                    <a:ext cx="5563" cy="7787"/>
                  </a:xfrm>
                  <a:custGeom>
                    <a:avLst/>
                    <a:gdLst>
                      <a:gd name="T0" fmla="*/ 0 w 5"/>
                      <a:gd name="T1" fmla="*/ 0 h 7"/>
                      <a:gd name="T2" fmla="*/ 0 w 5"/>
                      <a:gd name="T3" fmla="*/ 2147483647 h 7"/>
                      <a:gd name="T4" fmla="*/ 0 w 5"/>
                      <a:gd name="T5" fmla="*/ 2147483647 h 7"/>
                      <a:gd name="T6" fmla="*/ 0 w 5"/>
                      <a:gd name="T7" fmla="*/ 2147483647 h 7"/>
                      <a:gd name="T8" fmla="*/ 0 w 5"/>
                      <a:gd name="T9" fmla="*/ 2147483647 h 7"/>
                      <a:gd name="T10" fmla="*/ 2147483647 w 5"/>
                      <a:gd name="T11" fmla="*/ 2147483647 h 7"/>
                      <a:gd name="T12" fmla="*/ 2147483647 w 5"/>
                      <a:gd name="T13" fmla="*/ 2147483647 h 7"/>
                      <a:gd name="T14" fmla="*/ 2147483647 w 5"/>
                      <a:gd name="T15" fmla="*/ 2147483647 h 7"/>
                      <a:gd name="T16" fmla="*/ 2147483647 w 5"/>
                      <a:gd name="T17" fmla="*/ 2147483647 h 7"/>
                      <a:gd name="T18" fmla="*/ 2147483647 w 5"/>
                      <a:gd name="T19" fmla="*/ 2147483647 h 7"/>
                      <a:gd name="T20" fmla="*/ 2147483647 w 5"/>
                      <a:gd name="T21" fmla="*/ 2147483647 h 7"/>
                      <a:gd name="T22" fmla="*/ 2147483647 w 5"/>
                      <a:gd name="T23" fmla="*/ 0 h 7"/>
                      <a:gd name="T24" fmla="*/ 2147483647 w 5"/>
                      <a:gd name="T25" fmla="*/ 0 h 7"/>
                      <a:gd name="T26" fmla="*/ 2147483647 w 5"/>
                      <a:gd name="T27" fmla="*/ 0 h 7"/>
                      <a:gd name="T28" fmla="*/ 2147483647 w 5"/>
                      <a:gd name="T29" fmla="*/ 0 h 7"/>
                      <a:gd name="T30" fmla="*/ 0 w 5"/>
                      <a:gd name="T31" fmla="*/ 0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 h="7">
                        <a:moveTo>
                          <a:pt x="0" y="0"/>
                        </a:moveTo>
                        <a:lnTo>
                          <a:pt x="0" y="1"/>
                        </a:lnTo>
                        <a:lnTo>
                          <a:pt x="0" y="2"/>
                        </a:lnTo>
                        <a:lnTo>
                          <a:pt x="0" y="3"/>
                        </a:lnTo>
                        <a:lnTo>
                          <a:pt x="2" y="6"/>
                        </a:lnTo>
                        <a:lnTo>
                          <a:pt x="2" y="7"/>
                        </a:lnTo>
                        <a:lnTo>
                          <a:pt x="4" y="7"/>
                        </a:lnTo>
                        <a:lnTo>
                          <a:pt x="5" y="7"/>
                        </a:lnTo>
                        <a:lnTo>
                          <a:pt x="5" y="5"/>
                        </a:lnTo>
                        <a:lnTo>
                          <a:pt x="5" y="0"/>
                        </a:lnTo>
                        <a:lnTo>
                          <a:pt x="4"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5" name="Freeform 2113">
                    <a:extLst>
                      <a:ext uri="{FF2B5EF4-FFF2-40B4-BE49-F238E27FC236}">
                        <a16:creationId xmlns:a16="http://schemas.microsoft.com/office/drawing/2014/main" xmlns="" id="{DBF1B6FA-7FA1-42C5-BE1F-AD8402C28FF5}"/>
                      </a:ext>
                    </a:extLst>
                  </p:cNvPr>
                  <p:cNvSpPr>
                    <a:spLocks/>
                  </p:cNvSpPr>
                  <p:nvPr/>
                </p:nvSpPr>
                <p:spPr bwMode="gray">
                  <a:xfrm>
                    <a:off x="3674455" y="3505613"/>
                    <a:ext cx="5563" cy="7787"/>
                  </a:xfrm>
                  <a:custGeom>
                    <a:avLst/>
                    <a:gdLst>
                      <a:gd name="T0" fmla="*/ 0 w 5"/>
                      <a:gd name="T1" fmla="*/ 0 h 7"/>
                      <a:gd name="T2" fmla="*/ 0 w 5"/>
                      <a:gd name="T3" fmla="*/ 0 h 7"/>
                      <a:gd name="T4" fmla="*/ 0 w 5"/>
                      <a:gd name="T5" fmla="*/ 2147483647 h 7"/>
                      <a:gd name="T6" fmla="*/ 0 w 5"/>
                      <a:gd name="T7" fmla="*/ 2147483647 h 7"/>
                      <a:gd name="T8" fmla="*/ 2147483647 w 5"/>
                      <a:gd name="T9" fmla="*/ 2147483647 h 7"/>
                      <a:gd name="T10" fmla="*/ 2147483647 w 5"/>
                      <a:gd name="T11" fmla="*/ 2147483647 h 7"/>
                      <a:gd name="T12" fmla="*/ 2147483647 w 5"/>
                      <a:gd name="T13" fmla="*/ 2147483647 h 7"/>
                      <a:gd name="T14" fmla="*/ 2147483647 w 5"/>
                      <a:gd name="T15" fmla="*/ 0 h 7"/>
                      <a:gd name="T16" fmla="*/ 0 w 5"/>
                      <a:gd name="T17" fmla="*/ 0 h 7"/>
                      <a:gd name="T18" fmla="*/ 2147483647 w 5"/>
                      <a:gd name="T19" fmla="*/ 0 h 7"/>
                      <a:gd name="T20" fmla="*/ 2147483647 w 5"/>
                      <a:gd name="T21" fmla="*/ 0 h 7"/>
                      <a:gd name="T22" fmla="*/ 2147483647 w 5"/>
                      <a:gd name="T23" fmla="*/ 0 h 7"/>
                      <a:gd name="T24" fmla="*/ 0 w 5"/>
                      <a:gd name="T25" fmla="*/ 0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7">
                        <a:moveTo>
                          <a:pt x="0" y="0"/>
                        </a:moveTo>
                        <a:lnTo>
                          <a:pt x="0" y="0"/>
                        </a:lnTo>
                        <a:lnTo>
                          <a:pt x="0" y="3"/>
                        </a:lnTo>
                        <a:lnTo>
                          <a:pt x="0" y="7"/>
                        </a:lnTo>
                        <a:lnTo>
                          <a:pt x="5" y="4"/>
                        </a:lnTo>
                        <a:lnTo>
                          <a:pt x="4" y="3"/>
                        </a:lnTo>
                        <a:lnTo>
                          <a:pt x="2" y="2"/>
                        </a:lnTo>
                        <a:lnTo>
                          <a:pt x="2" y="0"/>
                        </a:lnTo>
                        <a:lnTo>
                          <a:pt x="0"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6" name="Freeform 2115">
                    <a:extLst>
                      <a:ext uri="{FF2B5EF4-FFF2-40B4-BE49-F238E27FC236}">
                        <a16:creationId xmlns:a16="http://schemas.microsoft.com/office/drawing/2014/main" xmlns="" id="{BB9379E5-FCA7-4FB6-9A40-14C8B80FF677}"/>
                      </a:ext>
                    </a:extLst>
                  </p:cNvPr>
                  <p:cNvSpPr>
                    <a:spLocks/>
                  </p:cNvSpPr>
                  <p:nvPr/>
                </p:nvSpPr>
                <p:spPr bwMode="gray">
                  <a:xfrm>
                    <a:off x="3635518" y="3477802"/>
                    <a:ext cx="8900" cy="11125"/>
                  </a:xfrm>
                  <a:custGeom>
                    <a:avLst/>
                    <a:gdLst>
                      <a:gd name="T0" fmla="*/ 0 w 8"/>
                      <a:gd name="T1" fmla="*/ 0 h 10"/>
                      <a:gd name="T2" fmla="*/ 0 w 8"/>
                      <a:gd name="T3" fmla="*/ 2147483647 h 10"/>
                      <a:gd name="T4" fmla="*/ 0 w 8"/>
                      <a:gd name="T5" fmla="*/ 2147483647 h 10"/>
                      <a:gd name="T6" fmla="*/ 2147483647 w 8"/>
                      <a:gd name="T7" fmla="*/ 2147483647 h 10"/>
                      <a:gd name="T8" fmla="*/ 2147483647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2147483647 h 10"/>
                      <a:gd name="T20" fmla="*/ 2147483647 w 8"/>
                      <a:gd name="T21" fmla="*/ 2147483647 h 10"/>
                      <a:gd name="T22" fmla="*/ 2147483647 w 8"/>
                      <a:gd name="T23" fmla="*/ 2147483647 h 10"/>
                      <a:gd name="T24" fmla="*/ 2147483647 w 8"/>
                      <a:gd name="T25" fmla="*/ 0 h 10"/>
                      <a:gd name="T26" fmla="*/ 2147483647 w 8"/>
                      <a:gd name="T27" fmla="*/ 0 h 10"/>
                      <a:gd name="T28" fmla="*/ 0 w 8"/>
                      <a:gd name="T29" fmla="*/ 2147483647 h 10"/>
                      <a:gd name="T30" fmla="*/ 0 w 8"/>
                      <a:gd name="T31" fmla="*/ 2147483647 h 10"/>
                      <a:gd name="T32" fmla="*/ 0 w 8"/>
                      <a:gd name="T33" fmla="*/ 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 h="10">
                        <a:moveTo>
                          <a:pt x="0" y="0"/>
                        </a:moveTo>
                        <a:lnTo>
                          <a:pt x="0" y="10"/>
                        </a:lnTo>
                        <a:lnTo>
                          <a:pt x="1" y="10"/>
                        </a:lnTo>
                        <a:lnTo>
                          <a:pt x="5" y="10"/>
                        </a:lnTo>
                        <a:lnTo>
                          <a:pt x="7" y="10"/>
                        </a:lnTo>
                        <a:lnTo>
                          <a:pt x="8" y="10"/>
                        </a:lnTo>
                        <a:lnTo>
                          <a:pt x="6" y="10"/>
                        </a:lnTo>
                        <a:lnTo>
                          <a:pt x="6" y="7"/>
                        </a:lnTo>
                        <a:lnTo>
                          <a:pt x="4" y="5"/>
                        </a:lnTo>
                        <a:lnTo>
                          <a:pt x="3" y="2"/>
                        </a:lnTo>
                        <a:lnTo>
                          <a:pt x="3" y="0"/>
                        </a:lnTo>
                        <a:lnTo>
                          <a:pt x="1" y="0"/>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7" name="Freeform 2117">
                    <a:extLst>
                      <a:ext uri="{FF2B5EF4-FFF2-40B4-BE49-F238E27FC236}">
                        <a16:creationId xmlns:a16="http://schemas.microsoft.com/office/drawing/2014/main" xmlns="" id="{920A72C0-3F26-448D-8CF8-36AD1DE8D041}"/>
                      </a:ext>
                    </a:extLst>
                  </p:cNvPr>
                  <p:cNvSpPr>
                    <a:spLocks/>
                  </p:cNvSpPr>
                  <p:nvPr/>
                </p:nvSpPr>
                <p:spPr bwMode="gray">
                  <a:xfrm>
                    <a:off x="3643305" y="3466680"/>
                    <a:ext cx="4450" cy="7787"/>
                  </a:xfrm>
                  <a:custGeom>
                    <a:avLst/>
                    <a:gdLst>
                      <a:gd name="T0" fmla="*/ 0 w 4"/>
                      <a:gd name="T1" fmla="*/ 0 h 7"/>
                      <a:gd name="T2" fmla="*/ 0 w 4"/>
                      <a:gd name="T3" fmla="*/ 2147483647 h 7"/>
                      <a:gd name="T4" fmla="*/ 0 w 4"/>
                      <a:gd name="T5" fmla="*/ 2147483647 h 7"/>
                      <a:gd name="T6" fmla="*/ 0 w 4"/>
                      <a:gd name="T7" fmla="*/ 2147483647 h 7"/>
                      <a:gd name="T8" fmla="*/ 0 w 4"/>
                      <a:gd name="T9" fmla="*/ 2147483647 h 7"/>
                      <a:gd name="T10" fmla="*/ 2147483647 w 4"/>
                      <a:gd name="T11" fmla="*/ 2147483647 h 7"/>
                      <a:gd name="T12" fmla="*/ 2147483647 w 4"/>
                      <a:gd name="T13" fmla="*/ 2147483647 h 7"/>
                      <a:gd name="T14" fmla="*/ 2147483647 w 4"/>
                      <a:gd name="T15" fmla="*/ 2147483647 h 7"/>
                      <a:gd name="T16" fmla="*/ 2147483647 w 4"/>
                      <a:gd name="T17" fmla="*/ 2147483647 h 7"/>
                      <a:gd name="T18" fmla="*/ 2147483647 w 4"/>
                      <a:gd name="T19" fmla="*/ 2147483647 h 7"/>
                      <a:gd name="T20" fmla="*/ 2147483647 w 4"/>
                      <a:gd name="T21" fmla="*/ 2147483647 h 7"/>
                      <a:gd name="T22" fmla="*/ 2147483647 w 4"/>
                      <a:gd name="T23" fmla="*/ 0 h 7"/>
                      <a:gd name="T24" fmla="*/ 2147483647 w 4"/>
                      <a:gd name="T25" fmla="*/ 0 h 7"/>
                      <a:gd name="T26" fmla="*/ 2147483647 w 4"/>
                      <a:gd name="T27" fmla="*/ 0 h 7"/>
                      <a:gd name="T28" fmla="*/ 0 w 4"/>
                      <a:gd name="T29" fmla="*/ 0 h 7"/>
                      <a:gd name="T30" fmla="*/ 0 w 4"/>
                      <a:gd name="T31" fmla="*/ 0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 h="7">
                        <a:moveTo>
                          <a:pt x="0" y="0"/>
                        </a:moveTo>
                        <a:lnTo>
                          <a:pt x="0" y="2"/>
                        </a:lnTo>
                        <a:lnTo>
                          <a:pt x="0" y="3"/>
                        </a:lnTo>
                        <a:lnTo>
                          <a:pt x="1" y="5"/>
                        </a:lnTo>
                        <a:lnTo>
                          <a:pt x="2" y="6"/>
                        </a:lnTo>
                        <a:lnTo>
                          <a:pt x="4" y="7"/>
                        </a:lnTo>
                        <a:lnTo>
                          <a:pt x="4" y="6"/>
                        </a:lnTo>
                        <a:lnTo>
                          <a:pt x="3" y="3"/>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8" name="Freeform 2119">
                    <a:extLst>
                      <a:ext uri="{FF2B5EF4-FFF2-40B4-BE49-F238E27FC236}">
                        <a16:creationId xmlns:a16="http://schemas.microsoft.com/office/drawing/2014/main" xmlns="" id="{FE792A2D-905D-4545-8C34-91059765E991}"/>
                      </a:ext>
                    </a:extLst>
                  </p:cNvPr>
                  <p:cNvSpPr>
                    <a:spLocks/>
                  </p:cNvSpPr>
                  <p:nvPr/>
                </p:nvSpPr>
                <p:spPr bwMode="gray">
                  <a:xfrm>
                    <a:off x="3753442" y="3327623"/>
                    <a:ext cx="3338" cy="3337"/>
                  </a:xfrm>
                  <a:custGeom>
                    <a:avLst/>
                    <a:gdLst>
                      <a:gd name="T0" fmla="*/ 0 w 3"/>
                      <a:gd name="T1" fmla="*/ 0 h 3"/>
                      <a:gd name="T2" fmla="*/ 0 w 3"/>
                      <a:gd name="T3" fmla="*/ 2147483647 h 3"/>
                      <a:gd name="T4" fmla="*/ 2147483647 w 3"/>
                      <a:gd name="T5" fmla="*/ 2147483647 h 3"/>
                      <a:gd name="T6" fmla="*/ 2147483647 w 3"/>
                      <a:gd name="T7" fmla="*/ 2147483647 h 3"/>
                      <a:gd name="T8" fmla="*/ 2147483647 w 3"/>
                      <a:gd name="T9" fmla="*/ 0 h 3"/>
                      <a:gd name="T10" fmla="*/ 0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0" y="0"/>
                        </a:moveTo>
                        <a:lnTo>
                          <a:pt x="0" y="3"/>
                        </a:lnTo>
                        <a:lnTo>
                          <a:pt x="3" y="3"/>
                        </a:lnTo>
                        <a:lnTo>
                          <a:pt x="3" y="1"/>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59" name="Freeform 2121">
                    <a:extLst>
                      <a:ext uri="{FF2B5EF4-FFF2-40B4-BE49-F238E27FC236}">
                        <a16:creationId xmlns:a16="http://schemas.microsoft.com/office/drawing/2014/main" xmlns="" id="{B0A7E32E-8460-4AB1-9E87-375A37C8E21A}"/>
                      </a:ext>
                    </a:extLst>
                  </p:cNvPr>
                  <p:cNvSpPr>
                    <a:spLocks/>
                  </p:cNvSpPr>
                  <p:nvPr/>
                </p:nvSpPr>
                <p:spPr bwMode="gray">
                  <a:xfrm>
                    <a:off x="4884843" y="1767982"/>
                    <a:ext cx="424971" cy="849906"/>
                  </a:xfrm>
                  <a:custGeom>
                    <a:avLst/>
                    <a:gdLst>
                      <a:gd name="T0" fmla="*/ 2147483647 w 382"/>
                      <a:gd name="T1" fmla="*/ 2147483647 h 764"/>
                      <a:gd name="T2" fmla="*/ 2147483647 w 382"/>
                      <a:gd name="T3" fmla="*/ 2147483647 h 764"/>
                      <a:gd name="T4" fmla="*/ 2147483647 w 382"/>
                      <a:gd name="T5" fmla="*/ 2147483647 h 764"/>
                      <a:gd name="T6" fmla="*/ 2147483647 w 382"/>
                      <a:gd name="T7" fmla="*/ 2147483647 h 764"/>
                      <a:gd name="T8" fmla="*/ 2147483647 w 382"/>
                      <a:gd name="T9" fmla="*/ 2147483647 h 764"/>
                      <a:gd name="T10" fmla="*/ 2147483647 w 382"/>
                      <a:gd name="T11" fmla="*/ 2147483647 h 764"/>
                      <a:gd name="T12" fmla="*/ 2147483647 w 382"/>
                      <a:gd name="T13" fmla="*/ 2147483647 h 764"/>
                      <a:gd name="T14" fmla="*/ 2147483647 w 382"/>
                      <a:gd name="T15" fmla="*/ 2147483647 h 764"/>
                      <a:gd name="T16" fmla="*/ 2147483647 w 382"/>
                      <a:gd name="T17" fmla="*/ 2147483647 h 764"/>
                      <a:gd name="T18" fmla="*/ 2147483647 w 382"/>
                      <a:gd name="T19" fmla="*/ 2147483647 h 764"/>
                      <a:gd name="T20" fmla="*/ 2147483647 w 382"/>
                      <a:gd name="T21" fmla="*/ 2147483647 h 764"/>
                      <a:gd name="T22" fmla="*/ 2147483647 w 382"/>
                      <a:gd name="T23" fmla="*/ 2147483647 h 764"/>
                      <a:gd name="T24" fmla="*/ 2147483647 w 382"/>
                      <a:gd name="T25" fmla="*/ 2147483647 h 764"/>
                      <a:gd name="T26" fmla="*/ 2147483647 w 382"/>
                      <a:gd name="T27" fmla="*/ 2147483647 h 764"/>
                      <a:gd name="T28" fmla="*/ 2147483647 w 382"/>
                      <a:gd name="T29" fmla="*/ 2147483647 h 764"/>
                      <a:gd name="T30" fmla="*/ 2147483647 w 382"/>
                      <a:gd name="T31" fmla="*/ 2147483647 h 764"/>
                      <a:gd name="T32" fmla="*/ 2147483647 w 382"/>
                      <a:gd name="T33" fmla="*/ 2147483647 h 764"/>
                      <a:gd name="T34" fmla="*/ 2147483647 w 382"/>
                      <a:gd name="T35" fmla="*/ 2147483647 h 764"/>
                      <a:gd name="T36" fmla="*/ 2147483647 w 382"/>
                      <a:gd name="T37" fmla="*/ 2147483647 h 764"/>
                      <a:gd name="T38" fmla="*/ 2147483647 w 382"/>
                      <a:gd name="T39" fmla="*/ 2147483647 h 764"/>
                      <a:gd name="T40" fmla="*/ 2147483647 w 382"/>
                      <a:gd name="T41" fmla="*/ 2147483647 h 764"/>
                      <a:gd name="T42" fmla="*/ 2147483647 w 382"/>
                      <a:gd name="T43" fmla="*/ 2147483647 h 764"/>
                      <a:gd name="T44" fmla="*/ 2147483647 w 382"/>
                      <a:gd name="T45" fmla="*/ 2147483647 h 764"/>
                      <a:gd name="T46" fmla="*/ 2147483647 w 382"/>
                      <a:gd name="T47" fmla="*/ 2147483647 h 764"/>
                      <a:gd name="T48" fmla="*/ 2147483647 w 382"/>
                      <a:gd name="T49" fmla="*/ 2147483647 h 764"/>
                      <a:gd name="T50" fmla="*/ 2147483647 w 382"/>
                      <a:gd name="T51" fmla="*/ 2147483647 h 764"/>
                      <a:gd name="T52" fmla="*/ 2147483647 w 382"/>
                      <a:gd name="T53" fmla="*/ 2147483647 h 764"/>
                      <a:gd name="T54" fmla="*/ 2147483647 w 382"/>
                      <a:gd name="T55" fmla="*/ 2147483647 h 764"/>
                      <a:gd name="T56" fmla="*/ 2147483647 w 382"/>
                      <a:gd name="T57" fmla="*/ 2147483647 h 764"/>
                      <a:gd name="T58" fmla="*/ 2147483647 w 382"/>
                      <a:gd name="T59" fmla="*/ 2147483647 h 764"/>
                      <a:gd name="T60" fmla="*/ 2147483647 w 382"/>
                      <a:gd name="T61" fmla="*/ 2147483647 h 764"/>
                      <a:gd name="T62" fmla="*/ 2147483647 w 382"/>
                      <a:gd name="T63" fmla="*/ 2147483647 h 764"/>
                      <a:gd name="T64" fmla="*/ 2147483647 w 382"/>
                      <a:gd name="T65" fmla="*/ 2147483647 h 764"/>
                      <a:gd name="T66" fmla="*/ 2147483647 w 382"/>
                      <a:gd name="T67" fmla="*/ 2147483647 h 764"/>
                      <a:gd name="T68" fmla="*/ 2147483647 w 382"/>
                      <a:gd name="T69" fmla="*/ 2147483647 h 764"/>
                      <a:gd name="T70" fmla="*/ 2147483647 w 382"/>
                      <a:gd name="T71" fmla="*/ 2147483647 h 764"/>
                      <a:gd name="T72" fmla="*/ 2147483647 w 382"/>
                      <a:gd name="T73" fmla="*/ 2147483647 h 764"/>
                      <a:gd name="T74" fmla="*/ 2147483647 w 382"/>
                      <a:gd name="T75" fmla="*/ 2147483647 h 764"/>
                      <a:gd name="T76" fmla="*/ 2147483647 w 382"/>
                      <a:gd name="T77" fmla="*/ 2147483647 h 764"/>
                      <a:gd name="T78" fmla="*/ 2147483647 w 382"/>
                      <a:gd name="T79" fmla="*/ 2147483647 h 764"/>
                      <a:gd name="T80" fmla="*/ 2147483647 w 382"/>
                      <a:gd name="T81" fmla="*/ 2147483647 h 764"/>
                      <a:gd name="T82" fmla="*/ 2147483647 w 382"/>
                      <a:gd name="T83" fmla="*/ 2147483647 h 764"/>
                      <a:gd name="T84" fmla="*/ 2147483647 w 382"/>
                      <a:gd name="T85" fmla="*/ 2147483647 h 764"/>
                      <a:gd name="T86" fmla="*/ 2147483647 w 382"/>
                      <a:gd name="T87" fmla="*/ 2147483647 h 764"/>
                      <a:gd name="T88" fmla="*/ 2147483647 w 382"/>
                      <a:gd name="T89" fmla="*/ 2147483647 h 764"/>
                      <a:gd name="T90" fmla="*/ 2147483647 w 382"/>
                      <a:gd name="T91" fmla="*/ 2147483647 h 764"/>
                      <a:gd name="T92" fmla="*/ 2147483647 w 382"/>
                      <a:gd name="T93" fmla="*/ 2147483647 h 764"/>
                      <a:gd name="T94" fmla="*/ 2147483647 w 382"/>
                      <a:gd name="T95" fmla="*/ 2147483647 h 764"/>
                      <a:gd name="T96" fmla="*/ 2147483647 w 382"/>
                      <a:gd name="T97" fmla="*/ 2147483647 h 764"/>
                      <a:gd name="T98" fmla="*/ 2147483647 w 382"/>
                      <a:gd name="T99" fmla="*/ 2147483647 h 764"/>
                      <a:gd name="T100" fmla="*/ 2147483647 w 382"/>
                      <a:gd name="T101" fmla="*/ 2147483647 h 764"/>
                      <a:gd name="T102" fmla="*/ 2147483647 w 382"/>
                      <a:gd name="T103" fmla="*/ 2147483647 h 764"/>
                      <a:gd name="T104" fmla="*/ 2147483647 w 382"/>
                      <a:gd name="T105" fmla="*/ 2147483647 h 764"/>
                      <a:gd name="T106" fmla="*/ 2147483647 w 382"/>
                      <a:gd name="T107" fmla="*/ 2147483647 h 764"/>
                      <a:gd name="T108" fmla="*/ 2147483647 w 382"/>
                      <a:gd name="T109" fmla="*/ 2147483647 h 764"/>
                      <a:gd name="T110" fmla="*/ 2147483647 w 382"/>
                      <a:gd name="T111" fmla="*/ 2147483647 h 764"/>
                      <a:gd name="T112" fmla="*/ 2147483647 w 382"/>
                      <a:gd name="T113" fmla="*/ 2147483647 h 764"/>
                      <a:gd name="T114" fmla="*/ 2147483647 w 382"/>
                      <a:gd name="T115" fmla="*/ 2147483647 h 764"/>
                      <a:gd name="T116" fmla="*/ 2147483647 w 382"/>
                      <a:gd name="T117" fmla="*/ 2147483647 h 764"/>
                      <a:gd name="T118" fmla="*/ 2147483647 w 382"/>
                      <a:gd name="T119" fmla="*/ 2147483647 h 764"/>
                      <a:gd name="T120" fmla="*/ 2147483647 w 382"/>
                      <a:gd name="T121" fmla="*/ 2147483647 h 764"/>
                      <a:gd name="T122" fmla="*/ 2147483647 w 382"/>
                      <a:gd name="T123" fmla="*/ 2147483647 h 7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82" h="764">
                        <a:moveTo>
                          <a:pt x="382" y="480"/>
                        </a:moveTo>
                        <a:lnTo>
                          <a:pt x="379" y="480"/>
                        </a:lnTo>
                        <a:lnTo>
                          <a:pt x="378" y="479"/>
                        </a:lnTo>
                        <a:lnTo>
                          <a:pt x="375" y="477"/>
                        </a:lnTo>
                        <a:lnTo>
                          <a:pt x="373" y="477"/>
                        </a:lnTo>
                        <a:lnTo>
                          <a:pt x="372" y="475"/>
                        </a:lnTo>
                        <a:lnTo>
                          <a:pt x="370" y="474"/>
                        </a:lnTo>
                        <a:lnTo>
                          <a:pt x="369" y="474"/>
                        </a:lnTo>
                        <a:lnTo>
                          <a:pt x="365" y="471"/>
                        </a:lnTo>
                        <a:lnTo>
                          <a:pt x="361" y="469"/>
                        </a:lnTo>
                        <a:lnTo>
                          <a:pt x="356" y="463"/>
                        </a:lnTo>
                        <a:lnTo>
                          <a:pt x="354" y="463"/>
                        </a:lnTo>
                        <a:lnTo>
                          <a:pt x="352" y="463"/>
                        </a:lnTo>
                        <a:lnTo>
                          <a:pt x="349" y="461"/>
                        </a:lnTo>
                        <a:lnTo>
                          <a:pt x="346" y="460"/>
                        </a:lnTo>
                        <a:lnTo>
                          <a:pt x="344" y="459"/>
                        </a:lnTo>
                        <a:lnTo>
                          <a:pt x="341" y="458"/>
                        </a:lnTo>
                        <a:lnTo>
                          <a:pt x="337" y="454"/>
                        </a:lnTo>
                        <a:lnTo>
                          <a:pt x="335" y="454"/>
                        </a:lnTo>
                        <a:lnTo>
                          <a:pt x="333" y="452"/>
                        </a:lnTo>
                        <a:lnTo>
                          <a:pt x="332" y="450"/>
                        </a:lnTo>
                        <a:lnTo>
                          <a:pt x="330" y="448"/>
                        </a:lnTo>
                        <a:lnTo>
                          <a:pt x="328" y="447"/>
                        </a:lnTo>
                        <a:lnTo>
                          <a:pt x="326" y="446"/>
                        </a:lnTo>
                        <a:lnTo>
                          <a:pt x="325" y="443"/>
                        </a:lnTo>
                        <a:lnTo>
                          <a:pt x="323" y="441"/>
                        </a:lnTo>
                        <a:lnTo>
                          <a:pt x="321" y="439"/>
                        </a:lnTo>
                        <a:lnTo>
                          <a:pt x="320" y="439"/>
                        </a:lnTo>
                        <a:lnTo>
                          <a:pt x="318" y="437"/>
                        </a:lnTo>
                        <a:lnTo>
                          <a:pt x="317" y="435"/>
                        </a:lnTo>
                        <a:lnTo>
                          <a:pt x="315" y="435"/>
                        </a:lnTo>
                        <a:lnTo>
                          <a:pt x="314" y="434"/>
                        </a:lnTo>
                        <a:lnTo>
                          <a:pt x="313" y="432"/>
                        </a:lnTo>
                        <a:lnTo>
                          <a:pt x="311" y="432"/>
                        </a:lnTo>
                        <a:lnTo>
                          <a:pt x="312" y="430"/>
                        </a:lnTo>
                        <a:lnTo>
                          <a:pt x="314" y="430"/>
                        </a:lnTo>
                        <a:lnTo>
                          <a:pt x="316" y="430"/>
                        </a:lnTo>
                        <a:lnTo>
                          <a:pt x="317" y="429"/>
                        </a:lnTo>
                        <a:lnTo>
                          <a:pt x="319" y="427"/>
                        </a:lnTo>
                        <a:lnTo>
                          <a:pt x="321" y="425"/>
                        </a:lnTo>
                        <a:lnTo>
                          <a:pt x="324" y="422"/>
                        </a:lnTo>
                        <a:lnTo>
                          <a:pt x="326" y="419"/>
                        </a:lnTo>
                        <a:lnTo>
                          <a:pt x="326" y="417"/>
                        </a:lnTo>
                        <a:lnTo>
                          <a:pt x="326" y="416"/>
                        </a:lnTo>
                        <a:lnTo>
                          <a:pt x="326" y="415"/>
                        </a:lnTo>
                        <a:lnTo>
                          <a:pt x="322" y="411"/>
                        </a:lnTo>
                        <a:lnTo>
                          <a:pt x="320" y="409"/>
                        </a:lnTo>
                        <a:lnTo>
                          <a:pt x="320" y="406"/>
                        </a:lnTo>
                        <a:lnTo>
                          <a:pt x="321" y="406"/>
                        </a:lnTo>
                        <a:lnTo>
                          <a:pt x="323" y="405"/>
                        </a:lnTo>
                        <a:lnTo>
                          <a:pt x="323" y="403"/>
                        </a:lnTo>
                        <a:lnTo>
                          <a:pt x="321" y="401"/>
                        </a:lnTo>
                        <a:lnTo>
                          <a:pt x="320" y="400"/>
                        </a:lnTo>
                        <a:lnTo>
                          <a:pt x="318" y="400"/>
                        </a:lnTo>
                        <a:lnTo>
                          <a:pt x="317" y="399"/>
                        </a:lnTo>
                        <a:lnTo>
                          <a:pt x="315" y="399"/>
                        </a:lnTo>
                        <a:lnTo>
                          <a:pt x="314" y="397"/>
                        </a:lnTo>
                        <a:lnTo>
                          <a:pt x="313" y="395"/>
                        </a:lnTo>
                        <a:lnTo>
                          <a:pt x="311" y="393"/>
                        </a:lnTo>
                        <a:lnTo>
                          <a:pt x="310" y="392"/>
                        </a:lnTo>
                        <a:lnTo>
                          <a:pt x="309" y="391"/>
                        </a:lnTo>
                        <a:lnTo>
                          <a:pt x="308" y="391"/>
                        </a:lnTo>
                        <a:lnTo>
                          <a:pt x="307" y="390"/>
                        </a:lnTo>
                        <a:lnTo>
                          <a:pt x="307" y="388"/>
                        </a:lnTo>
                        <a:lnTo>
                          <a:pt x="306" y="386"/>
                        </a:lnTo>
                        <a:lnTo>
                          <a:pt x="304" y="384"/>
                        </a:lnTo>
                        <a:lnTo>
                          <a:pt x="304" y="382"/>
                        </a:lnTo>
                        <a:lnTo>
                          <a:pt x="304" y="380"/>
                        </a:lnTo>
                        <a:lnTo>
                          <a:pt x="305" y="379"/>
                        </a:lnTo>
                        <a:lnTo>
                          <a:pt x="307" y="377"/>
                        </a:lnTo>
                        <a:lnTo>
                          <a:pt x="307" y="376"/>
                        </a:lnTo>
                        <a:lnTo>
                          <a:pt x="307" y="374"/>
                        </a:lnTo>
                        <a:lnTo>
                          <a:pt x="306" y="371"/>
                        </a:lnTo>
                        <a:lnTo>
                          <a:pt x="304" y="370"/>
                        </a:lnTo>
                        <a:lnTo>
                          <a:pt x="302" y="368"/>
                        </a:lnTo>
                        <a:lnTo>
                          <a:pt x="300" y="368"/>
                        </a:lnTo>
                        <a:lnTo>
                          <a:pt x="294" y="369"/>
                        </a:lnTo>
                        <a:lnTo>
                          <a:pt x="290" y="371"/>
                        </a:lnTo>
                        <a:lnTo>
                          <a:pt x="289" y="371"/>
                        </a:lnTo>
                        <a:lnTo>
                          <a:pt x="288" y="370"/>
                        </a:lnTo>
                        <a:lnTo>
                          <a:pt x="286" y="367"/>
                        </a:lnTo>
                        <a:lnTo>
                          <a:pt x="284" y="365"/>
                        </a:lnTo>
                        <a:lnTo>
                          <a:pt x="283" y="362"/>
                        </a:lnTo>
                        <a:lnTo>
                          <a:pt x="285" y="358"/>
                        </a:lnTo>
                        <a:lnTo>
                          <a:pt x="286" y="356"/>
                        </a:lnTo>
                        <a:lnTo>
                          <a:pt x="288" y="356"/>
                        </a:lnTo>
                        <a:lnTo>
                          <a:pt x="290" y="356"/>
                        </a:lnTo>
                        <a:lnTo>
                          <a:pt x="291" y="354"/>
                        </a:lnTo>
                        <a:lnTo>
                          <a:pt x="290" y="353"/>
                        </a:lnTo>
                        <a:lnTo>
                          <a:pt x="289" y="352"/>
                        </a:lnTo>
                        <a:lnTo>
                          <a:pt x="288" y="351"/>
                        </a:lnTo>
                        <a:lnTo>
                          <a:pt x="289" y="351"/>
                        </a:lnTo>
                        <a:lnTo>
                          <a:pt x="289" y="349"/>
                        </a:lnTo>
                        <a:lnTo>
                          <a:pt x="290" y="348"/>
                        </a:lnTo>
                        <a:lnTo>
                          <a:pt x="288" y="348"/>
                        </a:lnTo>
                        <a:lnTo>
                          <a:pt x="288" y="346"/>
                        </a:lnTo>
                        <a:lnTo>
                          <a:pt x="287" y="345"/>
                        </a:lnTo>
                        <a:lnTo>
                          <a:pt x="283" y="346"/>
                        </a:lnTo>
                        <a:lnTo>
                          <a:pt x="280" y="347"/>
                        </a:lnTo>
                        <a:lnTo>
                          <a:pt x="278" y="346"/>
                        </a:lnTo>
                        <a:lnTo>
                          <a:pt x="278" y="344"/>
                        </a:lnTo>
                        <a:lnTo>
                          <a:pt x="278" y="343"/>
                        </a:lnTo>
                        <a:lnTo>
                          <a:pt x="280" y="342"/>
                        </a:lnTo>
                        <a:lnTo>
                          <a:pt x="281" y="341"/>
                        </a:lnTo>
                        <a:lnTo>
                          <a:pt x="281" y="339"/>
                        </a:lnTo>
                        <a:lnTo>
                          <a:pt x="281" y="336"/>
                        </a:lnTo>
                        <a:lnTo>
                          <a:pt x="280" y="334"/>
                        </a:lnTo>
                        <a:lnTo>
                          <a:pt x="278" y="331"/>
                        </a:lnTo>
                        <a:lnTo>
                          <a:pt x="278" y="329"/>
                        </a:lnTo>
                        <a:lnTo>
                          <a:pt x="276" y="324"/>
                        </a:lnTo>
                        <a:lnTo>
                          <a:pt x="276" y="319"/>
                        </a:lnTo>
                        <a:lnTo>
                          <a:pt x="275" y="316"/>
                        </a:lnTo>
                        <a:lnTo>
                          <a:pt x="271" y="313"/>
                        </a:lnTo>
                        <a:lnTo>
                          <a:pt x="271" y="311"/>
                        </a:lnTo>
                        <a:lnTo>
                          <a:pt x="270" y="310"/>
                        </a:lnTo>
                        <a:lnTo>
                          <a:pt x="269" y="310"/>
                        </a:lnTo>
                        <a:lnTo>
                          <a:pt x="268" y="307"/>
                        </a:lnTo>
                        <a:lnTo>
                          <a:pt x="269" y="306"/>
                        </a:lnTo>
                        <a:lnTo>
                          <a:pt x="270" y="304"/>
                        </a:lnTo>
                        <a:lnTo>
                          <a:pt x="273" y="303"/>
                        </a:lnTo>
                        <a:lnTo>
                          <a:pt x="277" y="302"/>
                        </a:lnTo>
                        <a:lnTo>
                          <a:pt x="280" y="302"/>
                        </a:lnTo>
                        <a:lnTo>
                          <a:pt x="281" y="301"/>
                        </a:lnTo>
                        <a:lnTo>
                          <a:pt x="281" y="299"/>
                        </a:lnTo>
                        <a:lnTo>
                          <a:pt x="276" y="293"/>
                        </a:lnTo>
                        <a:lnTo>
                          <a:pt x="270" y="285"/>
                        </a:lnTo>
                        <a:lnTo>
                          <a:pt x="264" y="278"/>
                        </a:lnTo>
                        <a:lnTo>
                          <a:pt x="259" y="271"/>
                        </a:lnTo>
                        <a:lnTo>
                          <a:pt x="255" y="264"/>
                        </a:lnTo>
                        <a:lnTo>
                          <a:pt x="252" y="258"/>
                        </a:lnTo>
                        <a:lnTo>
                          <a:pt x="249" y="252"/>
                        </a:lnTo>
                        <a:lnTo>
                          <a:pt x="246" y="245"/>
                        </a:lnTo>
                        <a:lnTo>
                          <a:pt x="244" y="241"/>
                        </a:lnTo>
                        <a:lnTo>
                          <a:pt x="241" y="237"/>
                        </a:lnTo>
                        <a:lnTo>
                          <a:pt x="239" y="233"/>
                        </a:lnTo>
                        <a:lnTo>
                          <a:pt x="236" y="229"/>
                        </a:lnTo>
                        <a:lnTo>
                          <a:pt x="231" y="223"/>
                        </a:lnTo>
                        <a:lnTo>
                          <a:pt x="226" y="218"/>
                        </a:lnTo>
                        <a:lnTo>
                          <a:pt x="223" y="213"/>
                        </a:lnTo>
                        <a:lnTo>
                          <a:pt x="222" y="210"/>
                        </a:lnTo>
                        <a:lnTo>
                          <a:pt x="223" y="206"/>
                        </a:lnTo>
                        <a:lnTo>
                          <a:pt x="223" y="204"/>
                        </a:lnTo>
                        <a:lnTo>
                          <a:pt x="223" y="203"/>
                        </a:lnTo>
                        <a:lnTo>
                          <a:pt x="224" y="202"/>
                        </a:lnTo>
                        <a:lnTo>
                          <a:pt x="226" y="200"/>
                        </a:lnTo>
                        <a:lnTo>
                          <a:pt x="229" y="196"/>
                        </a:lnTo>
                        <a:lnTo>
                          <a:pt x="231" y="192"/>
                        </a:lnTo>
                        <a:lnTo>
                          <a:pt x="234" y="187"/>
                        </a:lnTo>
                        <a:lnTo>
                          <a:pt x="236" y="180"/>
                        </a:lnTo>
                        <a:lnTo>
                          <a:pt x="237" y="178"/>
                        </a:lnTo>
                        <a:lnTo>
                          <a:pt x="238" y="177"/>
                        </a:lnTo>
                        <a:lnTo>
                          <a:pt x="239" y="176"/>
                        </a:lnTo>
                        <a:lnTo>
                          <a:pt x="240" y="174"/>
                        </a:lnTo>
                        <a:lnTo>
                          <a:pt x="239" y="170"/>
                        </a:lnTo>
                        <a:lnTo>
                          <a:pt x="237" y="166"/>
                        </a:lnTo>
                        <a:lnTo>
                          <a:pt x="235" y="162"/>
                        </a:lnTo>
                        <a:lnTo>
                          <a:pt x="233" y="158"/>
                        </a:lnTo>
                        <a:lnTo>
                          <a:pt x="231" y="156"/>
                        </a:lnTo>
                        <a:lnTo>
                          <a:pt x="229" y="154"/>
                        </a:lnTo>
                        <a:lnTo>
                          <a:pt x="228" y="152"/>
                        </a:lnTo>
                        <a:lnTo>
                          <a:pt x="226" y="149"/>
                        </a:lnTo>
                        <a:lnTo>
                          <a:pt x="223" y="143"/>
                        </a:lnTo>
                        <a:lnTo>
                          <a:pt x="222" y="140"/>
                        </a:lnTo>
                        <a:lnTo>
                          <a:pt x="222" y="138"/>
                        </a:lnTo>
                        <a:lnTo>
                          <a:pt x="220" y="135"/>
                        </a:lnTo>
                        <a:lnTo>
                          <a:pt x="214" y="132"/>
                        </a:lnTo>
                        <a:lnTo>
                          <a:pt x="206" y="127"/>
                        </a:lnTo>
                        <a:lnTo>
                          <a:pt x="198" y="123"/>
                        </a:lnTo>
                        <a:lnTo>
                          <a:pt x="196" y="121"/>
                        </a:lnTo>
                        <a:lnTo>
                          <a:pt x="193" y="120"/>
                        </a:lnTo>
                        <a:lnTo>
                          <a:pt x="192" y="115"/>
                        </a:lnTo>
                        <a:lnTo>
                          <a:pt x="190" y="110"/>
                        </a:lnTo>
                        <a:lnTo>
                          <a:pt x="190" y="105"/>
                        </a:lnTo>
                        <a:lnTo>
                          <a:pt x="187" y="97"/>
                        </a:lnTo>
                        <a:lnTo>
                          <a:pt x="187" y="95"/>
                        </a:lnTo>
                        <a:lnTo>
                          <a:pt x="190" y="92"/>
                        </a:lnTo>
                        <a:lnTo>
                          <a:pt x="193" y="87"/>
                        </a:lnTo>
                        <a:lnTo>
                          <a:pt x="195" y="85"/>
                        </a:lnTo>
                        <a:lnTo>
                          <a:pt x="196" y="82"/>
                        </a:lnTo>
                        <a:lnTo>
                          <a:pt x="196" y="80"/>
                        </a:lnTo>
                        <a:lnTo>
                          <a:pt x="193" y="78"/>
                        </a:lnTo>
                        <a:lnTo>
                          <a:pt x="192" y="78"/>
                        </a:lnTo>
                        <a:lnTo>
                          <a:pt x="190" y="78"/>
                        </a:lnTo>
                        <a:lnTo>
                          <a:pt x="187" y="79"/>
                        </a:lnTo>
                        <a:lnTo>
                          <a:pt x="187" y="78"/>
                        </a:lnTo>
                        <a:lnTo>
                          <a:pt x="186" y="76"/>
                        </a:lnTo>
                        <a:lnTo>
                          <a:pt x="187" y="75"/>
                        </a:lnTo>
                        <a:lnTo>
                          <a:pt x="189" y="73"/>
                        </a:lnTo>
                        <a:lnTo>
                          <a:pt x="190" y="71"/>
                        </a:lnTo>
                        <a:lnTo>
                          <a:pt x="193" y="71"/>
                        </a:lnTo>
                        <a:lnTo>
                          <a:pt x="193" y="70"/>
                        </a:lnTo>
                        <a:lnTo>
                          <a:pt x="196" y="69"/>
                        </a:lnTo>
                        <a:lnTo>
                          <a:pt x="198" y="68"/>
                        </a:lnTo>
                        <a:lnTo>
                          <a:pt x="198" y="63"/>
                        </a:lnTo>
                        <a:lnTo>
                          <a:pt x="198" y="62"/>
                        </a:lnTo>
                        <a:lnTo>
                          <a:pt x="198" y="61"/>
                        </a:lnTo>
                        <a:lnTo>
                          <a:pt x="198" y="57"/>
                        </a:lnTo>
                        <a:lnTo>
                          <a:pt x="199" y="55"/>
                        </a:lnTo>
                        <a:lnTo>
                          <a:pt x="200" y="53"/>
                        </a:lnTo>
                        <a:lnTo>
                          <a:pt x="200" y="49"/>
                        </a:lnTo>
                        <a:lnTo>
                          <a:pt x="201" y="46"/>
                        </a:lnTo>
                        <a:lnTo>
                          <a:pt x="199" y="44"/>
                        </a:lnTo>
                        <a:lnTo>
                          <a:pt x="196" y="41"/>
                        </a:lnTo>
                        <a:lnTo>
                          <a:pt x="193" y="39"/>
                        </a:lnTo>
                        <a:lnTo>
                          <a:pt x="193" y="36"/>
                        </a:lnTo>
                        <a:lnTo>
                          <a:pt x="193" y="33"/>
                        </a:lnTo>
                        <a:lnTo>
                          <a:pt x="192" y="30"/>
                        </a:lnTo>
                        <a:lnTo>
                          <a:pt x="187" y="30"/>
                        </a:lnTo>
                        <a:lnTo>
                          <a:pt x="187" y="28"/>
                        </a:lnTo>
                        <a:lnTo>
                          <a:pt x="186" y="27"/>
                        </a:lnTo>
                        <a:lnTo>
                          <a:pt x="181" y="26"/>
                        </a:lnTo>
                        <a:lnTo>
                          <a:pt x="178" y="26"/>
                        </a:lnTo>
                        <a:lnTo>
                          <a:pt x="175" y="26"/>
                        </a:lnTo>
                        <a:lnTo>
                          <a:pt x="172" y="25"/>
                        </a:lnTo>
                        <a:lnTo>
                          <a:pt x="172" y="23"/>
                        </a:lnTo>
                        <a:lnTo>
                          <a:pt x="169" y="21"/>
                        </a:lnTo>
                        <a:lnTo>
                          <a:pt x="168" y="20"/>
                        </a:lnTo>
                        <a:lnTo>
                          <a:pt x="166" y="18"/>
                        </a:lnTo>
                        <a:lnTo>
                          <a:pt x="164" y="16"/>
                        </a:lnTo>
                        <a:lnTo>
                          <a:pt x="163" y="11"/>
                        </a:lnTo>
                        <a:lnTo>
                          <a:pt x="162" y="7"/>
                        </a:lnTo>
                        <a:lnTo>
                          <a:pt x="161" y="3"/>
                        </a:lnTo>
                        <a:lnTo>
                          <a:pt x="158" y="0"/>
                        </a:lnTo>
                        <a:lnTo>
                          <a:pt x="156" y="0"/>
                        </a:lnTo>
                        <a:lnTo>
                          <a:pt x="155" y="0"/>
                        </a:lnTo>
                        <a:lnTo>
                          <a:pt x="154" y="0"/>
                        </a:lnTo>
                        <a:lnTo>
                          <a:pt x="152" y="0"/>
                        </a:lnTo>
                        <a:lnTo>
                          <a:pt x="150" y="2"/>
                        </a:lnTo>
                        <a:lnTo>
                          <a:pt x="148" y="3"/>
                        </a:lnTo>
                        <a:lnTo>
                          <a:pt x="147" y="6"/>
                        </a:lnTo>
                        <a:lnTo>
                          <a:pt x="145" y="6"/>
                        </a:lnTo>
                        <a:lnTo>
                          <a:pt x="143" y="8"/>
                        </a:lnTo>
                        <a:lnTo>
                          <a:pt x="142" y="10"/>
                        </a:lnTo>
                        <a:lnTo>
                          <a:pt x="140" y="11"/>
                        </a:lnTo>
                        <a:lnTo>
                          <a:pt x="138" y="13"/>
                        </a:lnTo>
                        <a:lnTo>
                          <a:pt x="129" y="13"/>
                        </a:lnTo>
                        <a:lnTo>
                          <a:pt x="129" y="15"/>
                        </a:lnTo>
                        <a:lnTo>
                          <a:pt x="129" y="16"/>
                        </a:lnTo>
                        <a:lnTo>
                          <a:pt x="128" y="18"/>
                        </a:lnTo>
                        <a:lnTo>
                          <a:pt x="126" y="20"/>
                        </a:lnTo>
                        <a:lnTo>
                          <a:pt x="124" y="22"/>
                        </a:lnTo>
                        <a:lnTo>
                          <a:pt x="122" y="25"/>
                        </a:lnTo>
                        <a:lnTo>
                          <a:pt x="121" y="27"/>
                        </a:lnTo>
                        <a:lnTo>
                          <a:pt x="119" y="30"/>
                        </a:lnTo>
                        <a:lnTo>
                          <a:pt x="118" y="32"/>
                        </a:lnTo>
                        <a:lnTo>
                          <a:pt x="118" y="36"/>
                        </a:lnTo>
                        <a:lnTo>
                          <a:pt x="119" y="39"/>
                        </a:lnTo>
                        <a:lnTo>
                          <a:pt x="119" y="42"/>
                        </a:lnTo>
                        <a:lnTo>
                          <a:pt x="119" y="45"/>
                        </a:lnTo>
                        <a:lnTo>
                          <a:pt x="117" y="47"/>
                        </a:lnTo>
                        <a:lnTo>
                          <a:pt x="116" y="50"/>
                        </a:lnTo>
                        <a:lnTo>
                          <a:pt x="116" y="52"/>
                        </a:lnTo>
                        <a:lnTo>
                          <a:pt x="116" y="57"/>
                        </a:lnTo>
                        <a:lnTo>
                          <a:pt x="116" y="60"/>
                        </a:lnTo>
                        <a:lnTo>
                          <a:pt x="116" y="65"/>
                        </a:lnTo>
                        <a:lnTo>
                          <a:pt x="116" y="70"/>
                        </a:lnTo>
                        <a:lnTo>
                          <a:pt x="117" y="72"/>
                        </a:lnTo>
                        <a:lnTo>
                          <a:pt x="119" y="75"/>
                        </a:lnTo>
                        <a:lnTo>
                          <a:pt x="119" y="84"/>
                        </a:lnTo>
                        <a:lnTo>
                          <a:pt x="118" y="86"/>
                        </a:lnTo>
                        <a:lnTo>
                          <a:pt x="115" y="89"/>
                        </a:lnTo>
                        <a:lnTo>
                          <a:pt x="113" y="91"/>
                        </a:lnTo>
                        <a:lnTo>
                          <a:pt x="110" y="94"/>
                        </a:lnTo>
                        <a:lnTo>
                          <a:pt x="108" y="96"/>
                        </a:lnTo>
                        <a:lnTo>
                          <a:pt x="107" y="98"/>
                        </a:lnTo>
                        <a:lnTo>
                          <a:pt x="107" y="101"/>
                        </a:lnTo>
                        <a:lnTo>
                          <a:pt x="107" y="102"/>
                        </a:lnTo>
                        <a:lnTo>
                          <a:pt x="107" y="103"/>
                        </a:lnTo>
                        <a:lnTo>
                          <a:pt x="107" y="104"/>
                        </a:lnTo>
                        <a:lnTo>
                          <a:pt x="107" y="106"/>
                        </a:lnTo>
                        <a:lnTo>
                          <a:pt x="107" y="109"/>
                        </a:lnTo>
                        <a:lnTo>
                          <a:pt x="108" y="111"/>
                        </a:lnTo>
                        <a:lnTo>
                          <a:pt x="108" y="114"/>
                        </a:lnTo>
                        <a:lnTo>
                          <a:pt x="107" y="116"/>
                        </a:lnTo>
                        <a:lnTo>
                          <a:pt x="106" y="121"/>
                        </a:lnTo>
                        <a:lnTo>
                          <a:pt x="105" y="123"/>
                        </a:lnTo>
                        <a:lnTo>
                          <a:pt x="103" y="123"/>
                        </a:lnTo>
                        <a:lnTo>
                          <a:pt x="101" y="123"/>
                        </a:lnTo>
                        <a:lnTo>
                          <a:pt x="100" y="121"/>
                        </a:lnTo>
                        <a:lnTo>
                          <a:pt x="99" y="119"/>
                        </a:lnTo>
                        <a:lnTo>
                          <a:pt x="97" y="116"/>
                        </a:lnTo>
                        <a:lnTo>
                          <a:pt x="95" y="116"/>
                        </a:lnTo>
                        <a:lnTo>
                          <a:pt x="93" y="116"/>
                        </a:lnTo>
                        <a:lnTo>
                          <a:pt x="92" y="116"/>
                        </a:lnTo>
                        <a:lnTo>
                          <a:pt x="90" y="116"/>
                        </a:lnTo>
                        <a:lnTo>
                          <a:pt x="89" y="114"/>
                        </a:lnTo>
                        <a:lnTo>
                          <a:pt x="87" y="112"/>
                        </a:lnTo>
                        <a:lnTo>
                          <a:pt x="86" y="110"/>
                        </a:lnTo>
                        <a:lnTo>
                          <a:pt x="84" y="110"/>
                        </a:lnTo>
                        <a:lnTo>
                          <a:pt x="82" y="110"/>
                        </a:lnTo>
                        <a:lnTo>
                          <a:pt x="81" y="110"/>
                        </a:lnTo>
                        <a:lnTo>
                          <a:pt x="81" y="111"/>
                        </a:lnTo>
                        <a:lnTo>
                          <a:pt x="81" y="113"/>
                        </a:lnTo>
                        <a:lnTo>
                          <a:pt x="79" y="113"/>
                        </a:lnTo>
                        <a:lnTo>
                          <a:pt x="77" y="115"/>
                        </a:lnTo>
                        <a:lnTo>
                          <a:pt x="76" y="116"/>
                        </a:lnTo>
                        <a:lnTo>
                          <a:pt x="74" y="116"/>
                        </a:lnTo>
                        <a:lnTo>
                          <a:pt x="72" y="118"/>
                        </a:lnTo>
                        <a:lnTo>
                          <a:pt x="71" y="119"/>
                        </a:lnTo>
                        <a:lnTo>
                          <a:pt x="69" y="120"/>
                        </a:lnTo>
                        <a:lnTo>
                          <a:pt x="67" y="120"/>
                        </a:lnTo>
                        <a:lnTo>
                          <a:pt x="65" y="120"/>
                        </a:lnTo>
                        <a:lnTo>
                          <a:pt x="63" y="122"/>
                        </a:lnTo>
                        <a:lnTo>
                          <a:pt x="58" y="126"/>
                        </a:lnTo>
                        <a:lnTo>
                          <a:pt x="58" y="125"/>
                        </a:lnTo>
                        <a:lnTo>
                          <a:pt x="58" y="124"/>
                        </a:lnTo>
                        <a:lnTo>
                          <a:pt x="58" y="123"/>
                        </a:lnTo>
                        <a:lnTo>
                          <a:pt x="48" y="123"/>
                        </a:lnTo>
                        <a:lnTo>
                          <a:pt x="46" y="122"/>
                        </a:lnTo>
                        <a:lnTo>
                          <a:pt x="43" y="118"/>
                        </a:lnTo>
                        <a:lnTo>
                          <a:pt x="39" y="116"/>
                        </a:lnTo>
                        <a:lnTo>
                          <a:pt x="37" y="116"/>
                        </a:lnTo>
                        <a:lnTo>
                          <a:pt x="36" y="116"/>
                        </a:lnTo>
                        <a:lnTo>
                          <a:pt x="36" y="117"/>
                        </a:lnTo>
                        <a:lnTo>
                          <a:pt x="36" y="116"/>
                        </a:lnTo>
                        <a:lnTo>
                          <a:pt x="36" y="113"/>
                        </a:lnTo>
                        <a:lnTo>
                          <a:pt x="34" y="112"/>
                        </a:lnTo>
                        <a:lnTo>
                          <a:pt x="32" y="109"/>
                        </a:lnTo>
                        <a:lnTo>
                          <a:pt x="31" y="106"/>
                        </a:lnTo>
                        <a:lnTo>
                          <a:pt x="29" y="103"/>
                        </a:lnTo>
                        <a:lnTo>
                          <a:pt x="29" y="102"/>
                        </a:lnTo>
                        <a:lnTo>
                          <a:pt x="29" y="97"/>
                        </a:lnTo>
                        <a:lnTo>
                          <a:pt x="27" y="94"/>
                        </a:lnTo>
                        <a:lnTo>
                          <a:pt x="27" y="89"/>
                        </a:lnTo>
                        <a:lnTo>
                          <a:pt x="26" y="84"/>
                        </a:lnTo>
                        <a:lnTo>
                          <a:pt x="22" y="80"/>
                        </a:lnTo>
                        <a:lnTo>
                          <a:pt x="17" y="79"/>
                        </a:lnTo>
                        <a:lnTo>
                          <a:pt x="12" y="80"/>
                        </a:lnTo>
                        <a:lnTo>
                          <a:pt x="9" y="81"/>
                        </a:lnTo>
                        <a:lnTo>
                          <a:pt x="5" y="84"/>
                        </a:lnTo>
                        <a:lnTo>
                          <a:pt x="5" y="89"/>
                        </a:lnTo>
                        <a:lnTo>
                          <a:pt x="5" y="95"/>
                        </a:lnTo>
                        <a:lnTo>
                          <a:pt x="7" y="99"/>
                        </a:lnTo>
                        <a:lnTo>
                          <a:pt x="5" y="101"/>
                        </a:lnTo>
                        <a:lnTo>
                          <a:pt x="3" y="100"/>
                        </a:lnTo>
                        <a:lnTo>
                          <a:pt x="2" y="99"/>
                        </a:lnTo>
                        <a:lnTo>
                          <a:pt x="1" y="99"/>
                        </a:lnTo>
                        <a:lnTo>
                          <a:pt x="0" y="101"/>
                        </a:lnTo>
                        <a:lnTo>
                          <a:pt x="2" y="103"/>
                        </a:lnTo>
                        <a:lnTo>
                          <a:pt x="3" y="108"/>
                        </a:lnTo>
                        <a:lnTo>
                          <a:pt x="5" y="114"/>
                        </a:lnTo>
                        <a:lnTo>
                          <a:pt x="10" y="120"/>
                        </a:lnTo>
                        <a:lnTo>
                          <a:pt x="12" y="122"/>
                        </a:lnTo>
                        <a:lnTo>
                          <a:pt x="14" y="123"/>
                        </a:lnTo>
                        <a:lnTo>
                          <a:pt x="16" y="124"/>
                        </a:lnTo>
                        <a:lnTo>
                          <a:pt x="19" y="126"/>
                        </a:lnTo>
                        <a:lnTo>
                          <a:pt x="21" y="126"/>
                        </a:lnTo>
                        <a:lnTo>
                          <a:pt x="23" y="127"/>
                        </a:lnTo>
                        <a:lnTo>
                          <a:pt x="26" y="129"/>
                        </a:lnTo>
                        <a:lnTo>
                          <a:pt x="28" y="129"/>
                        </a:lnTo>
                        <a:lnTo>
                          <a:pt x="29" y="129"/>
                        </a:lnTo>
                        <a:lnTo>
                          <a:pt x="30" y="130"/>
                        </a:lnTo>
                        <a:lnTo>
                          <a:pt x="32" y="132"/>
                        </a:lnTo>
                        <a:lnTo>
                          <a:pt x="35" y="134"/>
                        </a:lnTo>
                        <a:lnTo>
                          <a:pt x="37" y="135"/>
                        </a:lnTo>
                        <a:lnTo>
                          <a:pt x="40" y="137"/>
                        </a:lnTo>
                        <a:lnTo>
                          <a:pt x="41" y="139"/>
                        </a:lnTo>
                        <a:lnTo>
                          <a:pt x="43" y="139"/>
                        </a:lnTo>
                        <a:lnTo>
                          <a:pt x="45" y="139"/>
                        </a:lnTo>
                        <a:lnTo>
                          <a:pt x="46" y="139"/>
                        </a:lnTo>
                        <a:lnTo>
                          <a:pt x="48" y="139"/>
                        </a:lnTo>
                        <a:lnTo>
                          <a:pt x="50" y="141"/>
                        </a:lnTo>
                        <a:lnTo>
                          <a:pt x="50" y="144"/>
                        </a:lnTo>
                        <a:lnTo>
                          <a:pt x="50" y="146"/>
                        </a:lnTo>
                        <a:lnTo>
                          <a:pt x="51" y="149"/>
                        </a:lnTo>
                        <a:lnTo>
                          <a:pt x="55" y="152"/>
                        </a:lnTo>
                        <a:lnTo>
                          <a:pt x="58" y="155"/>
                        </a:lnTo>
                        <a:lnTo>
                          <a:pt x="60" y="157"/>
                        </a:lnTo>
                        <a:lnTo>
                          <a:pt x="62" y="161"/>
                        </a:lnTo>
                        <a:lnTo>
                          <a:pt x="63" y="166"/>
                        </a:lnTo>
                        <a:lnTo>
                          <a:pt x="62" y="171"/>
                        </a:lnTo>
                        <a:lnTo>
                          <a:pt x="61" y="175"/>
                        </a:lnTo>
                        <a:lnTo>
                          <a:pt x="62" y="180"/>
                        </a:lnTo>
                        <a:lnTo>
                          <a:pt x="64" y="184"/>
                        </a:lnTo>
                        <a:lnTo>
                          <a:pt x="65" y="187"/>
                        </a:lnTo>
                        <a:lnTo>
                          <a:pt x="65" y="188"/>
                        </a:lnTo>
                        <a:lnTo>
                          <a:pt x="65" y="190"/>
                        </a:lnTo>
                        <a:lnTo>
                          <a:pt x="65" y="192"/>
                        </a:lnTo>
                        <a:lnTo>
                          <a:pt x="65" y="194"/>
                        </a:lnTo>
                        <a:lnTo>
                          <a:pt x="65" y="198"/>
                        </a:lnTo>
                        <a:lnTo>
                          <a:pt x="67" y="204"/>
                        </a:lnTo>
                        <a:lnTo>
                          <a:pt x="70" y="209"/>
                        </a:lnTo>
                        <a:lnTo>
                          <a:pt x="71" y="213"/>
                        </a:lnTo>
                        <a:lnTo>
                          <a:pt x="70" y="216"/>
                        </a:lnTo>
                        <a:lnTo>
                          <a:pt x="70" y="217"/>
                        </a:lnTo>
                        <a:lnTo>
                          <a:pt x="70" y="218"/>
                        </a:lnTo>
                        <a:lnTo>
                          <a:pt x="72" y="217"/>
                        </a:lnTo>
                        <a:lnTo>
                          <a:pt x="74" y="216"/>
                        </a:lnTo>
                        <a:lnTo>
                          <a:pt x="76" y="216"/>
                        </a:lnTo>
                        <a:lnTo>
                          <a:pt x="77" y="216"/>
                        </a:lnTo>
                        <a:lnTo>
                          <a:pt x="79" y="220"/>
                        </a:lnTo>
                        <a:lnTo>
                          <a:pt x="80" y="221"/>
                        </a:lnTo>
                        <a:lnTo>
                          <a:pt x="81" y="223"/>
                        </a:lnTo>
                        <a:lnTo>
                          <a:pt x="81" y="225"/>
                        </a:lnTo>
                        <a:lnTo>
                          <a:pt x="80" y="227"/>
                        </a:lnTo>
                        <a:lnTo>
                          <a:pt x="79" y="229"/>
                        </a:lnTo>
                        <a:lnTo>
                          <a:pt x="78" y="232"/>
                        </a:lnTo>
                        <a:lnTo>
                          <a:pt x="77" y="235"/>
                        </a:lnTo>
                        <a:lnTo>
                          <a:pt x="74" y="235"/>
                        </a:lnTo>
                        <a:lnTo>
                          <a:pt x="77" y="245"/>
                        </a:lnTo>
                        <a:lnTo>
                          <a:pt x="81" y="251"/>
                        </a:lnTo>
                        <a:lnTo>
                          <a:pt x="77" y="261"/>
                        </a:lnTo>
                        <a:lnTo>
                          <a:pt x="74" y="271"/>
                        </a:lnTo>
                        <a:lnTo>
                          <a:pt x="74" y="284"/>
                        </a:lnTo>
                        <a:lnTo>
                          <a:pt x="84" y="290"/>
                        </a:lnTo>
                        <a:lnTo>
                          <a:pt x="87" y="296"/>
                        </a:lnTo>
                        <a:lnTo>
                          <a:pt x="90" y="310"/>
                        </a:lnTo>
                        <a:lnTo>
                          <a:pt x="93" y="313"/>
                        </a:lnTo>
                        <a:lnTo>
                          <a:pt x="97" y="322"/>
                        </a:lnTo>
                        <a:lnTo>
                          <a:pt x="100" y="319"/>
                        </a:lnTo>
                        <a:lnTo>
                          <a:pt x="103" y="316"/>
                        </a:lnTo>
                        <a:lnTo>
                          <a:pt x="104" y="316"/>
                        </a:lnTo>
                        <a:lnTo>
                          <a:pt x="105" y="316"/>
                        </a:lnTo>
                        <a:lnTo>
                          <a:pt x="107" y="316"/>
                        </a:lnTo>
                        <a:lnTo>
                          <a:pt x="107" y="319"/>
                        </a:lnTo>
                        <a:lnTo>
                          <a:pt x="108" y="320"/>
                        </a:lnTo>
                        <a:lnTo>
                          <a:pt x="110" y="321"/>
                        </a:lnTo>
                        <a:lnTo>
                          <a:pt x="110" y="322"/>
                        </a:lnTo>
                        <a:lnTo>
                          <a:pt x="112" y="322"/>
                        </a:lnTo>
                        <a:lnTo>
                          <a:pt x="113" y="322"/>
                        </a:lnTo>
                        <a:lnTo>
                          <a:pt x="114" y="324"/>
                        </a:lnTo>
                        <a:lnTo>
                          <a:pt x="115" y="325"/>
                        </a:lnTo>
                        <a:lnTo>
                          <a:pt x="116" y="325"/>
                        </a:lnTo>
                        <a:lnTo>
                          <a:pt x="118" y="325"/>
                        </a:lnTo>
                        <a:lnTo>
                          <a:pt x="119" y="325"/>
                        </a:lnTo>
                        <a:lnTo>
                          <a:pt x="120" y="325"/>
                        </a:lnTo>
                        <a:lnTo>
                          <a:pt x="122" y="325"/>
                        </a:lnTo>
                        <a:lnTo>
                          <a:pt x="129" y="332"/>
                        </a:lnTo>
                        <a:lnTo>
                          <a:pt x="132" y="333"/>
                        </a:lnTo>
                        <a:lnTo>
                          <a:pt x="134" y="334"/>
                        </a:lnTo>
                        <a:lnTo>
                          <a:pt x="137" y="334"/>
                        </a:lnTo>
                        <a:lnTo>
                          <a:pt x="138" y="335"/>
                        </a:lnTo>
                        <a:lnTo>
                          <a:pt x="138" y="336"/>
                        </a:lnTo>
                        <a:lnTo>
                          <a:pt x="138" y="337"/>
                        </a:lnTo>
                        <a:lnTo>
                          <a:pt x="138" y="338"/>
                        </a:lnTo>
                        <a:lnTo>
                          <a:pt x="138" y="339"/>
                        </a:lnTo>
                        <a:lnTo>
                          <a:pt x="137" y="339"/>
                        </a:lnTo>
                        <a:lnTo>
                          <a:pt x="138" y="339"/>
                        </a:lnTo>
                        <a:lnTo>
                          <a:pt x="141" y="340"/>
                        </a:lnTo>
                        <a:lnTo>
                          <a:pt x="143" y="343"/>
                        </a:lnTo>
                        <a:lnTo>
                          <a:pt x="145" y="345"/>
                        </a:lnTo>
                        <a:lnTo>
                          <a:pt x="145" y="348"/>
                        </a:lnTo>
                        <a:lnTo>
                          <a:pt x="147" y="353"/>
                        </a:lnTo>
                        <a:lnTo>
                          <a:pt x="147" y="358"/>
                        </a:lnTo>
                        <a:lnTo>
                          <a:pt x="147" y="363"/>
                        </a:lnTo>
                        <a:lnTo>
                          <a:pt x="148" y="367"/>
                        </a:lnTo>
                        <a:lnTo>
                          <a:pt x="149" y="368"/>
                        </a:lnTo>
                        <a:lnTo>
                          <a:pt x="150" y="370"/>
                        </a:lnTo>
                        <a:lnTo>
                          <a:pt x="151" y="373"/>
                        </a:lnTo>
                        <a:lnTo>
                          <a:pt x="152" y="374"/>
                        </a:lnTo>
                        <a:lnTo>
                          <a:pt x="151" y="374"/>
                        </a:lnTo>
                        <a:lnTo>
                          <a:pt x="150" y="375"/>
                        </a:lnTo>
                        <a:lnTo>
                          <a:pt x="149" y="376"/>
                        </a:lnTo>
                        <a:lnTo>
                          <a:pt x="148" y="377"/>
                        </a:lnTo>
                        <a:lnTo>
                          <a:pt x="148" y="378"/>
                        </a:lnTo>
                        <a:lnTo>
                          <a:pt x="148" y="379"/>
                        </a:lnTo>
                        <a:lnTo>
                          <a:pt x="148" y="384"/>
                        </a:lnTo>
                        <a:lnTo>
                          <a:pt x="147" y="384"/>
                        </a:lnTo>
                        <a:lnTo>
                          <a:pt x="143" y="385"/>
                        </a:lnTo>
                        <a:lnTo>
                          <a:pt x="139" y="386"/>
                        </a:lnTo>
                        <a:lnTo>
                          <a:pt x="136" y="387"/>
                        </a:lnTo>
                        <a:lnTo>
                          <a:pt x="133" y="390"/>
                        </a:lnTo>
                        <a:lnTo>
                          <a:pt x="132" y="390"/>
                        </a:lnTo>
                        <a:lnTo>
                          <a:pt x="131" y="391"/>
                        </a:lnTo>
                        <a:lnTo>
                          <a:pt x="130" y="391"/>
                        </a:lnTo>
                        <a:lnTo>
                          <a:pt x="129" y="393"/>
                        </a:lnTo>
                        <a:lnTo>
                          <a:pt x="129" y="394"/>
                        </a:lnTo>
                        <a:lnTo>
                          <a:pt x="129" y="396"/>
                        </a:lnTo>
                        <a:lnTo>
                          <a:pt x="129" y="400"/>
                        </a:lnTo>
                        <a:lnTo>
                          <a:pt x="128" y="404"/>
                        </a:lnTo>
                        <a:lnTo>
                          <a:pt x="126" y="409"/>
                        </a:lnTo>
                        <a:lnTo>
                          <a:pt x="126" y="413"/>
                        </a:lnTo>
                        <a:lnTo>
                          <a:pt x="125" y="413"/>
                        </a:lnTo>
                        <a:lnTo>
                          <a:pt x="124" y="415"/>
                        </a:lnTo>
                        <a:lnTo>
                          <a:pt x="121" y="419"/>
                        </a:lnTo>
                        <a:lnTo>
                          <a:pt x="117" y="423"/>
                        </a:lnTo>
                        <a:lnTo>
                          <a:pt x="116" y="425"/>
                        </a:lnTo>
                        <a:lnTo>
                          <a:pt x="113" y="427"/>
                        </a:lnTo>
                        <a:lnTo>
                          <a:pt x="112" y="428"/>
                        </a:lnTo>
                        <a:lnTo>
                          <a:pt x="111" y="429"/>
                        </a:lnTo>
                        <a:lnTo>
                          <a:pt x="110" y="429"/>
                        </a:lnTo>
                        <a:lnTo>
                          <a:pt x="108" y="434"/>
                        </a:lnTo>
                        <a:lnTo>
                          <a:pt x="107" y="439"/>
                        </a:lnTo>
                        <a:lnTo>
                          <a:pt x="105" y="444"/>
                        </a:lnTo>
                        <a:lnTo>
                          <a:pt x="103" y="448"/>
                        </a:lnTo>
                        <a:lnTo>
                          <a:pt x="103" y="450"/>
                        </a:lnTo>
                        <a:lnTo>
                          <a:pt x="101" y="451"/>
                        </a:lnTo>
                        <a:lnTo>
                          <a:pt x="97" y="451"/>
                        </a:lnTo>
                        <a:lnTo>
                          <a:pt x="97" y="453"/>
                        </a:lnTo>
                        <a:lnTo>
                          <a:pt x="97" y="454"/>
                        </a:lnTo>
                        <a:lnTo>
                          <a:pt x="96" y="457"/>
                        </a:lnTo>
                        <a:lnTo>
                          <a:pt x="94" y="461"/>
                        </a:lnTo>
                        <a:lnTo>
                          <a:pt x="92" y="463"/>
                        </a:lnTo>
                        <a:lnTo>
                          <a:pt x="90" y="463"/>
                        </a:lnTo>
                        <a:lnTo>
                          <a:pt x="89" y="465"/>
                        </a:lnTo>
                        <a:lnTo>
                          <a:pt x="87" y="465"/>
                        </a:lnTo>
                        <a:lnTo>
                          <a:pt x="86" y="465"/>
                        </a:lnTo>
                        <a:lnTo>
                          <a:pt x="84" y="467"/>
                        </a:lnTo>
                        <a:lnTo>
                          <a:pt x="83" y="469"/>
                        </a:lnTo>
                        <a:lnTo>
                          <a:pt x="81" y="474"/>
                        </a:lnTo>
                        <a:lnTo>
                          <a:pt x="78" y="480"/>
                        </a:lnTo>
                        <a:lnTo>
                          <a:pt x="77" y="484"/>
                        </a:lnTo>
                        <a:lnTo>
                          <a:pt x="75" y="482"/>
                        </a:lnTo>
                        <a:lnTo>
                          <a:pt x="74" y="481"/>
                        </a:lnTo>
                        <a:lnTo>
                          <a:pt x="73" y="480"/>
                        </a:lnTo>
                        <a:lnTo>
                          <a:pt x="71" y="480"/>
                        </a:lnTo>
                        <a:lnTo>
                          <a:pt x="71" y="481"/>
                        </a:lnTo>
                        <a:lnTo>
                          <a:pt x="71" y="482"/>
                        </a:lnTo>
                        <a:lnTo>
                          <a:pt x="71" y="487"/>
                        </a:lnTo>
                        <a:lnTo>
                          <a:pt x="71" y="488"/>
                        </a:lnTo>
                        <a:lnTo>
                          <a:pt x="71" y="489"/>
                        </a:lnTo>
                        <a:lnTo>
                          <a:pt x="70" y="491"/>
                        </a:lnTo>
                        <a:lnTo>
                          <a:pt x="69" y="493"/>
                        </a:lnTo>
                        <a:lnTo>
                          <a:pt x="68" y="494"/>
                        </a:lnTo>
                        <a:lnTo>
                          <a:pt x="67" y="496"/>
                        </a:lnTo>
                        <a:lnTo>
                          <a:pt x="66" y="498"/>
                        </a:lnTo>
                        <a:lnTo>
                          <a:pt x="66" y="499"/>
                        </a:lnTo>
                        <a:lnTo>
                          <a:pt x="65" y="501"/>
                        </a:lnTo>
                        <a:lnTo>
                          <a:pt x="65" y="503"/>
                        </a:lnTo>
                        <a:lnTo>
                          <a:pt x="64" y="503"/>
                        </a:lnTo>
                        <a:lnTo>
                          <a:pt x="63" y="504"/>
                        </a:lnTo>
                        <a:lnTo>
                          <a:pt x="62" y="506"/>
                        </a:lnTo>
                        <a:lnTo>
                          <a:pt x="62" y="508"/>
                        </a:lnTo>
                        <a:lnTo>
                          <a:pt x="63" y="509"/>
                        </a:lnTo>
                        <a:lnTo>
                          <a:pt x="63" y="511"/>
                        </a:lnTo>
                        <a:lnTo>
                          <a:pt x="62" y="512"/>
                        </a:lnTo>
                        <a:lnTo>
                          <a:pt x="48" y="518"/>
                        </a:lnTo>
                        <a:lnTo>
                          <a:pt x="48" y="517"/>
                        </a:lnTo>
                        <a:lnTo>
                          <a:pt x="48" y="515"/>
                        </a:lnTo>
                        <a:lnTo>
                          <a:pt x="46" y="517"/>
                        </a:lnTo>
                        <a:lnTo>
                          <a:pt x="45" y="518"/>
                        </a:lnTo>
                        <a:lnTo>
                          <a:pt x="43" y="518"/>
                        </a:lnTo>
                        <a:lnTo>
                          <a:pt x="41" y="518"/>
                        </a:lnTo>
                        <a:lnTo>
                          <a:pt x="41" y="519"/>
                        </a:lnTo>
                        <a:lnTo>
                          <a:pt x="41" y="521"/>
                        </a:lnTo>
                        <a:lnTo>
                          <a:pt x="39" y="523"/>
                        </a:lnTo>
                        <a:lnTo>
                          <a:pt x="39" y="525"/>
                        </a:lnTo>
                        <a:lnTo>
                          <a:pt x="39" y="528"/>
                        </a:lnTo>
                        <a:lnTo>
                          <a:pt x="40" y="531"/>
                        </a:lnTo>
                        <a:lnTo>
                          <a:pt x="40" y="534"/>
                        </a:lnTo>
                        <a:lnTo>
                          <a:pt x="39" y="538"/>
                        </a:lnTo>
                        <a:lnTo>
                          <a:pt x="38" y="538"/>
                        </a:lnTo>
                        <a:lnTo>
                          <a:pt x="37" y="539"/>
                        </a:lnTo>
                        <a:lnTo>
                          <a:pt x="36" y="540"/>
                        </a:lnTo>
                        <a:lnTo>
                          <a:pt x="36" y="541"/>
                        </a:lnTo>
                        <a:lnTo>
                          <a:pt x="34" y="544"/>
                        </a:lnTo>
                        <a:lnTo>
                          <a:pt x="32" y="548"/>
                        </a:lnTo>
                        <a:lnTo>
                          <a:pt x="31" y="551"/>
                        </a:lnTo>
                        <a:lnTo>
                          <a:pt x="29" y="554"/>
                        </a:lnTo>
                        <a:lnTo>
                          <a:pt x="29" y="555"/>
                        </a:lnTo>
                        <a:lnTo>
                          <a:pt x="31" y="556"/>
                        </a:lnTo>
                        <a:lnTo>
                          <a:pt x="32" y="557"/>
                        </a:lnTo>
                        <a:lnTo>
                          <a:pt x="32" y="558"/>
                        </a:lnTo>
                        <a:lnTo>
                          <a:pt x="31" y="559"/>
                        </a:lnTo>
                        <a:lnTo>
                          <a:pt x="29" y="560"/>
                        </a:lnTo>
                        <a:lnTo>
                          <a:pt x="29" y="562"/>
                        </a:lnTo>
                        <a:lnTo>
                          <a:pt x="31" y="563"/>
                        </a:lnTo>
                        <a:lnTo>
                          <a:pt x="32" y="563"/>
                        </a:lnTo>
                        <a:lnTo>
                          <a:pt x="34" y="566"/>
                        </a:lnTo>
                        <a:lnTo>
                          <a:pt x="34" y="568"/>
                        </a:lnTo>
                        <a:lnTo>
                          <a:pt x="33" y="571"/>
                        </a:lnTo>
                        <a:lnTo>
                          <a:pt x="32" y="573"/>
                        </a:lnTo>
                        <a:lnTo>
                          <a:pt x="33" y="574"/>
                        </a:lnTo>
                        <a:lnTo>
                          <a:pt x="34" y="575"/>
                        </a:lnTo>
                        <a:lnTo>
                          <a:pt x="35" y="576"/>
                        </a:lnTo>
                        <a:lnTo>
                          <a:pt x="36" y="577"/>
                        </a:lnTo>
                        <a:lnTo>
                          <a:pt x="37" y="579"/>
                        </a:lnTo>
                        <a:lnTo>
                          <a:pt x="37" y="582"/>
                        </a:lnTo>
                        <a:lnTo>
                          <a:pt x="38" y="583"/>
                        </a:lnTo>
                        <a:lnTo>
                          <a:pt x="39" y="586"/>
                        </a:lnTo>
                        <a:lnTo>
                          <a:pt x="41" y="586"/>
                        </a:lnTo>
                        <a:lnTo>
                          <a:pt x="40" y="591"/>
                        </a:lnTo>
                        <a:lnTo>
                          <a:pt x="38" y="598"/>
                        </a:lnTo>
                        <a:lnTo>
                          <a:pt x="38" y="604"/>
                        </a:lnTo>
                        <a:lnTo>
                          <a:pt x="39" y="608"/>
                        </a:lnTo>
                        <a:lnTo>
                          <a:pt x="39" y="610"/>
                        </a:lnTo>
                        <a:lnTo>
                          <a:pt x="41" y="613"/>
                        </a:lnTo>
                        <a:lnTo>
                          <a:pt x="41" y="617"/>
                        </a:lnTo>
                        <a:lnTo>
                          <a:pt x="41" y="618"/>
                        </a:lnTo>
                        <a:lnTo>
                          <a:pt x="45" y="618"/>
                        </a:lnTo>
                        <a:lnTo>
                          <a:pt x="45" y="619"/>
                        </a:lnTo>
                        <a:lnTo>
                          <a:pt x="45" y="621"/>
                        </a:lnTo>
                        <a:lnTo>
                          <a:pt x="45" y="625"/>
                        </a:lnTo>
                        <a:lnTo>
                          <a:pt x="45" y="628"/>
                        </a:lnTo>
                        <a:lnTo>
                          <a:pt x="47" y="630"/>
                        </a:lnTo>
                        <a:lnTo>
                          <a:pt x="51" y="634"/>
                        </a:lnTo>
                        <a:lnTo>
                          <a:pt x="51" y="635"/>
                        </a:lnTo>
                        <a:lnTo>
                          <a:pt x="51" y="636"/>
                        </a:lnTo>
                        <a:lnTo>
                          <a:pt x="51" y="638"/>
                        </a:lnTo>
                        <a:lnTo>
                          <a:pt x="50" y="638"/>
                        </a:lnTo>
                        <a:lnTo>
                          <a:pt x="49" y="638"/>
                        </a:lnTo>
                        <a:lnTo>
                          <a:pt x="48" y="638"/>
                        </a:lnTo>
                        <a:lnTo>
                          <a:pt x="46" y="641"/>
                        </a:lnTo>
                        <a:lnTo>
                          <a:pt x="45" y="644"/>
                        </a:lnTo>
                        <a:lnTo>
                          <a:pt x="45" y="648"/>
                        </a:lnTo>
                        <a:lnTo>
                          <a:pt x="45" y="651"/>
                        </a:lnTo>
                        <a:lnTo>
                          <a:pt x="46" y="651"/>
                        </a:lnTo>
                        <a:lnTo>
                          <a:pt x="48" y="651"/>
                        </a:lnTo>
                        <a:lnTo>
                          <a:pt x="48" y="655"/>
                        </a:lnTo>
                        <a:lnTo>
                          <a:pt x="48" y="656"/>
                        </a:lnTo>
                        <a:lnTo>
                          <a:pt x="48" y="657"/>
                        </a:lnTo>
                        <a:lnTo>
                          <a:pt x="47" y="657"/>
                        </a:lnTo>
                        <a:lnTo>
                          <a:pt x="46" y="658"/>
                        </a:lnTo>
                        <a:lnTo>
                          <a:pt x="46" y="659"/>
                        </a:lnTo>
                        <a:lnTo>
                          <a:pt x="45" y="660"/>
                        </a:lnTo>
                        <a:lnTo>
                          <a:pt x="45" y="663"/>
                        </a:lnTo>
                        <a:lnTo>
                          <a:pt x="43" y="666"/>
                        </a:lnTo>
                        <a:lnTo>
                          <a:pt x="42" y="668"/>
                        </a:lnTo>
                        <a:lnTo>
                          <a:pt x="41" y="673"/>
                        </a:lnTo>
                        <a:lnTo>
                          <a:pt x="42" y="678"/>
                        </a:lnTo>
                        <a:lnTo>
                          <a:pt x="43" y="680"/>
                        </a:lnTo>
                        <a:lnTo>
                          <a:pt x="46" y="682"/>
                        </a:lnTo>
                        <a:lnTo>
                          <a:pt x="48" y="682"/>
                        </a:lnTo>
                        <a:lnTo>
                          <a:pt x="48" y="685"/>
                        </a:lnTo>
                        <a:lnTo>
                          <a:pt x="47" y="688"/>
                        </a:lnTo>
                        <a:lnTo>
                          <a:pt x="47" y="690"/>
                        </a:lnTo>
                        <a:lnTo>
                          <a:pt x="48" y="693"/>
                        </a:lnTo>
                        <a:lnTo>
                          <a:pt x="48" y="696"/>
                        </a:lnTo>
                        <a:lnTo>
                          <a:pt x="50" y="698"/>
                        </a:lnTo>
                        <a:lnTo>
                          <a:pt x="49" y="701"/>
                        </a:lnTo>
                        <a:lnTo>
                          <a:pt x="49" y="703"/>
                        </a:lnTo>
                        <a:lnTo>
                          <a:pt x="48" y="705"/>
                        </a:lnTo>
                        <a:lnTo>
                          <a:pt x="48" y="707"/>
                        </a:lnTo>
                        <a:lnTo>
                          <a:pt x="48" y="708"/>
                        </a:lnTo>
                        <a:lnTo>
                          <a:pt x="50" y="708"/>
                        </a:lnTo>
                        <a:lnTo>
                          <a:pt x="51" y="708"/>
                        </a:lnTo>
                        <a:lnTo>
                          <a:pt x="53" y="711"/>
                        </a:lnTo>
                        <a:lnTo>
                          <a:pt x="54" y="713"/>
                        </a:lnTo>
                        <a:lnTo>
                          <a:pt x="55" y="714"/>
                        </a:lnTo>
                        <a:lnTo>
                          <a:pt x="55" y="715"/>
                        </a:lnTo>
                        <a:lnTo>
                          <a:pt x="55" y="717"/>
                        </a:lnTo>
                        <a:lnTo>
                          <a:pt x="55" y="718"/>
                        </a:lnTo>
                        <a:lnTo>
                          <a:pt x="57" y="718"/>
                        </a:lnTo>
                        <a:lnTo>
                          <a:pt x="58" y="718"/>
                        </a:lnTo>
                        <a:lnTo>
                          <a:pt x="60" y="718"/>
                        </a:lnTo>
                        <a:lnTo>
                          <a:pt x="62" y="718"/>
                        </a:lnTo>
                        <a:lnTo>
                          <a:pt x="62" y="714"/>
                        </a:lnTo>
                        <a:lnTo>
                          <a:pt x="62" y="712"/>
                        </a:lnTo>
                        <a:lnTo>
                          <a:pt x="62" y="711"/>
                        </a:lnTo>
                        <a:lnTo>
                          <a:pt x="63" y="710"/>
                        </a:lnTo>
                        <a:lnTo>
                          <a:pt x="64" y="709"/>
                        </a:lnTo>
                        <a:lnTo>
                          <a:pt x="65" y="708"/>
                        </a:lnTo>
                        <a:lnTo>
                          <a:pt x="65" y="718"/>
                        </a:lnTo>
                        <a:lnTo>
                          <a:pt x="66" y="719"/>
                        </a:lnTo>
                        <a:lnTo>
                          <a:pt x="67" y="720"/>
                        </a:lnTo>
                        <a:lnTo>
                          <a:pt x="67" y="722"/>
                        </a:lnTo>
                        <a:lnTo>
                          <a:pt x="68" y="722"/>
                        </a:lnTo>
                        <a:lnTo>
                          <a:pt x="69" y="722"/>
                        </a:lnTo>
                        <a:lnTo>
                          <a:pt x="70" y="722"/>
                        </a:lnTo>
                        <a:lnTo>
                          <a:pt x="71" y="722"/>
                        </a:lnTo>
                        <a:lnTo>
                          <a:pt x="71" y="721"/>
                        </a:lnTo>
                        <a:lnTo>
                          <a:pt x="72" y="720"/>
                        </a:lnTo>
                        <a:lnTo>
                          <a:pt x="74" y="719"/>
                        </a:lnTo>
                        <a:lnTo>
                          <a:pt x="74" y="718"/>
                        </a:lnTo>
                        <a:lnTo>
                          <a:pt x="74" y="719"/>
                        </a:lnTo>
                        <a:lnTo>
                          <a:pt x="74" y="720"/>
                        </a:lnTo>
                        <a:lnTo>
                          <a:pt x="74" y="718"/>
                        </a:lnTo>
                        <a:lnTo>
                          <a:pt x="74" y="720"/>
                        </a:lnTo>
                        <a:lnTo>
                          <a:pt x="74" y="721"/>
                        </a:lnTo>
                        <a:lnTo>
                          <a:pt x="74" y="722"/>
                        </a:lnTo>
                        <a:lnTo>
                          <a:pt x="75" y="724"/>
                        </a:lnTo>
                        <a:lnTo>
                          <a:pt x="76" y="725"/>
                        </a:lnTo>
                        <a:lnTo>
                          <a:pt x="81" y="725"/>
                        </a:lnTo>
                        <a:lnTo>
                          <a:pt x="81" y="723"/>
                        </a:lnTo>
                        <a:lnTo>
                          <a:pt x="81" y="722"/>
                        </a:lnTo>
                        <a:lnTo>
                          <a:pt x="84" y="725"/>
                        </a:lnTo>
                        <a:lnTo>
                          <a:pt x="85" y="725"/>
                        </a:lnTo>
                        <a:lnTo>
                          <a:pt x="86" y="723"/>
                        </a:lnTo>
                        <a:lnTo>
                          <a:pt x="87" y="722"/>
                        </a:lnTo>
                        <a:lnTo>
                          <a:pt x="89" y="727"/>
                        </a:lnTo>
                        <a:lnTo>
                          <a:pt x="89" y="730"/>
                        </a:lnTo>
                        <a:lnTo>
                          <a:pt x="89" y="732"/>
                        </a:lnTo>
                        <a:lnTo>
                          <a:pt x="90" y="732"/>
                        </a:lnTo>
                        <a:lnTo>
                          <a:pt x="91" y="730"/>
                        </a:lnTo>
                        <a:lnTo>
                          <a:pt x="93" y="727"/>
                        </a:lnTo>
                        <a:lnTo>
                          <a:pt x="92" y="727"/>
                        </a:lnTo>
                        <a:lnTo>
                          <a:pt x="94" y="726"/>
                        </a:lnTo>
                        <a:lnTo>
                          <a:pt x="96" y="725"/>
                        </a:lnTo>
                        <a:lnTo>
                          <a:pt x="97" y="725"/>
                        </a:lnTo>
                        <a:lnTo>
                          <a:pt x="96" y="730"/>
                        </a:lnTo>
                        <a:lnTo>
                          <a:pt x="96" y="734"/>
                        </a:lnTo>
                        <a:lnTo>
                          <a:pt x="94" y="737"/>
                        </a:lnTo>
                        <a:lnTo>
                          <a:pt x="90" y="741"/>
                        </a:lnTo>
                        <a:lnTo>
                          <a:pt x="92" y="741"/>
                        </a:lnTo>
                        <a:lnTo>
                          <a:pt x="94" y="743"/>
                        </a:lnTo>
                        <a:lnTo>
                          <a:pt x="93" y="744"/>
                        </a:lnTo>
                        <a:lnTo>
                          <a:pt x="90" y="744"/>
                        </a:lnTo>
                        <a:lnTo>
                          <a:pt x="89" y="745"/>
                        </a:lnTo>
                        <a:lnTo>
                          <a:pt x="89" y="746"/>
                        </a:lnTo>
                        <a:lnTo>
                          <a:pt x="89" y="747"/>
                        </a:lnTo>
                        <a:lnTo>
                          <a:pt x="90" y="748"/>
                        </a:lnTo>
                        <a:lnTo>
                          <a:pt x="90" y="751"/>
                        </a:lnTo>
                        <a:lnTo>
                          <a:pt x="92" y="749"/>
                        </a:lnTo>
                        <a:lnTo>
                          <a:pt x="94" y="748"/>
                        </a:lnTo>
                        <a:lnTo>
                          <a:pt x="96" y="748"/>
                        </a:lnTo>
                        <a:lnTo>
                          <a:pt x="97" y="748"/>
                        </a:lnTo>
                        <a:lnTo>
                          <a:pt x="101" y="748"/>
                        </a:lnTo>
                        <a:lnTo>
                          <a:pt x="103" y="748"/>
                        </a:lnTo>
                        <a:lnTo>
                          <a:pt x="104" y="747"/>
                        </a:lnTo>
                        <a:lnTo>
                          <a:pt x="105" y="746"/>
                        </a:lnTo>
                        <a:lnTo>
                          <a:pt x="106" y="745"/>
                        </a:lnTo>
                        <a:lnTo>
                          <a:pt x="107" y="744"/>
                        </a:lnTo>
                        <a:lnTo>
                          <a:pt x="109" y="745"/>
                        </a:lnTo>
                        <a:lnTo>
                          <a:pt x="109" y="748"/>
                        </a:lnTo>
                        <a:lnTo>
                          <a:pt x="109" y="750"/>
                        </a:lnTo>
                        <a:lnTo>
                          <a:pt x="107" y="751"/>
                        </a:lnTo>
                        <a:lnTo>
                          <a:pt x="110" y="757"/>
                        </a:lnTo>
                        <a:lnTo>
                          <a:pt x="111" y="757"/>
                        </a:lnTo>
                        <a:lnTo>
                          <a:pt x="112" y="757"/>
                        </a:lnTo>
                        <a:lnTo>
                          <a:pt x="113" y="757"/>
                        </a:lnTo>
                        <a:lnTo>
                          <a:pt x="113" y="753"/>
                        </a:lnTo>
                        <a:lnTo>
                          <a:pt x="116" y="748"/>
                        </a:lnTo>
                        <a:lnTo>
                          <a:pt x="118" y="748"/>
                        </a:lnTo>
                        <a:lnTo>
                          <a:pt x="119" y="748"/>
                        </a:lnTo>
                        <a:lnTo>
                          <a:pt x="119" y="749"/>
                        </a:lnTo>
                        <a:lnTo>
                          <a:pt x="119" y="751"/>
                        </a:lnTo>
                        <a:lnTo>
                          <a:pt x="119" y="752"/>
                        </a:lnTo>
                        <a:lnTo>
                          <a:pt x="119" y="753"/>
                        </a:lnTo>
                        <a:lnTo>
                          <a:pt x="119" y="754"/>
                        </a:lnTo>
                        <a:lnTo>
                          <a:pt x="117" y="757"/>
                        </a:lnTo>
                        <a:lnTo>
                          <a:pt x="116" y="760"/>
                        </a:lnTo>
                        <a:lnTo>
                          <a:pt x="116" y="763"/>
                        </a:lnTo>
                        <a:lnTo>
                          <a:pt x="113" y="762"/>
                        </a:lnTo>
                        <a:lnTo>
                          <a:pt x="113" y="763"/>
                        </a:lnTo>
                        <a:lnTo>
                          <a:pt x="113" y="764"/>
                        </a:lnTo>
                        <a:lnTo>
                          <a:pt x="116" y="763"/>
                        </a:lnTo>
                        <a:lnTo>
                          <a:pt x="118" y="763"/>
                        </a:lnTo>
                        <a:lnTo>
                          <a:pt x="119" y="762"/>
                        </a:lnTo>
                        <a:lnTo>
                          <a:pt x="119" y="760"/>
                        </a:lnTo>
                        <a:lnTo>
                          <a:pt x="120" y="760"/>
                        </a:lnTo>
                        <a:lnTo>
                          <a:pt x="121" y="760"/>
                        </a:lnTo>
                        <a:lnTo>
                          <a:pt x="122" y="760"/>
                        </a:lnTo>
                        <a:lnTo>
                          <a:pt x="133" y="751"/>
                        </a:lnTo>
                        <a:lnTo>
                          <a:pt x="135" y="751"/>
                        </a:lnTo>
                        <a:lnTo>
                          <a:pt x="136" y="752"/>
                        </a:lnTo>
                        <a:lnTo>
                          <a:pt x="136" y="753"/>
                        </a:lnTo>
                        <a:lnTo>
                          <a:pt x="140" y="750"/>
                        </a:lnTo>
                        <a:lnTo>
                          <a:pt x="144" y="748"/>
                        </a:lnTo>
                        <a:lnTo>
                          <a:pt x="148" y="748"/>
                        </a:lnTo>
                        <a:lnTo>
                          <a:pt x="150" y="746"/>
                        </a:lnTo>
                        <a:lnTo>
                          <a:pt x="152" y="746"/>
                        </a:lnTo>
                        <a:lnTo>
                          <a:pt x="153" y="746"/>
                        </a:lnTo>
                        <a:lnTo>
                          <a:pt x="155" y="744"/>
                        </a:lnTo>
                        <a:lnTo>
                          <a:pt x="156" y="744"/>
                        </a:lnTo>
                        <a:lnTo>
                          <a:pt x="157" y="743"/>
                        </a:lnTo>
                        <a:lnTo>
                          <a:pt x="158" y="741"/>
                        </a:lnTo>
                        <a:lnTo>
                          <a:pt x="160" y="741"/>
                        </a:lnTo>
                        <a:lnTo>
                          <a:pt x="161" y="743"/>
                        </a:lnTo>
                        <a:lnTo>
                          <a:pt x="162" y="744"/>
                        </a:lnTo>
                        <a:lnTo>
                          <a:pt x="164" y="744"/>
                        </a:lnTo>
                        <a:lnTo>
                          <a:pt x="164" y="741"/>
                        </a:lnTo>
                        <a:lnTo>
                          <a:pt x="172" y="738"/>
                        </a:lnTo>
                        <a:lnTo>
                          <a:pt x="176" y="734"/>
                        </a:lnTo>
                        <a:lnTo>
                          <a:pt x="180" y="730"/>
                        </a:lnTo>
                        <a:lnTo>
                          <a:pt x="184" y="727"/>
                        </a:lnTo>
                        <a:lnTo>
                          <a:pt x="185" y="727"/>
                        </a:lnTo>
                        <a:lnTo>
                          <a:pt x="186" y="727"/>
                        </a:lnTo>
                        <a:lnTo>
                          <a:pt x="187" y="727"/>
                        </a:lnTo>
                        <a:lnTo>
                          <a:pt x="189" y="726"/>
                        </a:lnTo>
                        <a:lnTo>
                          <a:pt x="190" y="724"/>
                        </a:lnTo>
                        <a:lnTo>
                          <a:pt x="190" y="722"/>
                        </a:lnTo>
                        <a:lnTo>
                          <a:pt x="193" y="722"/>
                        </a:lnTo>
                        <a:lnTo>
                          <a:pt x="196" y="722"/>
                        </a:lnTo>
                        <a:lnTo>
                          <a:pt x="198" y="722"/>
                        </a:lnTo>
                        <a:lnTo>
                          <a:pt x="198" y="721"/>
                        </a:lnTo>
                        <a:lnTo>
                          <a:pt x="198" y="720"/>
                        </a:lnTo>
                        <a:lnTo>
                          <a:pt x="198" y="717"/>
                        </a:lnTo>
                        <a:lnTo>
                          <a:pt x="198" y="715"/>
                        </a:lnTo>
                        <a:lnTo>
                          <a:pt x="199" y="714"/>
                        </a:lnTo>
                        <a:lnTo>
                          <a:pt x="200" y="713"/>
                        </a:lnTo>
                        <a:lnTo>
                          <a:pt x="202" y="712"/>
                        </a:lnTo>
                        <a:lnTo>
                          <a:pt x="204" y="712"/>
                        </a:lnTo>
                        <a:lnTo>
                          <a:pt x="204" y="714"/>
                        </a:lnTo>
                        <a:lnTo>
                          <a:pt x="206" y="716"/>
                        </a:lnTo>
                        <a:lnTo>
                          <a:pt x="209" y="718"/>
                        </a:lnTo>
                        <a:lnTo>
                          <a:pt x="214" y="718"/>
                        </a:lnTo>
                        <a:lnTo>
                          <a:pt x="216" y="717"/>
                        </a:lnTo>
                        <a:lnTo>
                          <a:pt x="217" y="715"/>
                        </a:lnTo>
                        <a:lnTo>
                          <a:pt x="217" y="713"/>
                        </a:lnTo>
                        <a:lnTo>
                          <a:pt x="217" y="712"/>
                        </a:lnTo>
                        <a:lnTo>
                          <a:pt x="219" y="712"/>
                        </a:lnTo>
                        <a:lnTo>
                          <a:pt x="220" y="713"/>
                        </a:lnTo>
                        <a:lnTo>
                          <a:pt x="220" y="712"/>
                        </a:lnTo>
                        <a:lnTo>
                          <a:pt x="222" y="711"/>
                        </a:lnTo>
                        <a:lnTo>
                          <a:pt x="222" y="710"/>
                        </a:lnTo>
                        <a:lnTo>
                          <a:pt x="221" y="707"/>
                        </a:lnTo>
                        <a:lnTo>
                          <a:pt x="220" y="705"/>
                        </a:lnTo>
                        <a:lnTo>
                          <a:pt x="224" y="705"/>
                        </a:lnTo>
                        <a:lnTo>
                          <a:pt x="226" y="705"/>
                        </a:lnTo>
                        <a:lnTo>
                          <a:pt x="229" y="705"/>
                        </a:lnTo>
                        <a:lnTo>
                          <a:pt x="229" y="704"/>
                        </a:lnTo>
                        <a:lnTo>
                          <a:pt x="229" y="703"/>
                        </a:lnTo>
                        <a:lnTo>
                          <a:pt x="230" y="703"/>
                        </a:lnTo>
                        <a:lnTo>
                          <a:pt x="231" y="703"/>
                        </a:lnTo>
                        <a:lnTo>
                          <a:pt x="233" y="703"/>
                        </a:lnTo>
                        <a:lnTo>
                          <a:pt x="234" y="703"/>
                        </a:lnTo>
                        <a:lnTo>
                          <a:pt x="238" y="703"/>
                        </a:lnTo>
                        <a:lnTo>
                          <a:pt x="243" y="703"/>
                        </a:lnTo>
                        <a:lnTo>
                          <a:pt x="246" y="703"/>
                        </a:lnTo>
                        <a:lnTo>
                          <a:pt x="248" y="700"/>
                        </a:lnTo>
                        <a:lnTo>
                          <a:pt x="252" y="698"/>
                        </a:lnTo>
                        <a:lnTo>
                          <a:pt x="256" y="696"/>
                        </a:lnTo>
                        <a:lnTo>
                          <a:pt x="259" y="696"/>
                        </a:lnTo>
                        <a:lnTo>
                          <a:pt x="259" y="693"/>
                        </a:lnTo>
                        <a:lnTo>
                          <a:pt x="260" y="693"/>
                        </a:lnTo>
                        <a:lnTo>
                          <a:pt x="264" y="694"/>
                        </a:lnTo>
                        <a:lnTo>
                          <a:pt x="269" y="695"/>
                        </a:lnTo>
                        <a:lnTo>
                          <a:pt x="271" y="696"/>
                        </a:lnTo>
                        <a:lnTo>
                          <a:pt x="272" y="693"/>
                        </a:lnTo>
                        <a:lnTo>
                          <a:pt x="273" y="691"/>
                        </a:lnTo>
                        <a:lnTo>
                          <a:pt x="275" y="690"/>
                        </a:lnTo>
                        <a:lnTo>
                          <a:pt x="278" y="689"/>
                        </a:lnTo>
                        <a:lnTo>
                          <a:pt x="281" y="690"/>
                        </a:lnTo>
                        <a:lnTo>
                          <a:pt x="283" y="691"/>
                        </a:lnTo>
                        <a:lnTo>
                          <a:pt x="286" y="692"/>
                        </a:lnTo>
                        <a:lnTo>
                          <a:pt x="288" y="693"/>
                        </a:lnTo>
                        <a:lnTo>
                          <a:pt x="290" y="687"/>
                        </a:lnTo>
                        <a:lnTo>
                          <a:pt x="291" y="681"/>
                        </a:lnTo>
                        <a:lnTo>
                          <a:pt x="293" y="677"/>
                        </a:lnTo>
                        <a:lnTo>
                          <a:pt x="294" y="673"/>
                        </a:lnTo>
                        <a:lnTo>
                          <a:pt x="296" y="668"/>
                        </a:lnTo>
                        <a:lnTo>
                          <a:pt x="297" y="663"/>
                        </a:lnTo>
                        <a:lnTo>
                          <a:pt x="299" y="658"/>
                        </a:lnTo>
                        <a:lnTo>
                          <a:pt x="301" y="654"/>
                        </a:lnTo>
                        <a:lnTo>
                          <a:pt x="302" y="652"/>
                        </a:lnTo>
                        <a:lnTo>
                          <a:pt x="303" y="649"/>
                        </a:lnTo>
                        <a:lnTo>
                          <a:pt x="304" y="645"/>
                        </a:lnTo>
                        <a:lnTo>
                          <a:pt x="307" y="641"/>
                        </a:lnTo>
                        <a:lnTo>
                          <a:pt x="309" y="640"/>
                        </a:lnTo>
                        <a:lnTo>
                          <a:pt x="311" y="637"/>
                        </a:lnTo>
                        <a:lnTo>
                          <a:pt x="312" y="634"/>
                        </a:lnTo>
                        <a:lnTo>
                          <a:pt x="314" y="631"/>
                        </a:lnTo>
                        <a:lnTo>
                          <a:pt x="316" y="630"/>
                        </a:lnTo>
                        <a:lnTo>
                          <a:pt x="317" y="628"/>
                        </a:lnTo>
                        <a:lnTo>
                          <a:pt x="318" y="626"/>
                        </a:lnTo>
                        <a:lnTo>
                          <a:pt x="320" y="622"/>
                        </a:lnTo>
                        <a:lnTo>
                          <a:pt x="322" y="620"/>
                        </a:lnTo>
                        <a:lnTo>
                          <a:pt x="324" y="618"/>
                        </a:lnTo>
                        <a:lnTo>
                          <a:pt x="326" y="616"/>
                        </a:lnTo>
                        <a:lnTo>
                          <a:pt x="326" y="612"/>
                        </a:lnTo>
                        <a:lnTo>
                          <a:pt x="330" y="609"/>
                        </a:lnTo>
                        <a:lnTo>
                          <a:pt x="333" y="606"/>
                        </a:lnTo>
                        <a:lnTo>
                          <a:pt x="337" y="601"/>
                        </a:lnTo>
                        <a:lnTo>
                          <a:pt x="340" y="596"/>
                        </a:lnTo>
                        <a:lnTo>
                          <a:pt x="342" y="592"/>
                        </a:lnTo>
                        <a:lnTo>
                          <a:pt x="347" y="588"/>
                        </a:lnTo>
                        <a:lnTo>
                          <a:pt x="352" y="583"/>
                        </a:lnTo>
                        <a:lnTo>
                          <a:pt x="356" y="580"/>
                        </a:lnTo>
                        <a:lnTo>
                          <a:pt x="356" y="576"/>
                        </a:lnTo>
                        <a:lnTo>
                          <a:pt x="356" y="571"/>
                        </a:lnTo>
                        <a:lnTo>
                          <a:pt x="357" y="567"/>
                        </a:lnTo>
                        <a:lnTo>
                          <a:pt x="359" y="560"/>
                        </a:lnTo>
                        <a:lnTo>
                          <a:pt x="361" y="557"/>
                        </a:lnTo>
                        <a:lnTo>
                          <a:pt x="361" y="553"/>
                        </a:lnTo>
                        <a:lnTo>
                          <a:pt x="361" y="549"/>
                        </a:lnTo>
                        <a:lnTo>
                          <a:pt x="362" y="544"/>
                        </a:lnTo>
                        <a:lnTo>
                          <a:pt x="365" y="540"/>
                        </a:lnTo>
                        <a:lnTo>
                          <a:pt x="367" y="535"/>
                        </a:lnTo>
                        <a:lnTo>
                          <a:pt x="369" y="529"/>
                        </a:lnTo>
                        <a:lnTo>
                          <a:pt x="369" y="525"/>
                        </a:lnTo>
                        <a:lnTo>
                          <a:pt x="373" y="517"/>
                        </a:lnTo>
                        <a:lnTo>
                          <a:pt x="377" y="511"/>
                        </a:lnTo>
                        <a:lnTo>
                          <a:pt x="378" y="504"/>
                        </a:lnTo>
                        <a:lnTo>
                          <a:pt x="378" y="496"/>
                        </a:lnTo>
                        <a:lnTo>
                          <a:pt x="379" y="492"/>
                        </a:lnTo>
                        <a:lnTo>
                          <a:pt x="380" y="488"/>
                        </a:lnTo>
                        <a:lnTo>
                          <a:pt x="381" y="485"/>
                        </a:lnTo>
                        <a:lnTo>
                          <a:pt x="382" y="48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0" name="Freeform 2123">
                    <a:extLst>
                      <a:ext uri="{FF2B5EF4-FFF2-40B4-BE49-F238E27FC236}">
                        <a16:creationId xmlns:a16="http://schemas.microsoft.com/office/drawing/2014/main" xmlns="" id="{D65EDFE9-E1C9-486E-B29F-E7563FA5364E}"/>
                      </a:ext>
                    </a:extLst>
                  </p:cNvPr>
                  <p:cNvSpPr>
                    <a:spLocks/>
                  </p:cNvSpPr>
                  <p:nvPr/>
                </p:nvSpPr>
                <p:spPr bwMode="gray">
                  <a:xfrm>
                    <a:off x="5013891" y="2405411"/>
                    <a:ext cx="15575" cy="22249"/>
                  </a:xfrm>
                  <a:custGeom>
                    <a:avLst/>
                    <a:gdLst>
                      <a:gd name="T0" fmla="*/ 2147483647 w 14"/>
                      <a:gd name="T1" fmla="*/ 2147483647 h 20"/>
                      <a:gd name="T2" fmla="*/ 2147483647 w 14"/>
                      <a:gd name="T3" fmla="*/ 2147483647 h 20"/>
                      <a:gd name="T4" fmla="*/ 2147483647 w 14"/>
                      <a:gd name="T5" fmla="*/ 2147483647 h 20"/>
                      <a:gd name="T6" fmla="*/ 2147483647 w 14"/>
                      <a:gd name="T7" fmla="*/ 2147483647 h 20"/>
                      <a:gd name="T8" fmla="*/ 2147483647 w 14"/>
                      <a:gd name="T9" fmla="*/ 0 h 20"/>
                      <a:gd name="T10" fmla="*/ 2147483647 w 14"/>
                      <a:gd name="T11" fmla="*/ 2147483647 h 20"/>
                      <a:gd name="T12" fmla="*/ 2147483647 w 14"/>
                      <a:gd name="T13" fmla="*/ 2147483647 h 20"/>
                      <a:gd name="T14" fmla="*/ 2147483647 w 14"/>
                      <a:gd name="T15" fmla="*/ 2147483647 h 20"/>
                      <a:gd name="T16" fmla="*/ 2147483647 w 14"/>
                      <a:gd name="T17" fmla="*/ 2147483647 h 20"/>
                      <a:gd name="T18" fmla="*/ 2147483647 w 14"/>
                      <a:gd name="T19" fmla="*/ 2147483647 h 20"/>
                      <a:gd name="T20" fmla="*/ 2147483647 w 14"/>
                      <a:gd name="T21" fmla="*/ 2147483647 h 20"/>
                      <a:gd name="T22" fmla="*/ 2147483647 w 14"/>
                      <a:gd name="T23" fmla="*/ 2147483647 h 20"/>
                      <a:gd name="T24" fmla="*/ 2147483647 w 14"/>
                      <a:gd name="T25" fmla="*/ 2147483647 h 20"/>
                      <a:gd name="T26" fmla="*/ 2147483647 w 14"/>
                      <a:gd name="T27" fmla="*/ 2147483647 h 20"/>
                      <a:gd name="T28" fmla="*/ 2147483647 w 14"/>
                      <a:gd name="T29" fmla="*/ 2147483647 h 20"/>
                      <a:gd name="T30" fmla="*/ 2147483647 w 14"/>
                      <a:gd name="T31" fmla="*/ 2147483647 h 20"/>
                      <a:gd name="T32" fmla="*/ 2147483647 w 14"/>
                      <a:gd name="T33" fmla="*/ 2147483647 h 20"/>
                      <a:gd name="T34" fmla="*/ 2147483647 w 14"/>
                      <a:gd name="T35" fmla="*/ 2147483647 h 20"/>
                      <a:gd name="T36" fmla="*/ 2147483647 w 14"/>
                      <a:gd name="T37" fmla="*/ 2147483647 h 20"/>
                      <a:gd name="T38" fmla="*/ 2147483647 w 14"/>
                      <a:gd name="T39" fmla="*/ 2147483647 h 20"/>
                      <a:gd name="T40" fmla="*/ 2147483647 w 14"/>
                      <a:gd name="T41" fmla="*/ 2147483647 h 20"/>
                      <a:gd name="T42" fmla="*/ 2147483647 w 14"/>
                      <a:gd name="T43" fmla="*/ 2147483647 h 20"/>
                      <a:gd name="T44" fmla="*/ 2147483647 w 14"/>
                      <a:gd name="T45" fmla="*/ 2147483647 h 20"/>
                      <a:gd name="T46" fmla="*/ 2147483647 w 14"/>
                      <a:gd name="T47" fmla="*/ 2147483647 h 20"/>
                      <a:gd name="T48" fmla="*/ 2147483647 w 14"/>
                      <a:gd name="T49" fmla="*/ 2147483647 h 20"/>
                      <a:gd name="T50" fmla="*/ 2147483647 w 14"/>
                      <a:gd name="T51" fmla="*/ 2147483647 h 20"/>
                      <a:gd name="T52" fmla="*/ 2147483647 w 14"/>
                      <a:gd name="T53" fmla="*/ 2147483647 h 20"/>
                      <a:gd name="T54" fmla="*/ 0 w 14"/>
                      <a:gd name="T55" fmla="*/ 2147483647 h 20"/>
                      <a:gd name="T56" fmla="*/ 2147483647 w 14"/>
                      <a:gd name="T57" fmla="*/ 2147483647 h 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 h="20">
                        <a:moveTo>
                          <a:pt x="1" y="4"/>
                        </a:moveTo>
                        <a:lnTo>
                          <a:pt x="1" y="3"/>
                        </a:lnTo>
                        <a:lnTo>
                          <a:pt x="2" y="2"/>
                        </a:lnTo>
                        <a:lnTo>
                          <a:pt x="4" y="1"/>
                        </a:lnTo>
                        <a:lnTo>
                          <a:pt x="4" y="0"/>
                        </a:lnTo>
                        <a:lnTo>
                          <a:pt x="4" y="4"/>
                        </a:lnTo>
                        <a:lnTo>
                          <a:pt x="4" y="8"/>
                        </a:lnTo>
                        <a:lnTo>
                          <a:pt x="4" y="11"/>
                        </a:lnTo>
                        <a:lnTo>
                          <a:pt x="4" y="13"/>
                        </a:lnTo>
                        <a:lnTo>
                          <a:pt x="6" y="13"/>
                        </a:lnTo>
                        <a:lnTo>
                          <a:pt x="7" y="13"/>
                        </a:lnTo>
                        <a:lnTo>
                          <a:pt x="8" y="13"/>
                        </a:lnTo>
                        <a:lnTo>
                          <a:pt x="10" y="13"/>
                        </a:lnTo>
                        <a:lnTo>
                          <a:pt x="10" y="11"/>
                        </a:lnTo>
                        <a:lnTo>
                          <a:pt x="10" y="10"/>
                        </a:lnTo>
                        <a:lnTo>
                          <a:pt x="10" y="9"/>
                        </a:lnTo>
                        <a:lnTo>
                          <a:pt x="10" y="7"/>
                        </a:lnTo>
                        <a:lnTo>
                          <a:pt x="12" y="7"/>
                        </a:lnTo>
                        <a:lnTo>
                          <a:pt x="13" y="7"/>
                        </a:lnTo>
                        <a:lnTo>
                          <a:pt x="14" y="11"/>
                        </a:lnTo>
                        <a:lnTo>
                          <a:pt x="14" y="15"/>
                        </a:lnTo>
                        <a:lnTo>
                          <a:pt x="12" y="18"/>
                        </a:lnTo>
                        <a:lnTo>
                          <a:pt x="10" y="19"/>
                        </a:lnTo>
                        <a:lnTo>
                          <a:pt x="7" y="20"/>
                        </a:lnTo>
                        <a:lnTo>
                          <a:pt x="5" y="18"/>
                        </a:lnTo>
                        <a:lnTo>
                          <a:pt x="2" y="14"/>
                        </a:lnTo>
                        <a:lnTo>
                          <a:pt x="0" y="9"/>
                        </a:lnTo>
                        <a:lnTo>
                          <a:pt x="1" y="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1" name="Freeform 2125">
                    <a:extLst>
                      <a:ext uri="{FF2B5EF4-FFF2-40B4-BE49-F238E27FC236}">
                        <a16:creationId xmlns:a16="http://schemas.microsoft.com/office/drawing/2014/main" xmlns="" id="{09F41C9D-4574-4955-9F6D-54FC02DDC24E}"/>
                      </a:ext>
                    </a:extLst>
                  </p:cNvPr>
                  <p:cNvSpPr>
                    <a:spLocks/>
                  </p:cNvSpPr>
                  <p:nvPr/>
                </p:nvSpPr>
                <p:spPr bwMode="gray">
                  <a:xfrm>
                    <a:off x="5006103" y="2333101"/>
                    <a:ext cx="7787" cy="11125"/>
                  </a:xfrm>
                  <a:custGeom>
                    <a:avLst/>
                    <a:gdLst>
                      <a:gd name="T0" fmla="*/ 0 w 7"/>
                      <a:gd name="T1" fmla="*/ 2147483647 h 10"/>
                      <a:gd name="T2" fmla="*/ 0 w 7"/>
                      <a:gd name="T3" fmla="*/ 0 h 10"/>
                      <a:gd name="T4" fmla="*/ 2147483647 w 7"/>
                      <a:gd name="T5" fmla="*/ 0 h 10"/>
                      <a:gd name="T6" fmla="*/ 2147483647 w 7"/>
                      <a:gd name="T7" fmla="*/ 0 h 10"/>
                      <a:gd name="T8" fmla="*/ 2147483647 w 7"/>
                      <a:gd name="T9" fmla="*/ 0 h 10"/>
                      <a:gd name="T10" fmla="*/ 2147483647 w 7"/>
                      <a:gd name="T11" fmla="*/ 0 h 10"/>
                      <a:gd name="T12" fmla="*/ 2147483647 w 7"/>
                      <a:gd name="T13" fmla="*/ 2147483647 h 10"/>
                      <a:gd name="T14" fmla="*/ 2147483647 w 7"/>
                      <a:gd name="T15" fmla="*/ 2147483647 h 10"/>
                      <a:gd name="T16" fmla="*/ 2147483647 w 7"/>
                      <a:gd name="T17" fmla="*/ 2147483647 h 10"/>
                      <a:gd name="T18" fmla="*/ 2147483647 w 7"/>
                      <a:gd name="T19" fmla="*/ 2147483647 h 10"/>
                      <a:gd name="T20" fmla="*/ 2147483647 w 7"/>
                      <a:gd name="T21" fmla="*/ 2147483647 h 10"/>
                      <a:gd name="T22" fmla="*/ 2147483647 w 7"/>
                      <a:gd name="T23" fmla="*/ 2147483647 h 10"/>
                      <a:gd name="T24" fmla="*/ 2147483647 w 7"/>
                      <a:gd name="T25" fmla="*/ 2147483647 h 10"/>
                      <a:gd name="T26" fmla="*/ 2147483647 w 7"/>
                      <a:gd name="T27" fmla="*/ 2147483647 h 10"/>
                      <a:gd name="T28" fmla="*/ 0 w 7"/>
                      <a:gd name="T29" fmla="*/ 2147483647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 h="10">
                        <a:moveTo>
                          <a:pt x="0" y="10"/>
                        </a:moveTo>
                        <a:lnTo>
                          <a:pt x="0" y="0"/>
                        </a:lnTo>
                        <a:lnTo>
                          <a:pt x="2" y="0"/>
                        </a:lnTo>
                        <a:lnTo>
                          <a:pt x="3" y="0"/>
                        </a:lnTo>
                        <a:lnTo>
                          <a:pt x="4" y="0"/>
                        </a:lnTo>
                        <a:lnTo>
                          <a:pt x="5" y="3"/>
                        </a:lnTo>
                        <a:lnTo>
                          <a:pt x="7" y="5"/>
                        </a:lnTo>
                        <a:lnTo>
                          <a:pt x="7" y="8"/>
                        </a:lnTo>
                        <a:lnTo>
                          <a:pt x="6" y="9"/>
                        </a:lnTo>
                        <a:lnTo>
                          <a:pt x="4" y="10"/>
                        </a:lnTo>
                        <a:lnTo>
                          <a:pt x="5" y="10"/>
                        </a:lnTo>
                        <a:lnTo>
                          <a:pt x="4" y="10"/>
                        </a:lnTo>
                        <a:lnTo>
                          <a:pt x="2" y="10"/>
                        </a:lnTo>
                        <a:lnTo>
                          <a:pt x="0" y="1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2" name="Freeform 2127">
                    <a:extLst>
                      <a:ext uri="{FF2B5EF4-FFF2-40B4-BE49-F238E27FC236}">
                        <a16:creationId xmlns:a16="http://schemas.microsoft.com/office/drawing/2014/main" xmlns="" id="{39E97559-70E6-4F79-B47F-23D1F4827873}"/>
                      </a:ext>
                    </a:extLst>
                  </p:cNvPr>
                  <p:cNvSpPr>
                    <a:spLocks/>
                  </p:cNvSpPr>
                  <p:nvPr/>
                </p:nvSpPr>
                <p:spPr bwMode="gray">
                  <a:xfrm>
                    <a:off x="5011665" y="2477719"/>
                    <a:ext cx="8900" cy="13350"/>
                  </a:xfrm>
                  <a:custGeom>
                    <a:avLst/>
                    <a:gdLst>
                      <a:gd name="T0" fmla="*/ 2147483647 w 8"/>
                      <a:gd name="T1" fmla="*/ 2147483647 h 12"/>
                      <a:gd name="T2" fmla="*/ 2147483647 w 8"/>
                      <a:gd name="T3" fmla="*/ 2147483647 h 12"/>
                      <a:gd name="T4" fmla="*/ 2147483647 w 8"/>
                      <a:gd name="T5" fmla="*/ 2147483647 h 12"/>
                      <a:gd name="T6" fmla="*/ 2147483647 w 8"/>
                      <a:gd name="T7" fmla="*/ 2147483647 h 12"/>
                      <a:gd name="T8" fmla="*/ 2147483647 w 8"/>
                      <a:gd name="T9" fmla="*/ 2147483647 h 12"/>
                      <a:gd name="T10" fmla="*/ 2147483647 w 8"/>
                      <a:gd name="T11" fmla="*/ 2147483647 h 12"/>
                      <a:gd name="T12" fmla="*/ 2147483647 w 8"/>
                      <a:gd name="T13" fmla="*/ 2147483647 h 12"/>
                      <a:gd name="T14" fmla="*/ 2147483647 w 8"/>
                      <a:gd name="T15" fmla="*/ 2147483647 h 12"/>
                      <a:gd name="T16" fmla="*/ 2147483647 w 8"/>
                      <a:gd name="T17" fmla="*/ 2147483647 h 12"/>
                      <a:gd name="T18" fmla="*/ 2147483647 w 8"/>
                      <a:gd name="T19" fmla="*/ 2147483647 h 12"/>
                      <a:gd name="T20" fmla="*/ 0 w 8"/>
                      <a:gd name="T21" fmla="*/ 2147483647 h 12"/>
                      <a:gd name="T22" fmla="*/ 0 w 8"/>
                      <a:gd name="T23" fmla="*/ 2147483647 h 12"/>
                      <a:gd name="T24" fmla="*/ 2147483647 w 8"/>
                      <a:gd name="T25" fmla="*/ 2147483647 h 12"/>
                      <a:gd name="T26" fmla="*/ 2147483647 w 8"/>
                      <a:gd name="T27" fmla="*/ 0 h 12"/>
                      <a:gd name="T28" fmla="*/ 2147483647 w 8"/>
                      <a:gd name="T29" fmla="*/ 2147483647 h 12"/>
                      <a:gd name="T30" fmla="*/ 2147483647 w 8"/>
                      <a:gd name="T31" fmla="*/ 2147483647 h 12"/>
                      <a:gd name="T32" fmla="*/ 2147483647 w 8"/>
                      <a:gd name="T33" fmla="*/ 2147483647 h 12"/>
                      <a:gd name="T34" fmla="*/ 2147483647 w 8"/>
                      <a:gd name="T35" fmla="*/ 2147483647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 h="12">
                        <a:moveTo>
                          <a:pt x="8" y="5"/>
                        </a:moveTo>
                        <a:lnTo>
                          <a:pt x="5" y="9"/>
                        </a:lnTo>
                        <a:lnTo>
                          <a:pt x="5" y="10"/>
                        </a:lnTo>
                        <a:lnTo>
                          <a:pt x="5" y="11"/>
                        </a:lnTo>
                        <a:lnTo>
                          <a:pt x="5" y="12"/>
                        </a:lnTo>
                        <a:lnTo>
                          <a:pt x="5" y="11"/>
                        </a:lnTo>
                        <a:lnTo>
                          <a:pt x="5" y="9"/>
                        </a:lnTo>
                        <a:lnTo>
                          <a:pt x="3" y="9"/>
                        </a:lnTo>
                        <a:lnTo>
                          <a:pt x="0" y="5"/>
                        </a:lnTo>
                        <a:lnTo>
                          <a:pt x="0" y="3"/>
                        </a:lnTo>
                        <a:lnTo>
                          <a:pt x="3" y="2"/>
                        </a:lnTo>
                        <a:lnTo>
                          <a:pt x="8" y="0"/>
                        </a:lnTo>
                        <a:lnTo>
                          <a:pt x="8" y="2"/>
                        </a:lnTo>
                        <a:lnTo>
                          <a:pt x="8" y="3"/>
                        </a:lnTo>
                        <a:lnTo>
                          <a:pt x="8" y="4"/>
                        </a:lnTo>
                        <a:lnTo>
                          <a:pt x="8" y="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3" name="Freeform 2129">
                    <a:extLst>
                      <a:ext uri="{FF2B5EF4-FFF2-40B4-BE49-F238E27FC236}">
                        <a16:creationId xmlns:a16="http://schemas.microsoft.com/office/drawing/2014/main" xmlns="" id="{E3AB4F8B-AEBC-4178-BF9A-29DA78279EF7}"/>
                      </a:ext>
                    </a:extLst>
                  </p:cNvPr>
                  <p:cNvSpPr>
                    <a:spLocks/>
                  </p:cNvSpPr>
                  <p:nvPr/>
                </p:nvSpPr>
                <p:spPr bwMode="gray">
                  <a:xfrm>
                    <a:off x="5019454" y="2476606"/>
                    <a:ext cx="1113" cy="1113"/>
                  </a:xfrm>
                  <a:custGeom>
                    <a:avLst/>
                    <a:gdLst>
                      <a:gd name="T0" fmla="*/ 2147483647 w 1"/>
                      <a:gd name="T1" fmla="*/ 2147483647 h 1"/>
                      <a:gd name="T2" fmla="*/ 0 w 1"/>
                      <a:gd name="T3" fmla="*/ 2147483647 h 1"/>
                      <a:gd name="T4" fmla="*/ 0 w 1"/>
                      <a:gd name="T5" fmla="*/ 2147483647 h 1"/>
                      <a:gd name="T6" fmla="*/ 2147483647 w 1"/>
                      <a:gd name="T7" fmla="*/ 2147483647 h 1"/>
                      <a:gd name="T8" fmla="*/ 2147483647 w 1"/>
                      <a:gd name="T9" fmla="*/ 2147483647 h 1"/>
                      <a:gd name="T10" fmla="*/ 2147483647 w 1"/>
                      <a:gd name="T11" fmla="*/ 0 h 1"/>
                      <a:gd name="T12" fmla="*/ 2147483647 w 1"/>
                      <a:gd name="T13" fmla="*/ 0 h 1"/>
                      <a:gd name="T14" fmla="*/ 2147483647 w 1"/>
                      <a:gd name="T15" fmla="*/ 0 h 1"/>
                      <a:gd name="T16" fmla="*/ 2147483647 w 1"/>
                      <a:gd name="T17" fmla="*/ 2147483647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1">
                        <a:moveTo>
                          <a:pt x="1" y="1"/>
                        </a:moveTo>
                        <a:lnTo>
                          <a:pt x="0" y="1"/>
                        </a:lnTo>
                        <a:lnTo>
                          <a:pt x="1" y="1"/>
                        </a:lnTo>
                        <a:lnTo>
                          <a:pt x="1" y="0"/>
                        </a:lnTo>
                        <a:lnTo>
                          <a:pt x="1"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4" name="Freeform 2131">
                    <a:extLst>
                      <a:ext uri="{FF2B5EF4-FFF2-40B4-BE49-F238E27FC236}">
                        <a16:creationId xmlns:a16="http://schemas.microsoft.com/office/drawing/2014/main" xmlns="" id="{5DEF9443-68E3-44AB-88DB-AF2FA25235DD}"/>
                      </a:ext>
                    </a:extLst>
                  </p:cNvPr>
                  <p:cNvSpPr>
                    <a:spLocks/>
                  </p:cNvSpPr>
                  <p:nvPr/>
                </p:nvSpPr>
                <p:spPr bwMode="gray">
                  <a:xfrm>
                    <a:off x="5017228" y="2426546"/>
                    <a:ext cx="22250" cy="40048"/>
                  </a:xfrm>
                  <a:custGeom>
                    <a:avLst/>
                    <a:gdLst>
                      <a:gd name="T0" fmla="*/ 2147483647 w 20"/>
                      <a:gd name="T1" fmla="*/ 2147483647 h 36"/>
                      <a:gd name="T2" fmla="*/ 2147483647 w 20"/>
                      <a:gd name="T3" fmla="*/ 2147483647 h 36"/>
                      <a:gd name="T4" fmla="*/ 2147483647 w 20"/>
                      <a:gd name="T5" fmla="*/ 2147483647 h 36"/>
                      <a:gd name="T6" fmla="*/ 2147483647 w 20"/>
                      <a:gd name="T7" fmla="*/ 2147483647 h 36"/>
                      <a:gd name="T8" fmla="*/ 2147483647 w 20"/>
                      <a:gd name="T9" fmla="*/ 2147483647 h 36"/>
                      <a:gd name="T10" fmla="*/ 2147483647 w 20"/>
                      <a:gd name="T11" fmla="*/ 2147483647 h 36"/>
                      <a:gd name="T12" fmla="*/ 2147483647 w 20"/>
                      <a:gd name="T13" fmla="*/ 2147483647 h 36"/>
                      <a:gd name="T14" fmla="*/ 2147483647 w 20"/>
                      <a:gd name="T15" fmla="*/ 2147483647 h 36"/>
                      <a:gd name="T16" fmla="*/ 2147483647 w 20"/>
                      <a:gd name="T17" fmla="*/ 2147483647 h 36"/>
                      <a:gd name="T18" fmla="*/ 2147483647 w 20"/>
                      <a:gd name="T19" fmla="*/ 2147483647 h 36"/>
                      <a:gd name="T20" fmla="*/ 2147483647 w 20"/>
                      <a:gd name="T21" fmla="*/ 2147483647 h 36"/>
                      <a:gd name="T22" fmla="*/ 2147483647 w 20"/>
                      <a:gd name="T23" fmla="*/ 2147483647 h 36"/>
                      <a:gd name="T24" fmla="*/ 2147483647 w 20"/>
                      <a:gd name="T25" fmla="*/ 2147483647 h 36"/>
                      <a:gd name="T26" fmla="*/ 2147483647 w 20"/>
                      <a:gd name="T27" fmla="*/ 2147483647 h 36"/>
                      <a:gd name="T28" fmla="*/ 2147483647 w 20"/>
                      <a:gd name="T29" fmla="*/ 2147483647 h 36"/>
                      <a:gd name="T30" fmla="*/ 2147483647 w 20"/>
                      <a:gd name="T31" fmla="*/ 2147483647 h 36"/>
                      <a:gd name="T32" fmla="*/ 2147483647 w 20"/>
                      <a:gd name="T33" fmla="*/ 2147483647 h 36"/>
                      <a:gd name="T34" fmla="*/ 2147483647 w 20"/>
                      <a:gd name="T35" fmla="*/ 2147483647 h 36"/>
                      <a:gd name="T36" fmla="*/ 2147483647 w 20"/>
                      <a:gd name="T37" fmla="*/ 2147483647 h 36"/>
                      <a:gd name="T38" fmla="*/ 2147483647 w 20"/>
                      <a:gd name="T39" fmla="*/ 2147483647 h 36"/>
                      <a:gd name="T40" fmla="*/ 2147483647 w 20"/>
                      <a:gd name="T41" fmla="*/ 2147483647 h 36"/>
                      <a:gd name="T42" fmla="*/ 0 w 20"/>
                      <a:gd name="T43" fmla="*/ 2147483647 h 36"/>
                      <a:gd name="T44" fmla="*/ 2147483647 w 20"/>
                      <a:gd name="T45" fmla="*/ 2147483647 h 36"/>
                      <a:gd name="T46" fmla="*/ 2147483647 w 20"/>
                      <a:gd name="T47" fmla="*/ 2147483647 h 36"/>
                      <a:gd name="T48" fmla="*/ 2147483647 w 20"/>
                      <a:gd name="T49" fmla="*/ 2147483647 h 36"/>
                      <a:gd name="T50" fmla="*/ 2147483647 w 20"/>
                      <a:gd name="T51" fmla="*/ 2147483647 h 36"/>
                      <a:gd name="T52" fmla="*/ 2147483647 w 20"/>
                      <a:gd name="T53" fmla="*/ 2147483647 h 36"/>
                      <a:gd name="T54" fmla="*/ 2147483647 w 20"/>
                      <a:gd name="T55" fmla="*/ 2147483647 h 36"/>
                      <a:gd name="T56" fmla="*/ 2147483647 w 20"/>
                      <a:gd name="T57" fmla="*/ 2147483647 h 36"/>
                      <a:gd name="T58" fmla="*/ 2147483647 w 20"/>
                      <a:gd name="T59" fmla="*/ 2147483647 h 36"/>
                      <a:gd name="T60" fmla="*/ 2147483647 w 20"/>
                      <a:gd name="T61" fmla="*/ 2147483647 h 36"/>
                      <a:gd name="T62" fmla="*/ 2147483647 w 20"/>
                      <a:gd name="T63" fmla="*/ 2147483647 h 36"/>
                      <a:gd name="T64" fmla="*/ 2147483647 w 20"/>
                      <a:gd name="T65" fmla="*/ 2147483647 h 36"/>
                      <a:gd name="T66" fmla="*/ 2147483647 w 20"/>
                      <a:gd name="T67" fmla="*/ 2147483647 h 36"/>
                      <a:gd name="T68" fmla="*/ 2147483647 w 20"/>
                      <a:gd name="T69" fmla="*/ 2147483647 h 36"/>
                      <a:gd name="T70" fmla="*/ 2147483647 w 20"/>
                      <a:gd name="T71" fmla="*/ 2147483647 h 36"/>
                      <a:gd name="T72" fmla="*/ 2147483647 w 20"/>
                      <a:gd name="T73" fmla="*/ 2147483647 h 36"/>
                      <a:gd name="T74" fmla="*/ 2147483647 w 20"/>
                      <a:gd name="T75" fmla="*/ 2147483647 h 36"/>
                      <a:gd name="T76" fmla="*/ 2147483647 w 20"/>
                      <a:gd name="T77" fmla="*/ 2147483647 h 36"/>
                      <a:gd name="T78" fmla="*/ 2147483647 w 20"/>
                      <a:gd name="T79" fmla="*/ 0 h 36"/>
                      <a:gd name="T80" fmla="*/ 2147483647 w 20"/>
                      <a:gd name="T81" fmla="*/ 2147483647 h 36"/>
                      <a:gd name="T82" fmla="*/ 2147483647 w 20"/>
                      <a:gd name="T83" fmla="*/ 2147483647 h 36"/>
                      <a:gd name="T84" fmla="*/ 2147483647 w 20"/>
                      <a:gd name="T85" fmla="*/ 2147483647 h 36"/>
                      <a:gd name="T86" fmla="*/ 2147483647 w 20"/>
                      <a:gd name="T87" fmla="*/ 2147483647 h 36"/>
                      <a:gd name="T88" fmla="*/ 2147483647 w 20"/>
                      <a:gd name="T89" fmla="*/ 2147483647 h 36"/>
                      <a:gd name="T90" fmla="*/ 2147483647 w 20"/>
                      <a:gd name="T91" fmla="*/ 2147483647 h 36"/>
                      <a:gd name="T92" fmla="*/ 2147483647 w 20"/>
                      <a:gd name="T93" fmla="*/ 2147483647 h 36"/>
                      <a:gd name="T94" fmla="*/ 2147483647 w 20"/>
                      <a:gd name="T95" fmla="*/ 2147483647 h 36"/>
                      <a:gd name="T96" fmla="*/ 2147483647 w 20"/>
                      <a:gd name="T97" fmla="*/ 2147483647 h 36"/>
                      <a:gd name="T98" fmla="*/ 2147483647 w 20"/>
                      <a:gd name="T99" fmla="*/ 2147483647 h 36"/>
                      <a:gd name="T100" fmla="*/ 2147483647 w 20"/>
                      <a:gd name="T101" fmla="*/ 2147483647 h 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0" h="36">
                        <a:moveTo>
                          <a:pt x="17" y="6"/>
                        </a:moveTo>
                        <a:lnTo>
                          <a:pt x="17" y="7"/>
                        </a:lnTo>
                        <a:lnTo>
                          <a:pt x="17" y="10"/>
                        </a:lnTo>
                        <a:lnTo>
                          <a:pt x="17" y="12"/>
                        </a:lnTo>
                        <a:lnTo>
                          <a:pt x="17" y="13"/>
                        </a:lnTo>
                        <a:lnTo>
                          <a:pt x="14" y="15"/>
                        </a:lnTo>
                        <a:lnTo>
                          <a:pt x="12" y="17"/>
                        </a:lnTo>
                        <a:lnTo>
                          <a:pt x="12" y="19"/>
                        </a:lnTo>
                        <a:lnTo>
                          <a:pt x="10" y="23"/>
                        </a:lnTo>
                        <a:lnTo>
                          <a:pt x="7" y="23"/>
                        </a:lnTo>
                        <a:lnTo>
                          <a:pt x="7" y="27"/>
                        </a:lnTo>
                        <a:lnTo>
                          <a:pt x="6" y="31"/>
                        </a:lnTo>
                        <a:lnTo>
                          <a:pt x="5" y="35"/>
                        </a:lnTo>
                        <a:lnTo>
                          <a:pt x="5" y="36"/>
                        </a:lnTo>
                        <a:lnTo>
                          <a:pt x="3" y="35"/>
                        </a:lnTo>
                        <a:lnTo>
                          <a:pt x="3" y="34"/>
                        </a:lnTo>
                        <a:lnTo>
                          <a:pt x="3" y="33"/>
                        </a:lnTo>
                        <a:lnTo>
                          <a:pt x="3" y="32"/>
                        </a:lnTo>
                        <a:lnTo>
                          <a:pt x="2" y="32"/>
                        </a:lnTo>
                        <a:lnTo>
                          <a:pt x="0" y="32"/>
                        </a:lnTo>
                        <a:lnTo>
                          <a:pt x="2" y="28"/>
                        </a:lnTo>
                        <a:lnTo>
                          <a:pt x="3" y="27"/>
                        </a:lnTo>
                        <a:lnTo>
                          <a:pt x="3" y="25"/>
                        </a:lnTo>
                        <a:lnTo>
                          <a:pt x="3" y="23"/>
                        </a:lnTo>
                        <a:lnTo>
                          <a:pt x="4" y="21"/>
                        </a:lnTo>
                        <a:lnTo>
                          <a:pt x="5" y="20"/>
                        </a:lnTo>
                        <a:lnTo>
                          <a:pt x="6" y="20"/>
                        </a:lnTo>
                        <a:lnTo>
                          <a:pt x="7" y="20"/>
                        </a:lnTo>
                        <a:lnTo>
                          <a:pt x="7" y="18"/>
                        </a:lnTo>
                        <a:lnTo>
                          <a:pt x="7" y="17"/>
                        </a:lnTo>
                        <a:lnTo>
                          <a:pt x="7" y="16"/>
                        </a:lnTo>
                        <a:lnTo>
                          <a:pt x="7" y="14"/>
                        </a:lnTo>
                        <a:lnTo>
                          <a:pt x="9" y="13"/>
                        </a:lnTo>
                        <a:lnTo>
                          <a:pt x="14" y="13"/>
                        </a:lnTo>
                        <a:lnTo>
                          <a:pt x="15" y="9"/>
                        </a:lnTo>
                        <a:lnTo>
                          <a:pt x="15" y="4"/>
                        </a:lnTo>
                        <a:lnTo>
                          <a:pt x="15" y="1"/>
                        </a:lnTo>
                        <a:lnTo>
                          <a:pt x="16" y="0"/>
                        </a:lnTo>
                        <a:lnTo>
                          <a:pt x="17" y="1"/>
                        </a:lnTo>
                        <a:lnTo>
                          <a:pt x="20" y="3"/>
                        </a:lnTo>
                        <a:lnTo>
                          <a:pt x="19" y="5"/>
                        </a:lnTo>
                        <a:lnTo>
                          <a:pt x="17" y="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5" name="Freeform 2133">
                    <a:extLst>
                      <a:ext uri="{FF2B5EF4-FFF2-40B4-BE49-F238E27FC236}">
                        <a16:creationId xmlns:a16="http://schemas.microsoft.com/office/drawing/2014/main" xmlns="" id="{840E26FC-9427-4DBB-BB3E-59D48B9FBCA1}"/>
                      </a:ext>
                    </a:extLst>
                  </p:cNvPr>
                  <p:cNvSpPr>
                    <a:spLocks/>
                  </p:cNvSpPr>
                  <p:nvPr/>
                </p:nvSpPr>
                <p:spPr bwMode="gray">
                  <a:xfrm>
                    <a:off x="5049491" y="2465482"/>
                    <a:ext cx="8900" cy="8899"/>
                  </a:xfrm>
                  <a:custGeom>
                    <a:avLst/>
                    <a:gdLst>
                      <a:gd name="T0" fmla="*/ 2147483647 w 8"/>
                      <a:gd name="T1" fmla="*/ 2147483647 h 8"/>
                      <a:gd name="T2" fmla="*/ 2147483647 w 8"/>
                      <a:gd name="T3" fmla="*/ 2147483647 h 8"/>
                      <a:gd name="T4" fmla="*/ 2147483647 w 8"/>
                      <a:gd name="T5" fmla="*/ 2147483647 h 8"/>
                      <a:gd name="T6" fmla="*/ 2147483647 w 8"/>
                      <a:gd name="T7" fmla="*/ 2147483647 h 8"/>
                      <a:gd name="T8" fmla="*/ 0 w 8"/>
                      <a:gd name="T9" fmla="*/ 2147483647 h 8"/>
                      <a:gd name="T10" fmla="*/ 0 w 8"/>
                      <a:gd name="T11" fmla="*/ 2147483647 h 8"/>
                      <a:gd name="T12" fmla="*/ 2147483647 w 8"/>
                      <a:gd name="T13" fmla="*/ 2147483647 h 8"/>
                      <a:gd name="T14" fmla="*/ 2147483647 w 8"/>
                      <a:gd name="T15" fmla="*/ 0 h 8"/>
                      <a:gd name="T16" fmla="*/ 2147483647 w 8"/>
                      <a:gd name="T17" fmla="*/ 0 h 8"/>
                      <a:gd name="T18" fmla="*/ 2147483647 w 8"/>
                      <a:gd name="T19" fmla="*/ 2147483647 h 8"/>
                      <a:gd name="T20" fmla="*/ 2147483647 w 8"/>
                      <a:gd name="T21" fmla="*/ 2147483647 h 8"/>
                      <a:gd name="T22" fmla="*/ 2147483647 w 8"/>
                      <a:gd name="T23" fmla="*/ 2147483647 h 8"/>
                      <a:gd name="T24" fmla="*/ 2147483647 w 8"/>
                      <a:gd name="T25" fmla="*/ 2147483647 h 8"/>
                      <a:gd name="T26" fmla="*/ 2147483647 w 8"/>
                      <a:gd name="T27" fmla="*/ 2147483647 h 8"/>
                      <a:gd name="T28" fmla="*/ 2147483647 w 8"/>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 h="8">
                        <a:moveTo>
                          <a:pt x="6" y="8"/>
                        </a:moveTo>
                        <a:lnTo>
                          <a:pt x="6" y="8"/>
                        </a:lnTo>
                        <a:lnTo>
                          <a:pt x="4" y="7"/>
                        </a:lnTo>
                        <a:lnTo>
                          <a:pt x="1" y="5"/>
                        </a:lnTo>
                        <a:lnTo>
                          <a:pt x="0" y="4"/>
                        </a:lnTo>
                        <a:lnTo>
                          <a:pt x="0" y="3"/>
                        </a:lnTo>
                        <a:lnTo>
                          <a:pt x="1" y="2"/>
                        </a:lnTo>
                        <a:lnTo>
                          <a:pt x="3" y="0"/>
                        </a:lnTo>
                        <a:lnTo>
                          <a:pt x="7" y="0"/>
                        </a:lnTo>
                        <a:lnTo>
                          <a:pt x="8" y="2"/>
                        </a:lnTo>
                        <a:lnTo>
                          <a:pt x="8" y="4"/>
                        </a:lnTo>
                        <a:lnTo>
                          <a:pt x="6" y="5"/>
                        </a:lnTo>
                        <a:lnTo>
                          <a:pt x="6" y="6"/>
                        </a:lnTo>
                        <a:lnTo>
                          <a:pt x="6" y="8"/>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6" name="Freeform 2135">
                    <a:extLst>
                      <a:ext uri="{FF2B5EF4-FFF2-40B4-BE49-F238E27FC236}">
                        <a16:creationId xmlns:a16="http://schemas.microsoft.com/office/drawing/2014/main" xmlns="" id="{9245F211-F37C-4116-9BCF-13A24355B0ED}"/>
                      </a:ext>
                    </a:extLst>
                  </p:cNvPr>
                  <p:cNvSpPr>
                    <a:spLocks/>
                  </p:cNvSpPr>
                  <p:nvPr/>
                </p:nvSpPr>
                <p:spPr bwMode="gray">
                  <a:xfrm>
                    <a:off x="5045041" y="2417646"/>
                    <a:ext cx="14463" cy="16686"/>
                  </a:xfrm>
                  <a:custGeom>
                    <a:avLst/>
                    <a:gdLst>
                      <a:gd name="T0" fmla="*/ 2147483647 w 13"/>
                      <a:gd name="T1" fmla="*/ 2147483647 h 15"/>
                      <a:gd name="T2" fmla="*/ 2147483647 w 13"/>
                      <a:gd name="T3" fmla="*/ 2147483647 h 15"/>
                      <a:gd name="T4" fmla="*/ 2147483647 w 13"/>
                      <a:gd name="T5" fmla="*/ 2147483647 h 15"/>
                      <a:gd name="T6" fmla="*/ 2147483647 w 13"/>
                      <a:gd name="T7" fmla="*/ 2147483647 h 15"/>
                      <a:gd name="T8" fmla="*/ 2147483647 w 13"/>
                      <a:gd name="T9" fmla="*/ 2147483647 h 15"/>
                      <a:gd name="T10" fmla="*/ 2147483647 w 13"/>
                      <a:gd name="T11" fmla="*/ 2147483647 h 15"/>
                      <a:gd name="T12" fmla="*/ 2147483647 w 13"/>
                      <a:gd name="T13" fmla="*/ 2147483647 h 15"/>
                      <a:gd name="T14" fmla="*/ 2147483647 w 13"/>
                      <a:gd name="T15" fmla="*/ 2147483647 h 15"/>
                      <a:gd name="T16" fmla="*/ 2147483647 w 13"/>
                      <a:gd name="T17" fmla="*/ 2147483647 h 15"/>
                      <a:gd name="T18" fmla="*/ 2147483647 w 13"/>
                      <a:gd name="T19" fmla="*/ 2147483647 h 15"/>
                      <a:gd name="T20" fmla="*/ 2147483647 w 13"/>
                      <a:gd name="T21" fmla="*/ 2147483647 h 15"/>
                      <a:gd name="T22" fmla="*/ 0 w 13"/>
                      <a:gd name="T23" fmla="*/ 2147483647 h 15"/>
                      <a:gd name="T24" fmla="*/ 0 w 13"/>
                      <a:gd name="T25" fmla="*/ 2147483647 h 15"/>
                      <a:gd name="T26" fmla="*/ 2147483647 w 13"/>
                      <a:gd name="T27" fmla="*/ 2147483647 h 15"/>
                      <a:gd name="T28" fmla="*/ 2147483647 w 13"/>
                      <a:gd name="T29" fmla="*/ 2147483647 h 15"/>
                      <a:gd name="T30" fmla="*/ 2147483647 w 13"/>
                      <a:gd name="T31" fmla="*/ 2147483647 h 15"/>
                      <a:gd name="T32" fmla="*/ 2147483647 w 13"/>
                      <a:gd name="T33" fmla="*/ 2147483647 h 15"/>
                      <a:gd name="T34" fmla="*/ 2147483647 w 13"/>
                      <a:gd name="T35" fmla="*/ 2147483647 h 15"/>
                      <a:gd name="T36" fmla="*/ 2147483647 w 13"/>
                      <a:gd name="T37" fmla="*/ 2147483647 h 15"/>
                      <a:gd name="T38" fmla="*/ 2147483647 w 13"/>
                      <a:gd name="T39" fmla="*/ 2147483647 h 15"/>
                      <a:gd name="T40" fmla="*/ 2147483647 w 13"/>
                      <a:gd name="T41" fmla="*/ 2147483647 h 15"/>
                      <a:gd name="T42" fmla="*/ 2147483647 w 13"/>
                      <a:gd name="T43" fmla="*/ 2147483647 h 15"/>
                      <a:gd name="T44" fmla="*/ 2147483647 w 13"/>
                      <a:gd name="T45" fmla="*/ 2147483647 h 15"/>
                      <a:gd name="T46" fmla="*/ 2147483647 w 13"/>
                      <a:gd name="T47" fmla="*/ 0 h 15"/>
                      <a:gd name="T48" fmla="*/ 2147483647 w 13"/>
                      <a:gd name="T49" fmla="*/ 0 h 15"/>
                      <a:gd name="T50" fmla="*/ 2147483647 w 13"/>
                      <a:gd name="T51" fmla="*/ 0 h 15"/>
                      <a:gd name="T52" fmla="*/ 2147483647 w 13"/>
                      <a:gd name="T53" fmla="*/ 0 h 15"/>
                      <a:gd name="T54" fmla="*/ 2147483647 w 13"/>
                      <a:gd name="T55" fmla="*/ 0 h 15"/>
                      <a:gd name="T56" fmla="*/ 2147483647 w 13"/>
                      <a:gd name="T57" fmla="*/ 2147483647 h 15"/>
                      <a:gd name="T58" fmla="*/ 2147483647 w 13"/>
                      <a:gd name="T59" fmla="*/ 2147483647 h 15"/>
                      <a:gd name="T60" fmla="*/ 2147483647 w 13"/>
                      <a:gd name="T61" fmla="*/ 2147483647 h 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3" h="15">
                        <a:moveTo>
                          <a:pt x="13" y="3"/>
                        </a:moveTo>
                        <a:lnTo>
                          <a:pt x="13" y="3"/>
                        </a:lnTo>
                        <a:lnTo>
                          <a:pt x="12" y="3"/>
                        </a:lnTo>
                        <a:lnTo>
                          <a:pt x="11" y="4"/>
                        </a:lnTo>
                        <a:lnTo>
                          <a:pt x="10" y="6"/>
                        </a:lnTo>
                        <a:lnTo>
                          <a:pt x="10" y="15"/>
                        </a:lnTo>
                        <a:lnTo>
                          <a:pt x="6" y="15"/>
                        </a:lnTo>
                        <a:lnTo>
                          <a:pt x="5" y="15"/>
                        </a:lnTo>
                        <a:lnTo>
                          <a:pt x="3" y="14"/>
                        </a:lnTo>
                        <a:lnTo>
                          <a:pt x="1" y="12"/>
                        </a:lnTo>
                        <a:lnTo>
                          <a:pt x="1" y="11"/>
                        </a:lnTo>
                        <a:lnTo>
                          <a:pt x="0" y="11"/>
                        </a:lnTo>
                        <a:lnTo>
                          <a:pt x="1" y="12"/>
                        </a:lnTo>
                        <a:lnTo>
                          <a:pt x="2" y="8"/>
                        </a:lnTo>
                        <a:lnTo>
                          <a:pt x="3" y="7"/>
                        </a:lnTo>
                        <a:lnTo>
                          <a:pt x="4" y="6"/>
                        </a:lnTo>
                        <a:lnTo>
                          <a:pt x="5" y="6"/>
                        </a:lnTo>
                        <a:lnTo>
                          <a:pt x="7" y="6"/>
                        </a:lnTo>
                        <a:lnTo>
                          <a:pt x="7" y="5"/>
                        </a:lnTo>
                        <a:lnTo>
                          <a:pt x="8" y="3"/>
                        </a:lnTo>
                        <a:lnTo>
                          <a:pt x="10" y="1"/>
                        </a:lnTo>
                        <a:lnTo>
                          <a:pt x="10" y="0"/>
                        </a:lnTo>
                        <a:lnTo>
                          <a:pt x="11" y="0"/>
                        </a:lnTo>
                        <a:lnTo>
                          <a:pt x="12" y="0"/>
                        </a:lnTo>
                        <a:lnTo>
                          <a:pt x="13" y="0"/>
                        </a:lnTo>
                        <a:lnTo>
                          <a:pt x="13" y="1"/>
                        </a:lnTo>
                        <a:lnTo>
                          <a:pt x="13" y="2"/>
                        </a:lnTo>
                        <a:lnTo>
                          <a:pt x="13"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7" name="Freeform 2137">
                    <a:extLst>
                      <a:ext uri="{FF2B5EF4-FFF2-40B4-BE49-F238E27FC236}">
                        <a16:creationId xmlns:a16="http://schemas.microsoft.com/office/drawing/2014/main" xmlns="" id="{42157182-A4AF-48DE-ACA4-259E96150EBE}"/>
                      </a:ext>
                    </a:extLst>
                  </p:cNvPr>
                  <p:cNvSpPr>
                    <a:spLocks/>
                  </p:cNvSpPr>
                  <p:nvPr/>
                </p:nvSpPr>
                <p:spPr bwMode="gray">
                  <a:xfrm>
                    <a:off x="5207463" y="2284154"/>
                    <a:ext cx="12237" cy="21136"/>
                  </a:xfrm>
                  <a:custGeom>
                    <a:avLst/>
                    <a:gdLst>
                      <a:gd name="T0" fmla="*/ 0 w 11"/>
                      <a:gd name="T1" fmla="*/ 2147483647 h 19"/>
                      <a:gd name="T2" fmla="*/ 2147483647 w 11"/>
                      <a:gd name="T3" fmla="*/ 2147483647 h 19"/>
                      <a:gd name="T4" fmla="*/ 2147483647 w 11"/>
                      <a:gd name="T5" fmla="*/ 2147483647 h 19"/>
                      <a:gd name="T6" fmla="*/ 2147483647 w 11"/>
                      <a:gd name="T7" fmla="*/ 2147483647 h 19"/>
                      <a:gd name="T8" fmla="*/ 2147483647 w 11"/>
                      <a:gd name="T9" fmla="*/ 0 h 19"/>
                      <a:gd name="T10" fmla="*/ 2147483647 w 11"/>
                      <a:gd name="T11" fmla="*/ 2147483647 h 19"/>
                      <a:gd name="T12" fmla="*/ 2147483647 w 11"/>
                      <a:gd name="T13" fmla="*/ 2147483647 h 19"/>
                      <a:gd name="T14" fmla="*/ 2147483647 w 11"/>
                      <a:gd name="T15" fmla="*/ 2147483647 h 19"/>
                      <a:gd name="T16" fmla="*/ 2147483647 w 11"/>
                      <a:gd name="T17" fmla="*/ 2147483647 h 19"/>
                      <a:gd name="T18" fmla="*/ 2147483647 w 11"/>
                      <a:gd name="T19" fmla="*/ 2147483647 h 19"/>
                      <a:gd name="T20" fmla="*/ 2147483647 w 11"/>
                      <a:gd name="T21" fmla="*/ 2147483647 h 19"/>
                      <a:gd name="T22" fmla="*/ 2147483647 w 11"/>
                      <a:gd name="T23" fmla="*/ 2147483647 h 19"/>
                      <a:gd name="T24" fmla="*/ 2147483647 w 11"/>
                      <a:gd name="T25" fmla="*/ 2147483647 h 19"/>
                      <a:gd name="T26" fmla="*/ 2147483647 w 11"/>
                      <a:gd name="T27" fmla="*/ 2147483647 h 19"/>
                      <a:gd name="T28" fmla="*/ 2147483647 w 11"/>
                      <a:gd name="T29" fmla="*/ 2147483647 h 19"/>
                      <a:gd name="T30" fmla="*/ 2147483647 w 11"/>
                      <a:gd name="T31" fmla="*/ 2147483647 h 19"/>
                      <a:gd name="T32" fmla="*/ 0 w 11"/>
                      <a:gd name="T33" fmla="*/ 2147483647 h 19"/>
                      <a:gd name="T34" fmla="*/ 0 w 11"/>
                      <a:gd name="T35" fmla="*/ 2147483647 h 19"/>
                      <a:gd name="T36" fmla="*/ 0 w 11"/>
                      <a:gd name="T37" fmla="*/ 2147483647 h 19"/>
                      <a:gd name="T38" fmla="*/ 0 w 11"/>
                      <a:gd name="T39" fmla="*/ 2147483647 h 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1" h="19">
                        <a:moveTo>
                          <a:pt x="0" y="4"/>
                        </a:moveTo>
                        <a:lnTo>
                          <a:pt x="2" y="3"/>
                        </a:lnTo>
                        <a:lnTo>
                          <a:pt x="3" y="2"/>
                        </a:lnTo>
                        <a:lnTo>
                          <a:pt x="3" y="1"/>
                        </a:lnTo>
                        <a:lnTo>
                          <a:pt x="3" y="0"/>
                        </a:lnTo>
                        <a:lnTo>
                          <a:pt x="4" y="2"/>
                        </a:lnTo>
                        <a:lnTo>
                          <a:pt x="6" y="4"/>
                        </a:lnTo>
                        <a:lnTo>
                          <a:pt x="9" y="6"/>
                        </a:lnTo>
                        <a:lnTo>
                          <a:pt x="10" y="7"/>
                        </a:lnTo>
                        <a:lnTo>
                          <a:pt x="11" y="10"/>
                        </a:lnTo>
                        <a:lnTo>
                          <a:pt x="11" y="13"/>
                        </a:lnTo>
                        <a:lnTo>
                          <a:pt x="10" y="17"/>
                        </a:lnTo>
                        <a:lnTo>
                          <a:pt x="10" y="19"/>
                        </a:lnTo>
                        <a:lnTo>
                          <a:pt x="7" y="17"/>
                        </a:lnTo>
                        <a:lnTo>
                          <a:pt x="5" y="13"/>
                        </a:lnTo>
                        <a:lnTo>
                          <a:pt x="3" y="10"/>
                        </a:lnTo>
                        <a:lnTo>
                          <a:pt x="0" y="7"/>
                        </a:lnTo>
                        <a:lnTo>
                          <a:pt x="0" y="5"/>
                        </a:lnTo>
                        <a:lnTo>
                          <a:pt x="0" y="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8" name="Freeform 2139">
                    <a:extLst>
                      <a:ext uri="{FF2B5EF4-FFF2-40B4-BE49-F238E27FC236}">
                        <a16:creationId xmlns:a16="http://schemas.microsoft.com/office/drawing/2014/main" xmlns="" id="{5D03C54E-6FE3-4CB5-8CC9-EA668E70660E}"/>
                      </a:ext>
                    </a:extLst>
                  </p:cNvPr>
                  <p:cNvSpPr>
                    <a:spLocks/>
                  </p:cNvSpPr>
                  <p:nvPr/>
                </p:nvSpPr>
                <p:spPr bwMode="gray">
                  <a:xfrm>
                    <a:off x="5196339" y="2350900"/>
                    <a:ext cx="7787" cy="5563"/>
                  </a:xfrm>
                  <a:custGeom>
                    <a:avLst/>
                    <a:gdLst>
                      <a:gd name="T0" fmla="*/ 0 w 7"/>
                      <a:gd name="T1" fmla="*/ 2147483647 h 5"/>
                      <a:gd name="T2" fmla="*/ 2147483647 w 7"/>
                      <a:gd name="T3" fmla="*/ 2147483647 h 5"/>
                      <a:gd name="T4" fmla="*/ 2147483647 w 7"/>
                      <a:gd name="T5" fmla="*/ 2147483647 h 5"/>
                      <a:gd name="T6" fmla="*/ 2147483647 w 7"/>
                      <a:gd name="T7" fmla="*/ 2147483647 h 5"/>
                      <a:gd name="T8" fmla="*/ 2147483647 w 7"/>
                      <a:gd name="T9" fmla="*/ 2147483647 h 5"/>
                      <a:gd name="T10" fmla="*/ 2147483647 w 7"/>
                      <a:gd name="T11" fmla="*/ 2147483647 h 5"/>
                      <a:gd name="T12" fmla="*/ 2147483647 w 7"/>
                      <a:gd name="T13" fmla="*/ 2147483647 h 5"/>
                      <a:gd name="T14" fmla="*/ 2147483647 w 7"/>
                      <a:gd name="T15" fmla="*/ 0 h 5"/>
                      <a:gd name="T16" fmla="*/ 0 w 7"/>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5">
                        <a:moveTo>
                          <a:pt x="0" y="1"/>
                        </a:moveTo>
                        <a:lnTo>
                          <a:pt x="5" y="2"/>
                        </a:lnTo>
                        <a:lnTo>
                          <a:pt x="7" y="3"/>
                        </a:lnTo>
                        <a:lnTo>
                          <a:pt x="7" y="5"/>
                        </a:lnTo>
                        <a:lnTo>
                          <a:pt x="4" y="5"/>
                        </a:lnTo>
                        <a:lnTo>
                          <a:pt x="3" y="4"/>
                        </a:lnTo>
                        <a:lnTo>
                          <a:pt x="2" y="2"/>
                        </a:lnTo>
                        <a:lnTo>
                          <a:pt x="1" y="0"/>
                        </a:lnTo>
                        <a:lnTo>
                          <a:pt x="0"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69" name="Freeform 2141">
                    <a:extLst>
                      <a:ext uri="{FF2B5EF4-FFF2-40B4-BE49-F238E27FC236}">
                        <a16:creationId xmlns:a16="http://schemas.microsoft.com/office/drawing/2014/main" xmlns="" id="{5CCC1892-99ED-4EEC-9A47-22C610616B4E}"/>
                      </a:ext>
                    </a:extLst>
                  </p:cNvPr>
                  <p:cNvSpPr>
                    <a:spLocks/>
                  </p:cNvSpPr>
                  <p:nvPr/>
                </p:nvSpPr>
                <p:spPr bwMode="gray">
                  <a:xfrm>
                    <a:off x="5182989" y="2156223"/>
                    <a:ext cx="5563" cy="5563"/>
                  </a:xfrm>
                  <a:custGeom>
                    <a:avLst/>
                    <a:gdLst>
                      <a:gd name="T0" fmla="*/ 0 w 5"/>
                      <a:gd name="T1" fmla="*/ 0 h 5"/>
                      <a:gd name="T2" fmla="*/ 2147483647 w 5"/>
                      <a:gd name="T3" fmla="*/ 2147483647 h 5"/>
                      <a:gd name="T4" fmla="*/ 2147483647 w 5"/>
                      <a:gd name="T5" fmla="*/ 2147483647 h 5"/>
                      <a:gd name="T6" fmla="*/ 2147483647 w 5"/>
                      <a:gd name="T7" fmla="*/ 2147483647 h 5"/>
                      <a:gd name="T8" fmla="*/ 2147483647 w 5"/>
                      <a:gd name="T9" fmla="*/ 2147483647 h 5"/>
                      <a:gd name="T10" fmla="*/ 2147483647 w 5"/>
                      <a:gd name="T11" fmla="*/ 2147483647 h 5"/>
                      <a:gd name="T12" fmla="*/ 2147483647 w 5"/>
                      <a:gd name="T13" fmla="*/ 2147483647 h 5"/>
                      <a:gd name="T14" fmla="*/ 0 w 5"/>
                      <a:gd name="T15" fmla="*/ 2147483647 h 5"/>
                      <a:gd name="T16" fmla="*/ 0 w 5"/>
                      <a:gd name="T17" fmla="*/ 2147483647 h 5"/>
                      <a:gd name="T18" fmla="*/ 0 w 5"/>
                      <a:gd name="T19" fmla="*/ 2147483647 h 5"/>
                      <a:gd name="T20" fmla="*/ 0 w 5"/>
                      <a:gd name="T21" fmla="*/ 2147483647 h 5"/>
                      <a:gd name="T22" fmla="*/ 0 w 5"/>
                      <a:gd name="T23" fmla="*/ 0 h 5"/>
                      <a:gd name="T24" fmla="*/ 0 w 5"/>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5">
                        <a:moveTo>
                          <a:pt x="0" y="0"/>
                        </a:moveTo>
                        <a:lnTo>
                          <a:pt x="1" y="1"/>
                        </a:lnTo>
                        <a:lnTo>
                          <a:pt x="4" y="2"/>
                        </a:lnTo>
                        <a:lnTo>
                          <a:pt x="5" y="4"/>
                        </a:lnTo>
                        <a:lnTo>
                          <a:pt x="2" y="5"/>
                        </a:lnTo>
                        <a:lnTo>
                          <a:pt x="2" y="2"/>
                        </a:lnTo>
                        <a:lnTo>
                          <a:pt x="1" y="2"/>
                        </a:lnTo>
                        <a:lnTo>
                          <a:pt x="0" y="2"/>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0" name="Freeform 2143">
                    <a:extLst>
                      <a:ext uri="{FF2B5EF4-FFF2-40B4-BE49-F238E27FC236}">
                        <a16:creationId xmlns:a16="http://schemas.microsoft.com/office/drawing/2014/main" xmlns="" id="{8713D184-33E0-4462-A524-E3523339060D}"/>
                      </a:ext>
                    </a:extLst>
                  </p:cNvPr>
                  <p:cNvSpPr>
                    <a:spLocks/>
                  </p:cNvSpPr>
                  <p:nvPr/>
                </p:nvSpPr>
                <p:spPr bwMode="gray">
                  <a:xfrm>
                    <a:off x="5112902" y="2211845"/>
                    <a:ext cx="34487" cy="28924"/>
                  </a:xfrm>
                  <a:custGeom>
                    <a:avLst/>
                    <a:gdLst>
                      <a:gd name="T0" fmla="*/ 2147483647 w 31"/>
                      <a:gd name="T1" fmla="*/ 2147483647 h 26"/>
                      <a:gd name="T2" fmla="*/ 2147483647 w 31"/>
                      <a:gd name="T3" fmla="*/ 2147483647 h 26"/>
                      <a:gd name="T4" fmla="*/ 2147483647 w 31"/>
                      <a:gd name="T5" fmla="*/ 2147483647 h 26"/>
                      <a:gd name="T6" fmla="*/ 2147483647 w 31"/>
                      <a:gd name="T7" fmla="*/ 2147483647 h 26"/>
                      <a:gd name="T8" fmla="*/ 2147483647 w 31"/>
                      <a:gd name="T9" fmla="*/ 2147483647 h 26"/>
                      <a:gd name="T10" fmla="*/ 2147483647 w 31"/>
                      <a:gd name="T11" fmla="*/ 2147483647 h 26"/>
                      <a:gd name="T12" fmla="*/ 2147483647 w 31"/>
                      <a:gd name="T13" fmla="*/ 2147483647 h 26"/>
                      <a:gd name="T14" fmla="*/ 2147483647 w 31"/>
                      <a:gd name="T15" fmla="*/ 2147483647 h 26"/>
                      <a:gd name="T16" fmla="*/ 2147483647 w 31"/>
                      <a:gd name="T17" fmla="*/ 2147483647 h 26"/>
                      <a:gd name="T18" fmla="*/ 2147483647 w 31"/>
                      <a:gd name="T19" fmla="*/ 2147483647 h 26"/>
                      <a:gd name="T20" fmla="*/ 2147483647 w 31"/>
                      <a:gd name="T21" fmla="*/ 2147483647 h 26"/>
                      <a:gd name="T22" fmla="*/ 2147483647 w 31"/>
                      <a:gd name="T23" fmla="*/ 2147483647 h 26"/>
                      <a:gd name="T24" fmla="*/ 2147483647 w 31"/>
                      <a:gd name="T25" fmla="*/ 2147483647 h 26"/>
                      <a:gd name="T26" fmla="*/ 2147483647 w 31"/>
                      <a:gd name="T27" fmla="*/ 2147483647 h 26"/>
                      <a:gd name="T28" fmla="*/ 2147483647 w 31"/>
                      <a:gd name="T29" fmla="*/ 2147483647 h 26"/>
                      <a:gd name="T30" fmla="*/ 2147483647 w 31"/>
                      <a:gd name="T31" fmla="*/ 2147483647 h 26"/>
                      <a:gd name="T32" fmla="*/ 2147483647 w 31"/>
                      <a:gd name="T33" fmla="*/ 2147483647 h 26"/>
                      <a:gd name="T34" fmla="*/ 2147483647 w 31"/>
                      <a:gd name="T35" fmla="*/ 2147483647 h 26"/>
                      <a:gd name="T36" fmla="*/ 2147483647 w 31"/>
                      <a:gd name="T37" fmla="*/ 2147483647 h 26"/>
                      <a:gd name="T38" fmla="*/ 2147483647 w 31"/>
                      <a:gd name="T39" fmla="*/ 2147483647 h 26"/>
                      <a:gd name="T40" fmla="*/ 2147483647 w 31"/>
                      <a:gd name="T41" fmla="*/ 2147483647 h 26"/>
                      <a:gd name="T42" fmla="*/ 2147483647 w 31"/>
                      <a:gd name="T43" fmla="*/ 2147483647 h 26"/>
                      <a:gd name="T44" fmla="*/ 2147483647 w 31"/>
                      <a:gd name="T45" fmla="*/ 2147483647 h 26"/>
                      <a:gd name="T46" fmla="*/ 2147483647 w 31"/>
                      <a:gd name="T47" fmla="*/ 2147483647 h 26"/>
                      <a:gd name="T48" fmla="*/ 2147483647 w 31"/>
                      <a:gd name="T49" fmla="*/ 2147483647 h 26"/>
                      <a:gd name="T50" fmla="*/ 2147483647 w 31"/>
                      <a:gd name="T51" fmla="*/ 2147483647 h 26"/>
                      <a:gd name="T52" fmla="*/ 2147483647 w 31"/>
                      <a:gd name="T53" fmla="*/ 2147483647 h 26"/>
                      <a:gd name="T54" fmla="*/ 2147483647 w 31"/>
                      <a:gd name="T55" fmla="*/ 2147483647 h 26"/>
                      <a:gd name="T56" fmla="*/ 2147483647 w 31"/>
                      <a:gd name="T57" fmla="*/ 2147483647 h 26"/>
                      <a:gd name="T58" fmla="*/ 2147483647 w 31"/>
                      <a:gd name="T59" fmla="*/ 2147483647 h 26"/>
                      <a:gd name="T60" fmla="*/ 0 w 31"/>
                      <a:gd name="T61" fmla="*/ 2147483647 h 26"/>
                      <a:gd name="T62" fmla="*/ 2147483647 w 31"/>
                      <a:gd name="T63" fmla="*/ 2147483647 h 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1" h="26">
                        <a:moveTo>
                          <a:pt x="1" y="3"/>
                        </a:moveTo>
                        <a:lnTo>
                          <a:pt x="1" y="3"/>
                        </a:lnTo>
                        <a:lnTo>
                          <a:pt x="4" y="3"/>
                        </a:lnTo>
                        <a:lnTo>
                          <a:pt x="4" y="2"/>
                        </a:lnTo>
                        <a:lnTo>
                          <a:pt x="4" y="0"/>
                        </a:lnTo>
                        <a:lnTo>
                          <a:pt x="8" y="2"/>
                        </a:lnTo>
                        <a:lnTo>
                          <a:pt x="11" y="3"/>
                        </a:lnTo>
                        <a:lnTo>
                          <a:pt x="12" y="6"/>
                        </a:lnTo>
                        <a:lnTo>
                          <a:pt x="14" y="9"/>
                        </a:lnTo>
                        <a:lnTo>
                          <a:pt x="12" y="10"/>
                        </a:lnTo>
                        <a:lnTo>
                          <a:pt x="11" y="11"/>
                        </a:lnTo>
                        <a:lnTo>
                          <a:pt x="10" y="12"/>
                        </a:lnTo>
                        <a:lnTo>
                          <a:pt x="8" y="13"/>
                        </a:lnTo>
                        <a:lnTo>
                          <a:pt x="8" y="15"/>
                        </a:lnTo>
                        <a:lnTo>
                          <a:pt x="8" y="16"/>
                        </a:lnTo>
                        <a:lnTo>
                          <a:pt x="9" y="16"/>
                        </a:lnTo>
                        <a:lnTo>
                          <a:pt x="11" y="16"/>
                        </a:lnTo>
                        <a:lnTo>
                          <a:pt x="13" y="16"/>
                        </a:lnTo>
                        <a:lnTo>
                          <a:pt x="14" y="15"/>
                        </a:lnTo>
                        <a:lnTo>
                          <a:pt x="14" y="13"/>
                        </a:lnTo>
                        <a:lnTo>
                          <a:pt x="15" y="13"/>
                        </a:lnTo>
                        <a:lnTo>
                          <a:pt x="17" y="13"/>
                        </a:lnTo>
                        <a:lnTo>
                          <a:pt x="18" y="13"/>
                        </a:lnTo>
                        <a:lnTo>
                          <a:pt x="20" y="13"/>
                        </a:lnTo>
                        <a:lnTo>
                          <a:pt x="21" y="13"/>
                        </a:lnTo>
                        <a:lnTo>
                          <a:pt x="23" y="9"/>
                        </a:lnTo>
                        <a:lnTo>
                          <a:pt x="25" y="7"/>
                        </a:lnTo>
                        <a:lnTo>
                          <a:pt x="27" y="8"/>
                        </a:lnTo>
                        <a:lnTo>
                          <a:pt x="31" y="9"/>
                        </a:lnTo>
                        <a:lnTo>
                          <a:pt x="31" y="10"/>
                        </a:lnTo>
                        <a:lnTo>
                          <a:pt x="31" y="11"/>
                        </a:lnTo>
                        <a:lnTo>
                          <a:pt x="31" y="12"/>
                        </a:lnTo>
                        <a:lnTo>
                          <a:pt x="31" y="13"/>
                        </a:lnTo>
                        <a:lnTo>
                          <a:pt x="29" y="13"/>
                        </a:lnTo>
                        <a:lnTo>
                          <a:pt x="29" y="16"/>
                        </a:lnTo>
                        <a:lnTo>
                          <a:pt x="24" y="16"/>
                        </a:lnTo>
                        <a:lnTo>
                          <a:pt x="23" y="19"/>
                        </a:lnTo>
                        <a:lnTo>
                          <a:pt x="21" y="21"/>
                        </a:lnTo>
                        <a:lnTo>
                          <a:pt x="20" y="24"/>
                        </a:lnTo>
                        <a:lnTo>
                          <a:pt x="18" y="26"/>
                        </a:lnTo>
                        <a:lnTo>
                          <a:pt x="17" y="26"/>
                        </a:lnTo>
                        <a:lnTo>
                          <a:pt x="15" y="26"/>
                        </a:lnTo>
                        <a:lnTo>
                          <a:pt x="14" y="26"/>
                        </a:lnTo>
                        <a:lnTo>
                          <a:pt x="11" y="24"/>
                        </a:lnTo>
                        <a:lnTo>
                          <a:pt x="8" y="21"/>
                        </a:lnTo>
                        <a:lnTo>
                          <a:pt x="6" y="17"/>
                        </a:lnTo>
                        <a:lnTo>
                          <a:pt x="4" y="13"/>
                        </a:lnTo>
                        <a:lnTo>
                          <a:pt x="4" y="12"/>
                        </a:lnTo>
                        <a:lnTo>
                          <a:pt x="1" y="11"/>
                        </a:lnTo>
                        <a:lnTo>
                          <a:pt x="1" y="9"/>
                        </a:lnTo>
                        <a:lnTo>
                          <a:pt x="0" y="9"/>
                        </a:lnTo>
                        <a:lnTo>
                          <a:pt x="0" y="7"/>
                        </a:lnTo>
                        <a:lnTo>
                          <a:pt x="0" y="5"/>
                        </a:lnTo>
                        <a:lnTo>
                          <a:pt x="1"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1" name="Freeform 2145">
                    <a:extLst>
                      <a:ext uri="{FF2B5EF4-FFF2-40B4-BE49-F238E27FC236}">
                        <a16:creationId xmlns:a16="http://schemas.microsoft.com/office/drawing/2014/main" xmlns="" id="{9F4CDAFB-9205-40C3-A9A7-DD8A970BF62B}"/>
                      </a:ext>
                    </a:extLst>
                  </p:cNvPr>
                  <p:cNvSpPr>
                    <a:spLocks/>
                  </p:cNvSpPr>
                  <p:nvPr/>
                </p:nvSpPr>
                <p:spPr bwMode="gray">
                  <a:xfrm>
                    <a:off x="5139602" y="2313078"/>
                    <a:ext cx="5563" cy="11125"/>
                  </a:xfrm>
                  <a:custGeom>
                    <a:avLst/>
                    <a:gdLst>
                      <a:gd name="T0" fmla="*/ 2147483647 w 5"/>
                      <a:gd name="T1" fmla="*/ 2147483647 h 10"/>
                      <a:gd name="T2" fmla="*/ 2147483647 w 5"/>
                      <a:gd name="T3" fmla="*/ 2147483647 h 10"/>
                      <a:gd name="T4" fmla="*/ 0 w 5"/>
                      <a:gd name="T5" fmla="*/ 2147483647 h 10"/>
                      <a:gd name="T6" fmla="*/ 2147483647 w 5"/>
                      <a:gd name="T7" fmla="*/ 2147483647 h 10"/>
                      <a:gd name="T8" fmla="*/ 2147483647 w 5"/>
                      <a:gd name="T9" fmla="*/ 0 h 10"/>
                      <a:gd name="T10" fmla="*/ 2147483647 w 5"/>
                      <a:gd name="T11" fmla="*/ 2147483647 h 10"/>
                      <a:gd name="T12" fmla="*/ 2147483647 w 5"/>
                      <a:gd name="T13" fmla="*/ 2147483647 h 10"/>
                      <a:gd name="T14" fmla="*/ 2147483647 w 5"/>
                      <a:gd name="T15" fmla="*/ 2147483647 h 10"/>
                      <a:gd name="T16" fmla="*/ 2147483647 w 5"/>
                      <a:gd name="T17" fmla="*/ 2147483647 h 10"/>
                      <a:gd name="T18" fmla="*/ 2147483647 w 5"/>
                      <a:gd name="T19" fmla="*/ 2147483647 h 10"/>
                      <a:gd name="T20" fmla="*/ 2147483647 w 5"/>
                      <a:gd name="T21" fmla="*/ 2147483647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 h="10">
                        <a:moveTo>
                          <a:pt x="5" y="9"/>
                        </a:moveTo>
                        <a:lnTo>
                          <a:pt x="2" y="7"/>
                        </a:lnTo>
                        <a:lnTo>
                          <a:pt x="0" y="5"/>
                        </a:lnTo>
                        <a:lnTo>
                          <a:pt x="2" y="3"/>
                        </a:lnTo>
                        <a:lnTo>
                          <a:pt x="5" y="0"/>
                        </a:lnTo>
                        <a:lnTo>
                          <a:pt x="5" y="1"/>
                        </a:lnTo>
                        <a:lnTo>
                          <a:pt x="5" y="2"/>
                        </a:lnTo>
                        <a:lnTo>
                          <a:pt x="5" y="7"/>
                        </a:lnTo>
                        <a:lnTo>
                          <a:pt x="5" y="9"/>
                        </a:lnTo>
                        <a:lnTo>
                          <a:pt x="5" y="10"/>
                        </a:lnTo>
                        <a:lnTo>
                          <a:pt x="5" y="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2" name="Freeform 2147">
                    <a:extLst>
                      <a:ext uri="{FF2B5EF4-FFF2-40B4-BE49-F238E27FC236}">
                        <a16:creationId xmlns:a16="http://schemas.microsoft.com/office/drawing/2014/main" xmlns="" id="{968D7E11-4EB7-45D3-AF9E-CFB1818688CB}"/>
                      </a:ext>
                    </a:extLst>
                  </p:cNvPr>
                  <p:cNvSpPr>
                    <a:spLocks/>
                  </p:cNvSpPr>
                  <p:nvPr/>
                </p:nvSpPr>
                <p:spPr bwMode="gray">
                  <a:xfrm>
                    <a:off x="5110677" y="2316415"/>
                    <a:ext cx="12237" cy="32261"/>
                  </a:xfrm>
                  <a:custGeom>
                    <a:avLst/>
                    <a:gdLst>
                      <a:gd name="T0" fmla="*/ 2147483647 w 11"/>
                      <a:gd name="T1" fmla="*/ 2147483647 h 29"/>
                      <a:gd name="T2" fmla="*/ 2147483647 w 11"/>
                      <a:gd name="T3" fmla="*/ 2147483647 h 29"/>
                      <a:gd name="T4" fmla="*/ 2147483647 w 11"/>
                      <a:gd name="T5" fmla="*/ 2147483647 h 29"/>
                      <a:gd name="T6" fmla="*/ 2147483647 w 11"/>
                      <a:gd name="T7" fmla="*/ 2147483647 h 29"/>
                      <a:gd name="T8" fmla="*/ 2147483647 w 11"/>
                      <a:gd name="T9" fmla="*/ 0 h 29"/>
                      <a:gd name="T10" fmla="*/ 2147483647 w 11"/>
                      <a:gd name="T11" fmla="*/ 2147483647 h 29"/>
                      <a:gd name="T12" fmla="*/ 2147483647 w 11"/>
                      <a:gd name="T13" fmla="*/ 2147483647 h 29"/>
                      <a:gd name="T14" fmla="*/ 2147483647 w 11"/>
                      <a:gd name="T15" fmla="*/ 2147483647 h 29"/>
                      <a:gd name="T16" fmla="*/ 2147483647 w 11"/>
                      <a:gd name="T17" fmla="*/ 2147483647 h 29"/>
                      <a:gd name="T18" fmla="*/ 2147483647 w 11"/>
                      <a:gd name="T19" fmla="*/ 2147483647 h 29"/>
                      <a:gd name="T20" fmla="*/ 2147483647 w 11"/>
                      <a:gd name="T21" fmla="*/ 2147483647 h 29"/>
                      <a:gd name="T22" fmla="*/ 2147483647 w 11"/>
                      <a:gd name="T23" fmla="*/ 2147483647 h 29"/>
                      <a:gd name="T24" fmla="*/ 2147483647 w 11"/>
                      <a:gd name="T25" fmla="*/ 2147483647 h 29"/>
                      <a:gd name="T26" fmla="*/ 2147483647 w 11"/>
                      <a:gd name="T27" fmla="*/ 2147483647 h 29"/>
                      <a:gd name="T28" fmla="*/ 2147483647 w 11"/>
                      <a:gd name="T29" fmla="*/ 2147483647 h 29"/>
                      <a:gd name="T30" fmla="*/ 2147483647 w 11"/>
                      <a:gd name="T31" fmla="*/ 2147483647 h 29"/>
                      <a:gd name="T32" fmla="*/ 2147483647 w 11"/>
                      <a:gd name="T33" fmla="*/ 2147483647 h 29"/>
                      <a:gd name="T34" fmla="*/ 2147483647 w 11"/>
                      <a:gd name="T35" fmla="*/ 2147483647 h 29"/>
                      <a:gd name="T36" fmla="*/ 2147483647 w 11"/>
                      <a:gd name="T37" fmla="*/ 2147483647 h 29"/>
                      <a:gd name="T38" fmla="*/ 2147483647 w 11"/>
                      <a:gd name="T39" fmla="*/ 2147483647 h 29"/>
                      <a:gd name="T40" fmla="*/ 2147483647 w 11"/>
                      <a:gd name="T41" fmla="*/ 2147483647 h 29"/>
                      <a:gd name="T42" fmla="*/ 2147483647 w 11"/>
                      <a:gd name="T43" fmla="*/ 2147483647 h 29"/>
                      <a:gd name="T44" fmla="*/ 2147483647 w 11"/>
                      <a:gd name="T45" fmla="*/ 2147483647 h 29"/>
                      <a:gd name="T46" fmla="*/ 2147483647 w 11"/>
                      <a:gd name="T47" fmla="*/ 2147483647 h 29"/>
                      <a:gd name="T48" fmla="*/ 2147483647 w 11"/>
                      <a:gd name="T49" fmla="*/ 2147483647 h 29"/>
                      <a:gd name="T50" fmla="*/ 2147483647 w 11"/>
                      <a:gd name="T51" fmla="*/ 2147483647 h 29"/>
                      <a:gd name="T52" fmla="*/ 2147483647 w 11"/>
                      <a:gd name="T53" fmla="*/ 2147483647 h 29"/>
                      <a:gd name="T54" fmla="*/ 2147483647 w 11"/>
                      <a:gd name="T55" fmla="*/ 2147483647 h 29"/>
                      <a:gd name="T56" fmla="*/ 2147483647 w 11"/>
                      <a:gd name="T57" fmla="*/ 2147483647 h 29"/>
                      <a:gd name="T58" fmla="*/ 2147483647 w 11"/>
                      <a:gd name="T59" fmla="*/ 2147483647 h 29"/>
                      <a:gd name="T60" fmla="*/ 2147483647 w 11"/>
                      <a:gd name="T61" fmla="*/ 2147483647 h 29"/>
                      <a:gd name="T62" fmla="*/ 2147483647 w 11"/>
                      <a:gd name="T63" fmla="*/ 2147483647 h 29"/>
                      <a:gd name="T64" fmla="*/ 0 w 11"/>
                      <a:gd name="T65" fmla="*/ 2147483647 h 29"/>
                      <a:gd name="T66" fmla="*/ 0 w 11"/>
                      <a:gd name="T67" fmla="*/ 2147483647 h 29"/>
                      <a:gd name="T68" fmla="*/ 2147483647 w 11"/>
                      <a:gd name="T69" fmla="*/ 2147483647 h 29"/>
                      <a:gd name="T70" fmla="*/ 2147483647 w 11"/>
                      <a:gd name="T71" fmla="*/ 2147483647 h 29"/>
                      <a:gd name="T72" fmla="*/ 2147483647 w 11"/>
                      <a:gd name="T73" fmla="*/ 2147483647 h 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 h="29">
                        <a:moveTo>
                          <a:pt x="7" y="9"/>
                        </a:moveTo>
                        <a:lnTo>
                          <a:pt x="5" y="6"/>
                        </a:lnTo>
                        <a:lnTo>
                          <a:pt x="3" y="5"/>
                        </a:lnTo>
                        <a:lnTo>
                          <a:pt x="3" y="2"/>
                        </a:lnTo>
                        <a:lnTo>
                          <a:pt x="4" y="0"/>
                        </a:lnTo>
                        <a:lnTo>
                          <a:pt x="4" y="1"/>
                        </a:lnTo>
                        <a:lnTo>
                          <a:pt x="6" y="3"/>
                        </a:lnTo>
                        <a:lnTo>
                          <a:pt x="7" y="5"/>
                        </a:lnTo>
                        <a:lnTo>
                          <a:pt x="7" y="6"/>
                        </a:lnTo>
                        <a:lnTo>
                          <a:pt x="9" y="10"/>
                        </a:lnTo>
                        <a:lnTo>
                          <a:pt x="9" y="13"/>
                        </a:lnTo>
                        <a:lnTo>
                          <a:pt x="8" y="16"/>
                        </a:lnTo>
                        <a:lnTo>
                          <a:pt x="7" y="19"/>
                        </a:lnTo>
                        <a:lnTo>
                          <a:pt x="7" y="22"/>
                        </a:lnTo>
                        <a:lnTo>
                          <a:pt x="9" y="23"/>
                        </a:lnTo>
                        <a:lnTo>
                          <a:pt x="9" y="24"/>
                        </a:lnTo>
                        <a:lnTo>
                          <a:pt x="8" y="25"/>
                        </a:lnTo>
                        <a:lnTo>
                          <a:pt x="7" y="25"/>
                        </a:lnTo>
                        <a:lnTo>
                          <a:pt x="8" y="25"/>
                        </a:lnTo>
                        <a:lnTo>
                          <a:pt x="9" y="25"/>
                        </a:lnTo>
                        <a:lnTo>
                          <a:pt x="10" y="25"/>
                        </a:lnTo>
                        <a:lnTo>
                          <a:pt x="11" y="25"/>
                        </a:lnTo>
                        <a:lnTo>
                          <a:pt x="10" y="27"/>
                        </a:lnTo>
                        <a:lnTo>
                          <a:pt x="9" y="28"/>
                        </a:lnTo>
                        <a:lnTo>
                          <a:pt x="8" y="29"/>
                        </a:lnTo>
                        <a:lnTo>
                          <a:pt x="7" y="29"/>
                        </a:lnTo>
                        <a:lnTo>
                          <a:pt x="7" y="28"/>
                        </a:lnTo>
                        <a:lnTo>
                          <a:pt x="7" y="27"/>
                        </a:lnTo>
                        <a:lnTo>
                          <a:pt x="7" y="26"/>
                        </a:lnTo>
                        <a:lnTo>
                          <a:pt x="7" y="25"/>
                        </a:lnTo>
                        <a:lnTo>
                          <a:pt x="7" y="21"/>
                        </a:lnTo>
                        <a:lnTo>
                          <a:pt x="5" y="18"/>
                        </a:lnTo>
                        <a:lnTo>
                          <a:pt x="0" y="12"/>
                        </a:lnTo>
                        <a:lnTo>
                          <a:pt x="3" y="12"/>
                        </a:lnTo>
                        <a:lnTo>
                          <a:pt x="5" y="11"/>
                        </a:lnTo>
                        <a:lnTo>
                          <a:pt x="7" y="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3" name="Freeform 2149">
                    <a:extLst>
                      <a:ext uri="{FF2B5EF4-FFF2-40B4-BE49-F238E27FC236}">
                        <a16:creationId xmlns:a16="http://schemas.microsoft.com/office/drawing/2014/main" xmlns="" id="{044CCD62-3A42-4CA4-870D-ED2566ECFB8A}"/>
                      </a:ext>
                    </a:extLst>
                  </p:cNvPr>
                  <p:cNvSpPr>
                    <a:spLocks/>
                  </p:cNvSpPr>
                  <p:nvPr/>
                </p:nvSpPr>
                <p:spPr bwMode="gray">
                  <a:xfrm>
                    <a:off x="5104003" y="2395397"/>
                    <a:ext cx="3338" cy="10012"/>
                  </a:xfrm>
                  <a:custGeom>
                    <a:avLst/>
                    <a:gdLst>
                      <a:gd name="T0" fmla="*/ 2147483647 w 3"/>
                      <a:gd name="T1" fmla="*/ 0 h 9"/>
                      <a:gd name="T2" fmla="*/ 2147483647 w 3"/>
                      <a:gd name="T3" fmla="*/ 2147483647 h 9"/>
                      <a:gd name="T4" fmla="*/ 2147483647 w 3"/>
                      <a:gd name="T5" fmla="*/ 2147483647 h 9"/>
                      <a:gd name="T6" fmla="*/ 2147483647 w 3"/>
                      <a:gd name="T7" fmla="*/ 2147483647 h 9"/>
                      <a:gd name="T8" fmla="*/ 2147483647 w 3"/>
                      <a:gd name="T9" fmla="*/ 2147483647 h 9"/>
                      <a:gd name="T10" fmla="*/ 2147483647 w 3"/>
                      <a:gd name="T11" fmla="*/ 2147483647 h 9"/>
                      <a:gd name="T12" fmla="*/ 0 w 3"/>
                      <a:gd name="T13" fmla="*/ 2147483647 h 9"/>
                      <a:gd name="T14" fmla="*/ 0 w 3"/>
                      <a:gd name="T15" fmla="*/ 2147483647 h 9"/>
                      <a:gd name="T16" fmla="*/ 0 w 3"/>
                      <a:gd name="T17" fmla="*/ 2147483647 h 9"/>
                      <a:gd name="T18" fmla="*/ 0 w 3"/>
                      <a:gd name="T19" fmla="*/ 2147483647 h 9"/>
                      <a:gd name="T20" fmla="*/ 0 w 3"/>
                      <a:gd name="T21" fmla="*/ 2147483647 h 9"/>
                      <a:gd name="T22" fmla="*/ 0 w 3"/>
                      <a:gd name="T23" fmla="*/ 2147483647 h 9"/>
                      <a:gd name="T24" fmla="*/ 0 w 3"/>
                      <a:gd name="T25" fmla="*/ 2147483647 h 9"/>
                      <a:gd name="T26" fmla="*/ 0 w 3"/>
                      <a:gd name="T27" fmla="*/ 2147483647 h 9"/>
                      <a:gd name="T28" fmla="*/ 0 w 3"/>
                      <a:gd name="T29" fmla="*/ 2147483647 h 9"/>
                      <a:gd name="T30" fmla="*/ 0 w 3"/>
                      <a:gd name="T31" fmla="*/ 2147483647 h 9"/>
                      <a:gd name="T32" fmla="*/ 0 w 3"/>
                      <a:gd name="T33" fmla="*/ 0 h 9"/>
                      <a:gd name="T34" fmla="*/ 0 w 3"/>
                      <a:gd name="T35" fmla="*/ 0 h 9"/>
                      <a:gd name="T36" fmla="*/ 0 w 3"/>
                      <a:gd name="T37" fmla="*/ 0 h 9"/>
                      <a:gd name="T38" fmla="*/ 2147483647 w 3"/>
                      <a:gd name="T39" fmla="*/ 0 h 9"/>
                      <a:gd name="T40" fmla="*/ 2147483647 w 3"/>
                      <a:gd name="T41" fmla="*/ 0 h 9"/>
                      <a:gd name="T42" fmla="*/ 2147483647 w 3"/>
                      <a:gd name="T43" fmla="*/ 0 h 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 h="9">
                        <a:moveTo>
                          <a:pt x="3" y="0"/>
                        </a:moveTo>
                        <a:lnTo>
                          <a:pt x="3" y="1"/>
                        </a:lnTo>
                        <a:lnTo>
                          <a:pt x="3" y="2"/>
                        </a:lnTo>
                        <a:lnTo>
                          <a:pt x="3" y="4"/>
                        </a:lnTo>
                        <a:lnTo>
                          <a:pt x="1" y="4"/>
                        </a:lnTo>
                        <a:lnTo>
                          <a:pt x="0" y="4"/>
                        </a:lnTo>
                        <a:lnTo>
                          <a:pt x="0" y="5"/>
                        </a:lnTo>
                        <a:lnTo>
                          <a:pt x="0" y="6"/>
                        </a:lnTo>
                        <a:lnTo>
                          <a:pt x="0" y="7"/>
                        </a:lnTo>
                        <a:lnTo>
                          <a:pt x="0" y="8"/>
                        </a:lnTo>
                        <a:lnTo>
                          <a:pt x="0" y="9"/>
                        </a:lnTo>
                        <a:lnTo>
                          <a:pt x="0" y="0"/>
                        </a:lnTo>
                        <a:lnTo>
                          <a:pt x="1"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4" name="Freeform 2151">
                    <a:extLst>
                      <a:ext uri="{FF2B5EF4-FFF2-40B4-BE49-F238E27FC236}">
                        <a16:creationId xmlns:a16="http://schemas.microsoft.com/office/drawing/2014/main" xmlns="" id="{6EB627EE-E120-4278-896F-8533F074689B}"/>
                      </a:ext>
                    </a:extLst>
                  </p:cNvPr>
                  <p:cNvSpPr>
                    <a:spLocks/>
                  </p:cNvSpPr>
                  <p:nvPr/>
                </p:nvSpPr>
                <p:spPr bwMode="gray">
                  <a:xfrm>
                    <a:off x="5059503" y="2484393"/>
                    <a:ext cx="8900" cy="7787"/>
                  </a:xfrm>
                  <a:custGeom>
                    <a:avLst/>
                    <a:gdLst>
                      <a:gd name="T0" fmla="*/ 2147483647 w 8"/>
                      <a:gd name="T1" fmla="*/ 2147483647 h 7"/>
                      <a:gd name="T2" fmla="*/ 2147483647 w 8"/>
                      <a:gd name="T3" fmla="*/ 2147483647 h 7"/>
                      <a:gd name="T4" fmla="*/ 2147483647 w 8"/>
                      <a:gd name="T5" fmla="*/ 2147483647 h 7"/>
                      <a:gd name="T6" fmla="*/ 2147483647 w 8"/>
                      <a:gd name="T7" fmla="*/ 2147483647 h 7"/>
                      <a:gd name="T8" fmla="*/ 0 w 8"/>
                      <a:gd name="T9" fmla="*/ 2147483647 h 7"/>
                      <a:gd name="T10" fmla="*/ 2147483647 w 8"/>
                      <a:gd name="T11" fmla="*/ 2147483647 h 7"/>
                      <a:gd name="T12" fmla="*/ 2147483647 w 8"/>
                      <a:gd name="T13" fmla="*/ 2147483647 h 7"/>
                      <a:gd name="T14" fmla="*/ 2147483647 w 8"/>
                      <a:gd name="T15" fmla="*/ 0 h 7"/>
                      <a:gd name="T16" fmla="*/ 2147483647 w 8"/>
                      <a:gd name="T17" fmla="*/ 0 h 7"/>
                      <a:gd name="T18" fmla="*/ 2147483647 w 8"/>
                      <a:gd name="T19" fmla="*/ 2147483647 h 7"/>
                      <a:gd name="T20" fmla="*/ 2147483647 w 8"/>
                      <a:gd name="T21" fmla="*/ 2147483647 h 7"/>
                      <a:gd name="T22" fmla="*/ 2147483647 w 8"/>
                      <a:gd name="T23" fmla="*/ 2147483647 h 7"/>
                      <a:gd name="T24" fmla="*/ 2147483647 w 8"/>
                      <a:gd name="T25" fmla="*/ 2147483647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7">
                        <a:moveTo>
                          <a:pt x="5" y="6"/>
                        </a:moveTo>
                        <a:lnTo>
                          <a:pt x="5" y="5"/>
                        </a:lnTo>
                        <a:lnTo>
                          <a:pt x="4" y="5"/>
                        </a:lnTo>
                        <a:lnTo>
                          <a:pt x="3" y="4"/>
                        </a:lnTo>
                        <a:lnTo>
                          <a:pt x="0" y="4"/>
                        </a:lnTo>
                        <a:lnTo>
                          <a:pt x="4" y="2"/>
                        </a:lnTo>
                        <a:lnTo>
                          <a:pt x="6" y="1"/>
                        </a:lnTo>
                        <a:lnTo>
                          <a:pt x="8" y="0"/>
                        </a:lnTo>
                        <a:lnTo>
                          <a:pt x="8" y="3"/>
                        </a:lnTo>
                        <a:lnTo>
                          <a:pt x="8" y="5"/>
                        </a:lnTo>
                        <a:lnTo>
                          <a:pt x="7" y="7"/>
                        </a:lnTo>
                        <a:lnTo>
                          <a:pt x="5" y="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5" name="Freeform 2153">
                    <a:extLst>
                      <a:ext uri="{FF2B5EF4-FFF2-40B4-BE49-F238E27FC236}">
                        <a16:creationId xmlns:a16="http://schemas.microsoft.com/office/drawing/2014/main" xmlns="" id="{BEB5292B-627C-4FAB-99D8-DB4F270E65BD}"/>
                      </a:ext>
                    </a:extLst>
                  </p:cNvPr>
                  <p:cNvSpPr>
                    <a:spLocks/>
                  </p:cNvSpPr>
                  <p:nvPr/>
                </p:nvSpPr>
                <p:spPr bwMode="gray">
                  <a:xfrm>
                    <a:off x="5065065" y="2329765"/>
                    <a:ext cx="5563" cy="18911"/>
                  </a:xfrm>
                  <a:custGeom>
                    <a:avLst/>
                    <a:gdLst>
                      <a:gd name="T0" fmla="*/ 2147483647 w 5"/>
                      <a:gd name="T1" fmla="*/ 2147483647 h 17"/>
                      <a:gd name="T2" fmla="*/ 0 w 5"/>
                      <a:gd name="T3" fmla="*/ 2147483647 h 17"/>
                      <a:gd name="T4" fmla="*/ 0 w 5"/>
                      <a:gd name="T5" fmla="*/ 2147483647 h 17"/>
                      <a:gd name="T6" fmla="*/ 0 w 5"/>
                      <a:gd name="T7" fmla="*/ 2147483647 h 17"/>
                      <a:gd name="T8" fmla="*/ 0 w 5"/>
                      <a:gd name="T9" fmla="*/ 2147483647 h 17"/>
                      <a:gd name="T10" fmla="*/ 0 w 5"/>
                      <a:gd name="T11" fmla="*/ 0 h 17"/>
                      <a:gd name="T12" fmla="*/ 0 w 5"/>
                      <a:gd name="T13" fmla="*/ 0 h 17"/>
                      <a:gd name="T14" fmla="*/ 2147483647 w 5"/>
                      <a:gd name="T15" fmla="*/ 0 h 17"/>
                      <a:gd name="T16" fmla="*/ 2147483647 w 5"/>
                      <a:gd name="T17" fmla="*/ 0 h 17"/>
                      <a:gd name="T18" fmla="*/ 2147483647 w 5"/>
                      <a:gd name="T19" fmla="*/ 0 h 17"/>
                      <a:gd name="T20" fmla="*/ 2147483647 w 5"/>
                      <a:gd name="T21" fmla="*/ 2147483647 h 17"/>
                      <a:gd name="T22" fmla="*/ 2147483647 w 5"/>
                      <a:gd name="T23" fmla="*/ 2147483647 h 17"/>
                      <a:gd name="T24" fmla="*/ 2147483647 w 5"/>
                      <a:gd name="T25" fmla="*/ 2147483647 h 17"/>
                      <a:gd name="T26" fmla="*/ 2147483647 w 5"/>
                      <a:gd name="T27" fmla="*/ 2147483647 h 17"/>
                      <a:gd name="T28" fmla="*/ 2147483647 w 5"/>
                      <a:gd name="T29" fmla="*/ 2147483647 h 17"/>
                      <a:gd name="T30" fmla="*/ 2147483647 w 5"/>
                      <a:gd name="T31" fmla="*/ 2147483647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 h="17">
                        <a:moveTo>
                          <a:pt x="3" y="17"/>
                        </a:moveTo>
                        <a:lnTo>
                          <a:pt x="0" y="13"/>
                        </a:lnTo>
                        <a:lnTo>
                          <a:pt x="0" y="10"/>
                        </a:lnTo>
                        <a:lnTo>
                          <a:pt x="0" y="6"/>
                        </a:lnTo>
                        <a:lnTo>
                          <a:pt x="0" y="2"/>
                        </a:lnTo>
                        <a:lnTo>
                          <a:pt x="0" y="0"/>
                        </a:lnTo>
                        <a:lnTo>
                          <a:pt x="2" y="0"/>
                        </a:lnTo>
                        <a:lnTo>
                          <a:pt x="3" y="0"/>
                        </a:lnTo>
                        <a:lnTo>
                          <a:pt x="3" y="2"/>
                        </a:lnTo>
                        <a:lnTo>
                          <a:pt x="3" y="3"/>
                        </a:lnTo>
                        <a:lnTo>
                          <a:pt x="3" y="7"/>
                        </a:lnTo>
                        <a:lnTo>
                          <a:pt x="5" y="12"/>
                        </a:lnTo>
                        <a:lnTo>
                          <a:pt x="4" y="14"/>
                        </a:lnTo>
                        <a:lnTo>
                          <a:pt x="3" y="1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6" name="Freeform 2156">
                    <a:extLst>
                      <a:ext uri="{FF2B5EF4-FFF2-40B4-BE49-F238E27FC236}">
                        <a16:creationId xmlns:a16="http://schemas.microsoft.com/office/drawing/2014/main" xmlns="" id="{30B4AD59-6FE2-4A7A-A3E0-349526B19C28}"/>
                      </a:ext>
                    </a:extLst>
                  </p:cNvPr>
                  <p:cNvSpPr>
                    <a:spLocks/>
                  </p:cNvSpPr>
                  <p:nvPr/>
                </p:nvSpPr>
                <p:spPr bwMode="gray">
                  <a:xfrm>
                    <a:off x="5059503" y="1814703"/>
                    <a:ext cx="37825" cy="47835"/>
                  </a:xfrm>
                  <a:custGeom>
                    <a:avLst/>
                    <a:gdLst>
                      <a:gd name="T0" fmla="*/ 2147483647 w 34"/>
                      <a:gd name="T1" fmla="*/ 2147483647 h 43"/>
                      <a:gd name="T2" fmla="*/ 2147483647 w 34"/>
                      <a:gd name="T3" fmla="*/ 2147483647 h 43"/>
                      <a:gd name="T4" fmla="*/ 2147483647 w 34"/>
                      <a:gd name="T5" fmla="*/ 2147483647 h 43"/>
                      <a:gd name="T6" fmla="*/ 2147483647 w 34"/>
                      <a:gd name="T7" fmla="*/ 2147483647 h 43"/>
                      <a:gd name="T8" fmla="*/ 2147483647 w 34"/>
                      <a:gd name="T9" fmla="*/ 2147483647 h 43"/>
                      <a:gd name="T10" fmla="*/ 2147483647 w 34"/>
                      <a:gd name="T11" fmla="*/ 2147483647 h 43"/>
                      <a:gd name="T12" fmla="*/ 2147483647 w 34"/>
                      <a:gd name="T13" fmla="*/ 2147483647 h 43"/>
                      <a:gd name="T14" fmla="*/ 2147483647 w 34"/>
                      <a:gd name="T15" fmla="*/ 2147483647 h 43"/>
                      <a:gd name="T16" fmla="*/ 2147483647 w 34"/>
                      <a:gd name="T17" fmla="*/ 2147483647 h 43"/>
                      <a:gd name="T18" fmla="*/ 0 w 34"/>
                      <a:gd name="T19" fmla="*/ 2147483647 h 43"/>
                      <a:gd name="T20" fmla="*/ 2147483647 w 34"/>
                      <a:gd name="T21" fmla="*/ 2147483647 h 43"/>
                      <a:gd name="T22" fmla="*/ 2147483647 w 34"/>
                      <a:gd name="T23" fmla="*/ 2147483647 h 43"/>
                      <a:gd name="T24" fmla="*/ 2147483647 w 34"/>
                      <a:gd name="T25" fmla="*/ 2147483647 h 43"/>
                      <a:gd name="T26" fmla="*/ 2147483647 w 34"/>
                      <a:gd name="T27" fmla="*/ 2147483647 h 43"/>
                      <a:gd name="T28" fmla="*/ 2147483647 w 34"/>
                      <a:gd name="T29" fmla="*/ 2147483647 h 43"/>
                      <a:gd name="T30" fmla="*/ 2147483647 w 34"/>
                      <a:gd name="T31" fmla="*/ 2147483647 h 43"/>
                      <a:gd name="T32" fmla="*/ 2147483647 w 34"/>
                      <a:gd name="T33" fmla="*/ 2147483647 h 43"/>
                      <a:gd name="T34" fmla="*/ 2147483647 w 34"/>
                      <a:gd name="T35" fmla="*/ 2147483647 h 43"/>
                      <a:gd name="T36" fmla="*/ 2147483647 w 34"/>
                      <a:gd name="T37" fmla="*/ 2147483647 h 43"/>
                      <a:gd name="T38" fmla="*/ 2147483647 w 34"/>
                      <a:gd name="T39" fmla="*/ 2147483647 h 43"/>
                      <a:gd name="T40" fmla="*/ 2147483647 w 34"/>
                      <a:gd name="T41" fmla="*/ 2147483647 h 43"/>
                      <a:gd name="T42" fmla="*/ 2147483647 w 34"/>
                      <a:gd name="T43" fmla="*/ 2147483647 h 43"/>
                      <a:gd name="T44" fmla="*/ 2147483647 w 34"/>
                      <a:gd name="T45" fmla="*/ 2147483647 h 43"/>
                      <a:gd name="T46" fmla="*/ 2147483647 w 34"/>
                      <a:gd name="T47" fmla="*/ 2147483647 h 43"/>
                      <a:gd name="T48" fmla="*/ 2147483647 w 34"/>
                      <a:gd name="T49" fmla="*/ 2147483647 h 43"/>
                      <a:gd name="T50" fmla="*/ 2147483647 w 34"/>
                      <a:gd name="T51" fmla="*/ 2147483647 h 43"/>
                      <a:gd name="T52" fmla="*/ 2147483647 w 34"/>
                      <a:gd name="T53" fmla="*/ 2147483647 h 43"/>
                      <a:gd name="T54" fmla="*/ 2147483647 w 34"/>
                      <a:gd name="T55" fmla="*/ 2147483647 h 43"/>
                      <a:gd name="T56" fmla="*/ 2147483647 w 34"/>
                      <a:gd name="T57" fmla="*/ 2147483647 h 43"/>
                      <a:gd name="T58" fmla="*/ 2147483647 w 34"/>
                      <a:gd name="T59" fmla="*/ 0 h 43"/>
                      <a:gd name="T60" fmla="*/ 2147483647 w 34"/>
                      <a:gd name="T61" fmla="*/ 0 h 43"/>
                      <a:gd name="T62" fmla="*/ 2147483647 w 34"/>
                      <a:gd name="T63" fmla="*/ 0 h 43"/>
                      <a:gd name="T64" fmla="*/ 2147483647 w 34"/>
                      <a:gd name="T65" fmla="*/ 2147483647 h 43"/>
                      <a:gd name="T66" fmla="*/ 2147483647 w 34"/>
                      <a:gd name="T67" fmla="*/ 2147483647 h 43"/>
                      <a:gd name="T68" fmla="*/ 2147483647 w 34"/>
                      <a:gd name="T69" fmla="*/ 2147483647 h 43"/>
                      <a:gd name="T70" fmla="*/ 2147483647 w 34"/>
                      <a:gd name="T71" fmla="*/ 2147483647 h 43"/>
                      <a:gd name="T72" fmla="*/ 2147483647 w 34"/>
                      <a:gd name="T73" fmla="*/ 2147483647 h 43"/>
                      <a:gd name="T74" fmla="*/ 2147483647 w 34"/>
                      <a:gd name="T75" fmla="*/ 2147483647 h 43"/>
                      <a:gd name="T76" fmla="*/ 2147483647 w 34"/>
                      <a:gd name="T77" fmla="*/ 2147483647 h 43"/>
                      <a:gd name="T78" fmla="*/ 2147483647 w 34"/>
                      <a:gd name="T79" fmla="*/ 2147483647 h 43"/>
                      <a:gd name="T80" fmla="*/ 2147483647 w 34"/>
                      <a:gd name="T81" fmla="*/ 2147483647 h 43"/>
                      <a:gd name="T82" fmla="*/ 2147483647 w 34"/>
                      <a:gd name="T83" fmla="*/ 2147483647 h 43"/>
                      <a:gd name="T84" fmla="*/ 2147483647 w 34"/>
                      <a:gd name="T85" fmla="*/ 2147483647 h 43"/>
                      <a:gd name="T86" fmla="*/ 2147483647 w 34"/>
                      <a:gd name="T87" fmla="*/ 2147483647 h 43"/>
                      <a:gd name="T88" fmla="*/ 2147483647 w 34"/>
                      <a:gd name="T89" fmla="*/ 2147483647 h 43"/>
                      <a:gd name="T90" fmla="*/ 2147483647 w 34"/>
                      <a:gd name="T91" fmla="*/ 2147483647 h 43"/>
                      <a:gd name="T92" fmla="*/ 2147483647 w 34"/>
                      <a:gd name="T93" fmla="*/ 2147483647 h 43"/>
                      <a:gd name="T94" fmla="*/ 2147483647 w 34"/>
                      <a:gd name="T95" fmla="*/ 2147483647 h 43"/>
                      <a:gd name="T96" fmla="*/ 2147483647 w 34"/>
                      <a:gd name="T97" fmla="*/ 2147483647 h 43"/>
                      <a:gd name="T98" fmla="*/ 2147483647 w 34"/>
                      <a:gd name="T99" fmla="*/ 2147483647 h 43"/>
                      <a:gd name="T100" fmla="*/ 2147483647 w 34"/>
                      <a:gd name="T101" fmla="*/ 2147483647 h 43"/>
                      <a:gd name="T102" fmla="*/ 2147483647 w 34"/>
                      <a:gd name="T103" fmla="*/ 2147483647 h 43"/>
                      <a:gd name="T104" fmla="*/ 2147483647 w 34"/>
                      <a:gd name="T105" fmla="*/ 2147483647 h 43"/>
                      <a:gd name="T106" fmla="*/ 2147483647 w 34"/>
                      <a:gd name="T107" fmla="*/ 2147483647 h 43"/>
                      <a:gd name="T108" fmla="*/ 2147483647 w 34"/>
                      <a:gd name="T109" fmla="*/ 2147483647 h 43"/>
                      <a:gd name="T110" fmla="*/ 2147483647 w 34"/>
                      <a:gd name="T111" fmla="*/ 2147483647 h 4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4" h="43">
                        <a:moveTo>
                          <a:pt x="14" y="43"/>
                        </a:moveTo>
                        <a:lnTo>
                          <a:pt x="11" y="43"/>
                        </a:lnTo>
                        <a:lnTo>
                          <a:pt x="11" y="42"/>
                        </a:lnTo>
                        <a:lnTo>
                          <a:pt x="11" y="41"/>
                        </a:lnTo>
                        <a:lnTo>
                          <a:pt x="11" y="40"/>
                        </a:lnTo>
                        <a:lnTo>
                          <a:pt x="11" y="39"/>
                        </a:lnTo>
                        <a:lnTo>
                          <a:pt x="9" y="37"/>
                        </a:lnTo>
                        <a:lnTo>
                          <a:pt x="7" y="36"/>
                        </a:lnTo>
                        <a:lnTo>
                          <a:pt x="3" y="35"/>
                        </a:lnTo>
                        <a:lnTo>
                          <a:pt x="0" y="33"/>
                        </a:lnTo>
                        <a:lnTo>
                          <a:pt x="1" y="32"/>
                        </a:lnTo>
                        <a:lnTo>
                          <a:pt x="2" y="31"/>
                        </a:lnTo>
                        <a:lnTo>
                          <a:pt x="3" y="30"/>
                        </a:lnTo>
                        <a:lnTo>
                          <a:pt x="4" y="29"/>
                        </a:lnTo>
                        <a:lnTo>
                          <a:pt x="5" y="27"/>
                        </a:lnTo>
                        <a:lnTo>
                          <a:pt x="7" y="26"/>
                        </a:lnTo>
                        <a:lnTo>
                          <a:pt x="10" y="25"/>
                        </a:lnTo>
                        <a:lnTo>
                          <a:pt x="11" y="23"/>
                        </a:lnTo>
                        <a:lnTo>
                          <a:pt x="12" y="20"/>
                        </a:lnTo>
                        <a:lnTo>
                          <a:pt x="12" y="18"/>
                        </a:lnTo>
                        <a:lnTo>
                          <a:pt x="12" y="17"/>
                        </a:lnTo>
                        <a:lnTo>
                          <a:pt x="14" y="16"/>
                        </a:lnTo>
                        <a:lnTo>
                          <a:pt x="16" y="14"/>
                        </a:lnTo>
                        <a:lnTo>
                          <a:pt x="18" y="13"/>
                        </a:lnTo>
                        <a:lnTo>
                          <a:pt x="23" y="13"/>
                        </a:lnTo>
                        <a:lnTo>
                          <a:pt x="23" y="12"/>
                        </a:lnTo>
                        <a:lnTo>
                          <a:pt x="24" y="12"/>
                        </a:lnTo>
                        <a:lnTo>
                          <a:pt x="26" y="6"/>
                        </a:lnTo>
                        <a:lnTo>
                          <a:pt x="29" y="1"/>
                        </a:lnTo>
                        <a:lnTo>
                          <a:pt x="30" y="0"/>
                        </a:lnTo>
                        <a:lnTo>
                          <a:pt x="31" y="1"/>
                        </a:lnTo>
                        <a:lnTo>
                          <a:pt x="33" y="3"/>
                        </a:lnTo>
                        <a:lnTo>
                          <a:pt x="33" y="6"/>
                        </a:lnTo>
                        <a:lnTo>
                          <a:pt x="34" y="12"/>
                        </a:lnTo>
                        <a:lnTo>
                          <a:pt x="32" y="16"/>
                        </a:lnTo>
                        <a:lnTo>
                          <a:pt x="29" y="20"/>
                        </a:lnTo>
                        <a:lnTo>
                          <a:pt x="26" y="23"/>
                        </a:lnTo>
                        <a:lnTo>
                          <a:pt x="25" y="23"/>
                        </a:lnTo>
                        <a:lnTo>
                          <a:pt x="24" y="23"/>
                        </a:lnTo>
                        <a:lnTo>
                          <a:pt x="23" y="23"/>
                        </a:lnTo>
                        <a:lnTo>
                          <a:pt x="23" y="33"/>
                        </a:lnTo>
                        <a:lnTo>
                          <a:pt x="21" y="33"/>
                        </a:lnTo>
                        <a:lnTo>
                          <a:pt x="20" y="34"/>
                        </a:lnTo>
                        <a:lnTo>
                          <a:pt x="20" y="36"/>
                        </a:lnTo>
                        <a:lnTo>
                          <a:pt x="20" y="37"/>
                        </a:lnTo>
                        <a:lnTo>
                          <a:pt x="21" y="38"/>
                        </a:lnTo>
                        <a:lnTo>
                          <a:pt x="21" y="39"/>
                        </a:lnTo>
                        <a:lnTo>
                          <a:pt x="20" y="39"/>
                        </a:lnTo>
                        <a:lnTo>
                          <a:pt x="16" y="39"/>
                        </a:lnTo>
                        <a:lnTo>
                          <a:pt x="15" y="39"/>
                        </a:lnTo>
                        <a:lnTo>
                          <a:pt x="14" y="4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7" name="Freeform 2158">
                    <a:extLst>
                      <a:ext uri="{FF2B5EF4-FFF2-40B4-BE49-F238E27FC236}">
                        <a16:creationId xmlns:a16="http://schemas.microsoft.com/office/drawing/2014/main" xmlns="" id="{D6C74F38-B3A0-4D41-84DA-430C41BD3C69}"/>
                      </a:ext>
                    </a:extLst>
                  </p:cNvPr>
                  <p:cNvSpPr>
                    <a:spLocks/>
                  </p:cNvSpPr>
                  <p:nvPr/>
                </p:nvSpPr>
                <p:spPr bwMode="gray">
                  <a:xfrm>
                    <a:off x="5078415" y="2338664"/>
                    <a:ext cx="25587" cy="34485"/>
                  </a:xfrm>
                  <a:custGeom>
                    <a:avLst/>
                    <a:gdLst>
                      <a:gd name="T0" fmla="*/ 0 w 23"/>
                      <a:gd name="T1" fmla="*/ 2147483647 h 31"/>
                      <a:gd name="T2" fmla="*/ 0 w 23"/>
                      <a:gd name="T3" fmla="*/ 2147483647 h 31"/>
                      <a:gd name="T4" fmla="*/ 2147483647 w 23"/>
                      <a:gd name="T5" fmla="*/ 2147483647 h 31"/>
                      <a:gd name="T6" fmla="*/ 2147483647 w 23"/>
                      <a:gd name="T7" fmla="*/ 0 h 31"/>
                      <a:gd name="T8" fmla="*/ 2147483647 w 23"/>
                      <a:gd name="T9" fmla="*/ 0 h 31"/>
                      <a:gd name="T10" fmla="*/ 2147483647 w 23"/>
                      <a:gd name="T11" fmla="*/ 0 h 31"/>
                      <a:gd name="T12" fmla="*/ 2147483647 w 23"/>
                      <a:gd name="T13" fmla="*/ 2147483647 h 31"/>
                      <a:gd name="T14" fmla="*/ 2147483647 w 23"/>
                      <a:gd name="T15" fmla="*/ 2147483647 h 31"/>
                      <a:gd name="T16" fmla="*/ 2147483647 w 23"/>
                      <a:gd name="T17" fmla="*/ 2147483647 h 31"/>
                      <a:gd name="T18" fmla="*/ 2147483647 w 23"/>
                      <a:gd name="T19" fmla="*/ 2147483647 h 31"/>
                      <a:gd name="T20" fmla="*/ 2147483647 w 23"/>
                      <a:gd name="T21" fmla="*/ 2147483647 h 31"/>
                      <a:gd name="T22" fmla="*/ 2147483647 w 23"/>
                      <a:gd name="T23" fmla="*/ 0 h 31"/>
                      <a:gd name="T24" fmla="*/ 2147483647 w 23"/>
                      <a:gd name="T25" fmla="*/ 0 h 31"/>
                      <a:gd name="T26" fmla="*/ 2147483647 w 23"/>
                      <a:gd name="T27" fmla="*/ 2147483647 h 31"/>
                      <a:gd name="T28" fmla="*/ 2147483647 w 23"/>
                      <a:gd name="T29" fmla="*/ 2147483647 h 31"/>
                      <a:gd name="T30" fmla="*/ 2147483647 w 23"/>
                      <a:gd name="T31" fmla="*/ 2147483647 h 31"/>
                      <a:gd name="T32" fmla="*/ 2147483647 w 23"/>
                      <a:gd name="T33" fmla="*/ 2147483647 h 31"/>
                      <a:gd name="T34" fmla="*/ 2147483647 w 23"/>
                      <a:gd name="T35" fmla="*/ 2147483647 h 31"/>
                      <a:gd name="T36" fmla="*/ 2147483647 w 23"/>
                      <a:gd name="T37" fmla="*/ 2147483647 h 31"/>
                      <a:gd name="T38" fmla="*/ 2147483647 w 23"/>
                      <a:gd name="T39" fmla="*/ 2147483647 h 31"/>
                      <a:gd name="T40" fmla="*/ 2147483647 w 23"/>
                      <a:gd name="T41" fmla="*/ 2147483647 h 31"/>
                      <a:gd name="T42" fmla="*/ 2147483647 w 23"/>
                      <a:gd name="T43" fmla="*/ 2147483647 h 31"/>
                      <a:gd name="T44" fmla="*/ 2147483647 w 23"/>
                      <a:gd name="T45" fmla="*/ 2147483647 h 31"/>
                      <a:gd name="T46" fmla="*/ 2147483647 w 23"/>
                      <a:gd name="T47" fmla="*/ 2147483647 h 31"/>
                      <a:gd name="T48" fmla="*/ 2147483647 w 23"/>
                      <a:gd name="T49" fmla="*/ 2147483647 h 31"/>
                      <a:gd name="T50" fmla="*/ 2147483647 w 23"/>
                      <a:gd name="T51" fmla="*/ 2147483647 h 31"/>
                      <a:gd name="T52" fmla="*/ 2147483647 w 23"/>
                      <a:gd name="T53" fmla="*/ 2147483647 h 31"/>
                      <a:gd name="T54" fmla="*/ 2147483647 w 23"/>
                      <a:gd name="T55" fmla="*/ 2147483647 h 31"/>
                      <a:gd name="T56" fmla="*/ 2147483647 w 23"/>
                      <a:gd name="T57" fmla="*/ 2147483647 h 31"/>
                      <a:gd name="T58" fmla="*/ 2147483647 w 23"/>
                      <a:gd name="T59" fmla="*/ 2147483647 h 31"/>
                      <a:gd name="T60" fmla="*/ 2147483647 w 23"/>
                      <a:gd name="T61" fmla="*/ 2147483647 h 31"/>
                      <a:gd name="T62" fmla="*/ 2147483647 w 23"/>
                      <a:gd name="T63" fmla="*/ 2147483647 h 31"/>
                      <a:gd name="T64" fmla="*/ 2147483647 w 23"/>
                      <a:gd name="T65" fmla="*/ 2147483647 h 31"/>
                      <a:gd name="T66" fmla="*/ 2147483647 w 23"/>
                      <a:gd name="T67" fmla="*/ 2147483647 h 31"/>
                      <a:gd name="T68" fmla="*/ 2147483647 w 23"/>
                      <a:gd name="T69" fmla="*/ 2147483647 h 31"/>
                      <a:gd name="T70" fmla="*/ 2147483647 w 23"/>
                      <a:gd name="T71" fmla="*/ 2147483647 h 31"/>
                      <a:gd name="T72" fmla="*/ 2147483647 w 23"/>
                      <a:gd name="T73" fmla="*/ 2147483647 h 31"/>
                      <a:gd name="T74" fmla="*/ 2147483647 w 23"/>
                      <a:gd name="T75" fmla="*/ 2147483647 h 31"/>
                      <a:gd name="T76" fmla="*/ 2147483647 w 23"/>
                      <a:gd name="T77" fmla="*/ 2147483647 h 31"/>
                      <a:gd name="T78" fmla="*/ 2147483647 w 23"/>
                      <a:gd name="T79" fmla="*/ 2147483647 h 31"/>
                      <a:gd name="T80" fmla="*/ 2147483647 w 23"/>
                      <a:gd name="T81" fmla="*/ 2147483647 h 31"/>
                      <a:gd name="T82" fmla="*/ 0 w 23"/>
                      <a:gd name="T83" fmla="*/ 2147483647 h 3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3" h="31">
                        <a:moveTo>
                          <a:pt x="0" y="3"/>
                        </a:moveTo>
                        <a:lnTo>
                          <a:pt x="0" y="3"/>
                        </a:lnTo>
                        <a:lnTo>
                          <a:pt x="1" y="1"/>
                        </a:lnTo>
                        <a:lnTo>
                          <a:pt x="2" y="0"/>
                        </a:lnTo>
                        <a:lnTo>
                          <a:pt x="4" y="0"/>
                        </a:lnTo>
                        <a:lnTo>
                          <a:pt x="5" y="1"/>
                        </a:lnTo>
                        <a:lnTo>
                          <a:pt x="7" y="3"/>
                        </a:lnTo>
                        <a:lnTo>
                          <a:pt x="9" y="3"/>
                        </a:lnTo>
                        <a:lnTo>
                          <a:pt x="10" y="1"/>
                        </a:lnTo>
                        <a:lnTo>
                          <a:pt x="11" y="0"/>
                        </a:lnTo>
                        <a:lnTo>
                          <a:pt x="13" y="0"/>
                        </a:lnTo>
                        <a:lnTo>
                          <a:pt x="13" y="3"/>
                        </a:lnTo>
                        <a:lnTo>
                          <a:pt x="16" y="6"/>
                        </a:lnTo>
                        <a:lnTo>
                          <a:pt x="17" y="8"/>
                        </a:lnTo>
                        <a:lnTo>
                          <a:pt x="18" y="11"/>
                        </a:lnTo>
                        <a:lnTo>
                          <a:pt x="19" y="12"/>
                        </a:lnTo>
                        <a:lnTo>
                          <a:pt x="20" y="15"/>
                        </a:lnTo>
                        <a:lnTo>
                          <a:pt x="21" y="17"/>
                        </a:lnTo>
                        <a:lnTo>
                          <a:pt x="22" y="18"/>
                        </a:lnTo>
                        <a:lnTo>
                          <a:pt x="23" y="19"/>
                        </a:lnTo>
                        <a:lnTo>
                          <a:pt x="19" y="19"/>
                        </a:lnTo>
                        <a:lnTo>
                          <a:pt x="19" y="23"/>
                        </a:lnTo>
                        <a:lnTo>
                          <a:pt x="19" y="27"/>
                        </a:lnTo>
                        <a:lnTo>
                          <a:pt x="19" y="31"/>
                        </a:lnTo>
                        <a:lnTo>
                          <a:pt x="18" y="31"/>
                        </a:lnTo>
                        <a:lnTo>
                          <a:pt x="17" y="31"/>
                        </a:lnTo>
                        <a:lnTo>
                          <a:pt x="16" y="31"/>
                        </a:lnTo>
                        <a:lnTo>
                          <a:pt x="15" y="31"/>
                        </a:lnTo>
                        <a:lnTo>
                          <a:pt x="13" y="31"/>
                        </a:lnTo>
                        <a:lnTo>
                          <a:pt x="11" y="31"/>
                        </a:lnTo>
                        <a:lnTo>
                          <a:pt x="10" y="31"/>
                        </a:lnTo>
                        <a:lnTo>
                          <a:pt x="11" y="25"/>
                        </a:lnTo>
                        <a:lnTo>
                          <a:pt x="12" y="21"/>
                        </a:lnTo>
                        <a:lnTo>
                          <a:pt x="13" y="15"/>
                        </a:lnTo>
                        <a:lnTo>
                          <a:pt x="13" y="10"/>
                        </a:lnTo>
                        <a:lnTo>
                          <a:pt x="10" y="7"/>
                        </a:lnTo>
                        <a:lnTo>
                          <a:pt x="6" y="5"/>
                        </a:lnTo>
                        <a:lnTo>
                          <a:pt x="2" y="4"/>
                        </a:lnTo>
                        <a:lnTo>
                          <a:pt x="0"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8" name="Freeform 2160">
                    <a:extLst>
                      <a:ext uri="{FF2B5EF4-FFF2-40B4-BE49-F238E27FC236}">
                        <a16:creationId xmlns:a16="http://schemas.microsoft.com/office/drawing/2014/main" xmlns="" id="{A180BC9D-C4BB-4AC7-AAB7-B8EFE8667065}"/>
                      </a:ext>
                    </a:extLst>
                  </p:cNvPr>
                  <p:cNvSpPr>
                    <a:spLocks/>
                  </p:cNvSpPr>
                  <p:nvPr/>
                </p:nvSpPr>
                <p:spPr bwMode="gray">
                  <a:xfrm>
                    <a:off x="5082865" y="2420984"/>
                    <a:ext cx="31150" cy="74533"/>
                  </a:xfrm>
                  <a:custGeom>
                    <a:avLst/>
                    <a:gdLst>
                      <a:gd name="T0" fmla="*/ 2147483647 w 28"/>
                      <a:gd name="T1" fmla="*/ 2147483647 h 67"/>
                      <a:gd name="T2" fmla="*/ 2147483647 w 28"/>
                      <a:gd name="T3" fmla="*/ 2147483647 h 67"/>
                      <a:gd name="T4" fmla="*/ 2147483647 w 28"/>
                      <a:gd name="T5" fmla="*/ 2147483647 h 67"/>
                      <a:gd name="T6" fmla="*/ 2147483647 w 28"/>
                      <a:gd name="T7" fmla="*/ 2147483647 h 67"/>
                      <a:gd name="T8" fmla="*/ 2147483647 w 28"/>
                      <a:gd name="T9" fmla="*/ 2147483647 h 67"/>
                      <a:gd name="T10" fmla="*/ 2147483647 w 28"/>
                      <a:gd name="T11" fmla="*/ 2147483647 h 67"/>
                      <a:gd name="T12" fmla="*/ 2147483647 w 28"/>
                      <a:gd name="T13" fmla="*/ 2147483647 h 67"/>
                      <a:gd name="T14" fmla="*/ 2147483647 w 28"/>
                      <a:gd name="T15" fmla="*/ 2147483647 h 67"/>
                      <a:gd name="T16" fmla="*/ 2147483647 w 28"/>
                      <a:gd name="T17" fmla="*/ 2147483647 h 67"/>
                      <a:gd name="T18" fmla="*/ 2147483647 w 28"/>
                      <a:gd name="T19" fmla="*/ 2147483647 h 67"/>
                      <a:gd name="T20" fmla="*/ 2147483647 w 28"/>
                      <a:gd name="T21" fmla="*/ 2147483647 h 67"/>
                      <a:gd name="T22" fmla="*/ 2147483647 w 28"/>
                      <a:gd name="T23" fmla="*/ 2147483647 h 67"/>
                      <a:gd name="T24" fmla="*/ 0 w 28"/>
                      <a:gd name="T25" fmla="*/ 2147483647 h 67"/>
                      <a:gd name="T26" fmla="*/ 2147483647 w 28"/>
                      <a:gd name="T27" fmla="*/ 2147483647 h 67"/>
                      <a:gd name="T28" fmla="*/ 2147483647 w 28"/>
                      <a:gd name="T29" fmla="*/ 2147483647 h 67"/>
                      <a:gd name="T30" fmla="*/ 2147483647 w 28"/>
                      <a:gd name="T31" fmla="*/ 2147483647 h 67"/>
                      <a:gd name="T32" fmla="*/ 2147483647 w 28"/>
                      <a:gd name="T33" fmla="*/ 2147483647 h 67"/>
                      <a:gd name="T34" fmla="*/ 2147483647 w 28"/>
                      <a:gd name="T35" fmla="*/ 2147483647 h 67"/>
                      <a:gd name="T36" fmla="*/ 2147483647 w 28"/>
                      <a:gd name="T37" fmla="*/ 2147483647 h 67"/>
                      <a:gd name="T38" fmla="*/ 2147483647 w 28"/>
                      <a:gd name="T39" fmla="*/ 2147483647 h 67"/>
                      <a:gd name="T40" fmla="*/ 2147483647 w 28"/>
                      <a:gd name="T41" fmla="*/ 2147483647 h 67"/>
                      <a:gd name="T42" fmla="*/ 2147483647 w 28"/>
                      <a:gd name="T43" fmla="*/ 2147483647 h 67"/>
                      <a:gd name="T44" fmla="*/ 2147483647 w 28"/>
                      <a:gd name="T45" fmla="*/ 2147483647 h 67"/>
                      <a:gd name="T46" fmla="*/ 2147483647 w 28"/>
                      <a:gd name="T47" fmla="*/ 2147483647 h 67"/>
                      <a:gd name="T48" fmla="*/ 2147483647 w 28"/>
                      <a:gd name="T49" fmla="*/ 2147483647 h 67"/>
                      <a:gd name="T50" fmla="*/ 2147483647 w 28"/>
                      <a:gd name="T51" fmla="*/ 2147483647 h 67"/>
                      <a:gd name="T52" fmla="*/ 2147483647 w 28"/>
                      <a:gd name="T53" fmla="*/ 2147483647 h 67"/>
                      <a:gd name="T54" fmla="*/ 2147483647 w 28"/>
                      <a:gd name="T55" fmla="*/ 2147483647 h 67"/>
                      <a:gd name="T56" fmla="*/ 2147483647 w 28"/>
                      <a:gd name="T57" fmla="*/ 2147483647 h 67"/>
                      <a:gd name="T58" fmla="*/ 2147483647 w 28"/>
                      <a:gd name="T59" fmla="*/ 2147483647 h 67"/>
                      <a:gd name="T60" fmla="*/ 2147483647 w 28"/>
                      <a:gd name="T61" fmla="*/ 2147483647 h 67"/>
                      <a:gd name="T62" fmla="*/ 2147483647 w 28"/>
                      <a:gd name="T63" fmla="*/ 2147483647 h 67"/>
                      <a:gd name="T64" fmla="*/ 2147483647 w 28"/>
                      <a:gd name="T65" fmla="*/ 2147483647 h 67"/>
                      <a:gd name="T66" fmla="*/ 2147483647 w 28"/>
                      <a:gd name="T67" fmla="*/ 2147483647 h 67"/>
                      <a:gd name="T68" fmla="*/ 2147483647 w 28"/>
                      <a:gd name="T69" fmla="*/ 2147483647 h 67"/>
                      <a:gd name="T70" fmla="*/ 2147483647 w 28"/>
                      <a:gd name="T71" fmla="*/ 2147483647 h 67"/>
                      <a:gd name="T72" fmla="*/ 2147483647 w 28"/>
                      <a:gd name="T73" fmla="*/ 2147483647 h 67"/>
                      <a:gd name="T74" fmla="*/ 2147483647 w 28"/>
                      <a:gd name="T75" fmla="*/ 2147483647 h 67"/>
                      <a:gd name="T76" fmla="*/ 2147483647 w 28"/>
                      <a:gd name="T77" fmla="*/ 2147483647 h 67"/>
                      <a:gd name="T78" fmla="*/ 2147483647 w 28"/>
                      <a:gd name="T79" fmla="*/ 2147483647 h 67"/>
                      <a:gd name="T80" fmla="*/ 2147483647 w 28"/>
                      <a:gd name="T81" fmla="*/ 2147483647 h 67"/>
                      <a:gd name="T82" fmla="*/ 2147483647 w 28"/>
                      <a:gd name="T83" fmla="*/ 2147483647 h 67"/>
                      <a:gd name="T84" fmla="*/ 2147483647 w 28"/>
                      <a:gd name="T85" fmla="*/ 2147483647 h 67"/>
                      <a:gd name="T86" fmla="*/ 2147483647 w 28"/>
                      <a:gd name="T87" fmla="*/ 2147483647 h 67"/>
                      <a:gd name="T88" fmla="*/ 2147483647 w 28"/>
                      <a:gd name="T89" fmla="*/ 2147483647 h 67"/>
                      <a:gd name="T90" fmla="*/ 2147483647 w 28"/>
                      <a:gd name="T91" fmla="*/ 2147483647 h 67"/>
                      <a:gd name="T92" fmla="*/ 2147483647 w 28"/>
                      <a:gd name="T93" fmla="*/ 2147483647 h 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8" h="67">
                        <a:moveTo>
                          <a:pt x="28" y="64"/>
                        </a:moveTo>
                        <a:lnTo>
                          <a:pt x="25" y="63"/>
                        </a:lnTo>
                        <a:lnTo>
                          <a:pt x="23" y="62"/>
                        </a:lnTo>
                        <a:lnTo>
                          <a:pt x="22" y="61"/>
                        </a:lnTo>
                        <a:lnTo>
                          <a:pt x="21" y="61"/>
                        </a:lnTo>
                        <a:lnTo>
                          <a:pt x="20" y="61"/>
                        </a:lnTo>
                        <a:lnTo>
                          <a:pt x="19" y="61"/>
                        </a:lnTo>
                        <a:lnTo>
                          <a:pt x="17" y="61"/>
                        </a:lnTo>
                        <a:lnTo>
                          <a:pt x="18" y="63"/>
                        </a:lnTo>
                        <a:lnTo>
                          <a:pt x="18" y="65"/>
                        </a:lnTo>
                        <a:lnTo>
                          <a:pt x="19" y="67"/>
                        </a:lnTo>
                        <a:lnTo>
                          <a:pt x="15" y="67"/>
                        </a:lnTo>
                        <a:lnTo>
                          <a:pt x="12" y="62"/>
                        </a:lnTo>
                        <a:lnTo>
                          <a:pt x="8" y="57"/>
                        </a:lnTo>
                        <a:lnTo>
                          <a:pt x="5" y="52"/>
                        </a:lnTo>
                        <a:lnTo>
                          <a:pt x="3" y="48"/>
                        </a:lnTo>
                        <a:lnTo>
                          <a:pt x="2" y="44"/>
                        </a:lnTo>
                        <a:lnTo>
                          <a:pt x="2" y="40"/>
                        </a:lnTo>
                        <a:lnTo>
                          <a:pt x="3" y="37"/>
                        </a:lnTo>
                        <a:lnTo>
                          <a:pt x="3" y="35"/>
                        </a:lnTo>
                        <a:lnTo>
                          <a:pt x="3" y="33"/>
                        </a:lnTo>
                        <a:lnTo>
                          <a:pt x="1" y="31"/>
                        </a:lnTo>
                        <a:lnTo>
                          <a:pt x="0" y="28"/>
                        </a:lnTo>
                        <a:lnTo>
                          <a:pt x="0" y="26"/>
                        </a:lnTo>
                        <a:lnTo>
                          <a:pt x="1" y="26"/>
                        </a:lnTo>
                        <a:lnTo>
                          <a:pt x="3" y="25"/>
                        </a:lnTo>
                        <a:lnTo>
                          <a:pt x="5" y="24"/>
                        </a:lnTo>
                        <a:lnTo>
                          <a:pt x="6" y="22"/>
                        </a:lnTo>
                        <a:lnTo>
                          <a:pt x="7" y="21"/>
                        </a:lnTo>
                        <a:lnTo>
                          <a:pt x="7" y="18"/>
                        </a:lnTo>
                        <a:lnTo>
                          <a:pt x="7" y="16"/>
                        </a:lnTo>
                        <a:lnTo>
                          <a:pt x="9" y="13"/>
                        </a:lnTo>
                        <a:lnTo>
                          <a:pt x="9" y="12"/>
                        </a:lnTo>
                        <a:lnTo>
                          <a:pt x="9" y="10"/>
                        </a:lnTo>
                        <a:lnTo>
                          <a:pt x="11" y="7"/>
                        </a:lnTo>
                        <a:lnTo>
                          <a:pt x="12" y="5"/>
                        </a:lnTo>
                        <a:lnTo>
                          <a:pt x="12" y="0"/>
                        </a:lnTo>
                        <a:lnTo>
                          <a:pt x="14" y="2"/>
                        </a:lnTo>
                        <a:lnTo>
                          <a:pt x="15" y="5"/>
                        </a:lnTo>
                        <a:lnTo>
                          <a:pt x="17" y="9"/>
                        </a:lnTo>
                        <a:lnTo>
                          <a:pt x="19" y="13"/>
                        </a:lnTo>
                        <a:lnTo>
                          <a:pt x="17" y="13"/>
                        </a:lnTo>
                        <a:lnTo>
                          <a:pt x="15" y="13"/>
                        </a:lnTo>
                        <a:lnTo>
                          <a:pt x="14" y="13"/>
                        </a:lnTo>
                        <a:lnTo>
                          <a:pt x="12" y="13"/>
                        </a:lnTo>
                        <a:lnTo>
                          <a:pt x="12" y="15"/>
                        </a:lnTo>
                        <a:lnTo>
                          <a:pt x="10" y="18"/>
                        </a:lnTo>
                        <a:lnTo>
                          <a:pt x="9" y="21"/>
                        </a:lnTo>
                        <a:lnTo>
                          <a:pt x="9" y="22"/>
                        </a:lnTo>
                        <a:lnTo>
                          <a:pt x="10" y="23"/>
                        </a:lnTo>
                        <a:lnTo>
                          <a:pt x="12" y="24"/>
                        </a:lnTo>
                        <a:lnTo>
                          <a:pt x="14" y="27"/>
                        </a:lnTo>
                        <a:lnTo>
                          <a:pt x="15" y="29"/>
                        </a:lnTo>
                        <a:lnTo>
                          <a:pt x="15" y="30"/>
                        </a:lnTo>
                        <a:lnTo>
                          <a:pt x="15" y="31"/>
                        </a:lnTo>
                        <a:lnTo>
                          <a:pt x="15" y="35"/>
                        </a:lnTo>
                        <a:lnTo>
                          <a:pt x="16" y="35"/>
                        </a:lnTo>
                        <a:lnTo>
                          <a:pt x="17" y="35"/>
                        </a:lnTo>
                        <a:lnTo>
                          <a:pt x="18" y="36"/>
                        </a:lnTo>
                        <a:lnTo>
                          <a:pt x="19" y="38"/>
                        </a:lnTo>
                        <a:lnTo>
                          <a:pt x="18" y="38"/>
                        </a:lnTo>
                        <a:lnTo>
                          <a:pt x="17" y="39"/>
                        </a:lnTo>
                        <a:lnTo>
                          <a:pt x="15" y="40"/>
                        </a:lnTo>
                        <a:lnTo>
                          <a:pt x="12" y="41"/>
                        </a:lnTo>
                        <a:lnTo>
                          <a:pt x="11" y="44"/>
                        </a:lnTo>
                        <a:lnTo>
                          <a:pt x="13" y="46"/>
                        </a:lnTo>
                        <a:lnTo>
                          <a:pt x="14" y="48"/>
                        </a:lnTo>
                        <a:lnTo>
                          <a:pt x="15" y="48"/>
                        </a:lnTo>
                        <a:lnTo>
                          <a:pt x="15" y="50"/>
                        </a:lnTo>
                        <a:lnTo>
                          <a:pt x="14" y="50"/>
                        </a:lnTo>
                        <a:lnTo>
                          <a:pt x="13" y="51"/>
                        </a:lnTo>
                        <a:lnTo>
                          <a:pt x="12" y="55"/>
                        </a:lnTo>
                        <a:lnTo>
                          <a:pt x="15" y="57"/>
                        </a:lnTo>
                        <a:lnTo>
                          <a:pt x="17" y="57"/>
                        </a:lnTo>
                        <a:lnTo>
                          <a:pt x="19" y="59"/>
                        </a:lnTo>
                        <a:lnTo>
                          <a:pt x="21" y="61"/>
                        </a:lnTo>
                        <a:lnTo>
                          <a:pt x="21" y="60"/>
                        </a:lnTo>
                        <a:lnTo>
                          <a:pt x="21" y="59"/>
                        </a:lnTo>
                        <a:lnTo>
                          <a:pt x="21" y="58"/>
                        </a:lnTo>
                        <a:lnTo>
                          <a:pt x="21" y="57"/>
                        </a:lnTo>
                        <a:lnTo>
                          <a:pt x="22" y="57"/>
                        </a:lnTo>
                        <a:lnTo>
                          <a:pt x="23" y="57"/>
                        </a:lnTo>
                        <a:lnTo>
                          <a:pt x="24" y="57"/>
                        </a:lnTo>
                        <a:lnTo>
                          <a:pt x="25" y="57"/>
                        </a:lnTo>
                        <a:lnTo>
                          <a:pt x="25" y="58"/>
                        </a:lnTo>
                        <a:lnTo>
                          <a:pt x="26" y="59"/>
                        </a:lnTo>
                        <a:lnTo>
                          <a:pt x="27" y="60"/>
                        </a:lnTo>
                        <a:lnTo>
                          <a:pt x="28" y="61"/>
                        </a:lnTo>
                        <a:lnTo>
                          <a:pt x="28" y="63"/>
                        </a:lnTo>
                        <a:lnTo>
                          <a:pt x="28" y="6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79" name="Freeform 2162">
                    <a:extLst>
                      <a:ext uri="{FF2B5EF4-FFF2-40B4-BE49-F238E27FC236}">
                        <a16:creationId xmlns:a16="http://schemas.microsoft.com/office/drawing/2014/main" xmlns="" id="{714E21AF-0D5D-4559-A418-EA163052BE2A}"/>
                      </a:ext>
                    </a:extLst>
                  </p:cNvPr>
                  <p:cNvSpPr>
                    <a:spLocks/>
                  </p:cNvSpPr>
                  <p:nvPr/>
                </p:nvSpPr>
                <p:spPr bwMode="gray">
                  <a:xfrm>
                    <a:off x="5109566" y="2386498"/>
                    <a:ext cx="5563" cy="7787"/>
                  </a:xfrm>
                  <a:custGeom>
                    <a:avLst/>
                    <a:gdLst>
                      <a:gd name="T0" fmla="*/ 2147483647 w 5"/>
                      <a:gd name="T1" fmla="*/ 2147483647 h 7"/>
                      <a:gd name="T2" fmla="*/ 2147483647 w 5"/>
                      <a:gd name="T3" fmla="*/ 2147483647 h 7"/>
                      <a:gd name="T4" fmla="*/ 0 w 5"/>
                      <a:gd name="T5" fmla="*/ 2147483647 h 7"/>
                      <a:gd name="T6" fmla="*/ 0 w 5"/>
                      <a:gd name="T7" fmla="*/ 2147483647 h 7"/>
                      <a:gd name="T8" fmla="*/ 2147483647 w 5"/>
                      <a:gd name="T9" fmla="*/ 2147483647 h 7"/>
                      <a:gd name="T10" fmla="*/ 2147483647 w 5"/>
                      <a:gd name="T11" fmla="*/ 2147483647 h 7"/>
                      <a:gd name="T12" fmla="*/ 2147483647 w 5"/>
                      <a:gd name="T13" fmla="*/ 2147483647 h 7"/>
                      <a:gd name="T14" fmla="*/ 2147483647 w 5"/>
                      <a:gd name="T15" fmla="*/ 2147483647 h 7"/>
                      <a:gd name="T16" fmla="*/ 2147483647 w 5"/>
                      <a:gd name="T17" fmla="*/ 2147483647 h 7"/>
                      <a:gd name="T18" fmla="*/ 2147483647 w 5"/>
                      <a:gd name="T19" fmla="*/ 0 h 7"/>
                      <a:gd name="T20" fmla="*/ 2147483647 w 5"/>
                      <a:gd name="T21" fmla="*/ 2147483647 h 7"/>
                      <a:gd name="T22" fmla="*/ 2147483647 w 5"/>
                      <a:gd name="T23" fmla="*/ 2147483647 h 7"/>
                      <a:gd name="T24" fmla="*/ 2147483647 w 5"/>
                      <a:gd name="T25" fmla="*/ 2147483647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7">
                        <a:moveTo>
                          <a:pt x="4" y="5"/>
                        </a:moveTo>
                        <a:lnTo>
                          <a:pt x="1" y="7"/>
                        </a:lnTo>
                        <a:lnTo>
                          <a:pt x="0" y="6"/>
                        </a:lnTo>
                        <a:lnTo>
                          <a:pt x="1" y="5"/>
                        </a:lnTo>
                        <a:lnTo>
                          <a:pt x="1" y="3"/>
                        </a:lnTo>
                        <a:lnTo>
                          <a:pt x="1" y="2"/>
                        </a:lnTo>
                        <a:lnTo>
                          <a:pt x="2" y="2"/>
                        </a:lnTo>
                        <a:lnTo>
                          <a:pt x="4" y="2"/>
                        </a:lnTo>
                        <a:lnTo>
                          <a:pt x="5" y="0"/>
                        </a:lnTo>
                        <a:lnTo>
                          <a:pt x="5" y="2"/>
                        </a:lnTo>
                        <a:lnTo>
                          <a:pt x="4" y="3"/>
                        </a:lnTo>
                        <a:lnTo>
                          <a:pt x="4" y="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0" name="Freeform 2164">
                    <a:extLst>
                      <a:ext uri="{FF2B5EF4-FFF2-40B4-BE49-F238E27FC236}">
                        <a16:creationId xmlns:a16="http://schemas.microsoft.com/office/drawing/2014/main" xmlns="" id="{C02AABE7-0C68-43AB-8C03-55ED99F32A82}"/>
                      </a:ext>
                    </a:extLst>
                  </p:cNvPr>
                  <p:cNvSpPr>
                    <a:spLocks/>
                  </p:cNvSpPr>
                  <p:nvPr/>
                </p:nvSpPr>
                <p:spPr bwMode="gray">
                  <a:xfrm>
                    <a:off x="5114014" y="2352014"/>
                    <a:ext cx="20025" cy="11125"/>
                  </a:xfrm>
                  <a:custGeom>
                    <a:avLst/>
                    <a:gdLst>
                      <a:gd name="T0" fmla="*/ 2147483647 w 18"/>
                      <a:gd name="T1" fmla="*/ 2147483647 h 10"/>
                      <a:gd name="T2" fmla="*/ 2147483647 w 18"/>
                      <a:gd name="T3" fmla="*/ 2147483647 h 10"/>
                      <a:gd name="T4" fmla="*/ 2147483647 w 18"/>
                      <a:gd name="T5" fmla="*/ 2147483647 h 10"/>
                      <a:gd name="T6" fmla="*/ 2147483647 w 18"/>
                      <a:gd name="T7" fmla="*/ 2147483647 h 10"/>
                      <a:gd name="T8" fmla="*/ 2147483647 w 18"/>
                      <a:gd name="T9" fmla="*/ 2147483647 h 10"/>
                      <a:gd name="T10" fmla="*/ 2147483647 w 18"/>
                      <a:gd name="T11" fmla="*/ 2147483647 h 10"/>
                      <a:gd name="T12" fmla="*/ 2147483647 w 18"/>
                      <a:gd name="T13" fmla="*/ 2147483647 h 10"/>
                      <a:gd name="T14" fmla="*/ 2147483647 w 18"/>
                      <a:gd name="T15" fmla="*/ 2147483647 h 10"/>
                      <a:gd name="T16" fmla="*/ 0 w 18"/>
                      <a:gd name="T17" fmla="*/ 2147483647 h 10"/>
                      <a:gd name="T18" fmla="*/ 0 w 18"/>
                      <a:gd name="T19" fmla="*/ 2147483647 h 10"/>
                      <a:gd name="T20" fmla="*/ 0 w 18"/>
                      <a:gd name="T21" fmla="*/ 2147483647 h 10"/>
                      <a:gd name="T22" fmla="*/ 2147483647 w 18"/>
                      <a:gd name="T23" fmla="*/ 2147483647 h 10"/>
                      <a:gd name="T24" fmla="*/ 2147483647 w 18"/>
                      <a:gd name="T25" fmla="*/ 2147483647 h 10"/>
                      <a:gd name="T26" fmla="*/ 2147483647 w 18"/>
                      <a:gd name="T27" fmla="*/ 2147483647 h 10"/>
                      <a:gd name="T28" fmla="*/ 2147483647 w 18"/>
                      <a:gd name="T29" fmla="*/ 2147483647 h 10"/>
                      <a:gd name="T30" fmla="*/ 2147483647 w 18"/>
                      <a:gd name="T31" fmla="*/ 2147483647 h 10"/>
                      <a:gd name="T32" fmla="*/ 2147483647 w 18"/>
                      <a:gd name="T33" fmla="*/ 2147483647 h 10"/>
                      <a:gd name="T34" fmla="*/ 2147483647 w 18"/>
                      <a:gd name="T35" fmla="*/ 0 h 10"/>
                      <a:gd name="T36" fmla="*/ 2147483647 w 18"/>
                      <a:gd name="T37" fmla="*/ 0 h 10"/>
                      <a:gd name="T38" fmla="*/ 2147483647 w 18"/>
                      <a:gd name="T39" fmla="*/ 0 h 10"/>
                      <a:gd name="T40" fmla="*/ 2147483647 w 18"/>
                      <a:gd name="T41" fmla="*/ 0 h 10"/>
                      <a:gd name="T42" fmla="*/ 2147483647 w 18"/>
                      <a:gd name="T43" fmla="*/ 0 h 10"/>
                      <a:gd name="T44" fmla="*/ 2147483647 w 18"/>
                      <a:gd name="T45" fmla="*/ 0 h 10"/>
                      <a:gd name="T46" fmla="*/ 2147483647 w 18"/>
                      <a:gd name="T47" fmla="*/ 2147483647 h 10"/>
                      <a:gd name="T48" fmla="*/ 2147483647 w 18"/>
                      <a:gd name="T49" fmla="*/ 2147483647 h 10"/>
                      <a:gd name="T50" fmla="*/ 2147483647 w 18"/>
                      <a:gd name="T51" fmla="*/ 2147483647 h 10"/>
                      <a:gd name="T52" fmla="*/ 2147483647 w 18"/>
                      <a:gd name="T53" fmla="*/ 2147483647 h 10"/>
                      <a:gd name="T54" fmla="*/ 2147483647 w 18"/>
                      <a:gd name="T55" fmla="*/ 2147483647 h 10"/>
                      <a:gd name="T56" fmla="*/ 2147483647 w 18"/>
                      <a:gd name="T57" fmla="*/ 2147483647 h 10"/>
                      <a:gd name="T58" fmla="*/ 2147483647 w 18"/>
                      <a:gd name="T59" fmla="*/ 0 h 10"/>
                      <a:gd name="T60" fmla="*/ 2147483647 w 18"/>
                      <a:gd name="T61" fmla="*/ 2147483647 h 10"/>
                      <a:gd name="T62" fmla="*/ 2147483647 w 18"/>
                      <a:gd name="T63" fmla="*/ 2147483647 h 10"/>
                      <a:gd name="T64" fmla="*/ 2147483647 w 18"/>
                      <a:gd name="T65" fmla="*/ 2147483647 h 10"/>
                      <a:gd name="T66" fmla="*/ 2147483647 w 18"/>
                      <a:gd name="T67" fmla="*/ 2147483647 h 10"/>
                      <a:gd name="T68" fmla="*/ 2147483647 w 18"/>
                      <a:gd name="T69" fmla="*/ 2147483647 h 10"/>
                      <a:gd name="T70" fmla="*/ 2147483647 w 18"/>
                      <a:gd name="T71" fmla="*/ 2147483647 h 10"/>
                      <a:gd name="T72" fmla="*/ 2147483647 w 18"/>
                      <a:gd name="T73" fmla="*/ 2147483647 h 10"/>
                      <a:gd name="T74" fmla="*/ 2147483647 w 18"/>
                      <a:gd name="T75" fmla="*/ 0 h 10"/>
                      <a:gd name="T76" fmla="*/ 2147483647 w 18"/>
                      <a:gd name="T77" fmla="*/ 2147483647 h 10"/>
                      <a:gd name="T78" fmla="*/ 2147483647 w 18"/>
                      <a:gd name="T79" fmla="*/ 2147483647 h 10"/>
                      <a:gd name="T80" fmla="*/ 2147483647 w 18"/>
                      <a:gd name="T81" fmla="*/ 2147483647 h 10"/>
                      <a:gd name="T82" fmla="*/ 2147483647 w 18"/>
                      <a:gd name="T83" fmla="*/ 2147483647 h 10"/>
                      <a:gd name="T84" fmla="*/ 2147483647 w 18"/>
                      <a:gd name="T85" fmla="*/ 2147483647 h 10"/>
                      <a:gd name="T86" fmla="*/ 2147483647 w 18"/>
                      <a:gd name="T87" fmla="*/ 2147483647 h 10"/>
                      <a:gd name="T88" fmla="*/ 2147483647 w 18"/>
                      <a:gd name="T89" fmla="*/ 2147483647 h 10"/>
                      <a:gd name="T90" fmla="*/ 2147483647 w 18"/>
                      <a:gd name="T91" fmla="*/ 2147483647 h 10"/>
                      <a:gd name="T92" fmla="*/ 2147483647 w 18"/>
                      <a:gd name="T93" fmla="*/ 2147483647 h 10"/>
                      <a:gd name="T94" fmla="*/ 2147483647 w 18"/>
                      <a:gd name="T95" fmla="*/ 2147483647 h 10"/>
                      <a:gd name="T96" fmla="*/ 2147483647 w 18"/>
                      <a:gd name="T97" fmla="*/ 2147483647 h 10"/>
                      <a:gd name="T98" fmla="*/ 2147483647 w 18"/>
                      <a:gd name="T99" fmla="*/ 2147483647 h 10"/>
                      <a:gd name="T100" fmla="*/ 2147483647 w 18"/>
                      <a:gd name="T101" fmla="*/ 2147483647 h 10"/>
                      <a:gd name="T102" fmla="*/ 2147483647 w 18"/>
                      <a:gd name="T103" fmla="*/ 2147483647 h 10"/>
                      <a:gd name="T104" fmla="*/ 2147483647 w 18"/>
                      <a:gd name="T105" fmla="*/ 2147483647 h 10"/>
                      <a:gd name="T106" fmla="*/ 2147483647 w 18"/>
                      <a:gd name="T107" fmla="*/ 2147483647 h 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 h="10">
                        <a:moveTo>
                          <a:pt x="10" y="10"/>
                        </a:moveTo>
                        <a:lnTo>
                          <a:pt x="9" y="10"/>
                        </a:lnTo>
                        <a:lnTo>
                          <a:pt x="7" y="9"/>
                        </a:lnTo>
                        <a:lnTo>
                          <a:pt x="6" y="7"/>
                        </a:lnTo>
                        <a:lnTo>
                          <a:pt x="7" y="7"/>
                        </a:lnTo>
                        <a:lnTo>
                          <a:pt x="5" y="7"/>
                        </a:lnTo>
                        <a:lnTo>
                          <a:pt x="3" y="7"/>
                        </a:lnTo>
                        <a:lnTo>
                          <a:pt x="2" y="8"/>
                        </a:lnTo>
                        <a:lnTo>
                          <a:pt x="0" y="10"/>
                        </a:lnTo>
                        <a:lnTo>
                          <a:pt x="0" y="7"/>
                        </a:lnTo>
                        <a:lnTo>
                          <a:pt x="2" y="7"/>
                        </a:lnTo>
                        <a:lnTo>
                          <a:pt x="3" y="7"/>
                        </a:lnTo>
                        <a:lnTo>
                          <a:pt x="5" y="5"/>
                        </a:lnTo>
                        <a:lnTo>
                          <a:pt x="5" y="4"/>
                        </a:lnTo>
                        <a:lnTo>
                          <a:pt x="4" y="2"/>
                        </a:lnTo>
                        <a:lnTo>
                          <a:pt x="3" y="0"/>
                        </a:lnTo>
                        <a:lnTo>
                          <a:pt x="4" y="0"/>
                        </a:lnTo>
                        <a:lnTo>
                          <a:pt x="5" y="0"/>
                        </a:lnTo>
                        <a:lnTo>
                          <a:pt x="6" y="0"/>
                        </a:lnTo>
                        <a:lnTo>
                          <a:pt x="7" y="0"/>
                        </a:lnTo>
                        <a:lnTo>
                          <a:pt x="8" y="0"/>
                        </a:lnTo>
                        <a:lnTo>
                          <a:pt x="8" y="1"/>
                        </a:lnTo>
                        <a:lnTo>
                          <a:pt x="9" y="2"/>
                        </a:lnTo>
                        <a:lnTo>
                          <a:pt x="10" y="4"/>
                        </a:lnTo>
                        <a:lnTo>
                          <a:pt x="10" y="3"/>
                        </a:lnTo>
                        <a:lnTo>
                          <a:pt x="11" y="2"/>
                        </a:lnTo>
                        <a:lnTo>
                          <a:pt x="12" y="1"/>
                        </a:lnTo>
                        <a:lnTo>
                          <a:pt x="13" y="0"/>
                        </a:lnTo>
                        <a:lnTo>
                          <a:pt x="13" y="4"/>
                        </a:lnTo>
                        <a:lnTo>
                          <a:pt x="14" y="4"/>
                        </a:lnTo>
                        <a:lnTo>
                          <a:pt x="15" y="4"/>
                        </a:lnTo>
                        <a:lnTo>
                          <a:pt x="13" y="4"/>
                        </a:lnTo>
                        <a:lnTo>
                          <a:pt x="15" y="2"/>
                        </a:lnTo>
                        <a:lnTo>
                          <a:pt x="16" y="1"/>
                        </a:lnTo>
                        <a:lnTo>
                          <a:pt x="17" y="0"/>
                        </a:lnTo>
                        <a:lnTo>
                          <a:pt x="17" y="2"/>
                        </a:lnTo>
                        <a:lnTo>
                          <a:pt x="17" y="4"/>
                        </a:lnTo>
                        <a:lnTo>
                          <a:pt x="17" y="5"/>
                        </a:lnTo>
                        <a:lnTo>
                          <a:pt x="17" y="7"/>
                        </a:lnTo>
                        <a:lnTo>
                          <a:pt x="18" y="6"/>
                        </a:lnTo>
                        <a:lnTo>
                          <a:pt x="18" y="7"/>
                        </a:lnTo>
                        <a:lnTo>
                          <a:pt x="17" y="9"/>
                        </a:lnTo>
                        <a:lnTo>
                          <a:pt x="17" y="10"/>
                        </a:lnTo>
                        <a:lnTo>
                          <a:pt x="16" y="10"/>
                        </a:lnTo>
                        <a:lnTo>
                          <a:pt x="16" y="9"/>
                        </a:lnTo>
                        <a:lnTo>
                          <a:pt x="15" y="7"/>
                        </a:lnTo>
                        <a:lnTo>
                          <a:pt x="17" y="7"/>
                        </a:lnTo>
                        <a:lnTo>
                          <a:pt x="14" y="7"/>
                        </a:lnTo>
                        <a:lnTo>
                          <a:pt x="12" y="9"/>
                        </a:lnTo>
                        <a:lnTo>
                          <a:pt x="11" y="10"/>
                        </a:lnTo>
                        <a:lnTo>
                          <a:pt x="10" y="1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1" name="Freeform 2166">
                    <a:extLst>
                      <a:ext uri="{FF2B5EF4-FFF2-40B4-BE49-F238E27FC236}">
                        <a16:creationId xmlns:a16="http://schemas.microsoft.com/office/drawing/2014/main" xmlns="" id="{CFB062B4-AEED-4ACB-B3BE-28FABA2A5D37}"/>
                      </a:ext>
                    </a:extLst>
                  </p:cNvPr>
                  <p:cNvSpPr>
                    <a:spLocks/>
                  </p:cNvSpPr>
                  <p:nvPr/>
                </p:nvSpPr>
                <p:spPr bwMode="gray">
                  <a:xfrm>
                    <a:off x="5128477" y="2430996"/>
                    <a:ext cx="18913" cy="18911"/>
                  </a:xfrm>
                  <a:custGeom>
                    <a:avLst/>
                    <a:gdLst>
                      <a:gd name="T0" fmla="*/ 2147483647 w 17"/>
                      <a:gd name="T1" fmla="*/ 2147483647 h 17"/>
                      <a:gd name="T2" fmla="*/ 2147483647 w 17"/>
                      <a:gd name="T3" fmla="*/ 2147483647 h 17"/>
                      <a:gd name="T4" fmla="*/ 2147483647 w 17"/>
                      <a:gd name="T5" fmla="*/ 2147483647 h 17"/>
                      <a:gd name="T6" fmla="*/ 2147483647 w 17"/>
                      <a:gd name="T7" fmla="*/ 2147483647 h 17"/>
                      <a:gd name="T8" fmla="*/ 0 w 17"/>
                      <a:gd name="T9" fmla="*/ 2147483647 h 17"/>
                      <a:gd name="T10" fmla="*/ 0 w 17"/>
                      <a:gd name="T11" fmla="*/ 2147483647 h 17"/>
                      <a:gd name="T12" fmla="*/ 0 w 17"/>
                      <a:gd name="T13" fmla="*/ 2147483647 h 17"/>
                      <a:gd name="T14" fmla="*/ 0 w 17"/>
                      <a:gd name="T15" fmla="*/ 2147483647 h 17"/>
                      <a:gd name="T16" fmla="*/ 0 w 17"/>
                      <a:gd name="T17" fmla="*/ 2147483647 h 17"/>
                      <a:gd name="T18" fmla="*/ 2147483647 w 17"/>
                      <a:gd name="T19" fmla="*/ 2147483647 h 17"/>
                      <a:gd name="T20" fmla="*/ 2147483647 w 17"/>
                      <a:gd name="T21" fmla="*/ 2147483647 h 17"/>
                      <a:gd name="T22" fmla="*/ 2147483647 w 17"/>
                      <a:gd name="T23" fmla="*/ 2147483647 h 17"/>
                      <a:gd name="T24" fmla="*/ 2147483647 w 17"/>
                      <a:gd name="T25" fmla="*/ 0 h 17"/>
                      <a:gd name="T26" fmla="*/ 2147483647 w 17"/>
                      <a:gd name="T27" fmla="*/ 0 h 17"/>
                      <a:gd name="T28" fmla="*/ 2147483647 w 17"/>
                      <a:gd name="T29" fmla="*/ 2147483647 h 17"/>
                      <a:gd name="T30" fmla="*/ 2147483647 w 17"/>
                      <a:gd name="T31" fmla="*/ 2147483647 h 17"/>
                      <a:gd name="T32" fmla="*/ 2147483647 w 17"/>
                      <a:gd name="T33" fmla="*/ 2147483647 h 17"/>
                      <a:gd name="T34" fmla="*/ 2147483647 w 17"/>
                      <a:gd name="T35" fmla="*/ 2147483647 h 17"/>
                      <a:gd name="T36" fmla="*/ 2147483647 w 17"/>
                      <a:gd name="T37" fmla="*/ 2147483647 h 17"/>
                      <a:gd name="T38" fmla="*/ 2147483647 w 17"/>
                      <a:gd name="T39" fmla="*/ 2147483647 h 17"/>
                      <a:gd name="T40" fmla="*/ 2147483647 w 17"/>
                      <a:gd name="T41" fmla="*/ 2147483647 h 17"/>
                      <a:gd name="T42" fmla="*/ 2147483647 w 17"/>
                      <a:gd name="T43" fmla="*/ 2147483647 h 17"/>
                      <a:gd name="T44" fmla="*/ 2147483647 w 17"/>
                      <a:gd name="T45" fmla="*/ 2147483647 h 17"/>
                      <a:gd name="T46" fmla="*/ 2147483647 w 17"/>
                      <a:gd name="T47" fmla="*/ 0 h 17"/>
                      <a:gd name="T48" fmla="*/ 2147483647 w 17"/>
                      <a:gd name="T49" fmla="*/ 0 h 17"/>
                      <a:gd name="T50" fmla="*/ 2147483647 w 17"/>
                      <a:gd name="T51" fmla="*/ 2147483647 h 17"/>
                      <a:gd name="T52" fmla="*/ 2147483647 w 17"/>
                      <a:gd name="T53" fmla="*/ 2147483647 h 17"/>
                      <a:gd name="T54" fmla="*/ 2147483647 w 17"/>
                      <a:gd name="T55" fmla="*/ 2147483647 h 17"/>
                      <a:gd name="T56" fmla="*/ 2147483647 w 17"/>
                      <a:gd name="T57" fmla="*/ 2147483647 h 17"/>
                      <a:gd name="T58" fmla="*/ 2147483647 w 17"/>
                      <a:gd name="T59" fmla="*/ 2147483647 h 17"/>
                      <a:gd name="T60" fmla="*/ 2147483647 w 17"/>
                      <a:gd name="T61" fmla="*/ 2147483647 h 17"/>
                      <a:gd name="T62" fmla="*/ 2147483647 w 17"/>
                      <a:gd name="T63" fmla="*/ 2147483647 h 17"/>
                      <a:gd name="T64" fmla="*/ 2147483647 w 17"/>
                      <a:gd name="T65" fmla="*/ 2147483647 h 17"/>
                      <a:gd name="T66" fmla="*/ 2147483647 w 17"/>
                      <a:gd name="T67" fmla="*/ 2147483647 h 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 h="17">
                        <a:moveTo>
                          <a:pt x="10" y="16"/>
                        </a:moveTo>
                        <a:lnTo>
                          <a:pt x="8" y="15"/>
                        </a:lnTo>
                        <a:lnTo>
                          <a:pt x="4" y="12"/>
                        </a:lnTo>
                        <a:lnTo>
                          <a:pt x="2" y="10"/>
                        </a:lnTo>
                        <a:lnTo>
                          <a:pt x="0" y="7"/>
                        </a:lnTo>
                        <a:lnTo>
                          <a:pt x="0" y="6"/>
                        </a:lnTo>
                        <a:lnTo>
                          <a:pt x="0" y="5"/>
                        </a:lnTo>
                        <a:lnTo>
                          <a:pt x="0" y="7"/>
                        </a:lnTo>
                        <a:lnTo>
                          <a:pt x="1" y="6"/>
                        </a:lnTo>
                        <a:lnTo>
                          <a:pt x="2" y="3"/>
                        </a:lnTo>
                        <a:lnTo>
                          <a:pt x="3" y="1"/>
                        </a:lnTo>
                        <a:lnTo>
                          <a:pt x="4" y="0"/>
                        </a:lnTo>
                        <a:lnTo>
                          <a:pt x="5" y="2"/>
                        </a:lnTo>
                        <a:lnTo>
                          <a:pt x="5" y="3"/>
                        </a:lnTo>
                        <a:lnTo>
                          <a:pt x="4" y="3"/>
                        </a:lnTo>
                        <a:lnTo>
                          <a:pt x="6" y="3"/>
                        </a:lnTo>
                        <a:lnTo>
                          <a:pt x="7" y="3"/>
                        </a:lnTo>
                        <a:lnTo>
                          <a:pt x="9" y="3"/>
                        </a:lnTo>
                        <a:lnTo>
                          <a:pt x="10" y="3"/>
                        </a:lnTo>
                        <a:lnTo>
                          <a:pt x="9" y="3"/>
                        </a:lnTo>
                        <a:lnTo>
                          <a:pt x="8" y="2"/>
                        </a:lnTo>
                        <a:lnTo>
                          <a:pt x="9" y="0"/>
                        </a:lnTo>
                        <a:lnTo>
                          <a:pt x="10" y="0"/>
                        </a:lnTo>
                        <a:lnTo>
                          <a:pt x="11" y="2"/>
                        </a:lnTo>
                        <a:lnTo>
                          <a:pt x="12" y="5"/>
                        </a:lnTo>
                        <a:lnTo>
                          <a:pt x="13" y="7"/>
                        </a:lnTo>
                        <a:lnTo>
                          <a:pt x="14" y="10"/>
                        </a:lnTo>
                        <a:lnTo>
                          <a:pt x="16" y="12"/>
                        </a:lnTo>
                        <a:lnTo>
                          <a:pt x="17" y="15"/>
                        </a:lnTo>
                        <a:lnTo>
                          <a:pt x="16" y="17"/>
                        </a:lnTo>
                        <a:lnTo>
                          <a:pt x="14" y="17"/>
                        </a:lnTo>
                        <a:lnTo>
                          <a:pt x="10" y="1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2" name="Freeform 2168">
                    <a:extLst>
                      <a:ext uri="{FF2B5EF4-FFF2-40B4-BE49-F238E27FC236}">
                        <a16:creationId xmlns:a16="http://schemas.microsoft.com/office/drawing/2014/main" xmlns="" id="{BBFB865F-4BBE-4C9A-94EF-FA61029F8F6C}"/>
                      </a:ext>
                    </a:extLst>
                  </p:cNvPr>
                  <p:cNvSpPr>
                    <a:spLocks/>
                  </p:cNvSpPr>
                  <p:nvPr/>
                </p:nvSpPr>
                <p:spPr bwMode="gray">
                  <a:xfrm>
                    <a:off x="5140714" y="2423210"/>
                    <a:ext cx="10013" cy="7787"/>
                  </a:xfrm>
                  <a:custGeom>
                    <a:avLst/>
                    <a:gdLst>
                      <a:gd name="T0" fmla="*/ 2147483647 w 9"/>
                      <a:gd name="T1" fmla="*/ 2147483647 h 7"/>
                      <a:gd name="T2" fmla="*/ 2147483647 w 9"/>
                      <a:gd name="T3" fmla="*/ 2147483647 h 7"/>
                      <a:gd name="T4" fmla="*/ 2147483647 w 9"/>
                      <a:gd name="T5" fmla="*/ 2147483647 h 7"/>
                      <a:gd name="T6" fmla="*/ 2147483647 w 9"/>
                      <a:gd name="T7" fmla="*/ 2147483647 h 7"/>
                      <a:gd name="T8" fmla="*/ 2147483647 w 9"/>
                      <a:gd name="T9" fmla="*/ 2147483647 h 7"/>
                      <a:gd name="T10" fmla="*/ 2147483647 w 9"/>
                      <a:gd name="T11" fmla="*/ 2147483647 h 7"/>
                      <a:gd name="T12" fmla="*/ 2147483647 w 9"/>
                      <a:gd name="T13" fmla="*/ 2147483647 h 7"/>
                      <a:gd name="T14" fmla="*/ 2147483647 w 9"/>
                      <a:gd name="T15" fmla="*/ 2147483647 h 7"/>
                      <a:gd name="T16" fmla="*/ 2147483647 w 9"/>
                      <a:gd name="T17" fmla="*/ 2147483647 h 7"/>
                      <a:gd name="T18" fmla="*/ 2147483647 w 9"/>
                      <a:gd name="T19" fmla="*/ 2147483647 h 7"/>
                      <a:gd name="T20" fmla="*/ 2147483647 w 9"/>
                      <a:gd name="T21" fmla="*/ 2147483647 h 7"/>
                      <a:gd name="T22" fmla="*/ 2147483647 w 9"/>
                      <a:gd name="T23" fmla="*/ 2147483647 h 7"/>
                      <a:gd name="T24" fmla="*/ 0 w 9"/>
                      <a:gd name="T25" fmla="*/ 2147483647 h 7"/>
                      <a:gd name="T26" fmla="*/ 2147483647 w 9"/>
                      <a:gd name="T27" fmla="*/ 0 h 7"/>
                      <a:gd name="T28" fmla="*/ 2147483647 w 9"/>
                      <a:gd name="T29" fmla="*/ 2147483647 h 7"/>
                      <a:gd name="T30" fmla="*/ 2147483647 w 9"/>
                      <a:gd name="T31" fmla="*/ 2147483647 h 7"/>
                      <a:gd name="T32" fmla="*/ 2147483647 w 9"/>
                      <a:gd name="T33" fmla="*/ 2147483647 h 7"/>
                      <a:gd name="T34" fmla="*/ 2147483647 w 9"/>
                      <a:gd name="T35" fmla="*/ 2147483647 h 7"/>
                      <a:gd name="T36" fmla="*/ 2147483647 w 9"/>
                      <a:gd name="T37" fmla="*/ 2147483647 h 7"/>
                      <a:gd name="T38" fmla="*/ 2147483647 w 9"/>
                      <a:gd name="T39" fmla="*/ 2147483647 h 7"/>
                      <a:gd name="T40" fmla="*/ 2147483647 w 9"/>
                      <a:gd name="T41" fmla="*/ 2147483647 h 7"/>
                      <a:gd name="T42" fmla="*/ 2147483647 w 9"/>
                      <a:gd name="T43" fmla="*/ 0 h 7"/>
                      <a:gd name="T44" fmla="*/ 2147483647 w 9"/>
                      <a:gd name="T45" fmla="*/ 2147483647 h 7"/>
                      <a:gd name="T46" fmla="*/ 2147483647 w 9"/>
                      <a:gd name="T47" fmla="*/ 2147483647 h 7"/>
                      <a:gd name="T48" fmla="*/ 2147483647 w 9"/>
                      <a:gd name="T49" fmla="*/ 2147483647 h 7"/>
                      <a:gd name="T50" fmla="*/ 2147483647 w 9"/>
                      <a:gd name="T51" fmla="*/ 2147483647 h 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 h="7">
                        <a:moveTo>
                          <a:pt x="5" y="7"/>
                        </a:moveTo>
                        <a:lnTo>
                          <a:pt x="5" y="7"/>
                        </a:lnTo>
                        <a:lnTo>
                          <a:pt x="4" y="7"/>
                        </a:lnTo>
                        <a:lnTo>
                          <a:pt x="5" y="7"/>
                        </a:lnTo>
                        <a:lnTo>
                          <a:pt x="4" y="7"/>
                        </a:lnTo>
                        <a:lnTo>
                          <a:pt x="2" y="7"/>
                        </a:lnTo>
                        <a:lnTo>
                          <a:pt x="1" y="4"/>
                        </a:lnTo>
                        <a:lnTo>
                          <a:pt x="1" y="2"/>
                        </a:lnTo>
                        <a:lnTo>
                          <a:pt x="0" y="1"/>
                        </a:lnTo>
                        <a:lnTo>
                          <a:pt x="2" y="0"/>
                        </a:lnTo>
                        <a:lnTo>
                          <a:pt x="2" y="1"/>
                        </a:lnTo>
                        <a:lnTo>
                          <a:pt x="4" y="2"/>
                        </a:lnTo>
                        <a:lnTo>
                          <a:pt x="5" y="3"/>
                        </a:lnTo>
                        <a:lnTo>
                          <a:pt x="5" y="4"/>
                        </a:lnTo>
                        <a:lnTo>
                          <a:pt x="5" y="3"/>
                        </a:lnTo>
                        <a:lnTo>
                          <a:pt x="6" y="2"/>
                        </a:lnTo>
                        <a:lnTo>
                          <a:pt x="7" y="1"/>
                        </a:lnTo>
                        <a:lnTo>
                          <a:pt x="9" y="0"/>
                        </a:lnTo>
                        <a:lnTo>
                          <a:pt x="9" y="1"/>
                        </a:lnTo>
                        <a:lnTo>
                          <a:pt x="9" y="2"/>
                        </a:lnTo>
                        <a:lnTo>
                          <a:pt x="9" y="7"/>
                        </a:lnTo>
                        <a:lnTo>
                          <a:pt x="5" y="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3" name="Freeform 2170">
                    <a:extLst>
                      <a:ext uri="{FF2B5EF4-FFF2-40B4-BE49-F238E27FC236}">
                        <a16:creationId xmlns:a16="http://schemas.microsoft.com/office/drawing/2014/main" xmlns="" id="{5E416762-0E12-4E9D-BA67-B332B3255DFD}"/>
                      </a:ext>
                    </a:extLst>
                  </p:cNvPr>
                  <p:cNvSpPr>
                    <a:spLocks/>
                  </p:cNvSpPr>
                  <p:nvPr/>
                </p:nvSpPr>
                <p:spPr bwMode="gray">
                  <a:xfrm>
                    <a:off x="5150726" y="2327539"/>
                    <a:ext cx="64524" cy="84546"/>
                  </a:xfrm>
                  <a:custGeom>
                    <a:avLst/>
                    <a:gdLst>
                      <a:gd name="T0" fmla="*/ 2147483647 w 58"/>
                      <a:gd name="T1" fmla="*/ 2147483647 h 76"/>
                      <a:gd name="T2" fmla="*/ 2147483647 w 58"/>
                      <a:gd name="T3" fmla="*/ 2147483647 h 76"/>
                      <a:gd name="T4" fmla="*/ 2147483647 w 58"/>
                      <a:gd name="T5" fmla="*/ 2147483647 h 76"/>
                      <a:gd name="T6" fmla="*/ 0 w 58"/>
                      <a:gd name="T7" fmla="*/ 2147483647 h 76"/>
                      <a:gd name="T8" fmla="*/ 0 w 58"/>
                      <a:gd name="T9" fmla="*/ 2147483647 h 76"/>
                      <a:gd name="T10" fmla="*/ 0 w 58"/>
                      <a:gd name="T11" fmla="*/ 2147483647 h 76"/>
                      <a:gd name="T12" fmla="*/ 2147483647 w 58"/>
                      <a:gd name="T13" fmla="*/ 2147483647 h 76"/>
                      <a:gd name="T14" fmla="*/ 2147483647 w 58"/>
                      <a:gd name="T15" fmla="*/ 2147483647 h 76"/>
                      <a:gd name="T16" fmla="*/ 2147483647 w 58"/>
                      <a:gd name="T17" fmla="*/ 2147483647 h 76"/>
                      <a:gd name="T18" fmla="*/ 2147483647 w 58"/>
                      <a:gd name="T19" fmla="*/ 2147483647 h 76"/>
                      <a:gd name="T20" fmla="*/ 2147483647 w 58"/>
                      <a:gd name="T21" fmla="*/ 2147483647 h 76"/>
                      <a:gd name="T22" fmla="*/ 2147483647 w 58"/>
                      <a:gd name="T23" fmla="*/ 2147483647 h 76"/>
                      <a:gd name="T24" fmla="*/ 2147483647 w 58"/>
                      <a:gd name="T25" fmla="*/ 2147483647 h 76"/>
                      <a:gd name="T26" fmla="*/ 2147483647 w 58"/>
                      <a:gd name="T27" fmla="*/ 2147483647 h 76"/>
                      <a:gd name="T28" fmla="*/ 2147483647 w 58"/>
                      <a:gd name="T29" fmla="*/ 2147483647 h 76"/>
                      <a:gd name="T30" fmla="*/ 2147483647 w 58"/>
                      <a:gd name="T31" fmla="*/ 2147483647 h 76"/>
                      <a:gd name="T32" fmla="*/ 2147483647 w 58"/>
                      <a:gd name="T33" fmla="*/ 2147483647 h 76"/>
                      <a:gd name="T34" fmla="*/ 2147483647 w 58"/>
                      <a:gd name="T35" fmla="*/ 2147483647 h 76"/>
                      <a:gd name="T36" fmla="*/ 2147483647 w 58"/>
                      <a:gd name="T37" fmla="*/ 2147483647 h 76"/>
                      <a:gd name="T38" fmla="*/ 2147483647 w 58"/>
                      <a:gd name="T39" fmla="*/ 2147483647 h 76"/>
                      <a:gd name="T40" fmla="*/ 2147483647 w 58"/>
                      <a:gd name="T41" fmla="*/ 2147483647 h 76"/>
                      <a:gd name="T42" fmla="*/ 2147483647 w 58"/>
                      <a:gd name="T43" fmla="*/ 2147483647 h 76"/>
                      <a:gd name="T44" fmla="*/ 2147483647 w 58"/>
                      <a:gd name="T45" fmla="*/ 2147483647 h 76"/>
                      <a:gd name="T46" fmla="*/ 2147483647 w 58"/>
                      <a:gd name="T47" fmla="*/ 2147483647 h 76"/>
                      <a:gd name="T48" fmla="*/ 2147483647 w 58"/>
                      <a:gd name="T49" fmla="*/ 2147483647 h 76"/>
                      <a:gd name="T50" fmla="*/ 2147483647 w 58"/>
                      <a:gd name="T51" fmla="*/ 2147483647 h 76"/>
                      <a:gd name="T52" fmla="*/ 2147483647 w 58"/>
                      <a:gd name="T53" fmla="*/ 2147483647 h 76"/>
                      <a:gd name="T54" fmla="*/ 2147483647 w 58"/>
                      <a:gd name="T55" fmla="*/ 2147483647 h 76"/>
                      <a:gd name="T56" fmla="*/ 2147483647 w 58"/>
                      <a:gd name="T57" fmla="*/ 2147483647 h 76"/>
                      <a:gd name="T58" fmla="*/ 2147483647 w 58"/>
                      <a:gd name="T59" fmla="*/ 2147483647 h 76"/>
                      <a:gd name="T60" fmla="*/ 2147483647 w 58"/>
                      <a:gd name="T61" fmla="*/ 2147483647 h 76"/>
                      <a:gd name="T62" fmla="*/ 2147483647 w 58"/>
                      <a:gd name="T63" fmla="*/ 2147483647 h 76"/>
                      <a:gd name="T64" fmla="*/ 2147483647 w 58"/>
                      <a:gd name="T65" fmla="*/ 2147483647 h 76"/>
                      <a:gd name="T66" fmla="*/ 2147483647 w 58"/>
                      <a:gd name="T67" fmla="*/ 2147483647 h 76"/>
                      <a:gd name="T68" fmla="*/ 2147483647 w 58"/>
                      <a:gd name="T69" fmla="*/ 2147483647 h 76"/>
                      <a:gd name="T70" fmla="*/ 2147483647 w 58"/>
                      <a:gd name="T71" fmla="*/ 2147483647 h 76"/>
                      <a:gd name="T72" fmla="*/ 2147483647 w 58"/>
                      <a:gd name="T73" fmla="*/ 2147483647 h 76"/>
                      <a:gd name="T74" fmla="*/ 2147483647 w 58"/>
                      <a:gd name="T75" fmla="*/ 2147483647 h 76"/>
                      <a:gd name="T76" fmla="*/ 2147483647 w 58"/>
                      <a:gd name="T77" fmla="*/ 2147483647 h 76"/>
                      <a:gd name="T78" fmla="*/ 2147483647 w 58"/>
                      <a:gd name="T79" fmla="*/ 2147483647 h 76"/>
                      <a:gd name="T80" fmla="*/ 2147483647 w 58"/>
                      <a:gd name="T81" fmla="*/ 2147483647 h 76"/>
                      <a:gd name="T82" fmla="*/ 2147483647 w 58"/>
                      <a:gd name="T83" fmla="*/ 2147483647 h 76"/>
                      <a:gd name="T84" fmla="*/ 2147483647 w 58"/>
                      <a:gd name="T85" fmla="*/ 2147483647 h 76"/>
                      <a:gd name="T86" fmla="*/ 2147483647 w 58"/>
                      <a:gd name="T87" fmla="*/ 2147483647 h 76"/>
                      <a:gd name="T88" fmla="*/ 2147483647 w 58"/>
                      <a:gd name="T89" fmla="*/ 2147483647 h 76"/>
                      <a:gd name="T90" fmla="*/ 2147483647 w 58"/>
                      <a:gd name="T91" fmla="*/ 2147483647 h 76"/>
                      <a:gd name="T92" fmla="*/ 2147483647 w 58"/>
                      <a:gd name="T93" fmla="*/ 2147483647 h 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8" h="76">
                        <a:moveTo>
                          <a:pt x="13" y="12"/>
                        </a:moveTo>
                        <a:lnTo>
                          <a:pt x="11" y="12"/>
                        </a:lnTo>
                        <a:lnTo>
                          <a:pt x="8" y="10"/>
                        </a:lnTo>
                        <a:lnTo>
                          <a:pt x="6" y="9"/>
                        </a:lnTo>
                        <a:lnTo>
                          <a:pt x="3" y="9"/>
                        </a:lnTo>
                        <a:lnTo>
                          <a:pt x="3" y="13"/>
                        </a:lnTo>
                        <a:lnTo>
                          <a:pt x="3" y="15"/>
                        </a:lnTo>
                        <a:lnTo>
                          <a:pt x="2" y="15"/>
                        </a:lnTo>
                        <a:lnTo>
                          <a:pt x="1" y="15"/>
                        </a:lnTo>
                        <a:lnTo>
                          <a:pt x="0" y="15"/>
                        </a:lnTo>
                        <a:lnTo>
                          <a:pt x="0" y="13"/>
                        </a:lnTo>
                        <a:lnTo>
                          <a:pt x="0" y="9"/>
                        </a:lnTo>
                        <a:lnTo>
                          <a:pt x="0" y="8"/>
                        </a:lnTo>
                        <a:lnTo>
                          <a:pt x="0" y="7"/>
                        </a:lnTo>
                        <a:lnTo>
                          <a:pt x="0" y="6"/>
                        </a:lnTo>
                        <a:lnTo>
                          <a:pt x="3" y="9"/>
                        </a:lnTo>
                        <a:lnTo>
                          <a:pt x="6" y="9"/>
                        </a:lnTo>
                        <a:lnTo>
                          <a:pt x="7" y="7"/>
                        </a:lnTo>
                        <a:lnTo>
                          <a:pt x="8" y="5"/>
                        </a:lnTo>
                        <a:lnTo>
                          <a:pt x="8" y="2"/>
                        </a:lnTo>
                        <a:lnTo>
                          <a:pt x="10" y="0"/>
                        </a:lnTo>
                        <a:lnTo>
                          <a:pt x="11" y="1"/>
                        </a:lnTo>
                        <a:lnTo>
                          <a:pt x="13" y="1"/>
                        </a:lnTo>
                        <a:lnTo>
                          <a:pt x="13" y="2"/>
                        </a:lnTo>
                        <a:lnTo>
                          <a:pt x="13" y="3"/>
                        </a:lnTo>
                        <a:lnTo>
                          <a:pt x="13" y="8"/>
                        </a:lnTo>
                        <a:lnTo>
                          <a:pt x="13" y="11"/>
                        </a:lnTo>
                        <a:lnTo>
                          <a:pt x="13" y="15"/>
                        </a:lnTo>
                        <a:lnTo>
                          <a:pt x="16" y="16"/>
                        </a:lnTo>
                        <a:lnTo>
                          <a:pt x="18" y="17"/>
                        </a:lnTo>
                        <a:lnTo>
                          <a:pt x="20" y="18"/>
                        </a:lnTo>
                        <a:lnTo>
                          <a:pt x="22" y="19"/>
                        </a:lnTo>
                        <a:lnTo>
                          <a:pt x="27" y="19"/>
                        </a:lnTo>
                        <a:lnTo>
                          <a:pt x="28" y="20"/>
                        </a:lnTo>
                        <a:lnTo>
                          <a:pt x="29" y="22"/>
                        </a:lnTo>
                        <a:lnTo>
                          <a:pt x="31" y="23"/>
                        </a:lnTo>
                        <a:lnTo>
                          <a:pt x="33" y="26"/>
                        </a:lnTo>
                        <a:lnTo>
                          <a:pt x="35" y="29"/>
                        </a:lnTo>
                        <a:lnTo>
                          <a:pt x="36" y="32"/>
                        </a:lnTo>
                        <a:lnTo>
                          <a:pt x="35" y="32"/>
                        </a:lnTo>
                        <a:lnTo>
                          <a:pt x="34" y="32"/>
                        </a:lnTo>
                        <a:lnTo>
                          <a:pt x="33" y="32"/>
                        </a:lnTo>
                        <a:lnTo>
                          <a:pt x="32" y="32"/>
                        </a:lnTo>
                        <a:lnTo>
                          <a:pt x="32" y="31"/>
                        </a:lnTo>
                        <a:lnTo>
                          <a:pt x="32" y="29"/>
                        </a:lnTo>
                        <a:lnTo>
                          <a:pt x="26" y="26"/>
                        </a:lnTo>
                        <a:lnTo>
                          <a:pt x="19" y="25"/>
                        </a:lnTo>
                        <a:lnTo>
                          <a:pt x="17" y="25"/>
                        </a:lnTo>
                        <a:lnTo>
                          <a:pt x="15" y="27"/>
                        </a:lnTo>
                        <a:lnTo>
                          <a:pt x="15" y="30"/>
                        </a:lnTo>
                        <a:lnTo>
                          <a:pt x="16" y="35"/>
                        </a:lnTo>
                        <a:lnTo>
                          <a:pt x="19" y="39"/>
                        </a:lnTo>
                        <a:lnTo>
                          <a:pt x="22" y="43"/>
                        </a:lnTo>
                        <a:lnTo>
                          <a:pt x="26" y="47"/>
                        </a:lnTo>
                        <a:lnTo>
                          <a:pt x="29" y="55"/>
                        </a:lnTo>
                        <a:lnTo>
                          <a:pt x="30" y="58"/>
                        </a:lnTo>
                        <a:lnTo>
                          <a:pt x="31" y="60"/>
                        </a:lnTo>
                        <a:lnTo>
                          <a:pt x="32" y="60"/>
                        </a:lnTo>
                        <a:lnTo>
                          <a:pt x="36" y="60"/>
                        </a:lnTo>
                        <a:lnTo>
                          <a:pt x="37" y="59"/>
                        </a:lnTo>
                        <a:lnTo>
                          <a:pt x="38" y="58"/>
                        </a:lnTo>
                        <a:lnTo>
                          <a:pt x="39" y="57"/>
                        </a:lnTo>
                        <a:lnTo>
                          <a:pt x="39" y="58"/>
                        </a:lnTo>
                        <a:lnTo>
                          <a:pt x="39" y="59"/>
                        </a:lnTo>
                        <a:lnTo>
                          <a:pt x="39" y="60"/>
                        </a:lnTo>
                        <a:lnTo>
                          <a:pt x="41" y="60"/>
                        </a:lnTo>
                        <a:lnTo>
                          <a:pt x="42" y="60"/>
                        </a:lnTo>
                        <a:lnTo>
                          <a:pt x="43" y="60"/>
                        </a:lnTo>
                        <a:lnTo>
                          <a:pt x="45" y="60"/>
                        </a:lnTo>
                        <a:lnTo>
                          <a:pt x="44" y="62"/>
                        </a:lnTo>
                        <a:lnTo>
                          <a:pt x="45" y="63"/>
                        </a:lnTo>
                        <a:lnTo>
                          <a:pt x="47" y="64"/>
                        </a:lnTo>
                        <a:lnTo>
                          <a:pt x="48" y="64"/>
                        </a:lnTo>
                        <a:lnTo>
                          <a:pt x="49" y="59"/>
                        </a:lnTo>
                        <a:lnTo>
                          <a:pt x="50" y="58"/>
                        </a:lnTo>
                        <a:lnTo>
                          <a:pt x="51" y="57"/>
                        </a:lnTo>
                        <a:lnTo>
                          <a:pt x="53" y="59"/>
                        </a:lnTo>
                        <a:lnTo>
                          <a:pt x="55" y="60"/>
                        </a:lnTo>
                        <a:lnTo>
                          <a:pt x="56" y="60"/>
                        </a:lnTo>
                        <a:lnTo>
                          <a:pt x="58" y="60"/>
                        </a:lnTo>
                        <a:lnTo>
                          <a:pt x="58" y="61"/>
                        </a:lnTo>
                        <a:lnTo>
                          <a:pt x="58" y="62"/>
                        </a:lnTo>
                        <a:lnTo>
                          <a:pt x="57" y="63"/>
                        </a:lnTo>
                        <a:lnTo>
                          <a:pt x="55" y="64"/>
                        </a:lnTo>
                        <a:lnTo>
                          <a:pt x="54" y="64"/>
                        </a:lnTo>
                        <a:lnTo>
                          <a:pt x="53" y="64"/>
                        </a:lnTo>
                        <a:lnTo>
                          <a:pt x="52" y="65"/>
                        </a:lnTo>
                        <a:lnTo>
                          <a:pt x="51" y="67"/>
                        </a:lnTo>
                        <a:lnTo>
                          <a:pt x="51" y="66"/>
                        </a:lnTo>
                        <a:lnTo>
                          <a:pt x="51" y="67"/>
                        </a:lnTo>
                        <a:lnTo>
                          <a:pt x="53" y="68"/>
                        </a:lnTo>
                        <a:lnTo>
                          <a:pt x="55" y="69"/>
                        </a:lnTo>
                        <a:lnTo>
                          <a:pt x="57" y="71"/>
                        </a:lnTo>
                        <a:lnTo>
                          <a:pt x="58" y="74"/>
                        </a:lnTo>
                        <a:lnTo>
                          <a:pt x="58" y="75"/>
                        </a:lnTo>
                        <a:lnTo>
                          <a:pt x="58" y="76"/>
                        </a:lnTo>
                        <a:lnTo>
                          <a:pt x="56" y="76"/>
                        </a:lnTo>
                        <a:lnTo>
                          <a:pt x="53" y="74"/>
                        </a:lnTo>
                        <a:lnTo>
                          <a:pt x="48" y="69"/>
                        </a:lnTo>
                        <a:lnTo>
                          <a:pt x="46" y="69"/>
                        </a:lnTo>
                        <a:lnTo>
                          <a:pt x="45" y="69"/>
                        </a:lnTo>
                        <a:lnTo>
                          <a:pt x="42" y="68"/>
                        </a:lnTo>
                        <a:lnTo>
                          <a:pt x="41" y="67"/>
                        </a:lnTo>
                        <a:lnTo>
                          <a:pt x="38" y="65"/>
                        </a:lnTo>
                        <a:lnTo>
                          <a:pt x="36" y="64"/>
                        </a:lnTo>
                        <a:lnTo>
                          <a:pt x="31" y="62"/>
                        </a:lnTo>
                        <a:lnTo>
                          <a:pt x="26" y="62"/>
                        </a:lnTo>
                        <a:lnTo>
                          <a:pt x="22" y="62"/>
                        </a:lnTo>
                        <a:lnTo>
                          <a:pt x="19" y="60"/>
                        </a:lnTo>
                        <a:lnTo>
                          <a:pt x="19" y="57"/>
                        </a:lnTo>
                        <a:lnTo>
                          <a:pt x="18" y="57"/>
                        </a:lnTo>
                        <a:lnTo>
                          <a:pt x="17" y="56"/>
                        </a:lnTo>
                        <a:lnTo>
                          <a:pt x="16" y="55"/>
                        </a:lnTo>
                        <a:lnTo>
                          <a:pt x="17" y="52"/>
                        </a:lnTo>
                        <a:lnTo>
                          <a:pt x="18" y="50"/>
                        </a:lnTo>
                        <a:lnTo>
                          <a:pt x="18" y="47"/>
                        </a:lnTo>
                        <a:lnTo>
                          <a:pt x="16" y="44"/>
                        </a:lnTo>
                        <a:lnTo>
                          <a:pt x="16" y="42"/>
                        </a:lnTo>
                        <a:lnTo>
                          <a:pt x="15" y="38"/>
                        </a:lnTo>
                        <a:lnTo>
                          <a:pt x="14" y="34"/>
                        </a:lnTo>
                        <a:lnTo>
                          <a:pt x="13" y="32"/>
                        </a:lnTo>
                        <a:lnTo>
                          <a:pt x="11" y="27"/>
                        </a:lnTo>
                        <a:lnTo>
                          <a:pt x="11" y="22"/>
                        </a:lnTo>
                        <a:lnTo>
                          <a:pt x="11" y="17"/>
                        </a:lnTo>
                        <a:lnTo>
                          <a:pt x="13" y="1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4" name="Freeform 2172">
                    <a:extLst>
                      <a:ext uri="{FF2B5EF4-FFF2-40B4-BE49-F238E27FC236}">
                        <a16:creationId xmlns:a16="http://schemas.microsoft.com/office/drawing/2014/main" xmlns="" id="{834C4E13-0A7D-45EE-80D8-5DFBEC96EA63}"/>
                      </a:ext>
                    </a:extLst>
                  </p:cNvPr>
                  <p:cNvSpPr>
                    <a:spLocks/>
                  </p:cNvSpPr>
                  <p:nvPr/>
                </p:nvSpPr>
                <p:spPr bwMode="gray">
                  <a:xfrm>
                    <a:off x="5220814" y="2465482"/>
                    <a:ext cx="5563" cy="10012"/>
                  </a:xfrm>
                  <a:custGeom>
                    <a:avLst/>
                    <a:gdLst>
                      <a:gd name="T0" fmla="*/ 2147483647 w 5"/>
                      <a:gd name="T1" fmla="*/ 2147483647 h 9"/>
                      <a:gd name="T2" fmla="*/ 0 w 5"/>
                      <a:gd name="T3" fmla="*/ 2147483647 h 9"/>
                      <a:gd name="T4" fmla="*/ 0 w 5"/>
                      <a:gd name="T5" fmla="*/ 2147483647 h 9"/>
                      <a:gd name="T6" fmla="*/ 0 w 5"/>
                      <a:gd name="T7" fmla="*/ 2147483647 h 9"/>
                      <a:gd name="T8" fmla="*/ 2147483647 w 5"/>
                      <a:gd name="T9" fmla="*/ 0 h 9"/>
                      <a:gd name="T10" fmla="*/ 2147483647 w 5"/>
                      <a:gd name="T11" fmla="*/ 2147483647 h 9"/>
                      <a:gd name="T12" fmla="*/ 2147483647 w 5"/>
                      <a:gd name="T13" fmla="*/ 2147483647 h 9"/>
                      <a:gd name="T14" fmla="*/ 2147483647 w 5"/>
                      <a:gd name="T15" fmla="*/ 2147483647 h 9"/>
                      <a:gd name="T16" fmla="*/ 2147483647 w 5"/>
                      <a:gd name="T17" fmla="*/ 2147483647 h 9"/>
                      <a:gd name="T18" fmla="*/ 2147483647 w 5"/>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 h="9">
                        <a:moveTo>
                          <a:pt x="2" y="8"/>
                        </a:moveTo>
                        <a:lnTo>
                          <a:pt x="0" y="7"/>
                        </a:lnTo>
                        <a:lnTo>
                          <a:pt x="0" y="4"/>
                        </a:lnTo>
                        <a:lnTo>
                          <a:pt x="0" y="3"/>
                        </a:lnTo>
                        <a:lnTo>
                          <a:pt x="2" y="0"/>
                        </a:lnTo>
                        <a:lnTo>
                          <a:pt x="3" y="3"/>
                        </a:lnTo>
                        <a:lnTo>
                          <a:pt x="4" y="6"/>
                        </a:lnTo>
                        <a:lnTo>
                          <a:pt x="5" y="9"/>
                        </a:lnTo>
                        <a:lnTo>
                          <a:pt x="4" y="9"/>
                        </a:lnTo>
                        <a:lnTo>
                          <a:pt x="2" y="8"/>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5" name="Freeform 2174">
                    <a:extLst>
                      <a:ext uri="{FF2B5EF4-FFF2-40B4-BE49-F238E27FC236}">
                        <a16:creationId xmlns:a16="http://schemas.microsoft.com/office/drawing/2014/main" xmlns="" id="{39293D5F-F20E-4B7F-B2AB-01E7BF4CB0B4}"/>
                      </a:ext>
                    </a:extLst>
                  </p:cNvPr>
                  <p:cNvSpPr>
                    <a:spLocks/>
                  </p:cNvSpPr>
                  <p:nvPr/>
                </p:nvSpPr>
                <p:spPr bwMode="gray">
                  <a:xfrm>
                    <a:off x="5164077" y="2409861"/>
                    <a:ext cx="87886" cy="78983"/>
                  </a:xfrm>
                  <a:custGeom>
                    <a:avLst/>
                    <a:gdLst>
                      <a:gd name="T0" fmla="*/ 2147483647 w 79"/>
                      <a:gd name="T1" fmla="*/ 2147483647 h 71"/>
                      <a:gd name="T2" fmla="*/ 2147483647 w 79"/>
                      <a:gd name="T3" fmla="*/ 2147483647 h 71"/>
                      <a:gd name="T4" fmla="*/ 2147483647 w 79"/>
                      <a:gd name="T5" fmla="*/ 2147483647 h 71"/>
                      <a:gd name="T6" fmla="*/ 2147483647 w 79"/>
                      <a:gd name="T7" fmla="*/ 2147483647 h 71"/>
                      <a:gd name="T8" fmla="*/ 2147483647 w 79"/>
                      <a:gd name="T9" fmla="*/ 2147483647 h 71"/>
                      <a:gd name="T10" fmla="*/ 2147483647 w 79"/>
                      <a:gd name="T11" fmla="*/ 2147483647 h 71"/>
                      <a:gd name="T12" fmla="*/ 2147483647 w 79"/>
                      <a:gd name="T13" fmla="*/ 2147483647 h 71"/>
                      <a:gd name="T14" fmla="*/ 2147483647 w 79"/>
                      <a:gd name="T15" fmla="*/ 2147483647 h 71"/>
                      <a:gd name="T16" fmla="*/ 2147483647 w 79"/>
                      <a:gd name="T17" fmla="*/ 2147483647 h 71"/>
                      <a:gd name="T18" fmla="*/ 2147483647 w 79"/>
                      <a:gd name="T19" fmla="*/ 2147483647 h 71"/>
                      <a:gd name="T20" fmla="*/ 2147483647 w 79"/>
                      <a:gd name="T21" fmla="*/ 2147483647 h 71"/>
                      <a:gd name="T22" fmla="*/ 2147483647 w 79"/>
                      <a:gd name="T23" fmla="*/ 2147483647 h 71"/>
                      <a:gd name="T24" fmla="*/ 2147483647 w 79"/>
                      <a:gd name="T25" fmla="*/ 2147483647 h 71"/>
                      <a:gd name="T26" fmla="*/ 2147483647 w 79"/>
                      <a:gd name="T27" fmla="*/ 2147483647 h 71"/>
                      <a:gd name="T28" fmla="*/ 2147483647 w 79"/>
                      <a:gd name="T29" fmla="*/ 2147483647 h 71"/>
                      <a:gd name="T30" fmla="*/ 2147483647 w 79"/>
                      <a:gd name="T31" fmla="*/ 2147483647 h 71"/>
                      <a:gd name="T32" fmla="*/ 2147483647 w 79"/>
                      <a:gd name="T33" fmla="*/ 2147483647 h 71"/>
                      <a:gd name="T34" fmla="*/ 2147483647 w 79"/>
                      <a:gd name="T35" fmla="*/ 2147483647 h 71"/>
                      <a:gd name="T36" fmla="*/ 2147483647 w 79"/>
                      <a:gd name="T37" fmla="*/ 2147483647 h 71"/>
                      <a:gd name="T38" fmla="*/ 2147483647 w 79"/>
                      <a:gd name="T39" fmla="*/ 2147483647 h 71"/>
                      <a:gd name="T40" fmla="*/ 2147483647 w 79"/>
                      <a:gd name="T41" fmla="*/ 2147483647 h 71"/>
                      <a:gd name="T42" fmla="*/ 2147483647 w 79"/>
                      <a:gd name="T43" fmla="*/ 2147483647 h 71"/>
                      <a:gd name="T44" fmla="*/ 2147483647 w 79"/>
                      <a:gd name="T45" fmla="*/ 2147483647 h 71"/>
                      <a:gd name="T46" fmla="*/ 2147483647 w 79"/>
                      <a:gd name="T47" fmla="*/ 2147483647 h 71"/>
                      <a:gd name="T48" fmla="*/ 2147483647 w 79"/>
                      <a:gd name="T49" fmla="*/ 2147483647 h 71"/>
                      <a:gd name="T50" fmla="*/ 2147483647 w 79"/>
                      <a:gd name="T51" fmla="*/ 2147483647 h 71"/>
                      <a:gd name="T52" fmla="*/ 2147483647 w 79"/>
                      <a:gd name="T53" fmla="*/ 2147483647 h 71"/>
                      <a:gd name="T54" fmla="*/ 2147483647 w 79"/>
                      <a:gd name="T55" fmla="*/ 2147483647 h 71"/>
                      <a:gd name="T56" fmla="*/ 2147483647 w 79"/>
                      <a:gd name="T57" fmla="*/ 2147483647 h 71"/>
                      <a:gd name="T58" fmla="*/ 2147483647 w 79"/>
                      <a:gd name="T59" fmla="*/ 2147483647 h 71"/>
                      <a:gd name="T60" fmla="*/ 2147483647 w 79"/>
                      <a:gd name="T61" fmla="*/ 2147483647 h 71"/>
                      <a:gd name="T62" fmla="*/ 2147483647 w 79"/>
                      <a:gd name="T63" fmla="*/ 2147483647 h 71"/>
                      <a:gd name="T64" fmla="*/ 0 w 79"/>
                      <a:gd name="T65" fmla="*/ 2147483647 h 71"/>
                      <a:gd name="T66" fmla="*/ 2147483647 w 79"/>
                      <a:gd name="T67" fmla="*/ 2147483647 h 71"/>
                      <a:gd name="T68" fmla="*/ 2147483647 w 79"/>
                      <a:gd name="T69" fmla="*/ 2147483647 h 71"/>
                      <a:gd name="T70" fmla="*/ 2147483647 w 79"/>
                      <a:gd name="T71" fmla="*/ 2147483647 h 71"/>
                      <a:gd name="T72" fmla="*/ 2147483647 w 79"/>
                      <a:gd name="T73" fmla="*/ 2147483647 h 71"/>
                      <a:gd name="T74" fmla="*/ 2147483647 w 79"/>
                      <a:gd name="T75" fmla="*/ 2147483647 h 71"/>
                      <a:gd name="T76" fmla="*/ 2147483647 w 79"/>
                      <a:gd name="T77" fmla="*/ 2147483647 h 71"/>
                      <a:gd name="T78" fmla="*/ 2147483647 w 79"/>
                      <a:gd name="T79" fmla="*/ 2147483647 h 71"/>
                      <a:gd name="T80" fmla="*/ 2147483647 w 79"/>
                      <a:gd name="T81" fmla="*/ 2147483647 h 71"/>
                      <a:gd name="T82" fmla="*/ 2147483647 w 79"/>
                      <a:gd name="T83" fmla="*/ 2147483647 h 71"/>
                      <a:gd name="T84" fmla="*/ 2147483647 w 79"/>
                      <a:gd name="T85" fmla="*/ 2147483647 h 71"/>
                      <a:gd name="T86" fmla="*/ 2147483647 w 79"/>
                      <a:gd name="T87" fmla="*/ 2147483647 h 71"/>
                      <a:gd name="T88" fmla="*/ 2147483647 w 79"/>
                      <a:gd name="T89" fmla="*/ 2147483647 h 71"/>
                      <a:gd name="T90" fmla="*/ 2147483647 w 79"/>
                      <a:gd name="T91" fmla="*/ 2147483647 h 71"/>
                      <a:gd name="T92" fmla="*/ 2147483647 w 79"/>
                      <a:gd name="T93" fmla="*/ 2147483647 h 71"/>
                      <a:gd name="T94" fmla="*/ 2147483647 w 79"/>
                      <a:gd name="T95" fmla="*/ 2147483647 h 71"/>
                      <a:gd name="T96" fmla="*/ 2147483647 w 79"/>
                      <a:gd name="T97" fmla="*/ 2147483647 h 71"/>
                      <a:gd name="T98" fmla="*/ 2147483647 w 79"/>
                      <a:gd name="T99" fmla="*/ 0 h 71"/>
                      <a:gd name="T100" fmla="*/ 2147483647 w 79"/>
                      <a:gd name="T101" fmla="*/ 0 h 71"/>
                      <a:gd name="T102" fmla="*/ 2147483647 w 79"/>
                      <a:gd name="T103" fmla="*/ 0 h 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9" h="71">
                        <a:moveTo>
                          <a:pt x="79" y="3"/>
                        </a:moveTo>
                        <a:lnTo>
                          <a:pt x="78" y="5"/>
                        </a:lnTo>
                        <a:lnTo>
                          <a:pt x="76" y="5"/>
                        </a:lnTo>
                        <a:lnTo>
                          <a:pt x="75" y="5"/>
                        </a:lnTo>
                        <a:lnTo>
                          <a:pt x="73" y="6"/>
                        </a:lnTo>
                        <a:lnTo>
                          <a:pt x="73" y="16"/>
                        </a:lnTo>
                        <a:lnTo>
                          <a:pt x="71" y="16"/>
                        </a:lnTo>
                        <a:lnTo>
                          <a:pt x="70" y="16"/>
                        </a:lnTo>
                        <a:lnTo>
                          <a:pt x="68" y="18"/>
                        </a:lnTo>
                        <a:lnTo>
                          <a:pt x="68" y="19"/>
                        </a:lnTo>
                        <a:lnTo>
                          <a:pt x="69" y="20"/>
                        </a:lnTo>
                        <a:lnTo>
                          <a:pt x="70" y="22"/>
                        </a:lnTo>
                        <a:lnTo>
                          <a:pt x="69" y="23"/>
                        </a:lnTo>
                        <a:lnTo>
                          <a:pt x="68" y="24"/>
                        </a:lnTo>
                        <a:lnTo>
                          <a:pt x="65" y="25"/>
                        </a:lnTo>
                        <a:lnTo>
                          <a:pt x="63" y="26"/>
                        </a:lnTo>
                        <a:lnTo>
                          <a:pt x="63" y="35"/>
                        </a:lnTo>
                        <a:lnTo>
                          <a:pt x="63" y="33"/>
                        </a:lnTo>
                        <a:lnTo>
                          <a:pt x="63" y="32"/>
                        </a:lnTo>
                        <a:lnTo>
                          <a:pt x="63" y="31"/>
                        </a:lnTo>
                        <a:lnTo>
                          <a:pt x="62" y="31"/>
                        </a:lnTo>
                        <a:lnTo>
                          <a:pt x="62" y="30"/>
                        </a:lnTo>
                        <a:lnTo>
                          <a:pt x="62" y="29"/>
                        </a:lnTo>
                        <a:lnTo>
                          <a:pt x="63" y="29"/>
                        </a:lnTo>
                        <a:lnTo>
                          <a:pt x="60" y="27"/>
                        </a:lnTo>
                        <a:lnTo>
                          <a:pt x="58" y="26"/>
                        </a:lnTo>
                        <a:lnTo>
                          <a:pt x="53" y="26"/>
                        </a:lnTo>
                        <a:lnTo>
                          <a:pt x="51" y="24"/>
                        </a:lnTo>
                        <a:lnTo>
                          <a:pt x="50" y="22"/>
                        </a:lnTo>
                        <a:lnTo>
                          <a:pt x="49" y="22"/>
                        </a:lnTo>
                        <a:lnTo>
                          <a:pt x="48" y="22"/>
                        </a:lnTo>
                        <a:lnTo>
                          <a:pt x="47" y="22"/>
                        </a:lnTo>
                        <a:lnTo>
                          <a:pt x="46" y="22"/>
                        </a:lnTo>
                        <a:lnTo>
                          <a:pt x="43" y="22"/>
                        </a:lnTo>
                        <a:lnTo>
                          <a:pt x="41" y="22"/>
                        </a:lnTo>
                        <a:lnTo>
                          <a:pt x="40" y="22"/>
                        </a:lnTo>
                        <a:lnTo>
                          <a:pt x="40" y="23"/>
                        </a:lnTo>
                        <a:lnTo>
                          <a:pt x="40" y="26"/>
                        </a:lnTo>
                        <a:lnTo>
                          <a:pt x="40" y="28"/>
                        </a:lnTo>
                        <a:lnTo>
                          <a:pt x="40" y="29"/>
                        </a:lnTo>
                        <a:lnTo>
                          <a:pt x="44" y="29"/>
                        </a:lnTo>
                        <a:lnTo>
                          <a:pt x="46" y="29"/>
                        </a:lnTo>
                        <a:lnTo>
                          <a:pt x="47" y="30"/>
                        </a:lnTo>
                        <a:lnTo>
                          <a:pt x="47" y="31"/>
                        </a:lnTo>
                        <a:lnTo>
                          <a:pt x="48" y="34"/>
                        </a:lnTo>
                        <a:lnTo>
                          <a:pt x="46" y="35"/>
                        </a:lnTo>
                        <a:lnTo>
                          <a:pt x="46" y="34"/>
                        </a:lnTo>
                        <a:lnTo>
                          <a:pt x="45" y="33"/>
                        </a:lnTo>
                        <a:lnTo>
                          <a:pt x="43" y="32"/>
                        </a:lnTo>
                        <a:lnTo>
                          <a:pt x="43" y="31"/>
                        </a:lnTo>
                        <a:lnTo>
                          <a:pt x="41" y="30"/>
                        </a:lnTo>
                        <a:lnTo>
                          <a:pt x="39" y="30"/>
                        </a:lnTo>
                        <a:lnTo>
                          <a:pt x="38" y="31"/>
                        </a:lnTo>
                        <a:lnTo>
                          <a:pt x="37" y="31"/>
                        </a:lnTo>
                        <a:lnTo>
                          <a:pt x="37" y="32"/>
                        </a:lnTo>
                        <a:lnTo>
                          <a:pt x="37" y="33"/>
                        </a:lnTo>
                        <a:lnTo>
                          <a:pt x="37" y="34"/>
                        </a:lnTo>
                        <a:lnTo>
                          <a:pt x="37" y="35"/>
                        </a:lnTo>
                        <a:lnTo>
                          <a:pt x="38" y="36"/>
                        </a:lnTo>
                        <a:lnTo>
                          <a:pt x="39" y="36"/>
                        </a:lnTo>
                        <a:lnTo>
                          <a:pt x="40" y="37"/>
                        </a:lnTo>
                        <a:lnTo>
                          <a:pt x="40" y="38"/>
                        </a:lnTo>
                        <a:lnTo>
                          <a:pt x="37" y="39"/>
                        </a:lnTo>
                        <a:lnTo>
                          <a:pt x="35" y="39"/>
                        </a:lnTo>
                        <a:lnTo>
                          <a:pt x="35" y="40"/>
                        </a:lnTo>
                        <a:lnTo>
                          <a:pt x="35" y="42"/>
                        </a:lnTo>
                        <a:lnTo>
                          <a:pt x="34" y="45"/>
                        </a:lnTo>
                        <a:lnTo>
                          <a:pt x="35" y="45"/>
                        </a:lnTo>
                        <a:lnTo>
                          <a:pt x="39" y="46"/>
                        </a:lnTo>
                        <a:lnTo>
                          <a:pt x="41" y="48"/>
                        </a:lnTo>
                        <a:lnTo>
                          <a:pt x="43" y="48"/>
                        </a:lnTo>
                        <a:lnTo>
                          <a:pt x="44" y="52"/>
                        </a:lnTo>
                        <a:lnTo>
                          <a:pt x="45" y="53"/>
                        </a:lnTo>
                        <a:lnTo>
                          <a:pt x="45" y="54"/>
                        </a:lnTo>
                        <a:lnTo>
                          <a:pt x="46" y="57"/>
                        </a:lnTo>
                        <a:lnTo>
                          <a:pt x="46" y="58"/>
                        </a:lnTo>
                        <a:lnTo>
                          <a:pt x="46" y="59"/>
                        </a:lnTo>
                        <a:lnTo>
                          <a:pt x="45" y="60"/>
                        </a:lnTo>
                        <a:lnTo>
                          <a:pt x="43" y="61"/>
                        </a:lnTo>
                        <a:lnTo>
                          <a:pt x="40" y="61"/>
                        </a:lnTo>
                        <a:lnTo>
                          <a:pt x="40" y="71"/>
                        </a:lnTo>
                        <a:lnTo>
                          <a:pt x="40" y="69"/>
                        </a:lnTo>
                        <a:lnTo>
                          <a:pt x="40" y="68"/>
                        </a:lnTo>
                        <a:lnTo>
                          <a:pt x="40" y="67"/>
                        </a:lnTo>
                        <a:lnTo>
                          <a:pt x="38" y="67"/>
                        </a:lnTo>
                        <a:lnTo>
                          <a:pt x="35" y="67"/>
                        </a:lnTo>
                        <a:lnTo>
                          <a:pt x="37" y="67"/>
                        </a:lnTo>
                        <a:lnTo>
                          <a:pt x="32" y="69"/>
                        </a:lnTo>
                        <a:lnTo>
                          <a:pt x="30" y="70"/>
                        </a:lnTo>
                        <a:lnTo>
                          <a:pt x="28" y="69"/>
                        </a:lnTo>
                        <a:lnTo>
                          <a:pt x="24" y="67"/>
                        </a:lnTo>
                        <a:lnTo>
                          <a:pt x="24" y="66"/>
                        </a:lnTo>
                        <a:lnTo>
                          <a:pt x="24" y="64"/>
                        </a:lnTo>
                        <a:lnTo>
                          <a:pt x="28" y="64"/>
                        </a:lnTo>
                        <a:lnTo>
                          <a:pt x="30" y="64"/>
                        </a:lnTo>
                        <a:lnTo>
                          <a:pt x="30" y="63"/>
                        </a:lnTo>
                        <a:lnTo>
                          <a:pt x="30" y="62"/>
                        </a:lnTo>
                        <a:lnTo>
                          <a:pt x="30" y="61"/>
                        </a:lnTo>
                        <a:lnTo>
                          <a:pt x="30" y="58"/>
                        </a:lnTo>
                        <a:lnTo>
                          <a:pt x="28" y="56"/>
                        </a:lnTo>
                        <a:lnTo>
                          <a:pt x="25" y="56"/>
                        </a:lnTo>
                        <a:lnTo>
                          <a:pt x="20" y="57"/>
                        </a:lnTo>
                        <a:lnTo>
                          <a:pt x="20" y="58"/>
                        </a:lnTo>
                        <a:lnTo>
                          <a:pt x="20" y="59"/>
                        </a:lnTo>
                        <a:lnTo>
                          <a:pt x="19" y="60"/>
                        </a:lnTo>
                        <a:lnTo>
                          <a:pt x="17" y="61"/>
                        </a:lnTo>
                        <a:lnTo>
                          <a:pt x="16" y="61"/>
                        </a:lnTo>
                        <a:lnTo>
                          <a:pt x="15" y="61"/>
                        </a:lnTo>
                        <a:lnTo>
                          <a:pt x="14" y="61"/>
                        </a:lnTo>
                        <a:lnTo>
                          <a:pt x="12" y="59"/>
                        </a:lnTo>
                        <a:lnTo>
                          <a:pt x="11" y="57"/>
                        </a:lnTo>
                        <a:lnTo>
                          <a:pt x="10" y="56"/>
                        </a:lnTo>
                        <a:lnTo>
                          <a:pt x="10" y="54"/>
                        </a:lnTo>
                        <a:lnTo>
                          <a:pt x="8" y="51"/>
                        </a:lnTo>
                        <a:lnTo>
                          <a:pt x="7" y="50"/>
                        </a:lnTo>
                        <a:lnTo>
                          <a:pt x="6" y="50"/>
                        </a:lnTo>
                        <a:lnTo>
                          <a:pt x="4" y="48"/>
                        </a:lnTo>
                        <a:lnTo>
                          <a:pt x="4" y="46"/>
                        </a:lnTo>
                        <a:lnTo>
                          <a:pt x="2" y="45"/>
                        </a:lnTo>
                        <a:lnTo>
                          <a:pt x="2" y="43"/>
                        </a:lnTo>
                        <a:lnTo>
                          <a:pt x="0" y="41"/>
                        </a:lnTo>
                        <a:lnTo>
                          <a:pt x="2" y="41"/>
                        </a:lnTo>
                        <a:lnTo>
                          <a:pt x="4" y="41"/>
                        </a:lnTo>
                        <a:lnTo>
                          <a:pt x="6" y="42"/>
                        </a:lnTo>
                        <a:lnTo>
                          <a:pt x="6" y="43"/>
                        </a:lnTo>
                        <a:lnTo>
                          <a:pt x="7" y="44"/>
                        </a:lnTo>
                        <a:lnTo>
                          <a:pt x="7" y="45"/>
                        </a:lnTo>
                        <a:lnTo>
                          <a:pt x="9" y="44"/>
                        </a:lnTo>
                        <a:lnTo>
                          <a:pt x="10" y="43"/>
                        </a:lnTo>
                        <a:lnTo>
                          <a:pt x="10" y="42"/>
                        </a:lnTo>
                        <a:lnTo>
                          <a:pt x="10" y="41"/>
                        </a:lnTo>
                        <a:lnTo>
                          <a:pt x="10" y="38"/>
                        </a:lnTo>
                        <a:lnTo>
                          <a:pt x="10" y="35"/>
                        </a:lnTo>
                        <a:lnTo>
                          <a:pt x="10" y="32"/>
                        </a:lnTo>
                        <a:lnTo>
                          <a:pt x="10" y="31"/>
                        </a:lnTo>
                        <a:lnTo>
                          <a:pt x="14" y="29"/>
                        </a:lnTo>
                        <a:lnTo>
                          <a:pt x="15" y="29"/>
                        </a:lnTo>
                        <a:lnTo>
                          <a:pt x="16" y="29"/>
                        </a:lnTo>
                        <a:lnTo>
                          <a:pt x="17" y="29"/>
                        </a:lnTo>
                        <a:lnTo>
                          <a:pt x="17" y="38"/>
                        </a:lnTo>
                        <a:lnTo>
                          <a:pt x="19" y="39"/>
                        </a:lnTo>
                        <a:lnTo>
                          <a:pt x="22" y="40"/>
                        </a:lnTo>
                        <a:lnTo>
                          <a:pt x="24" y="41"/>
                        </a:lnTo>
                        <a:lnTo>
                          <a:pt x="27" y="41"/>
                        </a:lnTo>
                        <a:lnTo>
                          <a:pt x="29" y="35"/>
                        </a:lnTo>
                        <a:lnTo>
                          <a:pt x="30" y="30"/>
                        </a:lnTo>
                        <a:lnTo>
                          <a:pt x="30" y="24"/>
                        </a:lnTo>
                        <a:lnTo>
                          <a:pt x="30" y="16"/>
                        </a:lnTo>
                        <a:lnTo>
                          <a:pt x="34" y="15"/>
                        </a:lnTo>
                        <a:lnTo>
                          <a:pt x="35" y="15"/>
                        </a:lnTo>
                        <a:lnTo>
                          <a:pt x="38" y="13"/>
                        </a:lnTo>
                        <a:lnTo>
                          <a:pt x="39" y="11"/>
                        </a:lnTo>
                        <a:lnTo>
                          <a:pt x="40" y="9"/>
                        </a:lnTo>
                        <a:lnTo>
                          <a:pt x="41" y="9"/>
                        </a:lnTo>
                        <a:lnTo>
                          <a:pt x="42" y="9"/>
                        </a:lnTo>
                        <a:lnTo>
                          <a:pt x="43" y="9"/>
                        </a:lnTo>
                        <a:lnTo>
                          <a:pt x="45" y="8"/>
                        </a:lnTo>
                        <a:lnTo>
                          <a:pt x="46" y="7"/>
                        </a:lnTo>
                        <a:lnTo>
                          <a:pt x="48" y="6"/>
                        </a:lnTo>
                        <a:lnTo>
                          <a:pt x="50" y="6"/>
                        </a:lnTo>
                        <a:lnTo>
                          <a:pt x="50" y="7"/>
                        </a:lnTo>
                        <a:lnTo>
                          <a:pt x="50" y="8"/>
                        </a:lnTo>
                        <a:lnTo>
                          <a:pt x="50" y="9"/>
                        </a:lnTo>
                        <a:lnTo>
                          <a:pt x="52" y="10"/>
                        </a:lnTo>
                        <a:lnTo>
                          <a:pt x="53" y="10"/>
                        </a:lnTo>
                        <a:lnTo>
                          <a:pt x="54" y="9"/>
                        </a:lnTo>
                        <a:lnTo>
                          <a:pt x="56" y="9"/>
                        </a:lnTo>
                        <a:lnTo>
                          <a:pt x="56" y="10"/>
                        </a:lnTo>
                        <a:lnTo>
                          <a:pt x="57" y="12"/>
                        </a:lnTo>
                        <a:lnTo>
                          <a:pt x="58" y="15"/>
                        </a:lnTo>
                        <a:lnTo>
                          <a:pt x="60" y="16"/>
                        </a:lnTo>
                        <a:lnTo>
                          <a:pt x="61" y="16"/>
                        </a:lnTo>
                        <a:lnTo>
                          <a:pt x="62" y="16"/>
                        </a:lnTo>
                        <a:lnTo>
                          <a:pt x="63" y="16"/>
                        </a:lnTo>
                        <a:lnTo>
                          <a:pt x="65" y="12"/>
                        </a:lnTo>
                        <a:lnTo>
                          <a:pt x="66" y="9"/>
                        </a:lnTo>
                        <a:lnTo>
                          <a:pt x="66" y="6"/>
                        </a:lnTo>
                        <a:lnTo>
                          <a:pt x="66" y="3"/>
                        </a:lnTo>
                        <a:lnTo>
                          <a:pt x="67" y="3"/>
                        </a:lnTo>
                        <a:lnTo>
                          <a:pt x="68" y="3"/>
                        </a:lnTo>
                        <a:lnTo>
                          <a:pt x="69" y="3"/>
                        </a:lnTo>
                        <a:lnTo>
                          <a:pt x="70" y="3"/>
                        </a:lnTo>
                        <a:lnTo>
                          <a:pt x="70" y="0"/>
                        </a:lnTo>
                        <a:lnTo>
                          <a:pt x="72" y="0"/>
                        </a:lnTo>
                        <a:lnTo>
                          <a:pt x="76" y="0"/>
                        </a:lnTo>
                        <a:lnTo>
                          <a:pt x="77" y="0"/>
                        </a:lnTo>
                        <a:lnTo>
                          <a:pt x="78" y="0"/>
                        </a:lnTo>
                        <a:lnTo>
                          <a:pt x="79" y="0"/>
                        </a:lnTo>
                        <a:lnTo>
                          <a:pt x="79" y="2"/>
                        </a:lnTo>
                        <a:lnTo>
                          <a:pt x="79"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6" name="Freeform 2176">
                    <a:extLst>
                      <a:ext uri="{FF2B5EF4-FFF2-40B4-BE49-F238E27FC236}">
                        <a16:creationId xmlns:a16="http://schemas.microsoft.com/office/drawing/2014/main" xmlns="" id="{7FBA6CAF-7D86-4CF7-945E-EC8F28C52B36}"/>
                      </a:ext>
                    </a:extLst>
                  </p:cNvPr>
                  <p:cNvSpPr>
                    <a:spLocks/>
                  </p:cNvSpPr>
                  <p:nvPr/>
                </p:nvSpPr>
                <p:spPr bwMode="gray">
                  <a:xfrm>
                    <a:off x="5226376" y="2344226"/>
                    <a:ext cx="32262" cy="57847"/>
                  </a:xfrm>
                  <a:custGeom>
                    <a:avLst/>
                    <a:gdLst>
                      <a:gd name="T0" fmla="*/ 2147483647 w 29"/>
                      <a:gd name="T1" fmla="*/ 2147483647 h 52"/>
                      <a:gd name="T2" fmla="*/ 2147483647 w 29"/>
                      <a:gd name="T3" fmla="*/ 2147483647 h 52"/>
                      <a:gd name="T4" fmla="*/ 2147483647 w 29"/>
                      <a:gd name="T5" fmla="*/ 2147483647 h 52"/>
                      <a:gd name="T6" fmla="*/ 2147483647 w 29"/>
                      <a:gd name="T7" fmla="*/ 2147483647 h 52"/>
                      <a:gd name="T8" fmla="*/ 2147483647 w 29"/>
                      <a:gd name="T9" fmla="*/ 2147483647 h 52"/>
                      <a:gd name="T10" fmla="*/ 2147483647 w 29"/>
                      <a:gd name="T11" fmla="*/ 2147483647 h 52"/>
                      <a:gd name="T12" fmla="*/ 2147483647 w 29"/>
                      <a:gd name="T13" fmla="*/ 2147483647 h 52"/>
                      <a:gd name="T14" fmla="*/ 2147483647 w 29"/>
                      <a:gd name="T15" fmla="*/ 2147483647 h 52"/>
                      <a:gd name="T16" fmla="*/ 2147483647 w 29"/>
                      <a:gd name="T17" fmla="*/ 2147483647 h 52"/>
                      <a:gd name="T18" fmla="*/ 2147483647 w 29"/>
                      <a:gd name="T19" fmla="*/ 2147483647 h 52"/>
                      <a:gd name="T20" fmla="*/ 2147483647 w 29"/>
                      <a:gd name="T21" fmla="*/ 2147483647 h 52"/>
                      <a:gd name="T22" fmla="*/ 2147483647 w 29"/>
                      <a:gd name="T23" fmla="*/ 2147483647 h 52"/>
                      <a:gd name="T24" fmla="*/ 2147483647 w 29"/>
                      <a:gd name="T25" fmla="*/ 2147483647 h 52"/>
                      <a:gd name="T26" fmla="*/ 2147483647 w 29"/>
                      <a:gd name="T27" fmla="*/ 2147483647 h 52"/>
                      <a:gd name="T28" fmla="*/ 2147483647 w 29"/>
                      <a:gd name="T29" fmla="*/ 2147483647 h 52"/>
                      <a:gd name="T30" fmla="*/ 2147483647 w 29"/>
                      <a:gd name="T31" fmla="*/ 2147483647 h 52"/>
                      <a:gd name="T32" fmla="*/ 2147483647 w 29"/>
                      <a:gd name="T33" fmla="*/ 2147483647 h 52"/>
                      <a:gd name="T34" fmla="*/ 2147483647 w 29"/>
                      <a:gd name="T35" fmla="*/ 2147483647 h 52"/>
                      <a:gd name="T36" fmla="*/ 2147483647 w 29"/>
                      <a:gd name="T37" fmla="*/ 2147483647 h 52"/>
                      <a:gd name="T38" fmla="*/ 2147483647 w 29"/>
                      <a:gd name="T39" fmla="*/ 2147483647 h 52"/>
                      <a:gd name="T40" fmla="*/ 2147483647 w 29"/>
                      <a:gd name="T41" fmla="*/ 2147483647 h 52"/>
                      <a:gd name="T42" fmla="*/ 2147483647 w 29"/>
                      <a:gd name="T43" fmla="*/ 2147483647 h 52"/>
                      <a:gd name="T44" fmla="*/ 2147483647 w 29"/>
                      <a:gd name="T45" fmla="*/ 2147483647 h 52"/>
                      <a:gd name="T46" fmla="*/ 2147483647 w 29"/>
                      <a:gd name="T47" fmla="*/ 2147483647 h 52"/>
                      <a:gd name="T48" fmla="*/ 2147483647 w 29"/>
                      <a:gd name="T49" fmla="*/ 0 h 52"/>
                      <a:gd name="T50" fmla="*/ 2147483647 w 29"/>
                      <a:gd name="T51" fmla="*/ 2147483647 h 52"/>
                      <a:gd name="T52" fmla="*/ 2147483647 w 29"/>
                      <a:gd name="T53" fmla="*/ 2147483647 h 52"/>
                      <a:gd name="T54" fmla="*/ 2147483647 w 29"/>
                      <a:gd name="T55" fmla="*/ 2147483647 h 52"/>
                      <a:gd name="T56" fmla="*/ 2147483647 w 29"/>
                      <a:gd name="T57" fmla="*/ 2147483647 h 52"/>
                      <a:gd name="T58" fmla="*/ 2147483647 w 29"/>
                      <a:gd name="T59" fmla="*/ 2147483647 h 52"/>
                      <a:gd name="T60" fmla="*/ 2147483647 w 29"/>
                      <a:gd name="T61" fmla="*/ 2147483647 h 52"/>
                      <a:gd name="T62" fmla="*/ 2147483647 w 29"/>
                      <a:gd name="T63" fmla="*/ 2147483647 h 52"/>
                      <a:gd name="T64" fmla="*/ 2147483647 w 29"/>
                      <a:gd name="T65" fmla="*/ 2147483647 h 52"/>
                      <a:gd name="T66" fmla="*/ 2147483647 w 29"/>
                      <a:gd name="T67" fmla="*/ 2147483647 h 52"/>
                      <a:gd name="T68" fmla="*/ 2147483647 w 29"/>
                      <a:gd name="T69" fmla="*/ 2147483647 h 52"/>
                      <a:gd name="T70" fmla="*/ 2147483647 w 29"/>
                      <a:gd name="T71" fmla="*/ 2147483647 h 52"/>
                      <a:gd name="T72" fmla="*/ 2147483647 w 29"/>
                      <a:gd name="T73" fmla="*/ 2147483647 h 52"/>
                      <a:gd name="T74" fmla="*/ 2147483647 w 29"/>
                      <a:gd name="T75" fmla="*/ 2147483647 h 52"/>
                      <a:gd name="T76" fmla="*/ 2147483647 w 29"/>
                      <a:gd name="T77" fmla="*/ 2147483647 h 52"/>
                      <a:gd name="T78" fmla="*/ 2147483647 w 29"/>
                      <a:gd name="T79" fmla="*/ 2147483647 h 52"/>
                      <a:gd name="T80" fmla="*/ 2147483647 w 29"/>
                      <a:gd name="T81" fmla="*/ 2147483647 h 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9" h="52">
                        <a:moveTo>
                          <a:pt x="25" y="49"/>
                        </a:moveTo>
                        <a:lnTo>
                          <a:pt x="25" y="49"/>
                        </a:lnTo>
                        <a:lnTo>
                          <a:pt x="22" y="48"/>
                        </a:lnTo>
                        <a:lnTo>
                          <a:pt x="19" y="46"/>
                        </a:lnTo>
                        <a:lnTo>
                          <a:pt x="14" y="45"/>
                        </a:lnTo>
                        <a:lnTo>
                          <a:pt x="10" y="45"/>
                        </a:lnTo>
                        <a:lnTo>
                          <a:pt x="10" y="46"/>
                        </a:lnTo>
                        <a:lnTo>
                          <a:pt x="10" y="48"/>
                        </a:lnTo>
                        <a:lnTo>
                          <a:pt x="10" y="52"/>
                        </a:lnTo>
                        <a:lnTo>
                          <a:pt x="9" y="52"/>
                        </a:lnTo>
                        <a:lnTo>
                          <a:pt x="7" y="52"/>
                        </a:lnTo>
                        <a:lnTo>
                          <a:pt x="6" y="51"/>
                        </a:lnTo>
                        <a:lnTo>
                          <a:pt x="7" y="49"/>
                        </a:lnTo>
                        <a:lnTo>
                          <a:pt x="4" y="47"/>
                        </a:lnTo>
                        <a:lnTo>
                          <a:pt x="3" y="46"/>
                        </a:lnTo>
                        <a:lnTo>
                          <a:pt x="5" y="46"/>
                        </a:lnTo>
                        <a:lnTo>
                          <a:pt x="7" y="45"/>
                        </a:lnTo>
                        <a:lnTo>
                          <a:pt x="7" y="44"/>
                        </a:lnTo>
                        <a:lnTo>
                          <a:pt x="8" y="43"/>
                        </a:lnTo>
                        <a:lnTo>
                          <a:pt x="8" y="42"/>
                        </a:lnTo>
                        <a:lnTo>
                          <a:pt x="7" y="42"/>
                        </a:lnTo>
                        <a:lnTo>
                          <a:pt x="6" y="40"/>
                        </a:lnTo>
                        <a:lnTo>
                          <a:pt x="5" y="39"/>
                        </a:lnTo>
                        <a:lnTo>
                          <a:pt x="4" y="37"/>
                        </a:lnTo>
                        <a:lnTo>
                          <a:pt x="4" y="35"/>
                        </a:lnTo>
                        <a:lnTo>
                          <a:pt x="4" y="34"/>
                        </a:lnTo>
                        <a:lnTo>
                          <a:pt x="4" y="32"/>
                        </a:lnTo>
                        <a:lnTo>
                          <a:pt x="0" y="29"/>
                        </a:lnTo>
                        <a:lnTo>
                          <a:pt x="1" y="29"/>
                        </a:lnTo>
                        <a:lnTo>
                          <a:pt x="2" y="28"/>
                        </a:lnTo>
                        <a:lnTo>
                          <a:pt x="3" y="27"/>
                        </a:lnTo>
                        <a:lnTo>
                          <a:pt x="4" y="26"/>
                        </a:lnTo>
                        <a:lnTo>
                          <a:pt x="4" y="17"/>
                        </a:lnTo>
                        <a:lnTo>
                          <a:pt x="4" y="18"/>
                        </a:lnTo>
                        <a:lnTo>
                          <a:pt x="4" y="19"/>
                        </a:lnTo>
                        <a:lnTo>
                          <a:pt x="5" y="20"/>
                        </a:lnTo>
                        <a:lnTo>
                          <a:pt x="7" y="20"/>
                        </a:lnTo>
                        <a:lnTo>
                          <a:pt x="11" y="21"/>
                        </a:lnTo>
                        <a:lnTo>
                          <a:pt x="13" y="22"/>
                        </a:lnTo>
                        <a:lnTo>
                          <a:pt x="14" y="21"/>
                        </a:lnTo>
                        <a:lnTo>
                          <a:pt x="14" y="19"/>
                        </a:lnTo>
                        <a:lnTo>
                          <a:pt x="14" y="14"/>
                        </a:lnTo>
                        <a:lnTo>
                          <a:pt x="13" y="6"/>
                        </a:lnTo>
                        <a:lnTo>
                          <a:pt x="11" y="5"/>
                        </a:lnTo>
                        <a:lnTo>
                          <a:pt x="11" y="4"/>
                        </a:lnTo>
                        <a:lnTo>
                          <a:pt x="12" y="2"/>
                        </a:lnTo>
                        <a:lnTo>
                          <a:pt x="13" y="0"/>
                        </a:lnTo>
                        <a:lnTo>
                          <a:pt x="13" y="5"/>
                        </a:lnTo>
                        <a:lnTo>
                          <a:pt x="13" y="8"/>
                        </a:lnTo>
                        <a:lnTo>
                          <a:pt x="14" y="12"/>
                        </a:lnTo>
                        <a:lnTo>
                          <a:pt x="16" y="17"/>
                        </a:lnTo>
                        <a:lnTo>
                          <a:pt x="17" y="17"/>
                        </a:lnTo>
                        <a:lnTo>
                          <a:pt x="18" y="20"/>
                        </a:lnTo>
                        <a:lnTo>
                          <a:pt x="19" y="22"/>
                        </a:lnTo>
                        <a:lnTo>
                          <a:pt x="19" y="23"/>
                        </a:lnTo>
                        <a:lnTo>
                          <a:pt x="19" y="28"/>
                        </a:lnTo>
                        <a:lnTo>
                          <a:pt x="19" y="29"/>
                        </a:lnTo>
                        <a:lnTo>
                          <a:pt x="18" y="29"/>
                        </a:lnTo>
                        <a:lnTo>
                          <a:pt x="16" y="31"/>
                        </a:lnTo>
                        <a:lnTo>
                          <a:pt x="14" y="33"/>
                        </a:lnTo>
                        <a:lnTo>
                          <a:pt x="13" y="35"/>
                        </a:lnTo>
                        <a:lnTo>
                          <a:pt x="13" y="36"/>
                        </a:lnTo>
                        <a:lnTo>
                          <a:pt x="13" y="37"/>
                        </a:lnTo>
                        <a:lnTo>
                          <a:pt x="13" y="38"/>
                        </a:lnTo>
                        <a:lnTo>
                          <a:pt x="13" y="39"/>
                        </a:lnTo>
                        <a:lnTo>
                          <a:pt x="14" y="39"/>
                        </a:lnTo>
                        <a:lnTo>
                          <a:pt x="16" y="40"/>
                        </a:lnTo>
                        <a:lnTo>
                          <a:pt x="16" y="42"/>
                        </a:lnTo>
                        <a:lnTo>
                          <a:pt x="25" y="42"/>
                        </a:lnTo>
                        <a:lnTo>
                          <a:pt x="25" y="43"/>
                        </a:lnTo>
                        <a:lnTo>
                          <a:pt x="26" y="44"/>
                        </a:lnTo>
                        <a:lnTo>
                          <a:pt x="27" y="45"/>
                        </a:lnTo>
                        <a:lnTo>
                          <a:pt x="29" y="45"/>
                        </a:lnTo>
                        <a:lnTo>
                          <a:pt x="27" y="46"/>
                        </a:lnTo>
                        <a:lnTo>
                          <a:pt x="26" y="47"/>
                        </a:lnTo>
                        <a:lnTo>
                          <a:pt x="25" y="48"/>
                        </a:lnTo>
                        <a:lnTo>
                          <a:pt x="25" y="4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7" name="Freeform 2178">
                    <a:extLst>
                      <a:ext uri="{FF2B5EF4-FFF2-40B4-BE49-F238E27FC236}">
                        <a16:creationId xmlns:a16="http://schemas.microsoft.com/office/drawing/2014/main" xmlns="" id="{59473F5E-AC00-421B-A295-F490F5F0F59C}"/>
                      </a:ext>
                    </a:extLst>
                  </p:cNvPr>
                  <p:cNvSpPr>
                    <a:spLocks/>
                  </p:cNvSpPr>
                  <p:nvPr/>
                </p:nvSpPr>
                <p:spPr bwMode="gray">
                  <a:xfrm>
                    <a:off x="5230825" y="2432108"/>
                    <a:ext cx="5563" cy="5563"/>
                  </a:xfrm>
                  <a:custGeom>
                    <a:avLst/>
                    <a:gdLst>
                      <a:gd name="T0" fmla="*/ 0 w 5"/>
                      <a:gd name="T1" fmla="*/ 0 h 5"/>
                      <a:gd name="T2" fmla="*/ 0 w 5"/>
                      <a:gd name="T3" fmla="*/ 2147483647 h 5"/>
                      <a:gd name="T4" fmla="*/ 0 w 5"/>
                      <a:gd name="T5" fmla="*/ 2147483647 h 5"/>
                      <a:gd name="T6" fmla="*/ 2147483647 w 5"/>
                      <a:gd name="T7" fmla="*/ 2147483647 h 5"/>
                      <a:gd name="T8" fmla="*/ 2147483647 w 5"/>
                      <a:gd name="T9" fmla="*/ 2147483647 h 5"/>
                      <a:gd name="T10" fmla="*/ 2147483647 w 5"/>
                      <a:gd name="T11" fmla="*/ 2147483647 h 5"/>
                      <a:gd name="T12" fmla="*/ 2147483647 w 5"/>
                      <a:gd name="T13" fmla="*/ 2147483647 h 5"/>
                      <a:gd name="T14" fmla="*/ 2147483647 w 5"/>
                      <a:gd name="T15" fmla="*/ 2147483647 h 5"/>
                      <a:gd name="T16" fmla="*/ 2147483647 w 5"/>
                      <a:gd name="T17" fmla="*/ 2147483647 h 5"/>
                      <a:gd name="T18" fmla="*/ 2147483647 w 5"/>
                      <a:gd name="T19" fmla="*/ 2147483647 h 5"/>
                      <a:gd name="T20" fmla="*/ 2147483647 w 5"/>
                      <a:gd name="T21" fmla="*/ 2147483647 h 5"/>
                      <a:gd name="T22" fmla="*/ 2147483647 w 5"/>
                      <a:gd name="T23" fmla="*/ 2147483647 h 5"/>
                      <a:gd name="T24" fmla="*/ 2147483647 w 5"/>
                      <a:gd name="T25" fmla="*/ 0 h 5"/>
                      <a:gd name="T26" fmla="*/ 2147483647 w 5"/>
                      <a:gd name="T27" fmla="*/ 0 h 5"/>
                      <a:gd name="T28" fmla="*/ 2147483647 w 5"/>
                      <a:gd name="T29" fmla="*/ 0 h 5"/>
                      <a:gd name="T30" fmla="*/ 2147483647 w 5"/>
                      <a:gd name="T31" fmla="*/ 0 h 5"/>
                      <a:gd name="T32" fmla="*/ 2147483647 w 5"/>
                      <a:gd name="T33" fmla="*/ 0 h 5"/>
                      <a:gd name="T34" fmla="*/ 0 w 5"/>
                      <a:gd name="T35" fmla="*/ 0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 h="5">
                        <a:moveTo>
                          <a:pt x="0" y="0"/>
                        </a:moveTo>
                        <a:lnTo>
                          <a:pt x="0" y="3"/>
                        </a:lnTo>
                        <a:lnTo>
                          <a:pt x="1" y="4"/>
                        </a:lnTo>
                        <a:lnTo>
                          <a:pt x="2" y="4"/>
                        </a:lnTo>
                        <a:lnTo>
                          <a:pt x="2" y="5"/>
                        </a:lnTo>
                        <a:lnTo>
                          <a:pt x="3" y="4"/>
                        </a:lnTo>
                        <a:lnTo>
                          <a:pt x="4" y="4"/>
                        </a:lnTo>
                        <a:lnTo>
                          <a:pt x="5" y="3"/>
                        </a:lnTo>
                        <a:lnTo>
                          <a:pt x="5" y="2"/>
                        </a:lnTo>
                        <a:lnTo>
                          <a:pt x="5" y="1"/>
                        </a:lnTo>
                        <a:lnTo>
                          <a:pt x="5" y="0"/>
                        </a:lnTo>
                        <a:lnTo>
                          <a:pt x="3" y="0"/>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8" name="Freeform 2180">
                    <a:extLst>
                      <a:ext uri="{FF2B5EF4-FFF2-40B4-BE49-F238E27FC236}">
                        <a16:creationId xmlns:a16="http://schemas.microsoft.com/office/drawing/2014/main" xmlns="" id="{64CEB65B-3ECE-494C-9547-14E4A25C530D}"/>
                      </a:ext>
                    </a:extLst>
                  </p:cNvPr>
                  <p:cNvSpPr>
                    <a:spLocks/>
                  </p:cNvSpPr>
                  <p:nvPr/>
                </p:nvSpPr>
                <p:spPr bwMode="gray">
                  <a:xfrm>
                    <a:off x="5200789" y="2435445"/>
                    <a:ext cx="6675" cy="6675"/>
                  </a:xfrm>
                  <a:custGeom>
                    <a:avLst/>
                    <a:gdLst>
                      <a:gd name="T0" fmla="*/ 2147483647 w 6"/>
                      <a:gd name="T1" fmla="*/ 0 h 6"/>
                      <a:gd name="T2" fmla="*/ 2147483647 w 6"/>
                      <a:gd name="T3" fmla="*/ 0 h 6"/>
                      <a:gd name="T4" fmla="*/ 2147483647 w 6"/>
                      <a:gd name="T5" fmla="*/ 2147483647 h 6"/>
                      <a:gd name="T6" fmla="*/ 0 w 6"/>
                      <a:gd name="T7" fmla="*/ 2147483647 h 6"/>
                      <a:gd name="T8" fmla="*/ 0 w 6"/>
                      <a:gd name="T9" fmla="*/ 2147483647 h 6"/>
                      <a:gd name="T10" fmla="*/ 2147483647 w 6"/>
                      <a:gd name="T11" fmla="*/ 2147483647 h 6"/>
                      <a:gd name="T12" fmla="*/ 2147483647 w 6"/>
                      <a:gd name="T13" fmla="*/ 2147483647 h 6"/>
                      <a:gd name="T14" fmla="*/ 2147483647 w 6"/>
                      <a:gd name="T15" fmla="*/ 2147483647 h 6"/>
                      <a:gd name="T16" fmla="*/ 2147483647 w 6"/>
                      <a:gd name="T17" fmla="*/ 2147483647 h 6"/>
                      <a:gd name="T18" fmla="*/ 2147483647 w 6"/>
                      <a:gd name="T19" fmla="*/ 2147483647 h 6"/>
                      <a:gd name="T20" fmla="*/ 2147483647 w 6"/>
                      <a:gd name="T21" fmla="*/ 2147483647 h 6"/>
                      <a:gd name="T22" fmla="*/ 2147483647 w 6"/>
                      <a:gd name="T23" fmla="*/ 2147483647 h 6"/>
                      <a:gd name="T24" fmla="*/ 2147483647 w 6"/>
                      <a:gd name="T25" fmla="*/ 2147483647 h 6"/>
                      <a:gd name="T26" fmla="*/ 2147483647 w 6"/>
                      <a:gd name="T27" fmla="*/ 2147483647 h 6"/>
                      <a:gd name="T28" fmla="*/ 2147483647 w 6"/>
                      <a:gd name="T29" fmla="*/ 0 h 6"/>
                      <a:gd name="T30" fmla="*/ 2147483647 w 6"/>
                      <a:gd name="T31" fmla="*/ 0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 h="6">
                        <a:moveTo>
                          <a:pt x="3" y="0"/>
                        </a:moveTo>
                        <a:lnTo>
                          <a:pt x="3" y="0"/>
                        </a:lnTo>
                        <a:lnTo>
                          <a:pt x="1" y="2"/>
                        </a:lnTo>
                        <a:lnTo>
                          <a:pt x="0" y="3"/>
                        </a:lnTo>
                        <a:lnTo>
                          <a:pt x="0" y="4"/>
                        </a:lnTo>
                        <a:lnTo>
                          <a:pt x="1" y="5"/>
                        </a:lnTo>
                        <a:lnTo>
                          <a:pt x="4" y="5"/>
                        </a:lnTo>
                        <a:lnTo>
                          <a:pt x="5" y="6"/>
                        </a:lnTo>
                        <a:lnTo>
                          <a:pt x="6" y="6"/>
                        </a:lnTo>
                        <a:lnTo>
                          <a:pt x="6" y="4"/>
                        </a:lnTo>
                        <a:lnTo>
                          <a:pt x="6" y="3"/>
                        </a:lnTo>
                        <a:lnTo>
                          <a:pt x="5" y="2"/>
                        </a:lnTo>
                        <a:lnTo>
                          <a:pt x="4"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89" name="Freeform 2182">
                    <a:extLst>
                      <a:ext uri="{FF2B5EF4-FFF2-40B4-BE49-F238E27FC236}">
                        <a16:creationId xmlns:a16="http://schemas.microsoft.com/office/drawing/2014/main" xmlns="" id="{A8FAE9D2-B46D-4722-B130-E4D86DE1FBA6}"/>
                      </a:ext>
                    </a:extLst>
                  </p:cNvPr>
                  <p:cNvSpPr>
                    <a:spLocks/>
                  </p:cNvSpPr>
                  <p:nvPr/>
                </p:nvSpPr>
                <p:spPr bwMode="gray">
                  <a:xfrm>
                    <a:off x="4347511" y="2837037"/>
                    <a:ext cx="136836" cy="185778"/>
                  </a:xfrm>
                  <a:custGeom>
                    <a:avLst/>
                    <a:gdLst>
                      <a:gd name="T0" fmla="*/ 2147483647 w 123"/>
                      <a:gd name="T1" fmla="*/ 2147483647 h 167"/>
                      <a:gd name="T2" fmla="*/ 2147483647 w 123"/>
                      <a:gd name="T3" fmla="*/ 2147483647 h 167"/>
                      <a:gd name="T4" fmla="*/ 2147483647 w 123"/>
                      <a:gd name="T5" fmla="*/ 2147483647 h 167"/>
                      <a:gd name="T6" fmla="*/ 2147483647 w 123"/>
                      <a:gd name="T7" fmla="*/ 2147483647 h 167"/>
                      <a:gd name="T8" fmla="*/ 2147483647 w 123"/>
                      <a:gd name="T9" fmla="*/ 2147483647 h 167"/>
                      <a:gd name="T10" fmla="*/ 2147483647 w 123"/>
                      <a:gd name="T11" fmla="*/ 2147483647 h 167"/>
                      <a:gd name="T12" fmla="*/ 2147483647 w 123"/>
                      <a:gd name="T13" fmla="*/ 2147483647 h 167"/>
                      <a:gd name="T14" fmla="*/ 2147483647 w 123"/>
                      <a:gd name="T15" fmla="*/ 2147483647 h 167"/>
                      <a:gd name="T16" fmla="*/ 2147483647 w 123"/>
                      <a:gd name="T17" fmla="*/ 2147483647 h 167"/>
                      <a:gd name="T18" fmla="*/ 2147483647 w 123"/>
                      <a:gd name="T19" fmla="*/ 2147483647 h 167"/>
                      <a:gd name="T20" fmla="*/ 2147483647 w 123"/>
                      <a:gd name="T21" fmla="*/ 2147483647 h 167"/>
                      <a:gd name="T22" fmla="*/ 2147483647 w 123"/>
                      <a:gd name="T23" fmla="*/ 2147483647 h 167"/>
                      <a:gd name="T24" fmla="*/ 2147483647 w 123"/>
                      <a:gd name="T25" fmla="*/ 2147483647 h 167"/>
                      <a:gd name="T26" fmla="*/ 2147483647 w 123"/>
                      <a:gd name="T27" fmla="*/ 2147483647 h 167"/>
                      <a:gd name="T28" fmla="*/ 2147483647 w 123"/>
                      <a:gd name="T29" fmla="*/ 2147483647 h 167"/>
                      <a:gd name="T30" fmla="*/ 2147483647 w 123"/>
                      <a:gd name="T31" fmla="*/ 2147483647 h 167"/>
                      <a:gd name="T32" fmla="*/ 2147483647 w 123"/>
                      <a:gd name="T33" fmla="*/ 2147483647 h 167"/>
                      <a:gd name="T34" fmla="*/ 2147483647 w 123"/>
                      <a:gd name="T35" fmla="*/ 2147483647 h 167"/>
                      <a:gd name="T36" fmla="*/ 2147483647 w 123"/>
                      <a:gd name="T37" fmla="*/ 2147483647 h 167"/>
                      <a:gd name="T38" fmla="*/ 2147483647 w 123"/>
                      <a:gd name="T39" fmla="*/ 2147483647 h 167"/>
                      <a:gd name="T40" fmla="*/ 2147483647 w 123"/>
                      <a:gd name="T41" fmla="*/ 2147483647 h 167"/>
                      <a:gd name="T42" fmla="*/ 2147483647 w 123"/>
                      <a:gd name="T43" fmla="*/ 2147483647 h 167"/>
                      <a:gd name="T44" fmla="*/ 2147483647 w 123"/>
                      <a:gd name="T45" fmla="*/ 2147483647 h 167"/>
                      <a:gd name="T46" fmla="*/ 2147483647 w 123"/>
                      <a:gd name="T47" fmla="*/ 2147483647 h 167"/>
                      <a:gd name="T48" fmla="*/ 2147483647 w 123"/>
                      <a:gd name="T49" fmla="*/ 2147483647 h 167"/>
                      <a:gd name="T50" fmla="*/ 2147483647 w 123"/>
                      <a:gd name="T51" fmla="*/ 2147483647 h 167"/>
                      <a:gd name="T52" fmla="*/ 2147483647 w 123"/>
                      <a:gd name="T53" fmla="*/ 2147483647 h 167"/>
                      <a:gd name="T54" fmla="*/ 2147483647 w 123"/>
                      <a:gd name="T55" fmla="*/ 2147483647 h 167"/>
                      <a:gd name="T56" fmla="*/ 2147483647 w 123"/>
                      <a:gd name="T57" fmla="*/ 2147483647 h 167"/>
                      <a:gd name="T58" fmla="*/ 2147483647 w 123"/>
                      <a:gd name="T59" fmla="*/ 2147483647 h 167"/>
                      <a:gd name="T60" fmla="*/ 2147483647 w 123"/>
                      <a:gd name="T61" fmla="*/ 2147483647 h 167"/>
                      <a:gd name="T62" fmla="*/ 2147483647 w 123"/>
                      <a:gd name="T63" fmla="*/ 2147483647 h 167"/>
                      <a:gd name="T64" fmla="*/ 2147483647 w 123"/>
                      <a:gd name="T65" fmla="*/ 2147483647 h 167"/>
                      <a:gd name="T66" fmla="*/ 2147483647 w 123"/>
                      <a:gd name="T67" fmla="*/ 2147483647 h 167"/>
                      <a:gd name="T68" fmla="*/ 2147483647 w 123"/>
                      <a:gd name="T69" fmla="*/ 2147483647 h 167"/>
                      <a:gd name="T70" fmla="*/ 2147483647 w 123"/>
                      <a:gd name="T71" fmla="*/ 2147483647 h 167"/>
                      <a:gd name="T72" fmla="*/ 2147483647 w 123"/>
                      <a:gd name="T73" fmla="*/ 2147483647 h 167"/>
                      <a:gd name="T74" fmla="*/ 2147483647 w 123"/>
                      <a:gd name="T75" fmla="*/ 2147483647 h 167"/>
                      <a:gd name="T76" fmla="*/ 2147483647 w 123"/>
                      <a:gd name="T77" fmla="*/ 2147483647 h 167"/>
                      <a:gd name="T78" fmla="*/ 2147483647 w 123"/>
                      <a:gd name="T79" fmla="*/ 2147483647 h 167"/>
                      <a:gd name="T80" fmla="*/ 2147483647 w 123"/>
                      <a:gd name="T81" fmla="*/ 2147483647 h 167"/>
                      <a:gd name="T82" fmla="*/ 2147483647 w 123"/>
                      <a:gd name="T83" fmla="*/ 2147483647 h 167"/>
                      <a:gd name="T84" fmla="*/ 2147483647 w 123"/>
                      <a:gd name="T85" fmla="*/ 2147483647 h 167"/>
                      <a:gd name="T86" fmla="*/ 2147483647 w 123"/>
                      <a:gd name="T87" fmla="*/ 2147483647 h 167"/>
                      <a:gd name="T88" fmla="*/ 2147483647 w 123"/>
                      <a:gd name="T89" fmla="*/ 2147483647 h 167"/>
                      <a:gd name="T90" fmla="*/ 2147483647 w 123"/>
                      <a:gd name="T91" fmla="*/ 2147483647 h 167"/>
                      <a:gd name="T92" fmla="*/ 2147483647 w 123"/>
                      <a:gd name="T93" fmla="*/ 2147483647 h 167"/>
                      <a:gd name="T94" fmla="*/ 2147483647 w 123"/>
                      <a:gd name="T95" fmla="*/ 2147483647 h 167"/>
                      <a:gd name="T96" fmla="*/ 2147483647 w 123"/>
                      <a:gd name="T97" fmla="*/ 2147483647 h 167"/>
                      <a:gd name="T98" fmla="*/ 2147483647 w 123"/>
                      <a:gd name="T99" fmla="*/ 2147483647 h 167"/>
                      <a:gd name="T100" fmla="*/ 2147483647 w 123"/>
                      <a:gd name="T101" fmla="*/ 2147483647 h 167"/>
                      <a:gd name="T102" fmla="*/ 2147483647 w 123"/>
                      <a:gd name="T103" fmla="*/ 2147483647 h 167"/>
                      <a:gd name="T104" fmla="*/ 2147483647 w 123"/>
                      <a:gd name="T105" fmla="*/ 2147483647 h 167"/>
                      <a:gd name="T106" fmla="*/ 0 w 123"/>
                      <a:gd name="T107" fmla="*/ 2147483647 h 167"/>
                      <a:gd name="T108" fmla="*/ 2147483647 w 123"/>
                      <a:gd name="T109" fmla="*/ 2147483647 h 167"/>
                      <a:gd name="T110" fmla="*/ 2147483647 w 123"/>
                      <a:gd name="T111" fmla="*/ 2147483647 h 167"/>
                      <a:gd name="T112" fmla="*/ 2147483647 w 123"/>
                      <a:gd name="T113" fmla="*/ 2147483647 h 167"/>
                      <a:gd name="T114" fmla="*/ 2147483647 w 123"/>
                      <a:gd name="T115" fmla="*/ 2147483647 h 167"/>
                      <a:gd name="T116" fmla="*/ 2147483647 w 123"/>
                      <a:gd name="T117" fmla="*/ 2147483647 h 1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3" h="167">
                        <a:moveTo>
                          <a:pt x="13" y="157"/>
                        </a:moveTo>
                        <a:lnTo>
                          <a:pt x="14" y="157"/>
                        </a:lnTo>
                        <a:lnTo>
                          <a:pt x="16" y="157"/>
                        </a:lnTo>
                        <a:lnTo>
                          <a:pt x="21" y="157"/>
                        </a:lnTo>
                        <a:lnTo>
                          <a:pt x="25" y="158"/>
                        </a:lnTo>
                        <a:lnTo>
                          <a:pt x="29" y="160"/>
                        </a:lnTo>
                        <a:lnTo>
                          <a:pt x="33" y="163"/>
                        </a:lnTo>
                        <a:lnTo>
                          <a:pt x="34" y="165"/>
                        </a:lnTo>
                        <a:lnTo>
                          <a:pt x="36" y="166"/>
                        </a:lnTo>
                        <a:lnTo>
                          <a:pt x="39" y="167"/>
                        </a:lnTo>
                        <a:lnTo>
                          <a:pt x="42" y="167"/>
                        </a:lnTo>
                        <a:lnTo>
                          <a:pt x="45" y="167"/>
                        </a:lnTo>
                        <a:lnTo>
                          <a:pt x="47" y="167"/>
                        </a:lnTo>
                        <a:lnTo>
                          <a:pt x="48" y="167"/>
                        </a:lnTo>
                        <a:lnTo>
                          <a:pt x="48" y="164"/>
                        </a:lnTo>
                        <a:lnTo>
                          <a:pt x="49" y="164"/>
                        </a:lnTo>
                        <a:lnTo>
                          <a:pt x="50" y="164"/>
                        </a:lnTo>
                        <a:lnTo>
                          <a:pt x="51" y="164"/>
                        </a:lnTo>
                        <a:lnTo>
                          <a:pt x="52" y="164"/>
                        </a:lnTo>
                        <a:lnTo>
                          <a:pt x="52" y="163"/>
                        </a:lnTo>
                        <a:lnTo>
                          <a:pt x="53" y="162"/>
                        </a:lnTo>
                        <a:lnTo>
                          <a:pt x="55" y="161"/>
                        </a:lnTo>
                        <a:lnTo>
                          <a:pt x="55" y="160"/>
                        </a:lnTo>
                        <a:lnTo>
                          <a:pt x="55" y="161"/>
                        </a:lnTo>
                        <a:lnTo>
                          <a:pt x="56" y="162"/>
                        </a:lnTo>
                        <a:lnTo>
                          <a:pt x="58" y="163"/>
                        </a:lnTo>
                        <a:lnTo>
                          <a:pt x="62" y="164"/>
                        </a:lnTo>
                        <a:lnTo>
                          <a:pt x="62" y="160"/>
                        </a:lnTo>
                        <a:lnTo>
                          <a:pt x="60" y="160"/>
                        </a:lnTo>
                        <a:lnTo>
                          <a:pt x="61" y="160"/>
                        </a:lnTo>
                        <a:lnTo>
                          <a:pt x="62" y="160"/>
                        </a:lnTo>
                        <a:lnTo>
                          <a:pt x="62" y="161"/>
                        </a:lnTo>
                        <a:lnTo>
                          <a:pt x="64" y="162"/>
                        </a:lnTo>
                        <a:lnTo>
                          <a:pt x="65" y="165"/>
                        </a:lnTo>
                        <a:lnTo>
                          <a:pt x="65" y="167"/>
                        </a:lnTo>
                        <a:lnTo>
                          <a:pt x="67" y="167"/>
                        </a:lnTo>
                        <a:lnTo>
                          <a:pt x="69" y="166"/>
                        </a:lnTo>
                        <a:lnTo>
                          <a:pt x="71" y="167"/>
                        </a:lnTo>
                        <a:lnTo>
                          <a:pt x="71" y="165"/>
                        </a:lnTo>
                        <a:lnTo>
                          <a:pt x="71" y="164"/>
                        </a:lnTo>
                        <a:lnTo>
                          <a:pt x="71" y="162"/>
                        </a:lnTo>
                        <a:lnTo>
                          <a:pt x="71" y="160"/>
                        </a:lnTo>
                        <a:lnTo>
                          <a:pt x="70" y="160"/>
                        </a:lnTo>
                        <a:lnTo>
                          <a:pt x="69" y="159"/>
                        </a:lnTo>
                        <a:lnTo>
                          <a:pt x="69" y="157"/>
                        </a:lnTo>
                        <a:lnTo>
                          <a:pt x="69" y="156"/>
                        </a:lnTo>
                        <a:lnTo>
                          <a:pt x="68" y="154"/>
                        </a:lnTo>
                        <a:lnTo>
                          <a:pt x="67" y="151"/>
                        </a:lnTo>
                        <a:lnTo>
                          <a:pt x="65" y="151"/>
                        </a:lnTo>
                        <a:lnTo>
                          <a:pt x="63" y="151"/>
                        </a:lnTo>
                        <a:lnTo>
                          <a:pt x="62" y="149"/>
                        </a:lnTo>
                        <a:lnTo>
                          <a:pt x="62" y="145"/>
                        </a:lnTo>
                        <a:lnTo>
                          <a:pt x="61" y="146"/>
                        </a:lnTo>
                        <a:lnTo>
                          <a:pt x="60" y="147"/>
                        </a:lnTo>
                        <a:lnTo>
                          <a:pt x="59" y="148"/>
                        </a:lnTo>
                        <a:lnTo>
                          <a:pt x="58" y="148"/>
                        </a:lnTo>
                        <a:lnTo>
                          <a:pt x="57" y="148"/>
                        </a:lnTo>
                        <a:lnTo>
                          <a:pt x="56" y="149"/>
                        </a:lnTo>
                        <a:lnTo>
                          <a:pt x="55" y="151"/>
                        </a:lnTo>
                        <a:lnTo>
                          <a:pt x="55" y="152"/>
                        </a:lnTo>
                        <a:lnTo>
                          <a:pt x="55" y="154"/>
                        </a:lnTo>
                        <a:lnTo>
                          <a:pt x="57" y="154"/>
                        </a:lnTo>
                        <a:lnTo>
                          <a:pt x="58" y="154"/>
                        </a:lnTo>
                        <a:lnTo>
                          <a:pt x="59" y="154"/>
                        </a:lnTo>
                        <a:lnTo>
                          <a:pt x="60" y="154"/>
                        </a:lnTo>
                        <a:lnTo>
                          <a:pt x="61" y="154"/>
                        </a:lnTo>
                        <a:lnTo>
                          <a:pt x="62" y="154"/>
                        </a:lnTo>
                        <a:lnTo>
                          <a:pt x="62" y="155"/>
                        </a:lnTo>
                        <a:lnTo>
                          <a:pt x="62" y="156"/>
                        </a:lnTo>
                        <a:lnTo>
                          <a:pt x="62" y="157"/>
                        </a:lnTo>
                        <a:lnTo>
                          <a:pt x="61" y="157"/>
                        </a:lnTo>
                        <a:lnTo>
                          <a:pt x="60" y="157"/>
                        </a:lnTo>
                        <a:lnTo>
                          <a:pt x="59" y="157"/>
                        </a:lnTo>
                        <a:lnTo>
                          <a:pt x="54" y="152"/>
                        </a:lnTo>
                        <a:lnTo>
                          <a:pt x="52" y="151"/>
                        </a:lnTo>
                        <a:lnTo>
                          <a:pt x="50" y="150"/>
                        </a:lnTo>
                        <a:lnTo>
                          <a:pt x="48" y="150"/>
                        </a:lnTo>
                        <a:lnTo>
                          <a:pt x="47" y="151"/>
                        </a:lnTo>
                        <a:lnTo>
                          <a:pt x="45" y="151"/>
                        </a:lnTo>
                        <a:lnTo>
                          <a:pt x="52" y="148"/>
                        </a:lnTo>
                        <a:lnTo>
                          <a:pt x="50" y="148"/>
                        </a:lnTo>
                        <a:lnTo>
                          <a:pt x="49" y="147"/>
                        </a:lnTo>
                        <a:lnTo>
                          <a:pt x="48" y="146"/>
                        </a:lnTo>
                        <a:lnTo>
                          <a:pt x="48" y="145"/>
                        </a:lnTo>
                        <a:lnTo>
                          <a:pt x="49" y="145"/>
                        </a:lnTo>
                        <a:lnTo>
                          <a:pt x="50" y="146"/>
                        </a:lnTo>
                        <a:lnTo>
                          <a:pt x="51" y="147"/>
                        </a:lnTo>
                        <a:lnTo>
                          <a:pt x="52" y="148"/>
                        </a:lnTo>
                        <a:lnTo>
                          <a:pt x="52" y="146"/>
                        </a:lnTo>
                        <a:lnTo>
                          <a:pt x="52" y="145"/>
                        </a:lnTo>
                        <a:lnTo>
                          <a:pt x="53" y="143"/>
                        </a:lnTo>
                        <a:lnTo>
                          <a:pt x="53" y="141"/>
                        </a:lnTo>
                        <a:lnTo>
                          <a:pt x="52" y="140"/>
                        </a:lnTo>
                        <a:lnTo>
                          <a:pt x="52" y="138"/>
                        </a:lnTo>
                        <a:lnTo>
                          <a:pt x="54" y="138"/>
                        </a:lnTo>
                        <a:lnTo>
                          <a:pt x="55" y="138"/>
                        </a:lnTo>
                        <a:lnTo>
                          <a:pt x="57" y="138"/>
                        </a:lnTo>
                        <a:lnTo>
                          <a:pt x="59" y="138"/>
                        </a:lnTo>
                        <a:lnTo>
                          <a:pt x="59" y="134"/>
                        </a:lnTo>
                        <a:lnTo>
                          <a:pt x="59" y="129"/>
                        </a:lnTo>
                        <a:lnTo>
                          <a:pt x="59" y="126"/>
                        </a:lnTo>
                        <a:lnTo>
                          <a:pt x="59" y="122"/>
                        </a:lnTo>
                        <a:lnTo>
                          <a:pt x="60" y="120"/>
                        </a:lnTo>
                        <a:lnTo>
                          <a:pt x="61" y="119"/>
                        </a:lnTo>
                        <a:lnTo>
                          <a:pt x="62" y="119"/>
                        </a:lnTo>
                        <a:lnTo>
                          <a:pt x="62" y="117"/>
                        </a:lnTo>
                        <a:lnTo>
                          <a:pt x="62" y="115"/>
                        </a:lnTo>
                        <a:lnTo>
                          <a:pt x="62" y="114"/>
                        </a:lnTo>
                        <a:lnTo>
                          <a:pt x="62" y="112"/>
                        </a:lnTo>
                        <a:lnTo>
                          <a:pt x="64" y="111"/>
                        </a:lnTo>
                        <a:lnTo>
                          <a:pt x="65" y="110"/>
                        </a:lnTo>
                        <a:lnTo>
                          <a:pt x="65" y="109"/>
                        </a:lnTo>
                        <a:lnTo>
                          <a:pt x="69" y="109"/>
                        </a:lnTo>
                        <a:lnTo>
                          <a:pt x="67" y="106"/>
                        </a:lnTo>
                        <a:lnTo>
                          <a:pt x="66" y="104"/>
                        </a:lnTo>
                        <a:lnTo>
                          <a:pt x="65" y="103"/>
                        </a:lnTo>
                        <a:lnTo>
                          <a:pt x="67" y="103"/>
                        </a:lnTo>
                        <a:lnTo>
                          <a:pt x="69" y="103"/>
                        </a:lnTo>
                        <a:lnTo>
                          <a:pt x="70" y="103"/>
                        </a:lnTo>
                        <a:lnTo>
                          <a:pt x="74" y="105"/>
                        </a:lnTo>
                        <a:lnTo>
                          <a:pt x="74" y="104"/>
                        </a:lnTo>
                        <a:lnTo>
                          <a:pt x="74" y="103"/>
                        </a:lnTo>
                        <a:lnTo>
                          <a:pt x="75" y="103"/>
                        </a:lnTo>
                        <a:lnTo>
                          <a:pt x="76" y="103"/>
                        </a:lnTo>
                        <a:lnTo>
                          <a:pt x="77" y="103"/>
                        </a:lnTo>
                        <a:lnTo>
                          <a:pt x="78" y="105"/>
                        </a:lnTo>
                        <a:lnTo>
                          <a:pt x="78" y="103"/>
                        </a:lnTo>
                        <a:lnTo>
                          <a:pt x="79" y="103"/>
                        </a:lnTo>
                        <a:lnTo>
                          <a:pt x="81" y="102"/>
                        </a:lnTo>
                        <a:lnTo>
                          <a:pt x="81" y="100"/>
                        </a:lnTo>
                        <a:lnTo>
                          <a:pt x="81" y="101"/>
                        </a:lnTo>
                        <a:lnTo>
                          <a:pt x="81" y="102"/>
                        </a:lnTo>
                        <a:lnTo>
                          <a:pt x="81" y="103"/>
                        </a:lnTo>
                        <a:lnTo>
                          <a:pt x="80" y="100"/>
                        </a:lnTo>
                        <a:lnTo>
                          <a:pt x="79" y="97"/>
                        </a:lnTo>
                        <a:lnTo>
                          <a:pt x="77" y="94"/>
                        </a:lnTo>
                        <a:lnTo>
                          <a:pt x="74" y="93"/>
                        </a:lnTo>
                        <a:lnTo>
                          <a:pt x="74" y="92"/>
                        </a:lnTo>
                        <a:lnTo>
                          <a:pt x="74" y="91"/>
                        </a:lnTo>
                        <a:lnTo>
                          <a:pt x="74" y="90"/>
                        </a:lnTo>
                        <a:lnTo>
                          <a:pt x="74" y="89"/>
                        </a:lnTo>
                        <a:lnTo>
                          <a:pt x="77" y="89"/>
                        </a:lnTo>
                        <a:lnTo>
                          <a:pt x="81" y="89"/>
                        </a:lnTo>
                        <a:lnTo>
                          <a:pt x="84" y="89"/>
                        </a:lnTo>
                        <a:lnTo>
                          <a:pt x="87" y="89"/>
                        </a:lnTo>
                        <a:lnTo>
                          <a:pt x="89" y="89"/>
                        </a:lnTo>
                        <a:lnTo>
                          <a:pt x="90" y="88"/>
                        </a:lnTo>
                        <a:lnTo>
                          <a:pt x="90" y="86"/>
                        </a:lnTo>
                        <a:lnTo>
                          <a:pt x="90" y="84"/>
                        </a:lnTo>
                        <a:lnTo>
                          <a:pt x="90" y="81"/>
                        </a:lnTo>
                        <a:lnTo>
                          <a:pt x="90" y="78"/>
                        </a:lnTo>
                        <a:lnTo>
                          <a:pt x="90" y="74"/>
                        </a:lnTo>
                        <a:lnTo>
                          <a:pt x="92" y="71"/>
                        </a:lnTo>
                        <a:lnTo>
                          <a:pt x="93" y="69"/>
                        </a:lnTo>
                        <a:lnTo>
                          <a:pt x="93" y="68"/>
                        </a:lnTo>
                        <a:lnTo>
                          <a:pt x="93" y="67"/>
                        </a:lnTo>
                        <a:lnTo>
                          <a:pt x="94" y="66"/>
                        </a:lnTo>
                        <a:lnTo>
                          <a:pt x="94" y="65"/>
                        </a:lnTo>
                        <a:lnTo>
                          <a:pt x="95" y="64"/>
                        </a:lnTo>
                        <a:lnTo>
                          <a:pt x="97" y="64"/>
                        </a:lnTo>
                        <a:lnTo>
                          <a:pt x="97" y="68"/>
                        </a:lnTo>
                        <a:lnTo>
                          <a:pt x="97" y="70"/>
                        </a:lnTo>
                        <a:lnTo>
                          <a:pt x="100" y="70"/>
                        </a:lnTo>
                        <a:lnTo>
                          <a:pt x="102" y="70"/>
                        </a:lnTo>
                        <a:lnTo>
                          <a:pt x="103" y="69"/>
                        </a:lnTo>
                        <a:lnTo>
                          <a:pt x="107" y="67"/>
                        </a:lnTo>
                        <a:lnTo>
                          <a:pt x="107" y="68"/>
                        </a:lnTo>
                        <a:lnTo>
                          <a:pt x="107" y="69"/>
                        </a:lnTo>
                        <a:lnTo>
                          <a:pt x="107" y="74"/>
                        </a:lnTo>
                        <a:lnTo>
                          <a:pt x="107" y="72"/>
                        </a:lnTo>
                        <a:lnTo>
                          <a:pt x="108" y="71"/>
                        </a:lnTo>
                        <a:lnTo>
                          <a:pt x="110" y="70"/>
                        </a:lnTo>
                        <a:lnTo>
                          <a:pt x="114" y="61"/>
                        </a:lnTo>
                        <a:lnTo>
                          <a:pt x="117" y="57"/>
                        </a:lnTo>
                        <a:lnTo>
                          <a:pt x="119" y="55"/>
                        </a:lnTo>
                        <a:lnTo>
                          <a:pt x="120" y="55"/>
                        </a:lnTo>
                        <a:lnTo>
                          <a:pt x="121" y="55"/>
                        </a:lnTo>
                        <a:lnTo>
                          <a:pt x="122" y="55"/>
                        </a:lnTo>
                        <a:lnTo>
                          <a:pt x="123" y="55"/>
                        </a:lnTo>
                        <a:lnTo>
                          <a:pt x="123" y="53"/>
                        </a:lnTo>
                        <a:lnTo>
                          <a:pt x="123" y="51"/>
                        </a:lnTo>
                        <a:lnTo>
                          <a:pt x="123" y="50"/>
                        </a:lnTo>
                        <a:lnTo>
                          <a:pt x="123" y="48"/>
                        </a:lnTo>
                        <a:lnTo>
                          <a:pt x="120" y="47"/>
                        </a:lnTo>
                        <a:lnTo>
                          <a:pt x="118" y="46"/>
                        </a:lnTo>
                        <a:lnTo>
                          <a:pt x="117" y="45"/>
                        </a:lnTo>
                        <a:lnTo>
                          <a:pt x="116" y="44"/>
                        </a:lnTo>
                        <a:lnTo>
                          <a:pt x="111" y="45"/>
                        </a:lnTo>
                        <a:lnTo>
                          <a:pt x="105" y="45"/>
                        </a:lnTo>
                        <a:lnTo>
                          <a:pt x="100" y="44"/>
                        </a:lnTo>
                        <a:lnTo>
                          <a:pt x="97" y="41"/>
                        </a:lnTo>
                        <a:lnTo>
                          <a:pt x="97" y="39"/>
                        </a:lnTo>
                        <a:lnTo>
                          <a:pt x="98" y="36"/>
                        </a:lnTo>
                        <a:lnTo>
                          <a:pt x="98" y="34"/>
                        </a:lnTo>
                        <a:lnTo>
                          <a:pt x="97" y="31"/>
                        </a:lnTo>
                        <a:lnTo>
                          <a:pt x="97" y="29"/>
                        </a:lnTo>
                        <a:lnTo>
                          <a:pt x="97" y="28"/>
                        </a:lnTo>
                        <a:lnTo>
                          <a:pt x="99" y="27"/>
                        </a:lnTo>
                        <a:lnTo>
                          <a:pt x="100" y="26"/>
                        </a:lnTo>
                        <a:lnTo>
                          <a:pt x="100" y="25"/>
                        </a:lnTo>
                        <a:lnTo>
                          <a:pt x="100" y="22"/>
                        </a:lnTo>
                        <a:lnTo>
                          <a:pt x="100" y="17"/>
                        </a:lnTo>
                        <a:lnTo>
                          <a:pt x="100" y="12"/>
                        </a:lnTo>
                        <a:lnTo>
                          <a:pt x="100" y="9"/>
                        </a:lnTo>
                        <a:lnTo>
                          <a:pt x="99" y="9"/>
                        </a:lnTo>
                        <a:lnTo>
                          <a:pt x="97" y="8"/>
                        </a:lnTo>
                        <a:lnTo>
                          <a:pt x="95" y="7"/>
                        </a:lnTo>
                        <a:lnTo>
                          <a:pt x="93" y="6"/>
                        </a:lnTo>
                        <a:lnTo>
                          <a:pt x="90" y="5"/>
                        </a:lnTo>
                        <a:lnTo>
                          <a:pt x="90" y="3"/>
                        </a:lnTo>
                        <a:lnTo>
                          <a:pt x="87" y="3"/>
                        </a:lnTo>
                        <a:lnTo>
                          <a:pt x="86" y="2"/>
                        </a:lnTo>
                        <a:lnTo>
                          <a:pt x="83" y="1"/>
                        </a:lnTo>
                        <a:lnTo>
                          <a:pt x="76" y="0"/>
                        </a:lnTo>
                        <a:lnTo>
                          <a:pt x="69" y="0"/>
                        </a:lnTo>
                        <a:lnTo>
                          <a:pt x="67" y="0"/>
                        </a:lnTo>
                        <a:lnTo>
                          <a:pt x="65" y="0"/>
                        </a:lnTo>
                        <a:lnTo>
                          <a:pt x="61" y="3"/>
                        </a:lnTo>
                        <a:lnTo>
                          <a:pt x="58" y="8"/>
                        </a:lnTo>
                        <a:lnTo>
                          <a:pt x="56" y="15"/>
                        </a:lnTo>
                        <a:lnTo>
                          <a:pt x="55" y="22"/>
                        </a:lnTo>
                        <a:lnTo>
                          <a:pt x="56" y="24"/>
                        </a:lnTo>
                        <a:lnTo>
                          <a:pt x="57" y="27"/>
                        </a:lnTo>
                        <a:lnTo>
                          <a:pt x="58" y="31"/>
                        </a:lnTo>
                        <a:lnTo>
                          <a:pt x="59" y="31"/>
                        </a:lnTo>
                        <a:lnTo>
                          <a:pt x="58" y="31"/>
                        </a:lnTo>
                        <a:lnTo>
                          <a:pt x="57" y="31"/>
                        </a:lnTo>
                        <a:lnTo>
                          <a:pt x="55" y="31"/>
                        </a:lnTo>
                        <a:lnTo>
                          <a:pt x="56" y="31"/>
                        </a:lnTo>
                        <a:lnTo>
                          <a:pt x="56" y="30"/>
                        </a:lnTo>
                        <a:lnTo>
                          <a:pt x="55" y="29"/>
                        </a:lnTo>
                        <a:lnTo>
                          <a:pt x="52" y="29"/>
                        </a:lnTo>
                        <a:lnTo>
                          <a:pt x="51" y="29"/>
                        </a:lnTo>
                        <a:lnTo>
                          <a:pt x="50" y="29"/>
                        </a:lnTo>
                        <a:lnTo>
                          <a:pt x="49" y="29"/>
                        </a:lnTo>
                        <a:lnTo>
                          <a:pt x="48" y="29"/>
                        </a:lnTo>
                        <a:lnTo>
                          <a:pt x="49" y="26"/>
                        </a:lnTo>
                        <a:lnTo>
                          <a:pt x="51" y="22"/>
                        </a:lnTo>
                        <a:lnTo>
                          <a:pt x="53" y="18"/>
                        </a:lnTo>
                        <a:lnTo>
                          <a:pt x="52" y="15"/>
                        </a:lnTo>
                        <a:lnTo>
                          <a:pt x="46" y="14"/>
                        </a:lnTo>
                        <a:lnTo>
                          <a:pt x="44" y="16"/>
                        </a:lnTo>
                        <a:lnTo>
                          <a:pt x="41" y="19"/>
                        </a:lnTo>
                        <a:lnTo>
                          <a:pt x="39" y="22"/>
                        </a:lnTo>
                        <a:lnTo>
                          <a:pt x="37" y="22"/>
                        </a:lnTo>
                        <a:lnTo>
                          <a:pt x="35" y="23"/>
                        </a:lnTo>
                        <a:lnTo>
                          <a:pt x="33" y="25"/>
                        </a:lnTo>
                        <a:lnTo>
                          <a:pt x="33" y="28"/>
                        </a:lnTo>
                        <a:lnTo>
                          <a:pt x="33" y="31"/>
                        </a:lnTo>
                        <a:lnTo>
                          <a:pt x="33" y="33"/>
                        </a:lnTo>
                        <a:lnTo>
                          <a:pt x="29" y="34"/>
                        </a:lnTo>
                        <a:lnTo>
                          <a:pt x="29" y="31"/>
                        </a:lnTo>
                        <a:lnTo>
                          <a:pt x="27" y="31"/>
                        </a:lnTo>
                        <a:lnTo>
                          <a:pt x="26" y="31"/>
                        </a:lnTo>
                        <a:lnTo>
                          <a:pt x="25" y="31"/>
                        </a:lnTo>
                        <a:lnTo>
                          <a:pt x="23" y="31"/>
                        </a:lnTo>
                        <a:lnTo>
                          <a:pt x="23" y="30"/>
                        </a:lnTo>
                        <a:lnTo>
                          <a:pt x="23" y="29"/>
                        </a:lnTo>
                        <a:lnTo>
                          <a:pt x="21" y="28"/>
                        </a:lnTo>
                        <a:lnTo>
                          <a:pt x="20" y="27"/>
                        </a:lnTo>
                        <a:lnTo>
                          <a:pt x="18" y="26"/>
                        </a:lnTo>
                        <a:lnTo>
                          <a:pt x="17" y="25"/>
                        </a:lnTo>
                        <a:lnTo>
                          <a:pt x="17" y="22"/>
                        </a:lnTo>
                        <a:lnTo>
                          <a:pt x="17" y="18"/>
                        </a:lnTo>
                        <a:lnTo>
                          <a:pt x="17" y="15"/>
                        </a:lnTo>
                        <a:lnTo>
                          <a:pt x="16" y="16"/>
                        </a:lnTo>
                        <a:lnTo>
                          <a:pt x="13" y="19"/>
                        </a:lnTo>
                        <a:lnTo>
                          <a:pt x="11" y="21"/>
                        </a:lnTo>
                        <a:lnTo>
                          <a:pt x="10" y="22"/>
                        </a:lnTo>
                        <a:lnTo>
                          <a:pt x="11" y="23"/>
                        </a:lnTo>
                        <a:lnTo>
                          <a:pt x="11" y="24"/>
                        </a:lnTo>
                        <a:lnTo>
                          <a:pt x="12" y="26"/>
                        </a:lnTo>
                        <a:lnTo>
                          <a:pt x="10" y="29"/>
                        </a:lnTo>
                        <a:lnTo>
                          <a:pt x="10" y="31"/>
                        </a:lnTo>
                        <a:lnTo>
                          <a:pt x="10" y="41"/>
                        </a:lnTo>
                        <a:lnTo>
                          <a:pt x="7" y="41"/>
                        </a:lnTo>
                        <a:lnTo>
                          <a:pt x="7" y="46"/>
                        </a:lnTo>
                        <a:lnTo>
                          <a:pt x="7" y="50"/>
                        </a:lnTo>
                        <a:lnTo>
                          <a:pt x="7" y="53"/>
                        </a:lnTo>
                        <a:lnTo>
                          <a:pt x="7" y="57"/>
                        </a:lnTo>
                        <a:lnTo>
                          <a:pt x="6" y="59"/>
                        </a:lnTo>
                        <a:lnTo>
                          <a:pt x="5" y="62"/>
                        </a:lnTo>
                        <a:lnTo>
                          <a:pt x="4" y="64"/>
                        </a:lnTo>
                        <a:lnTo>
                          <a:pt x="3" y="67"/>
                        </a:lnTo>
                        <a:lnTo>
                          <a:pt x="5" y="73"/>
                        </a:lnTo>
                        <a:lnTo>
                          <a:pt x="8" y="79"/>
                        </a:lnTo>
                        <a:lnTo>
                          <a:pt x="10" y="85"/>
                        </a:lnTo>
                        <a:lnTo>
                          <a:pt x="11" y="89"/>
                        </a:lnTo>
                        <a:lnTo>
                          <a:pt x="10" y="93"/>
                        </a:lnTo>
                        <a:lnTo>
                          <a:pt x="9" y="95"/>
                        </a:lnTo>
                        <a:lnTo>
                          <a:pt x="6" y="98"/>
                        </a:lnTo>
                        <a:lnTo>
                          <a:pt x="3" y="100"/>
                        </a:lnTo>
                        <a:lnTo>
                          <a:pt x="0" y="103"/>
                        </a:lnTo>
                        <a:lnTo>
                          <a:pt x="0" y="104"/>
                        </a:lnTo>
                        <a:lnTo>
                          <a:pt x="0" y="105"/>
                        </a:lnTo>
                        <a:lnTo>
                          <a:pt x="0" y="107"/>
                        </a:lnTo>
                        <a:lnTo>
                          <a:pt x="0" y="109"/>
                        </a:lnTo>
                        <a:lnTo>
                          <a:pt x="2" y="109"/>
                        </a:lnTo>
                        <a:lnTo>
                          <a:pt x="3" y="109"/>
                        </a:lnTo>
                        <a:lnTo>
                          <a:pt x="5" y="110"/>
                        </a:lnTo>
                        <a:lnTo>
                          <a:pt x="7" y="112"/>
                        </a:lnTo>
                        <a:lnTo>
                          <a:pt x="8" y="114"/>
                        </a:lnTo>
                        <a:lnTo>
                          <a:pt x="10" y="115"/>
                        </a:lnTo>
                        <a:lnTo>
                          <a:pt x="12" y="116"/>
                        </a:lnTo>
                        <a:lnTo>
                          <a:pt x="13" y="116"/>
                        </a:lnTo>
                        <a:lnTo>
                          <a:pt x="13" y="114"/>
                        </a:lnTo>
                        <a:lnTo>
                          <a:pt x="11" y="112"/>
                        </a:lnTo>
                        <a:lnTo>
                          <a:pt x="10" y="109"/>
                        </a:lnTo>
                        <a:lnTo>
                          <a:pt x="12" y="109"/>
                        </a:lnTo>
                        <a:lnTo>
                          <a:pt x="13" y="109"/>
                        </a:lnTo>
                        <a:lnTo>
                          <a:pt x="15" y="111"/>
                        </a:lnTo>
                        <a:lnTo>
                          <a:pt x="15" y="112"/>
                        </a:lnTo>
                        <a:lnTo>
                          <a:pt x="15" y="113"/>
                        </a:lnTo>
                        <a:lnTo>
                          <a:pt x="17" y="115"/>
                        </a:lnTo>
                        <a:lnTo>
                          <a:pt x="17" y="118"/>
                        </a:lnTo>
                        <a:lnTo>
                          <a:pt x="19" y="120"/>
                        </a:lnTo>
                        <a:lnTo>
                          <a:pt x="20" y="123"/>
                        </a:lnTo>
                        <a:lnTo>
                          <a:pt x="20" y="125"/>
                        </a:lnTo>
                        <a:lnTo>
                          <a:pt x="21" y="129"/>
                        </a:lnTo>
                        <a:lnTo>
                          <a:pt x="21" y="132"/>
                        </a:lnTo>
                        <a:lnTo>
                          <a:pt x="19" y="135"/>
                        </a:lnTo>
                        <a:lnTo>
                          <a:pt x="17" y="138"/>
                        </a:lnTo>
                        <a:lnTo>
                          <a:pt x="17" y="142"/>
                        </a:lnTo>
                        <a:lnTo>
                          <a:pt x="17" y="144"/>
                        </a:lnTo>
                        <a:lnTo>
                          <a:pt x="17" y="145"/>
                        </a:lnTo>
                        <a:lnTo>
                          <a:pt x="16" y="147"/>
                        </a:lnTo>
                        <a:lnTo>
                          <a:pt x="15" y="150"/>
                        </a:lnTo>
                        <a:lnTo>
                          <a:pt x="14" y="152"/>
                        </a:lnTo>
                        <a:lnTo>
                          <a:pt x="13" y="15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0" name="Freeform 2186">
                    <a:extLst>
                      <a:ext uri="{FF2B5EF4-FFF2-40B4-BE49-F238E27FC236}">
                        <a16:creationId xmlns:a16="http://schemas.microsoft.com/office/drawing/2014/main" xmlns="" id="{22828E15-2E06-43DF-B304-CF6020129DF9}"/>
                      </a:ext>
                    </a:extLst>
                  </p:cNvPr>
                  <p:cNvSpPr>
                    <a:spLocks/>
                  </p:cNvSpPr>
                  <p:nvPr/>
                </p:nvSpPr>
                <p:spPr bwMode="gray">
                  <a:xfrm>
                    <a:off x="3841328" y="2295279"/>
                    <a:ext cx="1113" cy="3337"/>
                  </a:xfrm>
                  <a:custGeom>
                    <a:avLst/>
                    <a:gdLst>
                      <a:gd name="T0" fmla="*/ 0 w 1"/>
                      <a:gd name="T1" fmla="*/ 0 h 3"/>
                      <a:gd name="T2" fmla="*/ 0 w 1"/>
                      <a:gd name="T3" fmla="*/ 2147483647 h 3"/>
                      <a:gd name="T4" fmla="*/ 2147483647 w 1"/>
                      <a:gd name="T5" fmla="*/ 2147483647 h 3"/>
                      <a:gd name="T6" fmla="*/ 2147483647 w 1"/>
                      <a:gd name="T7" fmla="*/ 2147483647 h 3"/>
                      <a:gd name="T8" fmla="*/ 0 w 1"/>
                      <a:gd name="T9" fmla="*/ 0 h 3"/>
                      <a:gd name="T10" fmla="*/ 0 w 1"/>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3">
                        <a:moveTo>
                          <a:pt x="0" y="0"/>
                        </a:moveTo>
                        <a:lnTo>
                          <a:pt x="0" y="3"/>
                        </a:lnTo>
                        <a:lnTo>
                          <a:pt x="1" y="3"/>
                        </a:lnTo>
                        <a:lnTo>
                          <a:pt x="1"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1" name="Freeform 2188">
                    <a:extLst>
                      <a:ext uri="{FF2B5EF4-FFF2-40B4-BE49-F238E27FC236}">
                        <a16:creationId xmlns:a16="http://schemas.microsoft.com/office/drawing/2014/main" xmlns="" id="{73FBA2A6-70DF-4219-8208-61C23D4723E2}"/>
                      </a:ext>
                    </a:extLst>
                  </p:cNvPr>
                  <p:cNvSpPr>
                    <a:spLocks/>
                  </p:cNvSpPr>
                  <p:nvPr/>
                </p:nvSpPr>
                <p:spPr bwMode="gray">
                  <a:xfrm>
                    <a:off x="3870253" y="2265242"/>
                    <a:ext cx="1113" cy="4450"/>
                  </a:xfrm>
                  <a:custGeom>
                    <a:avLst/>
                    <a:gdLst>
                      <a:gd name="T0" fmla="*/ 0 w 1"/>
                      <a:gd name="T1" fmla="*/ 2147483647 h 4"/>
                      <a:gd name="T2" fmla="*/ 0 w 1"/>
                      <a:gd name="T3" fmla="*/ 2147483647 h 4"/>
                      <a:gd name="T4" fmla="*/ 0 w 1"/>
                      <a:gd name="T5" fmla="*/ 2147483647 h 4"/>
                      <a:gd name="T6" fmla="*/ 0 w 1"/>
                      <a:gd name="T7" fmla="*/ 2147483647 h 4"/>
                      <a:gd name="T8" fmla="*/ 0 w 1"/>
                      <a:gd name="T9" fmla="*/ 2147483647 h 4"/>
                      <a:gd name="T10" fmla="*/ 2147483647 w 1"/>
                      <a:gd name="T11" fmla="*/ 2147483647 h 4"/>
                      <a:gd name="T12" fmla="*/ 2147483647 w 1"/>
                      <a:gd name="T13" fmla="*/ 2147483647 h 4"/>
                      <a:gd name="T14" fmla="*/ 2147483647 w 1"/>
                      <a:gd name="T15" fmla="*/ 2147483647 h 4"/>
                      <a:gd name="T16" fmla="*/ 0 w 1"/>
                      <a:gd name="T17" fmla="*/ 2147483647 h 4"/>
                      <a:gd name="T18" fmla="*/ 0 w 1"/>
                      <a:gd name="T19" fmla="*/ 2147483647 h 4"/>
                      <a:gd name="T20" fmla="*/ 0 w 1"/>
                      <a:gd name="T21" fmla="*/ 0 h 4"/>
                      <a:gd name="T22" fmla="*/ 0 w 1"/>
                      <a:gd name="T23" fmla="*/ 0 h 4"/>
                      <a:gd name="T24" fmla="*/ 0 w 1"/>
                      <a:gd name="T25" fmla="*/ 2147483647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 h="4">
                        <a:moveTo>
                          <a:pt x="0" y="1"/>
                        </a:moveTo>
                        <a:lnTo>
                          <a:pt x="0" y="1"/>
                        </a:lnTo>
                        <a:lnTo>
                          <a:pt x="0" y="3"/>
                        </a:lnTo>
                        <a:lnTo>
                          <a:pt x="0" y="4"/>
                        </a:lnTo>
                        <a:lnTo>
                          <a:pt x="1" y="4"/>
                        </a:lnTo>
                        <a:lnTo>
                          <a:pt x="1" y="3"/>
                        </a:lnTo>
                        <a:lnTo>
                          <a:pt x="1" y="1"/>
                        </a:lnTo>
                        <a:lnTo>
                          <a:pt x="0" y="1"/>
                        </a:lnTo>
                        <a:lnTo>
                          <a:pt x="0" y="0"/>
                        </a:lnTo>
                        <a:lnTo>
                          <a:pt x="0"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2" name="Freeform 2192">
                    <a:extLst>
                      <a:ext uri="{FF2B5EF4-FFF2-40B4-BE49-F238E27FC236}">
                        <a16:creationId xmlns:a16="http://schemas.microsoft.com/office/drawing/2014/main" xmlns="" id="{99447F5F-6716-4CBE-923B-E2491BDD8C0E}"/>
                      </a:ext>
                    </a:extLst>
                  </p:cNvPr>
                  <p:cNvSpPr>
                    <a:spLocks/>
                  </p:cNvSpPr>
                  <p:nvPr/>
                </p:nvSpPr>
                <p:spPr bwMode="gray">
                  <a:xfrm>
                    <a:off x="3872478" y="2263019"/>
                    <a:ext cx="4450" cy="3337"/>
                  </a:xfrm>
                  <a:custGeom>
                    <a:avLst/>
                    <a:gdLst>
                      <a:gd name="T0" fmla="*/ 2147483647 w 4"/>
                      <a:gd name="T1" fmla="*/ 0 h 3"/>
                      <a:gd name="T2" fmla="*/ 2147483647 w 4"/>
                      <a:gd name="T3" fmla="*/ 0 h 3"/>
                      <a:gd name="T4" fmla="*/ 2147483647 w 4"/>
                      <a:gd name="T5" fmla="*/ 0 h 3"/>
                      <a:gd name="T6" fmla="*/ 2147483647 w 4"/>
                      <a:gd name="T7" fmla="*/ 0 h 3"/>
                      <a:gd name="T8" fmla="*/ 0 w 4"/>
                      <a:gd name="T9" fmla="*/ 0 h 3"/>
                      <a:gd name="T10" fmla="*/ 2147483647 w 4"/>
                      <a:gd name="T11" fmla="*/ 2147483647 h 3"/>
                      <a:gd name="T12" fmla="*/ 2147483647 w 4"/>
                      <a:gd name="T13" fmla="*/ 2147483647 h 3"/>
                      <a:gd name="T14" fmla="*/ 2147483647 w 4"/>
                      <a:gd name="T15" fmla="*/ 2147483647 h 3"/>
                      <a:gd name="T16" fmla="*/ 2147483647 w 4"/>
                      <a:gd name="T17" fmla="*/ 2147483647 h 3"/>
                      <a:gd name="T18" fmla="*/ 2147483647 w 4"/>
                      <a:gd name="T19" fmla="*/ 0 h 3"/>
                      <a:gd name="T20" fmla="*/ 2147483647 w 4"/>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3">
                        <a:moveTo>
                          <a:pt x="4" y="0"/>
                        </a:moveTo>
                        <a:lnTo>
                          <a:pt x="3" y="0"/>
                        </a:lnTo>
                        <a:lnTo>
                          <a:pt x="2" y="0"/>
                        </a:lnTo>
                        <a:lnTo>
                          <a:pt x="1" y="0"/>
                        </a:lnTo>
                        <a:lnTo>
                          <a:pt x="0" y="0"/>
                        </a:lnTo>
                        <a:lnTo>
                          <a:pt x="2" y="2"/>
                        </a:lnTo>
                        <a:lnTo>
                          <a:pt x="3" y="3"/>
                        </a:lnTo>
                        <a:lnTo>
                          <a:pt x="4" y="3"/>
                        </a:lnTo>
                        <a:lnTo>
                          <a:pt x="4" y="1"/>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3" name="Freeform 2194">
                    <a:extLst>
                      <a:ext uri="{FF2B5EF4-FFF2-40B4-BE49-F238E27FC236}">
                        <a16:creationId xmlns:a16="http://schemas.microsoft.com/office/drawing/2014/main" xmlns="" id="{64977ACD-970E-41EE-8289-04B50996D803}"/>
                      </a:ext>
                    </a:extLst>
                  </p:cNvPr>
                  <p:cNvSpPr>
                    <a:spLocks/>
                  </p:cNvSpPr>
                  <p:nvPr/>
                </p:nvSpPr>
                <p:spPr bwMode="gray">
                  <a:xfrm>
                    <a:off x="3858016" y="2263019"/>
                    <a:ext cx="3338" cy="6675"/>
                  </a:xfrm>
                  <a:custGeom>
                    <a:avLst/>
                    <a:gdLst>
                      <a:gd name="T0" fmla="*/ 0 w 3"/>
                      <a:gd name="T1" fmla="*/ 0 h 6"/>
                      <a:gd name="T2" fmla="*/ 0 w 3"/>
                      <a:gd name="T3" fmla="*/ 0 h 6"/>
                      <a:gd name="T4" fmla="*/ 0 w 3"/>
                      <a:gd name="T5" fmla="*/ 2147483647 h 6"/>
                      <a:gd name="T6" fmla="*/ 0 w 3"/>
                      <a:gd name="T7" fmla="*/ 2147483647 h 6"/>
                      <a:gd name="T8" fmla="*/ 2147483647 w 3"/>
                      <a:gd name="T9" fmla="*/ 2147483647 h 6"/>
                      <a:gd name="T10" fmla="*/ 2147483647 w 3"/>
                      <a:gd name="T11" fmla="*/ 2147483647 h 6"/>
                      <a:gd name="T12" fmla="*/ 0 w 3"/>
                      <a:gd name="T13" fmla="*/ 2147483647 h 6"/>
                      <a:gd name="T14" fmla="*/ 0 w 3"/>
                      <a:gd name="T15" fmla="*/ 2147483647 h 6"/>
                      <a:gd name="T16" fmla="*/ 2147483647 w 3"/>
                      <a:gd name="T17" fmla="*/ 2147483647 h 6"/>
                      <a:gd name="T18" fmla="*/ 2147483647 w 3"/>
                      <a:gd name="T19" fmla="*/ 2147483647 h 6"/>
                      <a:gd name="T20" fmla="*/ 2147483647 w 3"/>
                      <a:gd name="T21" fmla="*/ 2147483647 h 6"/>
                      <a:gd name="T22" fmla="*/ 2147483647 w 3"/>
                      <a:gd name="T23" fmla="*/ 2147483647 h 6"/>
                      <a:gd name="T24" fmla="*/ 2147483647 w 3"/>
                      <a:gd name="T25" fmla="*/ 2147483647 h 6"/>
                      <a:gd name="T26" fmla="*/ 2147483647 w 3"/>
                      <a:gd name="T27" fmla="*/ 2147483647 h 6"/>
                      <a:gd name="T28" fmla="*/ 2147483647 w 3"/>
                      <a:gd name="T29" fmla="*/ 2147483647 h 6"/>
                      <a:gd name="T30" fmla="*/ 2147483647 w 3"/>
                      <a:gd name="T31" fmla="*/ 2147483647 h 6"/>
                      <a:gd name="T32" fmla="*/ 2147483647 w 3"/>
                      <a:gd name="T33" fmla="*/ 2147483647 h 6"/>
                      <a:gd name="T34" fmla="*/ 2147483647 w 3"/>
                      <a:gd name="T35" fmla="*/ 0 h 6"/>
                      <a:gd name="T36" fmla="*/ 2147483647 w 3"/>
                      <a:gd name="T37" fmla="*/ 0 h 6"/>
                      <a:gd name="T38" fmla="*/ 2147483647 w 3"/>
                      <a:gd name="T39" fmla="*/ 0 h 6"/>
                      <a:gd name="T40" fmla="*/ 2147483647 w 3"/>
                      <a:gd name="T41" fmla="*/ 0 h 6"/>
                      <a:gd name="T42" fmla="*/ 0 w 3"/>
                      <a:gd name="T43" fmla="*/ 0 h 6"/>
                      <a:gd name="T44" fmla="*/ 0 w 3"/>
                      <a:gd name="T45" fmla="*/ 0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 h="6">
                        <a:moveTo>
                          <a:pt x="0" y="0"/>
                        </a:moveTo>
                        <a:lnTo>
                          <a:pt x="0" y="0"/>
                        </a:lnTo>
                        <a:lnTo>
                          <a:pt x="0" y="2"/>
                        </a:lnTo>
                        <a:lnTo>
                          <a:pt x="0" y="6"/>
                        </a:lnTo>
                        <a:lnTo>
                          <a:pt x="1" y="6"/>
                        </a:lnTo>
                        <a:lnTo>
                          <a:pt x="0" y="6"/>
                        </a:lnTo>
                        <a:lnTo>
                          <a:pt x="2" y="6"/>
                        </a:lnTo>
                        <a:lnTo>
                          <a:pt x="3" y="6"/>
                        </a:lnTo>
                        <a:lnTo>
                          <a:pt x="3" y="5"/>
                        </a:lnTo>
                        <a:lnTo>
                          <a:pt x="3" y="3"/>
                        </a:lnTo>
                        <a:lnTo>
                          <a:pt x="3" y="2"/>
                        </a:lnTo>
                        <a:lnTo>
                          <a:pt x="3" y="3"/>
                        </a:lnTo>
                        <a:lnTo>
                          <a:pt x="3" y="2"/>
                        </a:lnTo>
                        <a:lnTo>
                          <a:pt x="3" y="1"/>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4" name="Freeform 2198">
                    <a:extLst>
                      <a:ext uri="{FF2B5EF4-FFF2-40B4-BE49-F238E27FC236}">
                        <a16:creationId xmlns:a16="http://schemas.microsoft.com/office/drawing/2014/main" xmlns="" id="{D265C205-5387-4D40-84C8-3D46BBC3F7D3}"/>
                      </a:ext>
                    </a:extLst>
                  </p:cNvPr>
                  <p:cNvSpPr>
                    <a:spLocks/>
                  </p:cNvSpPr>
                  <p:nvPr/>
                </p:nvSpPr>
                <p:spPr bwMode="gray">
                  <a:xfrm>
                    <a:off x="3866916" y="2256343"/>
                    <a:ext cx="3338" cy="3337"/>
                  </a:xfrm>
                  <a:custGeom>
                    <a:avLst/>
                    <a:gdLst>
                      <a:gd name="T0" fmla="*/ 0 w 3"/>
                      <a:gd name="T1" fmla="*/ 0 h 3"/>
                      <a:gd name="T2" fmla="*/ 2147483647 w 3"/>
                      <a:gd name="T3" fmla="*/ 2147483647 h 3"/>
                      <a:gd name="T4" fmla="*/ 2147483647 w 3"/>
                      <a:gd name="T5" fmla="*/ 2147483647 h 3"/>
                      <a:gd name="T6" fmla="*/ 2147483647 w 3"/>
                      <a:gd name="T7" fmla="*/ 0 h 3"/>
                      <a:gd name="T8" fmla="*/ 2147483647 w 3"/>
                      <a:gd name="T9" fmla="*/ 0 h 3"/>
                      <a:gd name="T10" fmla="*/ 0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0" y="0"/>
                        </a:moveTo>
                        <a:lnTo>
                          <a:pt x="3" y="3"/>
                        </a:lnTo>
                        <a:lnTo>
                          <a:pt x="1" y="1"/>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5" name="Freeform 2200">
                    <a:extLst>
                      <a:ext uri="{FF2B5EF4-FFF2-40B4-BE49-F238E27FC236}">
                        <a16:creationId xmlns:a16="http://schemas.microsoft.com/office/drawing/2014/main" xmlns="" id="{9061A6F2-B351-4BCB-A36A-C6AEC8B37AB4}"/>
                      </a:ext>
                    </a:extLst>
                  </p:cNvPr>
                  <p:cNvSpPr>
                    <a:spLocks/>
                  </p:cNvSpPr>
                  <p:nvPr/>
                </p:nvSpPr>
                <p:spPr bwMode="gray">
                  <a:xfrm>
                    <a:off x="3854679" y="2251893"/>
                    <a:ext cx="3338" cy="7787"/>
                  </a:xfrm>
                  <a:custGeom>
                    <a:avLst/>
                    <a:gdLst>
                      <a:gd name="T0" fmla="*/ 0 w 3"/>
                      <a:gd name="T1" fmla="*/ 0 h 7"/>
                      <a:gd name="T2" fmla="*/ 0 w 3"/>
                      <a:gd name="T3" fmla="*/ 2147483647 h 7"/>
                      <a:gd name="T4" fmla="*/ 2147483647 w 3"/>
                      <a:gd name="T5" fmla="*/ 2147483647 h 7"/>
                      <a:gd name="T6" fmla="*/ 2147483647 w 3"/>
                      <a:gd name="T7" fmla="*/ 2147483647 h 7"/>
                      <a:gd name="T8" fmla="*/ 2147483647 w 3"/>
                      <a:gd name="T9" fmla="*/ 2147483647 h 7"/>
                      <a:gd name="T10" fmla="*/ 2147483647 w 3"/>
                      <a:gd name="T11" fmla="*/ 2147483647 h 7"/>
                      <a:gd name="T12" fmla="*/ 2147483647 w 3"/>
                      <a:gd name="T13" fmla="*/ 2147483647 h 7"/>
                      <a:gd name="T14" fmla="*/ 2147483647 w 3"/>
                      <a:gd name="T15" fmla="*/ 2147483647 h 7"/>
                      <a:gd name="T16" fmla="*/ 2147483647 w 3"/>
                      <a:gd name="T17" fmla="*/ 2147483647 h 7"/>
                      <a:gd name="T18" fmla="*/ 2147483647 w 3"/>
                      <a:gd name="T19" fmla="*/ 0 h 7"/>
                      <a:gd name="T20" fmla="*/ 0 w 3"/>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 h="7">
                        <a:moveTo>
                          <a:pt x="0" y="0"/>
                        </a:moveTo>
                        <a:lnTo>
                          <a:pt x="0" y="7"/>
                        </a:lnTo>
                        <a:lnTo>
                          <a:pt x="1" y="7"/>
                        </a:lnTo>
                        <a:lnTo>
                          <a:pt x="2" y="7"/>
                        </a:lnTo>
                        <a:lnTo>
                          <a:pt x="3" y="7"/>
                        </a:lnTo>
                        <a:lnTo>
                          <a:pt x="3" y="4"/>
                        </a:lnTo>
                        <a:lnTo>
                          <a:pt x="3" y="3"/>
                        </a:lnTo>
                        <a:lnTo>
                          <a:pt x="2" y="2"/>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6" name="Freeform 2205">
                    <a:extLst>
                      <a:ext uri="{FF2B5EF4-FFF2-40B4-BE49-F238E27FC236}">
                        <a16:creationId xmlns:a16="http://schemas.microsoft.com/office/drawing/2014/main" xmlns="" id="{BCD7F8F6-E57F-4AC2-A009-748227A009FB}"/>
                      </a:ext>
                    </a:extLst>
                  </p:cNvPr>
                  <p:cNvSpPr>
                    <a:spLocks/>
                  </p:cNvSpPr>
                  <p:nvPr/>
                </p:nvSpPr>
                <p:spPr bwMode="gray">
                  <a:xfrm>
                    <a:off x="4494359" y="3025039"/>
                    <a:ext cx="3338" cy="5563"/>
                  </a:xfrm>
                  <a:custGeom>
                    <a:avLst/>
                    <a:gdLst>
                      <a:gd name="T0" fmla="*/ 0 w 3"/>
                      <a:gd name="T1" fmla="*/ 0 h 5"/>
                      <a:gd name="T2" fmla="*/ 0 w 3"/>
                      <a:gd name="T3" fmla="*/ 2147483647 h 5"/>
                      <a:gd name="T4" fmla="*/ 0 w 3"/>
                      <a:gd name="T5" fmla="*/ 2147483647 h 5"/>
                      <a:gd name="T6" fmla="*/ 0 w 3"/>
                      <a:gd name="T7" fmla="*/ 2147483647 h 5"/>
                      <a:gd name="T8" fmla="*/ 0 w 3"/>
                      <a:gd name="T9" fmla="*/ 2147483647 h 5"/>
                      <a:gd name="T10" fmla="*/ 2147483647 w 3"/>
                      <a:gd name="T11" fmla="*/ 2147483647 h 5"/>
                      <a:gd name="T12" fmla="*/ 2147483647 w 3"/>
                      <a:gd name="T13" fmla="*/ 2147483647 h 5"/>
                      <a:gd name="T14" fmla="*/ 2147483647 w 3"/>
                      <a:gd name="T15" fmla="*/ 2147483647 h 5"/>
                      <a:gd name="T16" fmla="*/ 0 w 3"/>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5">
                        <a:moveTo>
                          <a:pt x="0" y="0"/>
                        </a:moveTo>
                        <a:lnTo>
                          <a:pt x="0" y="2"/>
                        </a:lnTo>
                        <a:lnTo>
                          <a:pt x="0" y="3"/>
                        </a:lnTo>
                        <a:lnTo>
                          <a:pt x="0" y="4"/>
                        </a:lnTo>
                        <a:lnTo>
                          <a:pt x="0" y="5"/>
                        </a:lnTo>
                        <a:lnTo>
                          <a:pt x="2" y="4"/>
                        </a:lnTo>
                        <a:lnTo>
                          <a:pt x="3" y="3"/>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7" name="Freeform 2207">
                    <a:extLst>
                      <a:ext uri="{FF2B5EF4-FFF2-40B4-BE49-F238E27FC236}">
                        <a16:creationId xmlns:a16="http://schemas.microsoft.com/office/drawing/2014/main" xmlns="" id="{23339E53-957A-4D1D-8D97-A4C2870563BA}"/>
                      </a:ext>
                    </a:extLst>
                  </p:cNvPr>
                  <p:cNvSpPr>
                    <a:spLocks/>
                  </p:cNvSpPr>
                  <p:nvPr/>
                </p:nvSpPr>
                <p:spPr bwMode="gray">
                  <a:xfrm>
                    <a:off x="4521059" y="3021703"/>
                    <a:ext cx="2225" cy="2225"/>
                  </a:xfrm>
                  <a:custGeom>
                    <a:avLst/>
                    <a:gdLst>
                      <a:gd name="T0" fmla="*/ 2147483647 w 2"/>
                      <a:gd name="T1" fmla="*/ 2147483647 h 2"/>
                      <a:gd name="T2" fmla="*/ 2147483647 w 2"/>
                      <a:gd name="T3" fmla="*/ 2147483647 h 2"/>
                      <a:gd name="T4" fmla="*/ 0 w 2"/>
                      <a:gd name="T5" fmla="*/ 2147483647 h 2"/>
                      <a:gd name="T6" fmla="*/ 0 w 2"/>
                      <a:gd name="T7" fmla="*/ 2147483647 h 2"/>
                      <a:gd name="T8" fmla="*/ 2147483647 w 2"/>
                      <a:gd name="T9" fmla="*/ 2147483647 h 2"/>
                      <a:gd name="T10" fmla="*/ 2147483647 w 2"/>
                      <a:gd name="T11" fmla="*/ 2147483647 h 2"/>
                      <a:gd name="T12" fmla="*/ 2147483647 w 2"/>
                      <a:gd name="T13" fmla="*/ 0 h 2"/>
                      <a:gd name="T14" fmla="*/ 2147483647 w 2"/>
                      <a:gd name="T15" fmla="*/ 0 h 2"/>
                      <a:gd name="T16" fmla="*/ 2147483647 w 2"/>
                      <a:gd name="T17" fmla="*/ 2147483647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2">
                        <a:moveTo>
                          <a:pt x="2" y="1"/>
                        </a:moveTo>
                        <a:lnTo>
                          <a:pt x="1" y="1"/>
                        </a:lnTo>
                        <a:lnTo>
                          <a:pt x="0" y="2"/>
                        </a:lnTo>
                        <a:lnTo>
                          <a:pt x="2" y="1"/>
                        </a:lnTo>
                        <a:lnTo>
                          <a:pt x="2" y="0"/>
                        </a:lnTo>
                        <a:lnTo>
                          <a:pt x="2"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8" name="Freeform 2209">
                    <a:extLst>
                      <a:ext uri="{FF2B5EF4-FFF2-40B4-BE49-F238E27FC236}">
                        <a16:creationId xmlns:a16="http://schemas.microsoft.com/office/drawing/2014/main" xmlns="" id="{E3FB44D9-CF80-4191-A0B3-DB9B1CA43104}"/>
                      </a:ext>
                    </a:extLst>
                  </p:cNvPr>
                  <p:cNvSpPr>
                    <a:spLocks/>
                  </p:cNvSpPr>
                  <p:nvPr/>
                </p:nvSpPr>
                <p:spPr bwMode="gray">
                  <a:xfrm>
                    <a:off x="4426497" y="3019477"/>
                    <a:ext cx="3338" cy="3337"/>
                  </a:xfrm>
                  <a:custGeom>
                    <a:avLst/>
                    <a:gdLst>
                      <a:gd name="T0" fmla="*/ 0 w 3"/>
                      <a:gd name="T1" fmla="*/ 0 h 3"/>
                      <a:gd name="T2" fmla="*/ 0 w 3"/>
                      <a:gd name="T3" fmla="*/ 0 h 3"/>
                      <a:gd name="T4" fmla="*/ 0 w 3"/>
                      <a:gd name="T5" fmla="*/ 2147483647 h 3"/>
                      <a:gd name="T6" fmla="*/ 2147483647 w 3"/>
                      <a:gd name="T7" fmla="*/ 2147483647 h 3"/>
                      <a:gd name="T8" fmla="*/ 2147483647 w 3"/>
                      <a:gd name="T9" fmla="*/ 2147483647 h 3"/>
                      <a:gd name="T10" fmla="*/ 2147483647 w 3"/>
                      <a:gd name="T11" fmla="*/ 2147483647 h 3"/>
                      <a:gd name="T12" fmla="*/ 2147483647 w 3"/>
                      <a:gd name="T13" fmla="*/ 2147483647 h 3"/>
                      <a:gd name="T14" fmla="*/ 2147483647 w 3"/>
                      <a:gd name="T15" fmla="*/ 0 h 3"/>
                      <a:gd name="T16" fmla="*/ 0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3">
                        <a:moveTo>
                          <a:pt x="0" y="0"/>
                        </a:moveTo>
                        <a:lnTo>
                          <a:pt x="0" y="0"/>
                        </a:lnTo>
                        <a:lnTo>
                          <a:pt x="0" y="1"/>
                        </a:lnTo>
                        <a:lnTo>
                          <a:pt x="1" y="3"/>
                        </a:lnTo>
                        <a:lnTo>
                          <a:pt x="3" y="3"/>
                        </a:lnTo>
                        <a:lnTo>
                          <a:pt x="2" y="3"/>
                        </a:lnTo>
                        <a:lnTo>
                          <a:pt x="2" y="1"/>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399" name="Freeform 2211">
                    <a:extLst>
                      <a:ext uri="{FF2B5EF4-FFF2-40B4-BE49-F238E27FC236}">
                        <a16:creationId xmlns:a16="http://schemas.microsoft.com/office/drawing/2014/main" xmlns="" id="{69CF563B-E3C6-44DE-9BCC-42B349BB1BA7}"/>
                      </a:ext>
                    </a:extLst>
                  </p:cNvPr>
                  <p:cNvSpPr>
                    <a:spLocks/>
                  </p:cNvSpPr>
                  <p:nvPr/>
                </p:nvSpPr>
                <p:spPr bwMode="gray">
                  <a:xfrm>
                    <a:off x="4359748" y="2957180"/>
                    <a:ext cx="1113" cy="1113"/>
                  </a:xfrm>
                  <a:custGeom>
                    <a:avLst/>
                    <a:gdLst>
                      <a:gd name="T0" fmla="*/ 2147483647 w 1"/>
                      <a:gd name="T1" fmla="*/ 2147483647 h 1"/>
                      <a:gd name="T2" fmla="*/ 2147483647 w 1"/>
                      <a:gd name="T3" fmla="*/ 2147483647 h 1"/>
                      <a:gd name="T4" fmla="*/ 2147483647 w 1"/>
                      <a:gd name="T5" fmla="*/ 0 h 1"/>
                      <a:gd name="T6" fmla="*/ 0 w 1"/>
                      <a:gd name="T7" fmla="*/ 0 h 1"/>
                      <a:gd name="T8" fmla="*/ 0 w 1"/>
                      <a:gd name="T9" fmla="*/ 0 h 1"/>
                      <a:gd name="T10" fmla="*/ 2147483647 w 1"/>
                      <a:gd name="T11" fmla="*/ 2147483647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1">
                        <a:moveTo>
                          <a:pt x="1" y="1"/>
                        </a:moveTo>
                        <a:lnTo>
                          <a:pt x="1" y="1"/>
                        </a:lnTo>
                        <a:lnTo>
                          <a:pt x="1" y="0"/>
                        </a:lnTo>
                        <a:lnTo>
                          <a:pt x="0" y="0"/>
                        </a:lnTo>
                        <a:lnTo>
                          <a:pt x="1"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0" name="Freeform 2214">
                    <a:extLst>
                      <a:ext uri="{FF2B5EF4-FFF2-40B4-BE49-F238E27FC236}">
                        <a16:creationId xmlns:a16="http://schemas.microsoft.com/office/drawing/2014/main" xmlns="" id="{81EE67AC-C469-4CBD-B8EB-04F178413A6E}"/>
                      </a:ext>
                    </a:extLst>
                  </p:cNvPr>
                  <p:cNvSpPr>
                    <a:spLocks/>
                  </p:cNvSpPr>
                  <p:nvPr/>
                </p:nvSpPr>
                <p:spPr bwMode="gray">
                  <a:xfrm>
                    <a:off x="4453197" y="2903783"/>
                    <a:ext cx="5563" cy="5563"/>
                  </a:xfrm>
                  <a:custGeom>
                    <a:avLst/>
                    <a:gdLst>
                      <a:gd name="T0" fmla="*/ 2147483647 w 5"/>
                      <a:gd name="T1" fmla="*/ 2147483647 h 5"/>
                      <a:gd name="T2" fmla="*/ 2147483647 w 5"/>
                      <a:gd name="T3" fmla="*/ 0 h 5"/>
                      <a:gd name="T4" fmla="*/ 2147483647 w 5"/>
                      <a:gd name="T5" fmla="*/ 2147483647 h 5"/>
                      <a:gd name="T6" fmla="*/ 2147483647 w 5"/>
                      <a:gd name="T7" fmla="*/ 2147483647 h 5"/>
                      <a:gd name="T8" fmla="*/ 2147483647 w 5"/>
                      <a:gd name="T9" fmla="*/ 2147483647 h 5"/>
                      <a:gd name="T10" fmla="*/ 0 w 5"/>
                      <a:gd name="T11" fmla="*/ 2147483647 h 5"/>
                      <a:gd name="T12" fmla="*/ 2147483647 w 5"/>
                      <a:gd name="T13" fmla="*/ 2147483647 h 5"/>
                      <a:gd name="T14" fmla="*/ 2147483647 w 5"/>
                      <a:gd name="T15" fmla="*/ 2147483647 h 5"/>
                      <a:gd name="T16" fmla="*/ 2147483647 w 5"/>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5">
                        <a:moveTo>
                          <a:pt x="2" y="1"/>
                        </a:moveTo>
                        <a:lnTo>
                          <a:pt x="3" y="0"/>
                        </a:lnTo>
                        <a:lnTo>
                          <a:pt x="5" y="2"/>
                        </a:lnTo>
                        <a:lnTo>
                          <a:pt x="4" y="3"/>
                        </a:lnTo>
                        <a:lnTo>
                          <a:pt x="2" y="4"/>
                        </a:lnTo>
                        <a:lnTo>
                          <a:pt x="0" y="5"/>
                        </a:lnTo>
                        <a:lnTo>
                          <a:pt x="1" y="3"/>
                        </a:lnTo>
                        <a:lnTo>
                          <a:pt x="1" y="2"/>
                        </a:lnTo>
                        <a:lnTo>
                          <a:pt x="2"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1" name="Freeform 2216">
                    <a:extLst>
                      <a:ext uri="{FF2B5EF4-FFF2-40B4-BE49-F238E27FC236}">
                        <a16:creationId xmlns:a16="http://schemas.microsoft.com/office/drawing/2014/main" xmlns="" id="{5FB3A6CE-8398-4D06-9EDA-2103B4EF21DB}"/>
                      </a:ext>
                    </a:extLst>
                  </p:cNvPr>
                  <p:cNvSpPr>
                    <a:spLocks/>
                  </p:cNvSpPr>
                  <p:nvPr/>
                </p:nvSpPr>
                <p:spPr bwMode="gray">
                  <a:xfrm>
                    <a:off x="4359748" y="2872635"/>
                    <a:ext cx="3338" cy="6675"/>
                  </a:xfrm>
                  <a:custGeom>
                    <a:avLst/>
                    <a:gdLst>
                      <a:gd name="T0" fmla="*/ 2147483647 w 3"/>
                      <a:gd name="T1" fmla="*/ 0 h 6"/>
                      <a:gd name="T2" fmla="*/ 2147483647 w 3"/>
                      <a:gd name="T3" fmla="*/ 2147483647 h 6"/>
                      <a:gd name="T4" fmla="*/ 2147483647 w 3"/>
                      <a:gd name="T5" fmla="*/ 2147483647 h 6"/>
                      <a:gd name="T6" fmla="*/ 2147483647 w 3"/>
                      <a:gd name="T7" fmla="*/ 2147483647 h 6"/>
                      <a:gd name="T8" fmla="*/ 2147483647 w 3"/>
                      <a:gd name="T9" fmla="*/ 2147483647 h 6"/>
                      <a:gd name="T10" fmla="*/ 2147483647 w 3"/>
                      <a:gd name="T11" fmla="*/ 2147483647 h 6"/>
                      <a:gd name="T12" fmla="*/ 0 w 3"/>
                      <a:gd name="T13" fmla="*/ 2147483647 h 6"/>
                      <a:gd name="T14" fmla="*/ 0 w 3"/>
                      <a:gd name="T15" fmla="*/ 2147483647 h 6"/>
                      <a:gd name="T16" fmla="*/ 2147483647 w 3"/>
                      <a:gd name="T17" fmla="*/ 2147483647 h 6"/>
                      <a:gd name="T18" fmla="*/ 2147483647 w 3"/>
                      <a:gd name="T19" fmla="*/ 2147483647 h 6"/>
                      <a:gd name="T20" fmla="*/ 0 w 3"/>
                      <a:gd name="T21" fmla="*/ 2147483647 h 6"/>
                      <a:gd name="T22" fmla="*/ 0 w 3"/>
                      <a:gd name="T23" fmla="*/ 0 h 6"/>
                      <a:gd name="T24" fmla="*/ 2147483647 w 3"/>
                      <a:gd name="T25" fmla="*/ 0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 h="6">
                        <a:moveTo>
                          <a:pt x="1" y="0"/>
                        </a:moveTo>
                        <a:lnTo>
                          <a:pt x="3" y="1"/>
                        </a:lnTo>
                        <a:lnTo>
                          <a:pt x="3" y="3"/>
                        </a:lnTo>
                        <a:lnTo>
                          <a:pt x="3" y="5"/>
                        </a:lnTo>
                        <a:lnTo>
                          <a:pt x="1" y="6"/>
                        </a:lnTo>
                        <a:lnTo>
                          <a:pt x="1" y="5"/>
                        </a:lnTo>
                        <a:lnTo>
                          <a:pt x="0" y="3"/>
                        </a:lnTo>
                        <a:lnTo>
                          <a:pt x="1" y="3"/>
                        </a:lnTo>
                        <a:lnTo>
                          <a:pt x="1" y="1"/>
                        </a:lnTo>
                        <a:lnTo>
                          <a:pt x="0" y="1"/>
                        </a:lnTo>
                        <a:lnTo>
                          <a:pt x="0"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2" name="Freeform 2218">
                    <a:extLst>
                      <a:ext uri="{FF2B5EF4-FFF2-40B4-BE49-F238E27FC236}">
                        <a16:creationId xmlns:a16="http://schemas.microsoft.com/office/drawing/2014/main" xmlns="" id="{36AAF1D7-508C-4F8A-B983-4EDBAE6AC950}"/>
                      </a:ext>
                    </a:extLst>
                  </p:cNvPr>
                  <p:cNvSpPr>
                    <a:spLocks/>
                  </p:cNvSpPr>
                  <p:nvPr/>
                </p:nvSpPr>
                <p:spPr bwMode="gray">
                  <a:xfrm>
                    <a:off x="4468772" y="3022815"/>
                    <a:ext cx="56737" cy="36711"/>
                  </a:xfrm>
                  <a:custGeom>
                    <a:avLst/>
                    <a:gdLst>
                      <a:gd name="T0" fmla="*/ 2147483647 w 51"/>
                      <a:gd name="T1" fmla="*/ 2147483647 h 33"/>
                      <a:gd name="T2" fmla="*/ 2147483647 w 51"/>
                      <a:gd name="T3" fmla="*/ 2147483647 h 33"/>
                      <a:gd name="T4" fmla="*/ 2147483647 w 51"/>
                      <a:gd name="T5" fmla="*/ 2147483647 h 33"/>
                      <a:gd name="T6" fmla="*/ 2147483647 w 51"/>
                      <a:gd name="T7" fmla="*/ 2147483647 h 33"/>
                      <a:gd name="T8" fmla="*/ 2147483647 w 51"/>
                      <a:gd name="T9" fmla="*/ 2147483647 h 33"/>
                      <a:gd name="T10" fmla="*/ 2147483647 w 51"/>
                      <a:gd name="T11" fmla="*/ 2147483647 h 33"/>
                      <a:gd name="T12" fmla="*/ 2147483647 w 51"/>
                      <a:gd name="T13" fmla="*/ 2147483647 h 33"/>
                      <a:gd name="T14" fmla="*/ 2147483647 w 51"/>
                      <a:gd name="T15" fmla="*/ 2147483647 h 33"/>
                      <a:gd name="T16" fmla="*/ 2147483647 w 51"/>
                      <a:gd name="T17" fmla="*/ 2147483647 h 33"/>
                      <a:gd name="T18" fmla="*/ 2147483647 w 51"/>
                      <a:gd name="T19" fmla="*/ 2147483647 h 33"/>
                      <a:gd name="T20" fmla="*/ 2147483647 w 51"/>
                      <a:gd name="T21" fmla="*/ 2147483647 h 33"/>
                      <a:gd name="T22" fmla="*/ 2147483647 w 51"/>
                      <a:gd name="T23" fmla="*/ 2147483647 h 33"/>
                      <a:gd name="T24" fmla="*/ 2147483647 w 51"/>
                      <a:gd name="T25" fmla="*/ 2147483647 h 33"/>
                      <a:gd name="T26" fmla="*/ 2147483647 w 51"/>
                      <a:gd name="T27" fmla="*/ 2147483647 h 33"/>
                      <a:gd name="T28" fmla="*/ 2147483647 w 51"/>
                      <a:gd name="T29" fmla="*/ 2147483647 h 33"/>
                      <a:gd name="T30" fmla="*/ 2147483647 w 51"/>
                      <a:gd name="T31" fmla="*/ 2147483647 h 33"/>
                      <a:gd name="T32" fmla="*/ 2147483647 w 51"/>
                      <a:gd name="T33" fmla="*/ 2147483647 h 33"/>
                      <a:gd name="T34" fmla="*/ 2147483647 w 51"/>
                      <a:gd name="T35" fmla="*/ 2147483647 h 33"/>
                      <a:gd name="T36" fmla="*/ 2147483647 w 51"/>
                      <a:gd name="T37" fmla="*/ 2147483647 h 33"/>
                      <a:gd name="T38" fmla="*/ 2147483647 w 51"/>
                      <a:gd name="T39" fmla="*/ 2147483647 h 33"/>
                      <a:gd name="T40" fmla="*/ 2147483647 w 51"/>
                      <a:gd name="T41" fmla="*/ 2147483647 h 33"/>
                      <a:gd name="T42" fmla="*/ 2147483647 w 51"/>
                      <a:gd name="T43" fmla="*/ 2147483647 h 33"/>
                      <a:gd name="T44" fmla="*/ 2147483647 w 51"/>
                      <a:gd name="T45" fmla="*/ 2147483647 h 33"/>
                      <a:gd name="T46" fmla="*/ 2147483647 w 51"/>
                      <a:gd name="T47" fmla="*/ 2147483647 h 33"/>
                      <a:gd name="T48" fmla="*/ 2147483647 w 51"/>
                      <a:gd name="T49" fmla="*/ 2147483647 h 33"/>
                      <a:gd name="T50" fmla="*/ 2147483647 w 51"/>
                      <a:gd name="T51" fmla="*/ 0 h 33"/>
                      <a:gd name="T52" fmla="*/ 2147483647 w 51"/>
                      <a:gd name="T53" fmla="*/ 0 h 33"/>
                      <a:gd name="T54" fmla="*/ 2147483647 w 51"/>
                      <a:gd name="T55" fmla="*/ 2147483647 h 33"/>
                      <a:gd name="T56" fmla="*/ 2147483647 w 51"/>
                      <a:gd name="T57" fmla="*/ 2147483647 h 33"/>
                      <a:gd name="T58" fmla="*/ 2147483647 w 51"/>
                      <a:gd name="T59" fmla="*/ 2147483647 h 33"/>
                      <a:gd name="T60" fmla="*/ 2147483647 w 51"/>
                      <a:gd name="T61" fmla="*/ 2147483647 h 33"/>
                      <a:gd name="T62" fmla="*/ 0 w 51"/>
                      <a:gd name="T63" fmla="*/ 2147483647 h 33"/>
                      <a:gd name="T64" fmla="*/ 0 w 51"/>
                      <a:gd name="T65" fmla="*/ 2147483647 h 33"/>
                      <a:gd name="T66" fmla="*/ 0 w 51"/>
                      <a:gd name="T67" fmla="*/ 2147483647 h 33"/>
                      <a:gd name="T68" fmla="*/ 2147483647 w 51"/>
                      <a:gd name="T69" fmla="*/ 2147483647 h 33"/>
                      <a:gd name="T70" fmla="*/ 2147483647 w 51"/>
                      <a:gd name="T71" fmla="*/ 2147483647 h 33"/>
                      <a:gd name="T72" fmla="*/ 2147483647 w 51"/>
                      <a:gd name="T73" fmla="*/ 2147483647 h 33"/>
                      <a:gd name="T74" fmla="*/ 2147483647 w 51"/>
                      <a:gd name="T75" fmla="*/ 2147483647 h 33"/>
                      <a:gd name="T76" fmla="*/ 2147483647 w 51"/>
                      <a:gd name="T77" fmla="*/ 2147483647 h 33"/>
                      <a:gd name="T78" fmla="*/ 2147483647 w 51"/>
                      <a:gd name="T79" fmla="*/ 2147483647 h 33"/>
                      <a:gd name="T80" fmla="*/ 2147483647 w 51"/>
                      <a:gd name="T81" fmla="*/ 2147483647 h 33"/>
                      <a:gd name="T82" fmla="*/ 2147483647 w 51"/>
                      <a:gd name="T83" fmla="*/ 2147483647 h 33"/>
                      <a:gd name="T84" fmla="*/ 2147483647 w 51"/>
                      <a:gd name="T85" fmla="*/ 2147483647 h 33"/>
                      <a:gd name="T86" fmla="*/ 2147483647 w 51"/>
                      <a:gd name="T87" fmla="*/ 2147483647 h 33"/>
                      <a:gd name="T88" fmla="*/ 2147483647 w 51"/>
                      <a:gd name="T89" fmla="*/ 2147483647 h 33"/>
                      <a:gd name="T90" fmla="*/ 2147483647 w 51"/>
                      <a:gd name="T91" fmla="*/ 2147483647 h 33"/>
                      <a:gd name="T92" fmla="*/ 2147483647 w 51"/>
                      <a:gd name="T93" fmla="*/ 2147483647 h 33"/>
                      <a:gd name="T94" fmla="*/ 2147483647 w 51"/>
                      <a:gd name="T95" fmla="*/ 2147483647 h 33"/>
                      <a:gd name="T96" fmla="*/ 2147483647 w 51"/>
                      <a:gd name="T97" fmla="*/ 2147483647 h 33"/>
                      <a:gd name="T98" fmla="*/ 2147483647 w 51"/>
                      <a:gd name="T99" fmla="*/ 2147483647 h 33"/>
                      <a:gd name="T100" fmla="*/ 2147483647 w 51"/>
                      <a:gd name="T101" fmla="*/ 2147483647 h 33"/>
                      <a:gd name="T102" fmla="*/ 2147483647 w 51"/>
                      <a:gd name="T103" fmla="*/ 2147483647 h 33"/>
                      <a:gd name="T104" fmla="*/ 2147483647 w 51"/>
                      <a:gd name="T105" fmla="*/ 2147483647 h 33"/>
                      <a:gd name="T106" fmla="*/ 2147483647 w 51"/>
                      <a:gd name="T107" fmla="*/ 2147483647 h 33"/>
                      <a:gd name="T108" fmla="*/ 2147483647 w 51"/>
                      <a:gd name="T109" fmla="*/ 2147483647 h 33"/>
                      <a:gd name="T110" fmla="*/ 2147483647 w 51"/>
                      <a:gd name="T111" fmla="*/ 2147483647 h 33"/>
                      <a:gd name="T112" fmla="*/ 2147483647 w 51"/>
                      <a:gd name="T113" fmla="*/ 2147483647 h 33"/>
                      <a:gd name="T114" fmla="*/ 2147483647 w 51"/>
                      <a:gd name="T115" fmla="*/ 2147483647 h 33"/>
                      <a:gd name="T116" fmla="*/ 2147483647 w 51"/>
                      <a:gd name="T117" fmla="*/ 0 h 33"/>
                      <a:gd name="T118" fmla="*/ 2147483647 w 51"/>
                      <a:gd name="T119" fmla="*/ 0 h 33"/>
                      <a:gd name="T120" fmla="*/ 2147483647 w 51"/>
                      <a:gd name="T121" fmla="*/ 0 h 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1" h="33">
                        <a:moveTo>
                          <a:pt x="35" y="0"/>
                        </a:moveTo>
                        <a:lnTo>
                          <a:pt x="35" y="1"/>
                        </a:lnTo>
                        <a:lnTo>
                          <a:pt x="35" y="2"/>
                        </a:lnTo>
                        <a:lnTo>
                          <a:pt x="34" y="3"/>
                        </a:lnTo>
                        <a:lnTo>
                          <a:pt x="32" y="3"/>
                        </a:lnTo>
                        <a:lnTo>
                          <a:pt x="32" y="4"/>
                        </a:lnTo>
                        <a:lnTo>
                          <a:pt x="34" y="5"/>
                        </a:lnTo>
                        <a:lnTo>
                          <a:pt x="35" y="8"/>
                        </a:lnTo>
                        <a:lnTo>
                          <a:pt x="35" y="9"/>
                        </a:lnTo>
                        <a:lnTo>
                          <a:pt x="35" y="10"/>
                        </a:lnTo>
                        <a:lnTo>
                          <a:pt x="34" y="13"/>
                        </a:lnTo>
                        <a:lnTo>
                          <a:pt x="32" y="16"/>
                        </a:lnTo>
                        <a:lnTo>
                          <a:pt x="32" y="17"/>
                        </a:lnTo>
                        <a:lnTo>
                          <a:pt x="32" y="18"/>
                        </a:lnTo>
                        <a:lnTo>
                          <a:pt x="32" y="20"/>
                        </a:lnTo>
                        <a:lnTo>
                          <a:pt x="34" y="21"/>
                        </a:lnTo>
                        <a:lnTo>
                          <a:pt x="35" y="21"/>
                        </a:lnTo>
                        <a:lnTo>
                          <a:pt x="35" y="22"/>
                        </a:lnTo>
                        <a:lnTo>
                          <a:pt x="34" y="22"/>
                        </a:lnTo>
                        <a:lnTo>
                          <a:pt x="32" y="22"/>
                        </a:lnTo>
                        <a:lnTo>
                          <a:pt x="31" y="20"/>
                        </a:lnTo>
                        <a:lnTo>
                          <a:pt x="31" y="18"/>
                        </a:lnTo>
                        <a:lnTo>
                          <a:pt x="31" y="16"/>
                        </a:lnTo>
                        <a:lnTo>
                          <a:pt x="31" y="14"/>
                        </a:lnTo>
                        <a:lnTo>
                          <a:pt x="31" y="12"/>
                        </a:lnTo>
                        <a:lnTo>
                          <a:pt x="29" y="9"/>
                        </a:lnTo>
                        <a:lnTo>
                          <a:pt x="28" y="9"/>
                        </a:lnTo>
                        <a:lnTo>
                          <a:pt x="26" y="9"/>
                        </a:lnTo>
                        <a:lnTo>
                          <a:pt x="25" y="9"/>
                        </a:lnTo>
                        <a:lnTo>
                          <a:pt x="23" y="9"/>
                        </a:lnTo>
                        <a:lnTo>
                          <a:pt x="23" y="8"/>
                        </a:lnTo>
                        <a:lnTo>
                          <a:pt x="23" y="7"/>
                        </a:lnTo>
                        <a:lnTo>
                          <a:pt x="20" y="5"/>
                        </a:lnTo>
                        <a:lnTo>
                          <a:pt x="18" y="4"/>
                        </a:lnTo>
                        <a:lnTo>
                          <a:pt x="17" y="3"/>
                        </a:lnTo>
                        <a:lnTo>
                          <a:pt x="16" y="3"/>
                        </a:lnTo>
                        <a:lnTo>
                          <a:pt x="14" y="3"/>
                        </a:lnTo>
                        <a:lnTo>
                          <a:pt x="13" y="2"/>
                        </a:lnTo>
                        <a:lnTo>
                          <a:pt x="13" y="1"/>
                        </a:lnTo>
                        <a:lnTo>
                          <a:pt x="13" y="0"/>
                        </a:lnTo>
                        <a:lnTo>
                          <a:pt x="12" y="0"/>
                        </a:lnTo>
                        <a:lnTo>
                          <a:pt x="11" y="0"/>
                        </a:lnTo>
                        <a:lnTo>
                          <a:pt x="10" y="0"/>
                        </a:lnTo>
                        <a:lnTo>
                          <a:pt x="9" y="0"/>
                        </a:lnTo>
                        <a:lnTo>
                          <a:pt x="9" y="2"/>
                        </a:lnTo>
                        <a:lnTo>
                          <a:pt x="9" y="3"/>
                        </a:lnTo>
                        <a:lnTo>
                          <a:pt x="9" y="5"/>
                        </a:lnTo>
                        <a:lnTo>
                          <a:pt x="9" y="7"/>
                        </a:lnTo>
                        <a:lnTo>
                          <a:pt x="7" y="7"/>
                        </a:lnTo>
                        <a:lnTo>
                          <a:pt x="4" y="7"/>
                        </a:lnTo>
                        <a:lnTo>
                          <a:pt x="1" y="7"/>
                        </a:lnTo>
                        <a:lnTo>
                          <a:pt x="0" y="7"/>
                        </a:lnTo>
                        <a:lnTo>
                          <a:pt x="0" y="8"/>
                        </a:lnTo>
                        <a:lnTo>
                          <a:pt x="0" y="9"/>
                        </a:lnTo>
                        <a:lnTo>
                          <a:pt x="0" y="12"/>
                        </a:lnTo>
                        <a:lnTo>
                          <a:pt x="1" y="13"/>
                        </a:lnTo>
                        <a:lnTo>
                          <a:pt x="2" y="13"/>
                        </a:lnTo>
                        <a:lnTo>
                          <a:pt x="4" y="13"/>
                        </a:lnTo>
                        <a:lnTo>
                          <a:pt x="6" y="15"/>
                        </a:lnTo>
                        <a:lnTo>
                          <a:pt x="7" y="15"/>
                        </a:lnTo>
                        <a:lnTo>
                          <a:pt x="7" y="17"/>
                        </a:lnTo>
                        <a:lnTo>
                          <a:pt x="6" y="18"/>
                        </a:lnTo>
                        <a:lnTo>
                          <a:pt x="7" y="20"/>
                        </a:lnTo>
                        <a:lnTo>
                          <a:pt x="8" y="20"/>
                        </a:lnTo>
                        <a:lnTo>
                          <a:pt x="9" y="20"/>
                        </a:lnTo>
                        <a:lnTo>
                          <a:pt x="10" y="21"/>
                        </a:lnTo>
                        <a:lnTo>
                          <a:pt x="11" y="23"/>
                        </a:lnTo>
                        <a:lnTo>
                          <a:pt x="12" y="25"/>
                        </a:lnTo>
                        <a:lnTo>
                          <a:pt x="13" y="26"/>
                        </a:lnTo>
                        <a:lnTo>
                          <a:pt x="17" y="24"/>
                        </a:lnTo>
                        <a:lnTo>
                          <a:pt x="19" y="23"/>
                        </a:lnTo>
                        <a:lnTo>
                          <a:pt x="20" y="23"/>
                        </a:lnTo>
                        <a:lnTo>
                          <a:pt x="23" y="22"/>
                        </a:lnTo>
                        <a:lnTo>
                          <a:pt x="25" y="24"/>
                        </a:lnTo>
                        <a:lnTo>
                          <a:pt x="25" y="25"/>
                        </a:lnTo>
                        <a:lnTo>
                          <a:pt x="25" y="26"/>
                        </a:lnTo>
                        <a:lnTo>
                          <a:pt x="28" y="28"/>
                        </a:lnTo>
                        <a:lnTo>
                          <a:pt x="31" y="28"/>
                        </a:lnTo>
                        <a:lnTo>
                          <a:pt x="31" y="26"/>
                        </a:lnTo>
                        <a:lnTo>
                          <a:pt x="32" y="26"/>
                        </a:lnTo>
                        <a:lnTo>
                          <a:pt x="32" y="25"/>
                        </a:lnTo>
                        <a:lnTo>
                          <a:pt x="32" y="24"/>
                        </a:lnTo>
                        <a:lnTo>
                          <a:pt x="32" y="23"/>
                        </a:lnTo>
                        <a:lnTo>
                          <a:pt x="32" y="22"/>
                        </a:lnTo>
                        <a:lnTo>
                          <a:pt x="34" y="25"/>
                        </a:lnTo>
                        <a:lnTo>
                          <a:pt x="35" y="29"/>
                        </a:lnTo>
                        <a:lnTo>
                          <a:pt x="35" y="33"/>
                        </a:lnTo>
                        <a:lnTo>
                          <a:pt x="38" y="24"/>
                        </a:lnTo>
                        <a:lnTo>
                          <a:pt x="42" y="19"/>
                        </a:lnTo>
                        <a:lnTo>
                          <a:pt x="46" y="13"/>
                        </a:lnTo>
                        <a:lnTo>
                          <a:pt x="51" y="7"/>
                        </a:lnTo>
                        <a:lnTo>
                          <a:pt x="49" y="6"/>
                        </a:lnTo>
                        <a:lnTo>
                          <a:pt x="48" y="5"/>
                        </a:lnTo>
                        <a:lnTo>
                          <a:pt x="48" y="3"/>
                        </a:lnTo>
                        <a:lnTo>
                          <a:pt x="47" y="5"/>
                        </a:lnTo>
                        <a:lnTo>
                          <a:pt x="46" y="7"/>
                        </a:lnTo>
                        <a:lnTo>
                          <a:pt x="45" y="8"/>
                        </a:lnTo>
                        <a:lnTo>
                          <a:pt x="44" y="9"/>
                        </a:lnTo>
                        <a:lnTo>
                          <a:pt x="44" y="7"/>
                        </a:lnTo>
                        <a:lnTo>
                          <a:pt x="43" y="4"/>
                        </a:lnTo>
                        <a:lnTo>
                          <a:pt x="41" y="1"/>
                        </a:lnTo>
                        <a:lnTo>
                          <a:pt x="39" y="0"/>
                        </a:lnTo>
                        <a:lnTo>
                          <a:pt x="38" y="0"/>
                        </a:lnTo>
                        <a:lnTo>
                          <a:pt x="37" y="0"/>
                        </a:lnTo>
                        <a:lnTo>
                          <a:pt x="36" y="0"/>
                        </a:lnTo>
                        <a:lnTo>
                          <a:pt x="3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3" name="Freeform 2220">
                    <a:extLst>
                      <a:ext uri="{FF2B5EF4-FFF2-40B4-BE49-F238E27FC236}">
                        <a16:creationId xmlns:a16="http://schemas.microsoft.com/office/drawing/2014/main" xmlns="" id="{C15598AD-C42F-4E7C-9CBD-B1246263D230}"/>
                      </a:ext>
                    </a:extLst>
                  </p:cNvPr>
                  <p:cNvSpPr>
                    <a:spLocks/>
                  </p:cNvSpPr>
                  <p:nvPr/>
                </p:nvSpPr>
                <p:spPr bwMode="gray">
                  <a:xfrm>
                    <a:off x="4489909" y="3021703"/>
                    <a:ext cx="5563" cy="3337"/>
                  </a:xfrm>
                  <a:custGeom>
                    <a:avLst/>
                    <a:gdLst>
                      <a:gd name="T0" fmla="*/ 2147483647 w 5"/>
                      <a:gd name="T1" fmla="*/ 2147483647 h 3"/>
                      <a:gd name="T2" fmla="*/ 2147483647 w 5"/>
                      <a:gd name="T3" fmla="*/ 2147483647 h 3"/>
                      <a:gd name="T4" fmla="*/ 0 w 5"/>
                      <a:gd name="T5" fmla="*/ 2147483647 h 3"/>
                      <a:gd name="T6" fmla="*/ 0 w 5"/>
                      <a:gd name="T7" fmla="*/ 2147483647 h 3"/>
                      <a:gd name="T8" fmla="*/ 0 w 5"/>
                      <a:gd name="T9" fmla="*/ 2147483647 h 3"/>
                      <a:gd name="T10" fmla="*/ 0 w 5"/>
                      <a:gd name="T11" fmla="*/ 2147483647 h 3"/>
                      <a:gd name="T12" fmla="*/ 0 w 5"/>
                      <a:gd name="T13" fmla="*/ 2147483647 h 3"/>
                      <a:gd name="T14" fmla="*/ 2147483647 w 5"/>
                      <a:gd name="T15" fmla="*/ 2147483647 h 3"/>
                      <a:gd name="T16" fmla="*/ 2147483647 w 5"/>
                      <a:gd name="T17" fmla="*/ 2147483647 h 3"/>
                      <a:gd name="T18" fmla="*/ 2147483647 w 5"/>
                      <a:gd name="T19" fmla="*/ 2147483647 h 3"/>
                      <a:gd name="T20" fmla="*/ 2147483647 w 5"/>
                      <a:gd name="T21" fmla="*/ 2147483647 h 3"/>
                      <a:gd name="T22" fmla="*/ 2147483647 w 5"/>
                      <a:gd name="T23" fmla="*/ 2147483647 h 3"/>
                      <a:gd name="T24" fmla="*/ 2147483647 w 5"/>
                      <a:gd name="T25" fmla="*/ 0 h 3"/>
                      <a:gd name="T26" fmla="*/ 2147483647 w 5"/>
                      <a:gd name="T27" fmla="*/ 2147483647 h 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 h="3">
                        <a:moveTo>
                          <a:pt x="4" y="1"/>
                        </a:moveTo>
                        <a:lnTo>
                          <a:pt x="2" y="1"/>
                        </a:lnTo>
                        <a:lnTo>
                          <a:pt x="0" y="2"/>
                        </a:lnTo>
                        <a:lnTo>
                          <a:pt x="0" y="1"/>
                        </a:lnTo>
                        <a:lnTo>
                          <a:pt x="0" y="3"/>
                        </a:lnTo>
                        <a:lnTo>
                          <a:pt x="1" y="3"/>
                        </a:lnTo>
                        <a:lnTo>
                          <a:pt x="2" y="3"/>
                        </a:lnTo>
                        <a:lnTo>
                          <a:pt x="4" y="3"/>
                        </a:lnTo>
                        <a:lnTo>
                          <a:pt x="4" y="2"/>
                        </a:lnTo>
                        <a:lnTo>
                          <a:pt x="5" y="1"/>
                        </a:lnTo>
                        <a:lnTo>
                          <a:pt x="5" y="0"/>
                        </a:lnTo>
                        <a:lnTo>
                          <a:pt x="4"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4" name="Freeform 2222">
                    <a:extLst>
                      <a:ext uri="{FF2B5EF4-FFF2-40B4-BE49-F238E27FC236}">
                        <a16:creationId xmlns:a16="http://schemas.microsoft.com/office/drawing/2014/main" xmlns="" id="{52751C1F-490E-46F7-BFF6-A36AFDA02B83}"/>
                      </a:ext>
                    </a:extLst>
                  </p:cNvPr>
                  <p:cNvSpPr>
                    <a:spLocks/>
                  </p:cNvSpPr>
                  <p:nvPr/>
                </p:nvSpPr>
                <p:spPr bwMode="gray">
                  <a:xfrm>
                    <a:off x="4523282" y="3015027"/>
                    <a:ext cx="21137" cy="12237"/>
                  </a:xfrm>
                  <a:custGeom>
                    <a:avLst/>
                    <a:gdLst>
                      <a:gd name="T0" fmla="*/ 2147483647 w 19"/>
                      <a:gd name="T1" fmla="*/ 0 h 11"/>
                      <a:gd name="T2" fmla="*/ 2147483647 w 19"/>
                      <a:gd name="T3" fmla="*/ 2147483647 h 11"/>
                      <a:gd name="T4" fmla="*/ 2147483647 w 19"/>
                      <a:gd name="T5" fmla="*/ 2147483647 h 11"/>
                      <a:gd name="T6" fmla="*/ 2147483647 w 19"/>
                      <a:gd name="T7" fmla="*/ 2147483647 h 11"/>
                      <a:gd name="T8" fmla="*/ 2147483647 w 19"/>
                      <a:gd name="T9" fmla="*/ 2147483647 h 11"/>
                      <a:gd name="T10" fmla="*/ 2147483647 w 19"/>
                      <a:gd name="T11" fmla="*/ 2147483647 h 11"/>
                      <a:gd name="T12" fmla="*/ 2147483647 w 19"/>
                      <a:gd name="T13" fmla="*/ 2147483647 h 11"/>
                      <a:gd name="T14" fmla="*/ 2147483647 w 19"/>
                      <a:gd name="T15" fmla="*/ 2147483647 h 11"/>
                      <a:gd name="T16" fmla="*/ 2147483647 w 19"/>
                      <a:gd name="T17" fmla="*/ 2147483647 h 11"/>
                      <a:gd name="T18" fmla="*/ 2147483647 w 19"/>
                      <a:gd name="T19" fmla="*/ 2147483647 h 11"/>
                      <a:gd name="T20" fmla="*/ 2147483647 w 19"/>
                      <a:gd name="T21" fmla="*/ 2147483647 h 11"/>
                      <a:gd name="T22" fmla="*/ 2147483647 w 19"/>
                      <a:gd name="T23" fmla="*/ 2147483647 h 11"/>
                      <a:gd name="T24" fmla="*/ 2147483647 w 19"/>
                      <a:gd name="T25" fmla="*/ 2147483647 h 11"/>
                      <a:gd name="T26" fmla="*/ 2147483647 w 19"/>
                      <a:gd name="T27" fmla="*/ 2147483647 h 11"/>
                      <a:gd name="T28" fmla="*/ 2147483647 w 19"/>
                      <a:gd name="T29" fmla="*/ 2147483647 h 11"/>
                      <a:gd name="T30" fmla="*/ 0 w 19"/>
                      <a:gd name="T31" fmla="*/ 2147483647 h 11"/>
                      <a:gd name="T32" fmla="*/ 2147483647 w 19"/>
                      <a:gd name="T33" fmla="*/ 2147483647 h 11"/>
                      <a:gd name="T34" fmla="*/ 2147483647 w 19"/>
                      <a:gd name="T35" fmla="*/ 2147483647 h 11"/>
                      <a:gd name="T36" fmla="*/ 2147483647 w 19"/>
                      <a:gd name="T37" fmla="*/ 2147483647 h 11"/>
                      <a:gd name="T38" fmla="*/ 2147483647 w 19"/>
                      <a:gd name="T39" fmla="*/ 2147483647 h 11"/>
                      <a:gd name="T40" fmla="*/ 2147483647 w 19"/>
                      <a:gd name="T41" fmla="*/ 2147483647 h 11"/>
                      <a:gd name="T42" fmla="*/ 2147483647 w 19"/>
                      <a:gd name="T43" fmla="*/ 2147483647 h 11"/>
                      <a:gd name="T44" fmla="*/ 2147483647 w 19"/>
                      <a:gd name="T45" fmla="*/ 2147483647 h 11"/>
                      <a:gd name="T46" fmla="*/ 2147483647 w 19"/>
                      <a:gd name="T47" fmla="*/ 2147483647 h 11"/>
                      <a:gd name="T48" fmla="*/ 2147483647 w 19"/>
                      <a:gd name="T49" fmla="*/ 2147483647 h 11"/>
                      <a:gd name="T50" fmla="*/ 2147483647 w 19"/>
                      <a:gd name="T51" fmla="*/ 2147483647 h 11"/>
                      <a:gd name="T52" fmla="*/ 2147483647 w 19"/>
                      <a:gd name="T53" fmla="*/ 2147483647 h 11"/>
                      <a:gd name="T54" fmla="*/ 2147483647 w 19"/>
                      <a:gd name="T55" fmla="*/ 2147483647 h 11"/>
                      <a:gd name="T56" fmla="*/ 2147483647 w 19"/>
                      <a:gd name="T57" fmla="*/ 2147483647 h 11"/>
                      <a:gd name="T58" fmla="*/ 2147483647 w 19"/>
                      <a:gd name="T59" fmla="*/ 2147483647 h 11"/>
                      <a:gd name="T60" fmla="*/ 2147483647 w 19"/>
                      <a:gd name="T61" fmla="*/ 0 h 1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9" h="11">
                        <a:moveTo>
                          <a:pt x="9" y="0"/>
                        </a:moveTo>
                        <a:lnTo>
                          <a:pt x="9" y="1"/>
                        </a:lnTo>
                        <a:lnTo>
                          <a:pt x="9" y="2"/>
                        </a:lnTo>
                        <a:lnTo>
                          <a:pt x="9" y="3"/>
                        </a:lnTo>
                        <a:lnTo>
                          <a:pt x="8" y="3"/>
                        </a:lnTo>
                        <a:lnTo>
                          <a:pt x="7" y="3"/>
                        </a:lnTo>
                        <a:lnTo>
                          <a:pt x="3" y="3"/>
                        </a:lnTo>
                        <a:lnTo>
                          <a:pt x="3" y="4"/>
                        </a:lnTo>
                        <a:lnTo>
                          <a:pt x="3" y="6"/>
                        </a:lnTo>
                        <a:lnTo>
                          <a:pt x="3" y="8"/>
                        </a:lnTo>
                        <a:lnTo>
                          <a:pt x="3" y="9"/>
                        </a:lnTo>
                        <a:lnTo>
                          <a:pt x="2" y="9"/>
                        </a:lnTo>
                        <a:lnTo>
                          <a:pt x="0" y="9"/>
                        </a:lnTo>
                        <a:lnTo>
                          <a:pt x="2" y="10"/>
                        </a:lnTo>
                        <a:lnTo>
                          <a:pt x="4" y="11"/>
                        </a:lnTo>
                        <a:lnTo>
                          <a:pt x="6" y="11"/>
                        </a:lnTo>
                        <a:lnTo>
                          <a:pt x="9" y="9"/>
                        </a:lnTo>
                        <a:lnTo>
                          <a:pt x="11" y="7"/>
                        </a:lnTo>
                        <a:lnTo>
                          <a:pt x="14" y="6"/>
                        </a:lnTo>
                        <a:lnTo>
                          <a:pt x="19" y="6"/>
                        </a:lnTo>
                        <a:lnTo>
                          <a:pt x="19" y="4"/>
                        </a:lnTo>
                        <a:lnTo>
                          <a:pt x="19" y="3"/>
                        </a:lnTo>
                        <a:lnTo>
                          <a:pt x="18" y="3"/>
                        </a:lnTo>
                        <a:lnTo>
                          <a:pt x="15" y="2"/>
                        </a:lnTo>
                        <a:lnTo>
                          <a:pt x="12" y="1"/>
                        </a:lnTo>
                        <a:lnTo>
                          <a:pt x="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5" name="Freeform 1422">
                    <a:extLst>
                      <a:ext uri="{FF2B5EF4-FFF2-40B4-BE49-F238E27FC236}">
                        <a16:creationId xmlns:a16="http://schemas.microsoft.com/office/drawing/2014/main" xmlns="" id="{2336725B-4E0F-4386-8BC8-67512201EBE5}"/>
                      </a:ext>
                    </a:extLst>
                  </p:cNvPr>
                  <p:cNvSpPr>
                    <a:spLocks/>
                  </p:cNvSpPr>
                  <p:nvPr/>
                </p:nvSpPr>
                <p:spPr bwMode="gray">
                  <a:xfrm>
                    <a:off x="5422098" y="4515594"/>
                    <a:ext cx="3338" cy="3337"/>
                  </a:xfrm>
                  <a:custGeom>
                    <a:avLst/>
                    <a:gdLst>
                      <a:gd name="T0" fmla="*/ 0 w 3"/>
                      <a:gd name="T1" fmla="*/ 0 h 3"/>
                      <a:gd name="T2" fmla="*/ 0 w 3"/>
                      <a:gd name="T3" fmla="*/ 0 h 3"/>
                      <a:gd name="T4" fmla="*/ 2147483647 w 3"/>
                      <a:gd name="T5" fmla="*/ 2147483647 h 3"/>
                      <a:gd name="T6" fmla="*/ 2147483647 w 3"/>
                      <a:gd name="T7" fmla="*/ 2147483647 h 3"/>
                      <a:gd name="T8" fmla="*/ 2147483647 w 3"/>
                      <a:gd name="T9" fmla="*/ 2147483647 h 3"/>
                      <a:gd name="T10" fmla="*/ 2147483647 w 3"/>
                      <a:gd name="T11" fmla="*/ 2147483647 h 3"/>
                      <a:gd name="T12" fmla="*/ 2147483647 w 3"/>
                      <a:gd name="T13" fmla="*/ 2147483647 h 3"/>
                      <a:gd name="T14" fmla="*/ 2147483647 w 3"/>
                      <a:gd name="T15" fmla="*/ 0 h 3"/>
                      <a:gd name="T16" fmla="*/ 0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3">
                        <a:moveTo>
                          <a:pt x="0" y="0"/>
                        </a:moveTo>
                        <a:lnTo>
                          <a:pt x="0" y="0"/>
                        </a:lnTo>
                        <a:lnTo>
                          <a:pt x="2" y="2"/>
                        </a:lnTo>
                        <a:lnTo>
                          <a:pt x="3" y="3"/>
                        </a:lnTo>
                        <a:lnTo>
                          <a:pt x="3" y="2"/>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6" name="Freeform 1424">
                    <a:extLst>
                      <a:ext uri="{FF2B5EF4-FFF2-40B4-BE49-F238E27FC236}">
                        <a16:creationId xmlns:a16="http://schemas.microsoft.com/office/drawing/2014/main" xmlns="" id="{2C106467-3DAE-436A-959B-C477E5412709}"/>
                      </a:ext>
                    </a:extLst>
                  </p:cNvPr>
                  <p:cNvSpPr>
                    <a:spLocks/>
                  </p:cNvSpPr>
                  <p:nvPr/>
                </p:nvSpPr>
                <p:spPr bwMode="gray">
                  <a:xfrm>
                    <a:off x="5387611" y="4494460"/>
                    <a:ext cx="4450" cy="5563"/>
                  </a:xfrm>
                  <a:custGeom>
                    <a:avLst/>
                    <a:gdLst>
                      <a:gd name="T0" fmla="*/ 0 w 4"/>
                      <a:gd name="T1" fmla="*/ 0 h 5"/>
                      <a:gd name="T2" fmla="*/ 0 w 4"/>
                      <a:gd name="T3" fmla="*/ 2147483647 h 5"/>
                      <a:gd name="T4" fmla="*/ 2147483647 w 4"/>
                      <a:gd name="T5" fmla="*/ 2147483647 h 5"/>
                      <a:gd name="T6" fmla="*/ 2147483647 w 4"/>
                      <a:gd name="T7" fmla="*/ 2147483647 h 5"/>
                      <a:gd name="T8" fmla="*/ 2147483647 w 4"/>
                      <a:gd name="T9" fmla="*/ 2147483647 h 5"/>
                      <a:gd name="T10" fmla="*/ 2147483647 w 4"/>
                      <a:gd name="T11" fmla="*/ 2147483647 h 5"/>
                      <a:gd name="T12" fmla="*/ 2147483647 w 4"/>
                      <a:gd name="T13" fmla="*/ 2147483647 h 5"/>
                      <a:gd name="T14" fmla="*/ 2147483647 w 4"/>
                      <a:gd name="T15" fmla="*/ 2147483647 h 5"/>
                      <a:gd name="T16" fmla="*/ 2147483647 w 4"/>
                      <a:gd name="T17" fmla="*/ 2147483647 h 5"/>
                      <a:gd name="T18" fmla="*/ 2147483647 w 4"/>
                      <a:gd name="T19" fmla="*/ 2147483647 h 5"/>
                      <a:gd name="T20" fmla="*/ 2147483647 w 4"/>
                      <a:gd name="T21" fmla="*/ 2147483647 h 5"/>
                      <a:gd name="T22" fmla="*/ 2147483647 w 4"/>
                      <a:gd name="T23" fmla="*/ 2147483647 h 5"/>
                      <a:gd name="T24" fmla="*/ 0 w 4"/>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5">
                        <a:moveTo>
                          <a:pt x="0" y="0"/>
                        </a:moveTo>
                        <a:lnTo>
                          <a:pt x="0" y="1"/>
                        </a:lnTo>
                        <a:lnTo>
                          <a:pt x="1" y="2"/>
                        </a:lnTo>
                        <a:lnTo>
                          <a:pt x="2" y="3"/>
                        </a:lnTo>
                        <a:lnTo>
                          <a:pt x="4" y="5"/>
                        </a:lnTo>
                        <a:lnTo>
                          <a:pt x="3" y="5"/>
                        </a:lnTo>
                        <a:lnTo>
                          <a:pt x="3" y="4"/>
                        </a:lnTo>
                        <a:lnTo>
                          <a:pt x="2" y="3"/>
                        </a:lnTo>
                        <a:lnTo>
                          <a:pt x="2" y="2"/>
                        </a:lnTo>
                        <a:lnTo>
                          <a:pt x="2"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7" name="Freeform 1426">
                    <a:extLst>
                      <a:ext uri="{FF2B5EF4-FFF2-40B4-BE49-F238E27FC236}">
                        <a16:creationId xmlns:a16="http://schemas.microsoft.com/office/drawing/2014/main" xmlns="" id="{86E6E1B4-AD19-4D44-A36D-DAE17A6B3ECB}"/>
                      </a:ext>
                    </a:extLst>
                  </p:cNvPr>
                  <p:cNvSpPr>
                    <a:spLocks/>
                  </p:cNvSpPr>
                  <p:nvPr/>
                </p:nvSpPr>
                <p:spPr bwMode="gray">
                  <a:xfrm>
                    <a:off x="5432111" y="4486672"/>
                    <a:ext cx="6675" cy="5563"/>
                  </a:xfrm>
                  <a:custGeom>
                    <a:avLst/>
                    <a:gdLst>
                      <a:gd name="T0" fmla="*/ 2147483647 w 6"/>
                      <a:gd name="T1" fmla="*/ 0 h 5"/>
                      <a:gd name="T2" fmla="*/ 2147483647 w 6"/>
                      <a:gd name="T3" fmla="*/ 2147483647 h 5"/>
                      <a:gd name="T4" fmla="*/ 2147483647 w 6"/>
                      <a:gd name="T5" fmla="*/ 2147483647 h 5"/>
                      <a:gd name="T6" fmla="*/ 2147483647 w 6"/>
                      <a:gd name="T7" fmla="*/ 2147483647 h 5"/>
                      <a:gd name="T8" fmla="*/ 2147483647 w 6"/>
                      <a:gd name="T9" fmla="*/ 2147483647 h 5"/>
                      <a:gd name="T10" fmla="*/ 2147483647 w 6"/>
                      <a:gd name="T11" fmla="*/ 2147483647 h 5"/>
                      <a:gd name="T12" fmla="*/ 2147483647 w 6"/>
                      <a:gd name="T13" fmla="*/ 2147483647 h 5"/>
                      <a:gd name="T14" fmla="*/ 0 w 6"/>
                      <a:gd name="T15" fmla="*/ 2147483647 h 5"/>
                      <a:gd name="T16" fmla="*/ 0 w 6"/>
                      <a:gd name="T17" fmla="*/ 2147483647 h 5"/>
                      <a:gd name="T18" fmla="*/ 0 w 6"/>
                      <a:gd name="T19" fmla="*/ 2147483647 h 5"/>
                      <a:gd name="T20" fmla="*/ 2147483647 w 6"/>
                      <a:gd name="T21" fmla="*/ 2147483647 h 5"/>
                      <a:gd name="T22" fmla="*/ 2147483647 w 6"/>
                      <a:gd name="T23" fmla="*/ 2147483647 h 5"/>
                      <a:gd name="T24" fmla="*/ 2147483647 w 6"/>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5">
                        <a:moveTo>
                          <a:pt x="4" y="0"/>
                        </a:moveTo>
                        <a:lnTo>
                          <a:pt x="6" y="1"/>
                        </a:lnTo>
                        <a:lnTo>
                          <a:pt x="6" y="2"/>
                        </a:lnTo>
                        <a:lnTo>
                          <a:pt x="6" y="3"/>
                        </a:lnTo>
                        <a:lnTo>
                          <a:pt x="4" y="4"/>
                        </a:lnTo>
                        <a:lnTo>
                          <a:pt x="4" y="5"/>
                        </a:lnTo>
                        <a:lnTo>
                          <a:pt x="3" y="5"/>
                        </a:lnTo>
                        <a:lnTo>
                          <a:pt x="0" y="4"/>
                        </a:lnTo>
                        <a:lnTo>
                          <a:pt x="0" y="3"/>
                        </a:lnTo>
                        <a:lnTo>
                          <a:pt x="3" y="2"/>
                        </a:lnTo>
                        <a:lnTo>
                          <a:pt x="4" y="1"/>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8" name="Freeform 1428">
                    <a:extLst>
                      <a:ext uri="{FF2B5EF4-FFF2-40B4-BE49-F238E27FC236}">
                        <a16:creationId xmlns:a16="http://schemas.microsoft.com/office/drawing/2014/main" xmlns="" id="{0F38B208-A119-4C1C-9B2E-66EFEBB94029}"/>
                      </a:ext>
                    </a:extLst>
                  </p:cNvPr>
                  <p:cNvSpPr>
                    <a:spLocks/>
                  </p:cNvSpPr>
                  <p:nvPr/>
                </p:nvSpPr>
                <p:spPr bwMode="gray">
                  <a:xfrm>
                    <a:off x="5553369" y="4408804"/>
                    <a:ext cx="6675" cy="8899"/>
                  </a:xfrm>
                  <a:custGeom>
                    <a:avLst/>
                    <a:gdLst>
                      <a:gd name="T0" fmla="*/ 2147483647 w 6"/>
                      <a:gd name="T1" fmla="*/ 0 h 8"/>
                      <a:gd name="T2" fmla="*/ 2147483647 w 6"/>
                      <a:gd name="T3" fmla="*/ 0 h 8"/>
                      <a:gd name="T4" fmla="*/ 2147483647 w 6"/>
                      <a:gd name="T5" fmla="*/ 0 h 8"/>
                      <a:gd name="T6" fmla="*/ 2147483647 w 6"/>
                      <a:gd name="T7" fmla="*/ 2147483647 h 8"/>
                      <a:gd name="T8" fmla="*/ 2147483647 w 6"/>
                      <a:gd name="T9" fmla="*/ 2147483647 h 8"/>
                      <a:gd name="T10" fmla="*/ 2147483647 w 6"/>
                      <a:gd name="T11" fmla="*/ 2147483647 h 8"/>
                      <a:gd name="T12" fmla="*/ 2147483647 w 6"/>
                      <a:gd name="T13" fmla="*/ 2147483647 h 8"/>
                      <a:gd name="T14" fmla="*/ 0 w 6"/>
                      <a:gd name="T15" fmla="*/ 2147483647 h 8"/>
                      <a:gd name="T16" fmla="*/ 0 w 6"/>
                      <a:gd name="T17" fmla="*/ 2147483647 h 8"/>
                      <a:gd name="T18" fmla="*/ 2147483647 w 6"/>
                      <a:gd name="T19" fmla="*/ 2147483647 h 8"/>
                      <a:gd name="T20" fmla="*/ 2147483647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8">
                        <a:moveTo>
                          <a:pt x="3" y="0"/>
                        </a:moveTo>
                        <a:lnTo>
                          <a:pt x="5" y="0"/>
                        </a:lnTo>
                        <a:lnTo>
                          <a:pt x="6" y="0"/>
                        </a:lnTo>
                        <a:lnTo>
                          <a:pt x="5" y="3"/>
                        </a:lnTo>
                        <a:lnTo>
                          <a:pt x="4" y="6"/>
                        </a:lnTo>
                        <a:lnTo>
                          <a:pt x="3" y="7"/>
                        </a:lnTo>
                        <a:lnTo>
                          <a:pt x="1" y="8"/>
                        </a:lnTo>
                        <a:lnTo>
                          <a:pt x="0" y="8"/>
                        </a:lnTo>
                        <a:lnTo>
                          <a:pt x="0" y="5"/>
                        </a:lnTo>
                        <a:lnTo>
                          <a:pt x="2"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09" name="Freeform 1430">
                    <a:extLst>
                      <a:ext uri="{FF2B5EF4-FFF2-40B4-BE49-F238E27FC236}">
                        <a16:creationId xmlns:a16="http://schemas.microsoft.com/office/drawing/2014/main" xmlns="" id="{E0BAF6B9-9019-4B3D-AF09-1CD06E4F7713}"/>
                      </a:ext>
                    </a:extLst>
                  </p:cNvPr>
                  <p:cNvSpPr>
                    <a:spLocks/>
                  </p:cNvSpPr>
                  <p:nvPr/>
                </p:nvSpPr>
                <p:spPr bwMode="gray">
                  <a:xfrm>
                    <a:off x="5630129" y="4387668"/>
                    <a:ext cx="17799" cy="17798"/>
                  </a:xfrm>
                  <a:custGeom>
                    <a:avLst/>
                    <a:gdLst>
                      <a:gd name="T0" fmla="*/ 2147483647 w 16"/>
                      <a:gd name="T1" fmla="*/ 0 h 16"/>
                      <a:gd name="T2" fmla="*/ 2147483647 w 16"/>
                      <a:gd name="T3" fmla="*/ 2147483647 h 16"/>
                      <a:gd name="T4" fmla="*/ 2147483647 w 16"/>
                      <a:gd name="T5" fmla="*/ 2147483647 h 16"/>
                      <a:gd name="T6" fmla="*/ 2147483647 w 16"/>
                      <a:gd name="T7" fmla="*/ 2147483647 h 16"/>
                      <a:gd name="T8" fmla="*/ 2147483647 w 16"/>
                      <a:gd name="T9" fmla="*/ 2147483647 h 16"/>
                      <a:gd name="T10" fmla="*/ 2147483647 w 16"/>
                      <a:gd name="T11" fmla="*/ 2147483647 h 16"/>
                      <a:gd name="T12" fmla="*/ 2147483647 w 16"/>
                      <a:gd name="T13" fmla="*/ 2147483647 h 16"/>
                      <a:gd name="T14" fmla="*/ 2147483647 w 16"/>
                      <a:gd name="T15" fmla="*/ 2147483647 h 16"/>
                      <a:gd name="T16" fmla="*/ 2147483647 w 16"/>
                      <a:gd name="T17" fmla="*/ 2147483647 h 16"/>
                      <a:gd name="T18" fmla="*/ 2147483647 w 16"/>
                      <a:gd name="T19" fmla="*/ 2147483647 h 16"/>
                      <a:gd name="T20" fmla="*/ 2147483647 w 16"/>
                      <a:gd name="T21" fmla="*/ 2147483647 h 16"/>
                      <a:gd name="T22" fmla="*/ 2147483647 w 16"/>
                      <a:gd name="T23" fmla="*/ 2147483647 h 16"/>
                      <a:gd name="T24" fmla="*/ 2147483647 w 16"/>
                      <a:gd name="T25" fmla="*/ 2147483647 h 16"/>
                      <a:gd name="T26" fmla="*/ 2147483647 w 16"/>
                      <a:gd name="T27" fmla="*/ 2147483647 h 16"/>
                      <a:gd name="T28" fmla="*/ 0 w 16"/>
                      <a:gd name="T29" fmla="*/ 2147483647 h 16"/>
                      <a:gd name="T30" fmla="*/ 0 w 16"/>
                      <a:gd name="T31" fmla="*/ 2147483647 h 16"/>
                      <a:gd name="T32" fmla="*/ 2147483647 w 16"/>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 h="16">
                        <a:moveTo>
                          <a:pt x="1" y="0"/>
                        </a:moveTo>
                        <a:lnTo>
                          <a:pt x="5" y="2"/>
                        </a:lnTo>
                        <a:lnTo>
                          <a:pt x="10" y="5"/>
                        </a:lnTo>
                        <a:lnTo>
                          <a:pt x="15" y="10"/>
                        </a:lnTo>
                        <a:lnTo>
                          <a:pt x="15" y="12"/>
                        </a:lnTo>
                        <a:lnTo>
                          <a:pt x="16" y="13"/>
                        </a:lnTo>
                        <a:lnTo>
                          <a:pt x="15" y="15"/>
                        </a:lnTo>
                        <a:lnTo>
                          <a:pt x="15" y="16"/>
                        </a:lnTo>
                        <a:lnTo>
                          <a:pt x="10" y="16"/>
                        </a:lnTo>
                        <a:lnTo>
                          <a:pt x="9" y="16"/>
                        </a:lnTo>
                        <a:lnTo>
                          <a:pt x="7" y="14"/>
                        </a:lnTo>
                        <a:lnTo>
                          <a:pt x="2" y="8"/>
                        </a:lnTo>
                        <a:lnTo>
                          <a:pt x="1" y="5"/>
                        </a:lnTo>
                        <a:lnTo>
                          <a:pt x="0" y="2"/>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0" name="Freeform 1432">
                    <a:extLst>
                      <a:ext uri="{FF2B5EF4-FFF2-40B4-BE49-F238E27FC236}">
                        <a16:creationId xmlns:a16="http://schemas.microsoft.com/office/drawing/2014/main" xmlns="" id="{08F58C5D-5879-4617-BA36-EB202D4F7228}"/>
                      </a:ext>
                    </a:extLst>
                  </p:cNvPr>
                  <p:cNvSpPr>
                    <a:spLocks/>
                  </p:cNvSpPr>
                  <p:nvPr/>
                </p:nvSpPr>
                <p:spPr bwMode="gray">
                  <a:xfrm>
                    <a:off x="5310850" y="4380994"/>
                    <a:ext cx="5563" cy="4450"/>
                  </a:xfrm>
                  <a:custGeom>
                    <a:avLst/>
                    <a:gdLst>
                      <a:gd name="T0" fmla="*/ 2147483647 w 5"/>
                      <a:gd name="T1" fmla="*/ 0 h 4"/>
                      <a:gd name="T2" fmla="*/ 0 w 5"/>
                      <a:gd name="T3" fmla="*/ 2147483647 h 4"/>
                      <a:gd name="T4" fmla="*/ 0 w 5"/>
                      <a:gd name="T5" fmla="*/ 2147483647 h 4"/>
                      <a:gd name="T6" fmla="*/ 2147483647 w 5"/>
                      <a:gd name="T7" fmla="*/ 2147483647 h 4"/>
                      <a:gd name="T8" fmla="*/ 2147483647 w 5"/>
                      <a:gd name="T9" fmla="*/ 2147483647 h 4"/>
                      <a:gd name="T10" fmla="*/ 2147483647 w 5"/>
                      <a:gd name="T11" fmla="*/ 2147483647 h 4"/>
                      <a:gd name="T12" fmla="*/ 2147483647 w 5"/>
                      <a:gd name="T13" fmla="*/ 2147483647 h 4"/>
                      <a:gd name="T14" fmla="*/ 2147483647 w 5"/>
                      <a:gd name="T15" fmla="*/ 2147483647 h 4"/>
                      <a:gd name="T16" fmla="*/ 2147483647 w 5"/>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4">
                        <a:moveTo>
                          <a:pt x="1" y="0"/>
                        </a:moveTo>
                        <a:lnTo>
                          <a:pt x="0" y="1"/>
                        </a:lnTo>
                        <a:lnTo>
                          <a:pt x="2" y="2"/>
                        </a:lnTo>
                        <a:lnTo>
                          <a:pt x="5" y="4"/>
                        </a:lnTo>
                        <a:lnTo>
                          <a:pt x="5" y="2"/>
                        </a:lnTo>
                        <a:lnTo>
                          <a:pt x="4" y="1"/>
                        </a:lnTo>
                        <a:lnTo>
                          <a:pt x="3" y="1"/>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1" name="Freeform 1434">
                    <a:extLst>
                      <a:ext uri="{FF2B5EF4-FFF2-40B4-BE49-F238E27FC236}">
                        <a16:creationId xmlns:a16="http://schemas.microsoft.com/office/drawing/2014/main" xmlns="" id="{484C2BF5-6219-4A26-A595-733CDFDA3577}"/>
                      </a:ext>
                    </a:extLst>
                  </p:cNvPr>
                  <p:cNvSpPr>
                    <a:spLocks/>
                  </p:cNvSpPr>
                  <p:nvPr/>
                </p:nvSpPr>
                <p:spPr bwMode="gray">
                  <a:xfrm>
                    <a:off x="5306401" y="4377656"/>
                    <a:ext cx="3338" cy="3337"/>
                  </a:xfrm>
                  <a:custGeom>
                    <a:avLst/>
                    <a:gdLst>
                      <a:gd name="T0" fmla="*/ 0 w 3"/>
                      <a:gd name="T1" fmla="*/ 0 h 3"/>
                      <a:gd name="T2" fmla="*/ 0 w 3"/>
                      <a:gd name="T3" fmla="*/ 2147483647 h 3"/>
                      <a:gd name="T4" fmla="*/ 2147483647 w 3"/>
                      <a:gd name="T5" fmla="*/ 2147483647 h 3"/>
                      <a:gd name="T6" fmla="*/ 2147483647 w 3"/>
                      <a:gd name="T7" fmla="*/ 2147483647 h 3"/>
                      <a:gd name="T8" fmla="*/ 2147483647 w 3"/>
                      <a:gd name="T9" fmla="*/ 2147483647 h 3"/>
                      <a:gd name="T10" fmla="*/ 2147483647 w 3"/>
                      <a:gd name="T11" fmla="*/ 2147483647 h 3"/>
                      <a:gd name="T12" fmla="*/ 2147483647 w 3"/>
                      <a:gd name="T13" fmla="*/ 2147483647 h 3"/>
                      <a:gd name="T14" fmla="*/ 0 w 3"/>
                      <a:gd name="T15" fmla="*/ 0 h 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3">
                        <a:moveTo>
                          <a:pt x="0" y="0"/>
                        </a:moveTo>
                        <a:lnTo>
                          <a:pt x="0" y="3"/>
                        </a:lnTo>
                        <a:lnTo>
                          <a:pt x="2" y="3"/>
                        </a:lnTo>
                        <a:lnTo>
                          <a:pt x="3" y="3"/>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2" name="Freeform 1436">
                    <a:extLst>
                      <a:ext uri="{FF2B5EF4-FFF2-40B4-BE49-F238E27FC236}">
                        <a16:creationId xmlns:a16="http://schemas.microsoft.com/office/drawing/2014/main" xmlns="" id="{35999A2E-318B-45B8-B68D-4F4994C58B2F}"/>
                      </a:ext>
                    </a:extLst>
                  </p:cNvPr>
                  <p:cNvSpPr>
                    <a:spLocks/>
                  </p:cNvSpPr>
                  <p:nvPr/>
                </p:nvSpPr>
                <p:spPr bwMode="gray">
                  <a:xfrm>
                    <a:off x="5591193" y="4367645"/>
                    <a:ext cx="14463" cy="27811"/>
                  </a:xfrm>
                  <a:custGeom>
                    <a:avLst/>
                    <a:gdLst>
                      <a:gd name="T0" fmla="*/ 0 w 13"/>
                      <a:gd name="T1" fmla="*/ 0 h 25"/>
                      <a:gd name="T2" fmla="*/ 2147483647 w 13"/>
                      <a:gd name="T3" fmla="*/ 2147483647 h 25"/>
                      <a:gd name="T4" fmla="*/ 2147483647 w 13"/>
                      <a:gd name="T5" fmla="*/ 2147483647 h 25"/>
                      <a:gd name="T6" fmla="*/ 2147483647 w 13"/>
                      <a:gd name="T7" fmla="*/ 2147483647 h 25"/>
                      <a:gd name="T8" fmla="*/ 2147483647 w 13"/>
                      <a:gd name="T9" fmla="*/ 2147483647 h 25"/>
                      <a:gd name="T10" fmla="*/ 2147483647 w 13"/>
                      <a:gd name="T11" fmla="*/ 2147483647 h 25"/>
                      <a:gd name="T12" fmla="*/ 2147483647 w 13"/>
                      <a:gd name="T13" fmla="*/ 2147483647 h 25"/>
                      <a:gd name="T14" fmla="*/ 2147483647 w 13"/>
                      <a:gd name="T15" fmla="*/ 2147483647 h 25"/>
                      <a:gd name="T16" fmla="*/ 2147483647 w 13"/>
                      <a:gd name="T17" fmla="*/ 2147483647 h 25"/>
                      <a:gd name="T18" fmla="*/ 2147483647 w 13"/>
                      <a:gd name="T19" fmla="*/ 2147483647 h 25"/>
                      <a:gd name="T20" fmla="*/ 2147483647 w 13"/>
                      <a:gd name="T21" fmla="*/ 2147483647 h 25"/>
                      <a:gd name="T22" fmla="*/ 2147483647 w 13"/>
                      <a:gd name="T23" fmla="*/ 2147483647 h 25"/>
                      <a:gd name="T24" fmla="*/ 2147483647 w 13"/>
                      <a:gd name="T25" fmla="*/ 2147483647 h 25"/>
                      <a:gd name="T26" fmla="*/ 2147483647 w 13"/>
                      <a:gd name="T27" fmla="*/ 2147483647 h 25"/>
                      <a:gd name="T28" fmla="*/ 2147483647 w 13"/>
                      <a:gd name="T29" fmla="*/ 2147483647 h 25"/>
                      <a:gd name="T30" fmla="*/ 0 w 13"/>
                      <a:gd name="T31" fmla="*/ 2147483647 h 25"/>
                      <a:gd name="T32" fmla="*/ 0 w 13"/>
                      <a:gd name="T33" fmla="*/ 2147483647 h 25"/>
                      <a:gd name="T34" fmla="*/ 2147483647 w 13"/>
                      <a:gd name="T35" fmla="*/ 2147483647 h 25"/>
                      <a:gd name="T36" fmla="*/ 2147483647 w 13"/>
                      <a:gd name="T37" fmla="*/ 2147483647 h 25"/>
                      <a:gd name="T38" fmla="*/ 2147483647 w 13"/>
                      <a:gd name="T39" fmla="*/ 2147483647 h 25"/>
                      <a:gd name="T40" fmla="*/ 2147483647 w 13"/>
                      <a:gd name="T41" fmla="*/ 2147483647 h 25"/>
                      <a:gd name="T42" fmla="*/ 2147483647 w 13"/>
                      <a:gd name="T43" fmla="*/ 2147483647 h 25"/>
                      <a:gd name="T44" fmla="*/ 2147483647 w 13"/>
                      <a:gd name="T45" fmla="*/ 2147483647 h 25"/>
                      <a:gd name="T46" fmla="*/ 2147483647 w 13"/>
                      <a:gd name="T47" fmla="*/ 2147483647 h 25"/>
                      <a:gd name="T48" fmla="*/ 0 w 13"/>
                      <a:gd name="T49" fmla="*/ 2147483647 h 25"/>
                      <a:gd name="T50" fmla="*/ 0 w 13"/>
                      <a:gd name="T51" fmla="*/ 2147483647 h 25"/>
                      <a:gd name="T52" fmla="*/ 0 w 13"/>
                      <a:gd name="T53" fmla="*/ 2147483647 h 25"/>
                      <a:gd name="T54" fmla="*/ 0 w 13"/>
                      <a:gd name="T55" fmla="*/ 2147483647 h 25"/>
                      <a:gd name="T56" fmla="*/ 0 w 13"/>
                      <a:gd name="T57" fmla="*/ 0 h 25"/>
                      <a:gd name="T58" fmla="*/ 0 w 13"/>
                      <a:gd name="T59" fmla="*/ 0 h 2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3" h="25">
                        <a:moveTo>
                          <a:pt x="0" y="0"/>
                        </a:moveTo>
                        <a:lnTo>
                          <a:pt x="2" y="1"/>
                        </a:lnTo>
                        <a:lnTo>
                          <a:pt x="3" y="3"/>
                        </a:lnTo>
                        <a:lnTo>
                          <a:pt x="5" y="6"/>
                        </a:lnTo>
                        <a:lnTo>
                          <a:pt x="6" y="7"/>
                        </a:lnTo>
                        <a:lnTo>
                          <a:pt x="7" y="8"/>
                        </a:lnTo>
                        <a:lnTo>
                          <a:pt x="9" y="8"/>
                        </a:lnTo>
                        <a:lnTo>
                          <a:pt x="11" y="8"/>
                        </a:lnTo>
                        <a:lnTo>
                          <a:pt x="13" y="10"/>
                        </a:lnTo>
                        <a:lnTo>
                          <a:pt x="11" y="15"/>
                        </a:lnTo>
                        <a:lnTo>
                          <a:pt x="9" y="18"/>
                        </a:lnTo>
                        <a:lnTo>
                          <a:pt x="7" y="21"/>
                        </a:lnTo>
                        <a:lnTo>
                          <a:pt x="3" y="25"/>
                        </a:lnTo>
                        <a:lnTo>
                          <a:pt x="3" y="24"/>
                        </a:lnTo>
                        <a:lnTo>
                          <a:pt x="2" y="24"/>
                        </a:lnTo>
                        <a:lnTo>
                          <a:pt x="0" y="24"/>
                        </a:lnTo>
                        <a:lnTo>
                          <a:pt x="0" y="22"/>
                        </a:lnTo>
                        <a:lnTo>
                          <a:pt x="3" y="19"/>
                        </a:lnTo>
                        <a:lnTo>
                          <a:pt x="3" y="16"/>
                        </a:lnTo>
                        <a:lnTo>
                          <a:pt x="3" y="13"/>
                        </a:lnTo>
                        <a:lnTo>
                          <a:pt x="3" y="10"/>
                        </a:lnTo>
                        <a:lnTo>
                          <a:pt x="3" y="7"/>
                        </a:lnTo>
                        <a:lnTo>
                          <a:pt x="2" y="6"/>
                        </a:lnTo>
                        <a:lnTo>
                          <a:pt x="0" y="5"/>
                        </a:lnTo>
                        <a:lnTo>
                          <a:pt x="0" y="3"/>
                        </a:lnTo>
                        <a:lnTo>
                          <a:pt x="0"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3" name="Freeform 1438">
                    <a:extLst>
                      <a:ext uri="{FF2B5EF4-FFF2-40B4-BE49-F238E27FC236}">
                        <a16:creationId xmlns:a16="http://schemas.microsoft.com/office/drawing/2014/main" xmlns="" id="{EF112AA1-6D1B-4D8A-A5E3-9D33CA60C297}"/>
                      </a:ext>
                    </a:extLst>
                  </p:cNvPr>
                  <p:cNvSpPr>
                    <a:spLocks/>
                  </p:cNvSpPr>
                  <p:nvPr/>
                </p:nvSpPr>
                <p:spPr bwMode="gray">
                  <a:xfrm>
                    <a:off x="5743601" y="4268641"/>
                    <a:ext cx="30037" cy="46721"/>
                  </a:xfrm>
                  <a:custGeom>
                    <a:avLst/>
                    <a:gdLst>
                      <a:gd name="T0" fmla="*/ 2147483647 w 27"/>
                      <a:gd name="T1" fmla="*/ 0 h 42"/>
                      <a:gd name="T2" fmla="*/ 2147483647 w 27"/>
                      <a:gd name="T3" fmla="*/ 2147483647 h 42"/>
                      <a:gd name="T4" fmla="*/ 2147483647 w 27"/>
                      <a:gd name="T5" fmla="*/ 2147483647 h 42"/>
                      <a:gd name="T6" fmla="*/ 2147483647 w 27"/>
                      <a:gd name="T7" fmla="*/ 2147483647 h 42"/>
                      <a:gd name="T8" fmla="*/ 2147483647 w 27"/>
                      <a:gd name="T9" fmla="*/ 2147483647 h 42"/>
                      <a:gd name="T10" fmla="*/ 2147483647 w 27"/>
                      <a:gd name="T11" fmla="*/ 2147483647 h 42"/>
                      <a:gd name="T12" fmla="*/ 2147483647 w 27"/>
                      <a:gd name="T13" fmla="*/ 2147483647 h 42"/>
                      <a:gd name="T14" fmla="*/ 2147483647 w 27"/>
                      <a:gd name="T15" fmla="*/ 2147483647 h 42"/>
                      <a:gd name="T16" fmla="*/ 2147483647 w 27"/>
                      <a:gd name="T17" fmla="*/ 2147483647 h 42"/>
                      <a:gd name="T18" fmla="*/ 2147483647 w 27"/>
                      <a:gd name="T19" fmla="*/ 2147483647 h 42"/>
                      <a:gd name="T20" fmla="*/ 2147483647 w 27"/>
                      <a:gd name="T21" fmla="*/ 2147483647 h 42"/>
                      <a:gd name="T22" fmla="*/ 2147483647 w 27"/>
                      <a:gd name="T23" fmla="*/ 2147483647 h 42"/>
                      <a:gd name="T24" fmla="*/ 2147483647 w 27"/>
                      <a:gd name="T25" fmla="*/ 2147483647 h 42"/>
                      <a:gd name="T26" fmla="*/ 2147483647 w 27"/>
                      <a:gd name="T27" fmla="*/ 2147483647 h 42"/>
                      <a:gd name="T28" fmla="*/ 2147483647 w 27"/>
                      <a:gd name="T29" fmla="*/ 2147483647 h 42"/>
                      <a:gd name="T30" fmla="*/ 2147483647 w 27"/>
                      <a:gd name="T31" fmla="*/ 2147483647 h 42"/>
                      <a:gd name="T32" fmla="*/ 2147483647 w 27"/>
                      <a:gd name="T33" fmla="*/ 2147483647 h 42"/>
                      <a:gd name="T34" fmla="*/ 2147483647 w 27"/>
                      <a:gd name="T35" fmla="*/ 2147483647 h 42"/>
                      <a:gd name="T36" fmla="*/ 2147483647 w 27"/>
                      <a:gd name="T37" fmla="*/ 2147483647 h 42"/>
                      <a:gd name="T38" fmla="*/ 2147483647 w 27"/>
                      <a:gd name="T39" fmla="*/ 2147483647 h 42"/>
                      <a:gd name="T40" fmla="*/ 2147483647 w 27"/>
                      <a:gd name="T41" fmla="*/ 2147483647 h 42"/>
                      <a:gd name="T42" fmla="*/ 2147483647 w 27"/>
                      <a:gd name="T43" fmla="*/ 2147483647 h 42"/>
                      <a:gd name="T44" fmla="*/ 0 w 27"/>
                      <a:gd name="T45" fmla="*/ 2147483647 h 42"/>
                      <a:gd name="T46" fmla="*/ 0 w 27"/>
                      <a:gd name="T47" fmla="*/ 2147483647 h 42"/>
                      <a:gd name="T48" fmla="*/ 0 w 27"/>
                      <a:gd name="T49" fmla="*/ 2147483647 h 42"/>
                      <a:gd name="T50" fmla="*/ 0 w 27"/>
                      <a:gd name="T51" fmla="*/ 2147483647 h 42"/>
                      <a:gd name="T52" fmla="*/ 2147483647 w 27"/>
                      <a:gd name="T53" fmla="*/ 2147483647 h 42"/>
                      <a:gd name="T54" fmla="*/ 2147483647 w 27"/>
                      <a:gd name="T55" fmla="*/ 2147483647 h 42"/>
                      <a:gd name="T56" fmla="*/ 2147483647 w 27"/>
                      <a:gd name="T57" fmla="*/ 2147483647 h 42"/>
                      <a:gd name="T58" fmla="*/ 2147483647 w 27"/>
                      <a:gd name="T59" fmla="*/ 2147483647 h 42"/>
                      <a:gd name="T60" fmla="*/ 2147483647 w 27"/>
                      <a:gd name="T61" fmla="*/ 2147483647 h 42"/>
                      <a:gd name="T62" fmla="*/ 2147483647 w 27"/>
                      <a:gd name="T63" fmla="*/ 2147483647 h 42"/>
                      <a:gd name="T64" fmla="*/ 2147483647 w 27"/>
                      <a:gd name="T65" fmla="*/ 2147483647 h 42"/>
                      <a:gd name="T66" fmla="*/ 2147483647 w 27"/>
                      <a:gd name="T67" fmla="*/ 2147483647 h 42"/>
                      <a:gd name="T68" fmla="*/ 2147483647 w 27"/>
                      <a:gd name="T69" fmla="*/ 2147483647 h 42"/>
                      <a:gd name="T70" fmla="*/ 2147483647 w 27"/>
                      <a:gd name="T71" fmla="*/ 0 h 42"/>
                      <a:gd name="T72" fmla="*/ 2147483647 w 27"/>
                      <a:gd name="T73" fmla="*/ 0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7" h="42">
                        <a:moveTo>
                          <a:pt x="9" y="0"/>
                        </a:moveTo>
                        <a:lnTo>
                          <a:pt x="12" y="5"/>
                        </a:lnTo>
                        <a:lnTo>
                          <a:pt x="12" y="10"/>
                        </a:lnTo>
                        <a:lnTo>
                          <a:pt x="14" y="17"/>
                        </a:lnTo>
                        <a:lnTo>
                          <a:pt x="16" y="23"/>
                        </a:lnTo>
                        <a:lnTo>
                          <a:pt x="18" y="23"/>
                        </a:lnTo>
                        <a:lnTo>
                          <a:pt x="19" y="23"/>
                        </a:lnTo>
                        <a:lnTo>
                          <a:pt x="20" y="23"/>
                        </a:lnTo>
                        <a:lnTo>
                          <a:pt x="22" y="23"/>
                        </a:lnTo>
                        <a:lnTo>
                          <a:pt x="24" y="25"/>
                        </a:lnTo>
                        <a:lnTo>
                          <a:pt x="25" y="28"/>
                        </a:lnTo>
                        <a:lnTo>
                          <a:pt x="27" y="34"/>
                        </a:lnTo>
                        <a:lnTo>
                          <a:pt x="27" y="37"/>
                        </a:lnTo>
                        <a:lnTo>
                          <a:pt x="26" y="40"/>
                        </a:lnTo>
                        <a:lnTo>
                          <a:pt x="23" y="42"/>
                        </a:lnTo>
                        <a:lnTo>
                          <a:pt x="19" y="41"/>
                        </a:lnTo>
                        <a:lnTo>
                          <a:pt x="17" y="40"/>
                        </a:lnTo>
                        <a:lnTo>
                          <a:pt x="14" y="38"/>
                        </a:lnTo>
                        <a:lnTo>
                          <a:pt x="12" y="36"/>
                        </a:lnTo>
                        <a:lnTo>
                          <a:pt x="9" y="35"/>
                        </a:lnTo>
                        <a:lnTo>
                          <a:pt x="6" y="33"/>
                        </a:lnTo>
                        <a:lnTo>
                          <a:pt x="3" y="31"/>
                        </a:lnTo>
                        <a:lnTo>
                          <a:pt x="0" y="31"/>
                        </a:lnTo>
                        <a:lnTo>
                          <a:pt x="0" y="29"/>
                        </a:lnTo>
                        <a:lnTo>
                          <a:pt x="0" y="26"/>
                        </a:lnTo>
                        <a:lnTo>
                          <a:pt x="0" y="22"/>
                        </a:lnTo>
                        <a:lnTo>
                          <a:pt x="2" y="17"/>
                        </a:lnTo>
                        <a:lnTo>
                          <a:pt x="6" y="12"/>
                        </a:lnTo>
                        <a:lnTo>
                          <a:pt x="9" y="9"/>
                        </a:lnTo>
                        <a:lnTo>
                          <a:pt x="9" y="7"/>
                        </a:lnTo>
                        <a:lnTo>
                          <a:pt x="7" y="7"/>
                        </a:lnTo>
                        <a:lnTo>
                          <a:pt x="6" y="7"/>
                        </a:lnTo>
                        <a:lnTo>
                          <a:pt x="6" y="6"/>
                        </a:lnTo>
                        <a:lnTo>
                          <a:pt x="6" y="5"/>
                        </a:lnTo>
                        <a:lnTo>
                          <a:pt x="6" y="0"/>
                        </a:lnTo>
                        <a:lnTo>
                          <a:pt x="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4" name="Freeform 1440">
                    <a:extLst>
                      <a:ext uri="{FF2B5EF4-FFF2-40B4-BE49-F238E27FC236}">
                        <a16:creationId xmlns:a16="http://schemas.microsoft.com/office/drawing/2014/main" xmlns="" id="{F8DA9389-523C-4625-9DF6-CC43A3190137}"/>
                      </a:ext>
                    </a:extLst>
                  </p:cNvPr>
                  <p:cNvSpPr>
                    <a:spLocks/>
                  </p:cNvSpPr>
                  <p:nvPr/>
                </p:nvSpPr>
                <p:spPr bwMode="gray">
                  <a:xfrm>
                    <a:off x="5259678" y="4237493"/>
                    <a:ext cx="24475" cy="13349"/>
                  </a:xfrm>
                  <a:custGeom>
                    <a:avLst/>
                    <a:gdLst>
                      <a:gd name="T0" fmla="*/ 2147483647 w 22"/>
                      <a:gd name="T1" fmla="*/ 0 h 12"/>
                      <a:gd name="T2" fmla="*/ 2147483647 w 22"/>
                      <a:gd name="T3" fmla="*/ 2147483647 h 12"/>
                      <a:gd name="T4" fmla="*/ 2147483647 w 22"/>
                      <a:gd name="T5" fmla="*/ 2147483647 h 12"/>
                      <a:gd name="T6" fmla="*/ 2147483647 w 22"/>
                      <a:gd name="T7" fmla="*/ 2147483647 h 12"/>
                      <a:gd name="T8" fmla="*/ 0 w 22"/>
                      <a:gd name="T9" fmla="*/ 2147483647 h 12"/>
                      <a:gd name="T10" fmla="*/ 0 w 22"/>
                      <a:gd name="T11" fmla="*/ 2147483647 h 12"/>
                      <a:gd name="T12" fmla="*/ 2147483647 w 22"/>
                      <a:gd name="T13" fmla="*/ 2147483647 h 12"/>
                      <a:gd name="T14" fmla="*/ 2147483647 w 22"/>
                      <a:gd name="T15" fmla="*/ 2147483647 h 12"/>
                      <a:gd name="T16" fmla="*/ 2147483647 w 22"/>
                      <a:gd name="T17" fmla="*/ 2147483647 h 12"/>
                      <a:gd name="T18" fmla="*/ 2147483647 w 22"/>
                      <a:gd name="T19" fmla="*/ 2147483647 h 12"/>
                      <a:gd name="T20" fmla="*/ 2147483647 w 22"/>
                      <a:gd name="T21" fmla="*/ 2147483647 h 12"/>
                      <a:gd name="T22" fmla="*/ 2147483647 w 22"/>
                      <a:gd name="T23" fmla="*/ 2147483647 h 12"/>
                      <a:gd name="T24" fmla="*/ 2147483647 w 22"/>
                      <a:gd name="T25" fmla="*/ 2147483647 h 12"/>
                      <a:gd name="T26" fmla="*/ 2147483647 w 22"/>
                      <a:gd name="T27" fmla="*/ 2147483647 h 12"/>
                      <a:gd name="T28" fmla="*/ 2147483647 w 22"/>
                      <a:gd name="T29" fmla="*/ 2147483647 h 12"/>
                      <a:gd name="T30" fmla="*/ 2147483647 w 22"/>
                      <a:gd name="T31" fmla="*/ 2147483647 h 12"/>
                      <a:gd name="T32" fmla="*/ 2147483647 w 22"/>
                      <a:gd name="T33" fmla="*/ 2147483647 h 12"/>
                      <a:gd name="T34" fmla="*/ 2147483647 w 22"/>
                      <a:gd name="T35" fmla="*/ 2147483647 h 12"/>
                      <a:gd name="T36" fmla="*/ 2147483647 w 22"/>
                      <a:gd name="T37" fmla="*/ 2147483647 h 12"/>
                      <a:gd name="T38" fmla="*/ 2147483647 w 22"/>
                      <a:gd name="T39" fmla="*/ 2147483647 h 12"/>
                      <a:gd name="T40" fmla="*/ 2147483647 w 22"/>
                      <a:gd name="T41" fmla="*/ 2147483647 h 12"/>
                      <a:gd name="T42" fmla="*/ 2147483647 w 22"/>
                      <a:gd name="T43" fmla="*/ 2147483647 h 12"/>
                      <a:gd name="T44" fmla="*/ 2147483647 w 22"/>
                      <a:gd name="T45" fmla="*/ 2147483647 h 12"/>
                      <a:gd name="T46" fmla="*/ 2147483647 w 22"/>
                      <a:gd name="T47" fmla="*/ 2147483647 h 12"/>
                      <a:gd name="T48" fmla="*/ 2147483647 w 22"/>
                      <a:gd name="T49" fmla="*/ 2147483647 h 12"/>
                      <a:gd name="T50" fmla="*/ 2147483647 w 22"/>
                      <a:gd name="T51" fmla="*/ 0 h 12"/>
                      <a:gd name="T52" fmla="*/ 2147483647 w 22"/>
                      <a:gd name="T53" fmla="*/ 0 h 12"/>
                      <a:gd name="T54" fmla="*/ 2147483647 w 22"/>
                      <a:gd name="T55" fmla="*/ 0 h 12"/>
                      <a:gd name="T56" fmla="*/ 2147483647 w 22"/>
                      <a:gd name="T57" fmla="*/ 0 h 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2" h="12">
                        <a:moveTo>
                          <a:pt x="13" y="0"/>
                        </a:moveTo>
                        <a:lnTo>
                          <a:pt x="8" y="1"/>
                        </a:lnTo>
                        <a:lnTo>
                          <a:pt x="5" y="3"/>
                        </a:lnTo>
                        <a:lnTo>
                          <a:pt x="2" y="5"/>
                        </a:lnTo>
                        <a:lnTo>
                          <a:pt x="0" y="6"/>
                        </a:lnTo>
                        <a:lnTo>
                          <a:pt x="0" y="8"/>
                        </a:lnTo>
                        <a:lnTo>
                          <a:pt x="1" y="8"/>
                        </a:lnTo>
                        <a:lnTo>
                          <a:pt x="2" y="9"/>
                        </a:lnTo>
                        <a:lnTo>
                          <a:pt x="3" y="9"/>
                        </a:lnTo>
                        <a:lnTo>
                          <a:pt x="5" y="9"/>
                        </a:lnTo>
                        <a:lnTo>
                          <a:pt x="6" y="9"/>
                        </a:lnTo>
                        <a:lnTo>
                          <a:pt x="7" y="9"/>
                        </a:lnTo>
                        <a:lnTo>
                          <a:pt x="8" y="10"/>
                        </a:lnTo>
                        <a:lnTo>
                          <a:pt x="10" y="11"/>
                        </a:lnTo>
                        <a:lnTo>
                          <a:pt x="13" y="12"/>
                        </a:lnTo>
                        <a:lnTo>
                          <a:pt x="13" y="11"/>
                        </a:lnTo>
                        <a:lnTo>
                          <a:pt x="13" y="10"/>
                        </a:lnTo>
                        <a:lnTo>
                          <a:pt x="14" y="9"/>
                        </a:lnTo>
                        <a:lnTo>
                          <a:pt x="16" y="9"/>
                        </a:lnTo>
                        <a:lnTo>
                          <a:pt x="18" y="7"/>
                        </a:lnTo>
                        <a:lnTo>
                          <a:pt x="20" y="5"/>
                        </a:lnTo>
                        <a:lnTo>
                          <a:pt x="22" y="2"/>
                        </a:lnTo>
                        <a:lnTo>
                          <a:pt x="21" y="1"/>
                        </a:lnTo>
                        <a:lnTo>
                          <a:pt x="19" y="0"/>
                        </a:lnTo>
                        <a:lnTo>
                          <a:pt x="17" y="0"/>
                        </a:lnTo>
                        <a:lnTo>
                          <a:pt x="1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5" name="Freeform 1442">
                    <a:extLst>
                      <a:ext uri="{FF2B5EF4-FFF2-40B4-BE49-F238E27FC236}">
                        <a16:creationId xmlns:a16="http://schemas.microsoft.com/office/drawing/2014/main" xmlns="" id="{77856D65-3CDA-40F1-98D7-EF77D78459EC}"/>
                      </a:ext>
                    </a:extLst>
                  </p:cNvPr>
                  <p:cNvSpPr>
                    <a:spLocks/>
                  </p:cNvSpPr>
                  <p:nvPr/>
                </p:nvSpPr>
                <p:spPr bwMode="gray">
                  <a:xfrm>
                    <a:off x="5407635" y="4221919"/>
                    <a:ext cx="11125" cy="6675"/>
                  </a:xfrm>
                  <a:custGeom>
                    <a:avLst/>
                    <a:gdLst>
                      <a:gd name="T0" fmla="*/ 2147483647 w 10"/>
                      <a:gd name="T1" fmla="*/ 0 h 6"/>
                      <a:gd name="T2" fmla="*/ 2147483647 w 10"/>
                      <a:gd name="T3" fmla="*/ 0 h 6"/>
                      <a:gd name="T4" fmla="*/ 2147483647 w 10"/>
                      <a:gd name="T5" fmla="*/ 0 h 6"/>
                      <a:gd name="T6" fmla="*/ 2147483647 w 10"/>
                      <a:gd name="T7" fmla="*/ 0 h 6"/>
                      <a:gd name="T8" fmla="*/ 2147483647 w 10"/>
                      <a:gd name="T9" fmla="*/ 2147483647 h 6"/>
                      <a:gd name="T10" fmla="*/ 2147483647 w 10"/>
                      <a:gd name="T11" fmla="*/ 2147483647 h 6"/>
                      <a:gd name="T12" fmla="*/ 2147483647 w 10"/>
                      <a:gd name="T13" fmla="*/ 2147483647 h 6"/>
                      <a:gd name="T14" fmla="*/ 2147483647 w 10"/>
                      <a:gd name="T15" fmla="*/ 2147483647 h 6"/>
                      <a:gd name="T16" fmla="*/ 2147483647 w 10"/>
                      <a:gd name="T17" fmla="*/ 2147483647 h 6"/>
                      <a:gd name="T18" fmla="*/ 2147483647 w 10"/>
                      <a:gd name="T19" fmla="*/ 2147483647 h 6"/>
                      <a:gd name="T20" fmla="*/ 2147483647 w 10"/>
                      <a:gd name="T21" fmla="*/ 2147483647 h 6"/>
                      <a:gd name="T22" fmla="*/ 2147483647 w 10"/>
                      <a:gd name="T23" fmla="*/ 2147483647 h 6"/>
                      <a:gd name="T24" fmla="*/ 0 w 10"/>
                      <a:gd name="T25" fmla="*/ 2147483647 h 6"/>
                      <a:gd name="T26" fmla="*/ 0 w 10"/>
                      <a:gd name="T27" fmla="*/ 2147483647 h 6"/>
                      <a:gd name="T28" fmla="*/ 0 w 10"/>
                      <a:gd name="T29" fmla="*/ 2147483647 h 6"/>
                      <a:gd name="T30" fmla="*/ 0 w 10"/>
                      <a:gd name="T31" fmla="*/ 0 h 6"/>
                      <a:gd name="T32" fmla="*/ 0 w 10"/>
                      <a:gd name="T33" fmla="*/ 0 h 6"/>
                      <a:gd name="T34" fmla="*/ 2147483647 w 10"/>
                      <a:gd name="T35" fmla="*/ 0 h 6"/>
                      <a:gd name="T36" fmla="*/ 2147483647 w 10"/>
                      <a:gd name="T37" fmla="*/ 0 h 6"/>
                      <a:gd name="T38" fmla="*/ 2147483647 w 10"/>
                      <a:gd name="T39" fmla="*/ 0 h 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6">
                        <a:moveTo>
                          <a:pt x="3" y="0"/>
                        </a:moveTo>
                        <a:lnTo>
                          <a:pt x="4" y="0"/>
                        </a:lnTo>
                        <a:lnTo>
                          <a:pt x="5" y="0"/>
                        </a:lnTo>
                        <a:lnTo>
                          <a:pt x="10" y="0"/>
                        </a:lnTo>
                        <a:lnTo>
                          <a:pt x="10" y="3"/>
                        </a:lnTo>
                        <a:lnTo>
                          <a:pt x="8" y="3"/>
                        </a:lnTo>
                        <a:lnTo>
                          <a:pt x="7" y="3"/>
                        </a:lnTo>
                        <a:lnTo>
                          <a:pt x="6" y="4"/>
                        </a:lnTo>
                        <a:lnTo>
                          <a:pt x="6" y="6"/>
                        </a:lnTo>
                        <a:lnTo>
                          <a:pt x="4" y="4"/>
                        </a:lnTo>
                        <a:lnTo>
                          <a:pt x="3" y="3"/>
                        </a:lnTo>
                        <a:lnTo>
                          <a:pt x="2" y="3"/>
                        </a:lnTo>
                        <a:lnTo>
                          <a:pt x="0" y="3"/>
                        </a:lnTo>
                        <a:lnTo>
                          <a:pt x="0" y="2"/>
                        </a:lnTo>
                        <a:lnTo>
                          <a:pt x="0" y="1"/>
                        </a:lnTo>
                        <a:lnTo>
                          <a:pt x="0" y="0"/>
                        </a:lnTo>
                        <a:lnTo>
                          <a:pt x="1" y="0"/>
                        </a:lnTo>
                        <a:lnTo>
                          <a:pt x="2"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6" name="Freeform 1444">
                    <a:extLst>
                      <a:ext uri="{FF2B5EF4-FFF2-40B4-BE49-F238E27FC236}">
                        <a16:creationId xmlns:a16="http://schemas.microsoft.com/office/drawing/2014/main" xmlns="" id="{10BEB69E-FCC0-4D4C-A179-B457DB25ADC4}"/>
                      </a:ext>
                    </a:extLst>
                  </p:cNvPr>
                  <p:cNvSpPr>
                    <a:spLocks/>
                  </p:cNvSpPr>
                  <p:nvPr/>
                </p:nvSpPr>
                <p:spPr bwMode="gray">
                  <a:xfrm>
                    <a:off x="5382049" y="4205232"/>
                    <a:ext cx="5563" cy="3337"/>
                  </a:xfrm>
                  <a:custGeom>
                    <a:avLst/>
                    <a:gdLst>
                      <a:gd name="T0" fmla="*/ 0 w 5"/>
                      <a:gd name="T1" fmla="*/ 0 h 3"/>
                      <a:gd name="T2" fmla="*/ 2147483647 w 5"/>
                      <a:gd name="T3" fmla="*/ 0 h 3"/>
                      <a:gd name="T4" fmla="*/ 2147483647 w 5"/>
                      <a:gd name="T5" fmla="*/ 2147483647 h 3"/>
                      <a:gd name="T6" fmla="*/ 2147483647 w 5"/>
                      <a:gd name="T7" fmla="*/ 2147483647 h 3"/>
                      <a:gd name="T8" fmla="*/ 2147483647 w 5"/>
                      <a:gd name="T9" fmla="*/ 2147483647 h 3"/>
                      <a:gd name="T10" fmla="*/ 2147483647 w 5"/>
                      <a:gd name="T11" fmla="*/ 0 h 3"/>
                      <a:gd name="T12" fmla="*/ 2147483647 w 5"/>
                      <a:gd name="T13" fmla="*/ 0 h 3"/>
                      <a:gd name="T14" fmla="*/ 0 w 5"/>
                      <a:gd name="T15" fmla="*/ 0 h 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 h="3">
                        <a:moveTo>
                          <a:pt x="0" y="0"/>
                        </a:moveTo>
                        <a:lnTo>
                          <a:pt x="2" y="0"/>
                        </a:lnTo>
                        <a:lnTo>
                          <a:pt x="2" y="1"/>
                        </a:lnTo>
                        <a:lnTo>
                          <a:pt x="5" y="3"/>
                        </a:lnTo>
                        <a:lnTo>
                          <a:pt x="5" y="1"/>
                        </a:lnTo>
                        <a:lnTo>
                          <a:pt x="4"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7" name="Freeform 1446">
                    <a:extLst>
                      <a:ext uri="{FF2B5EF4-FFF2-40B4-BE49-F238E27FC236}">
                        <a16:creationId xmlns:a16="http://schemas.microsoft.com/office/drawing/2014/main" xmlns="" id="{3CC9CDC4-9464-40B4-B0D6-D15F5EE0D348}"/>
                      </a:ext>
                    </a:extLst>
                  </p:cNvPr>
                  <p:cNvSpPr>
                    <a:spLocks/>
                  </p:cNvSpPr>
                  <p:nvPr/>
                </p:nvSpPr>
                <p:spPr bwMode="gray">
                  <a:xfrm>
                    <a:off x="5387611" y="4200782"/>
                    <a:ext cx="4450" cy="7787"/>
                  </a:xfrm>
                  <a:custGeom>
                    <a:avLst/>
                    <a:gdLst>
                      <a:gd name="T0" fmla="*/ 2147483647 w 4"/>
                      <a:gd name="T1" fmla="*/ 0 h 7"/>
                      <a:gd name="T2" fmla="*/ 0 w 4"/>
                      <a:gd name="T3" fmla="*/ 2147483647 h 7"/>
                      <a:gd name="T4" fmla="*/ 2147483647 w 4"/>
                      <a:gd name="T5" fmla="*/ 2147483647 h 7"/>
                      <a:gd name="T6" fmla="*/ 2147483647 w 4"/>
                      <a:gd name="T7" fmla="*/ 2147483647 h 7"/>
                      <a:gd name="T8" fmla="*/ 2147483647 w 4"/>
                      <a:gd name="T9" fmla="*/ 2147483647 h 7"/>
                      <a:gd name="T10" fmla="*/ 2147483647 w 4"/>
                      <a:gd name="T11" fmla="*/ 2147483647 h 7"/>
                      <a:gd name="T12" fmla="*/ 2147483647 w 4"/>
                      <a:gd name="T13" fmla="*/ 2147483647 h 7"/>
                      <a:gd name="T14" fmla="*/ 2147483647 w 4"/>
                      <a:gd name="T15" fmla="*/ 2147483647 h 7"/>
                      <a:gd name="T16" fmla="*/ 2147483647 w 4"/>
                      <a:gd name="T17" fmla="*/ 2147483647 h 7"/>
                      <a:gd name="T18" fmla="*/ 2147483647 w 4"/>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7">
                        <a:moveTo>
                          <a:pt x="2" y="0"/>
                        </a:moveTo>
                        <a:lnTo>
                          <a:pt x="0" y="4"/>
                        </a:lnTo>
                        <a:lnTo>
                          <a:pt x="2" y="4"/>
                        </a:lnTo>
                        <a:lnTo>
                          <a:pt x="2" y="5"/>
                        </a:lnTo>
                        <a:lnTo>
                          <a:pt x="2" y="7"/>
                        </a:lnTo>
                        <a:lnTo>
                          <a:pt x="3" y="6"/>
                        </a:lnTo>
                        <a:lnTo>
                          <a:pt x="3" y="4"/>
                        </a:lnTo>
                        <a:lnTo>
                          <a:pt x="4" y="2"/>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8" name="Freeform 1448">
                    <a:extLst>
                      <a:ext uri="{FF2B5EF4-FFF2-40B4-BE49-F238E27FC236}">
                        <a16:creationId xmlns:a16="http://schemas.microsoft.com/office/drawing/2014/main" xmlns="" id="{C2A9AE14-4602-4383-9ED1-90BE26D42F48}"/>
                      </a:ext>
                    </a:extLst>
                  </p:cNvPr>
                  <p:cNvSpPr>
                    <a:spLocks/>
                  </p:cNvSpPr>
                  <p:nvPr/>
                </p:nvSpPr>
                <p:spPr bwMode="gray">
                  <a:xfrm>
                    <a:off x="5378712" y="4200782"/>
                    <a:ext cx="4450" cy="4450"/>
                  </a:xfrm>
                  <a:custGeom>
                    <a:avLst/>
                    <a:gdLst>
                      <a:gd name="T0" fmla="*/ 0 w 4"/>
                      <a:gd name="T1" fmla="*/ 0 h 4"/>
                      <a:gd name="T2" fmla="*/ 2147483647 w 4"/>
                      <a:gd name="T3" fmla="*/ 0 h 4"/>
                      <a:gd name="T4" fmla="*/ 2147483647 w 4"/>
                      <a:gd name="T5" fmla="*/ 2147483647 h 4"/>
                      <a:gd name="T6" fmla="*/ 2147483647 w 4"/>
                      <a:gd name="T7" fmla="*/ 2147483647 h 4"/>
                      <a:gd name="T8" fmla="*/ 2147483647 w 4"/>
                      <a:gd name="T9" fmla="*/ 2147483647 h 4"/>
                      <a:gd name="T10" fmla="*/ 2147483647 w 4"/>
                      <a:gd name="T11" fmla="*/ 2147483647 h 4"/>
                      <a:gd name="T12" fmla="*/ 2147483647 w 4"/>
                      <a:gd name="T13" fmla="*/ 2147483647 h 4"/>
                      <a:gd name="T14" fmla="*/ 2147483647 w 4"/>
                      <a:gd name="T15" fmla="*/ 0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1" y="0"/>
                        </a:lnTo>
                        <a:lnTo>
                          <a:pt x="2" y="2"/>
                        </a:lnTo>
                        <a:lnTo>
                          <a:pt x="3" y="3"/>
                        </a:lnTo>
                        <a:lnTo>
                          <a:pt x="3" y="4"/>
                        </a:lnTo>
                        <a:lnTo>
                          <a:pt x="4" y="3"/>
                        </a:lnTo>
                        <a:lnTo>
                          <a:pt x="4" y="2"/>
                        </a:lnTo>
                        <a:lnTo>
                          <a:pt x="4"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19" name="Freeform 1450">
                    <a:extLst>
                      <a:ext uri="{FF2B5EF4-FFF2-40B4-BE49-F238E27FC236}">
                        <a16:creationId xmlns:a16="http://schemas.microsoft.com/office/drawing/2014/main" xmlns="" id="{D048F5E5-2D3A-4BA4-B378-CCB5AB036355}"/>
                      </a:ext>
                    </a:extLst>
                  </p:cNvPr>
                  <p:cNvSpPr>
                    <a:spLocks/>
                  </p:cNvSpPr>
                  <p:nvPr/>
                </p:nvSpPr>
                <p:spPr bwMode="gray">
                  <a:xfrm>
                    <a:off x="5378712" y="4190771"/>
                    <a:ext cx="14463" cy="6675"/>
                  </a:xfrm>
                  <a:custGeom>
                    <a:avLst/>
                    <a:gdLst>
                      <a:gd name="T0" fmla="*/ 2147483647 w 13"/>
                      <a:gd name="T1" fmla="*/ 0 h 6"/>
                      <a:gd name="T2" fmla="*/ 2147483647 w 13"/>
                      <a:gd name="T3" fmla="*/ 0 h 6"/>
                      <a:gd name="T4" fmla="*/ 2147483647 w 13"/>
                      <a:gd name="T5" fmla="*/ 2147483647 h 6"/>
                      <a:gd name="T6" fmla="*/ 2147483647 w 13"/>
                      <a:gd name="T7" fmla="*/ 2147483647 h 6"/>
                      <a:gd name="T8" fmla="*/ 0 w 13"/>
                      <a:gd name="T9" fmla="*/ 2147483647 h 6"/>
                      <a:gd name="T10" fmla="*/ 2147483647 w 13"/>
                      <a:gd name="T11" fmla="*/ 2147483647 h 6"/>
                      <a:gd name="T12" fmla="*/ 2147483647 w 13"/>
                      <a:gd name="T13" fmla="*/ 2147483647 h 6"/>
                      <a:gd name="T14" fmla="*/ 2147483647 w 13"/>
                      <a:gd name="T15" fmla="*/ 2147483647 h 6"/>
                      <a:gd name="T16" fmla="*/ 0 w 13"/>
                      <a:gd name="T17" fmla="*/ 2147483647 h 6"/>
                      <a:gd name="T18" fmla="*/ 2147483647 w 13"/>
                      <a:gd name="T19" fmla="*/ 2147483647 h 6"/>
                      <a:gd name="T20" fmla="*/ 2147483647 w 13"/>
                      <a:gd name="T21" fmla="*/ 2147483647 h 6"/>
                      <a:gd name="T22" fmla="*/ 2147483647 w 13"/>
                      <a:gd name="T23" fmla="*/ 2147483647 h 6"/>
                      <a:gd name="T24" fmla="*/ 2147483647 w 13"/>
                      <a:gd name="T25" fmla="*/ 2147483647 h 6"/>
                      <a:gd name="T26" fmla="*/ 2147483647 w 13"/>
                      <a:gd name="T27" fmla="*/ 0 h 6"/>
                      <a:gd name="T28" fmla="*/ 2147483647 w 13"/>
                      <a:gd name="T29" fmla="*/ 0 h 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3" h="6">
                        <a:moveTo>
                          <a:pt x="10" y="0"/>
                        </a:moveTo>
                        <a:lnTo>
                          <a:pt x="8" y="0"/>
                        </a:lnTo>
                        <a:lnTo>
                          <a:pt x="5" y="1"/>
                        </a:lnTo>
                        <a:lnTo>
                          <a:pt x="3" y="2"/>
                        </a:lnTo>
                        <a:lnTo>
                          <a:pt x="0" y="3"/>
                        </a:lnTo>
                        <a:lnTo>
                          <a:pt x="1" y="3"/>
                        </a:lnTo>
                        <a:lnTo>
                          <a:pt x="1" y="5"/>
                        </a:lnTo>
                        <a:lnTo>
                          <a:pt x="2" y="6"/>
                        </a:lnTo>
                        <a:lnTo>
                          <a:pt x="0" y="6"/>
                        </a:lnTo>
                        <a:lnTo>
                          <a:pt x="10" y="6"/>
                        </a:lnTo>
                        <a:lnTo>
                          <a:pt x="11" y="5"/>
                        </a:lnTo>
                        <a:lnTo>
                          <a:pt x="13" y="3"/>
                        </a:lnTo>
                        <a:lnTo>
                          <a:pt x="13" y="1"/>
                        </a:lnTo>
                        <a:lnTo>
                          <a:pt x="12" y="0"/>
                        </a:lnTo>
                        <a:lnTo>
                          <a:pt x="1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0" name="Freeform 1452">
                    <a:extLst>
                      <a:ext uri="{FF2B5EF4-FFF2-40B4-BE49-F238E27FC236}">
                        <a16:creationId xmlns:a16="http://schemas.microsoft.com/office/drawing/2014/main" xmlns="" id="{E85A97BC-6E0F-45A1-BD89-BCF6516BFA87}"/>
                      </a:ext>
                    </a:extLst>
                  </p:cNvPr>
                  <p:cNvSpPr>
                    <a:spLocks/>
                  </p:cNvSpPr>
                  <p:nvPr/>
                </p:nvSpPr>
                <p:spPr bwMode="gray">
                  <a:xfrm>
                    <a:off x="5488846" y="4190771"/>
                    <a:ext cx="17799" cy="8899"/>
                  </a:xfrm>
                  <a:custGeom>
                    <a:avLst/>
                    <a:gdLst>
                      <a:gd name="T0" fmla="*/ 2147483647 w 16"/>
                      <a:gd name="T1" fmla="*/ 0 h 8"/>
                      <a:gd name="T2" fmla="*/ 2147483647 w 16"/>
                      <a:gd name="T3" fmla="*/ 2147483647 h 8"/>
                      <a:gd name="T4" fmla="*/ 2147483647 w 16"/>
                      <a:gd name="T5" fmla="*/ 2147483647 h 8"/>
                      <a:gd name="T6" fmla="*/ 2147483647 w 16"/>
                      <a:gd name="T7" fmla="*/ 2147483647 h 8"/>
                      <a:gd name="T8" fmla="*/ 2147483647 w 16"/>
                      <a:gd name="T9" fmla="*/ 2147483647 h 8"/>
                      <a:gd name="T10" fmla="*/ 2147483647 w 16"/>
                      <a:gd name="T11" fmla="*/ 2147483647 h 8"/>
                      <a:gd name="T12" fmla="*/ 2147483647 w 16"/>
                      <a:gd name="T13" fmla="*/ 2147483647 h 8"/>
                      <a:gd name="T14" fmla="*/ 2147483647 w 16"/>
                      <a:gd name="T15" fmla="*/ 2147483647 h 8"/>
                      <a:gd name="T16" fmla="*/ 2147483647 w 16"/>
                      <a:gd name="T17" fmla="*/ 2147483647 h 8"/>
                      <a:gd name="T18" fmla="*/ 0 w 16"/>
                      <a:gd name="T19" fmla="*/ 2147483647 h 8"/>
                      <a:gd name="T20" fmla="*/ 0 w 16"/>
                      <a:gd name="T21" fmla="*/ 2147483647 h 8"/>
                      <a:gd name="T22" fmla="*/ 2147483647 w 16"/>
                      <a:gd name="T23" fmla="*/ 2147483647 h 8"/>
                      <a:gd name="T24" fmla="*/ 2147483647 w 16"/>
                      <a:gd name="T25" fmla="*/ 2147483647 h 8"/>
                      <a:gd name="T26" fmla="*/ 2147483647 w 16"/>
                      <a:gd name="T27" fmla="*/ 2147483647 h 8"/>
                      <a:gd name="T28" fmla="*/ 2147483647 w 16"/>
                      <a:gd name="T29" fmla="*/ 2147483647 h 8"/>
                      <a:gd name="T30" fmla="*/ 2147483647 w 16"/>
                      <a:gd name="T31" fmla="*/ 2147483647 h 8"/>
                      <a:gd name="T32" fmla="*/ 2147483647 w 16"/>
                      <a:gd name="T33" fmla="*/ 0 h 8"/>
                      <a:gd name="T34" fmla="*/ 2147483647 w 16"/>
                      <a:gd name="T35" fmla="*/ 0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8">
                        <a:moveTo>
                          <a:pt x="6" y="0"/>
                        </a:moveTo>
                        <a:lnTo>
                          <a:pt x="11" y="1"/>
                        </a:lnTo>
                        <a:lnTo>
                          <a:pt x="15" y="3"/>
                        </a:lnTo>
                        <a:lnTo>
                          <a:pt x="16" y="5"/>
                        </a:lnTo>
                        <a:lnTo>
                          <a:pt x="15" y="5"/>
                        </a:lnTo>
                        <a:lnTo>
                          <a:pt x="13" y="5"/>
                        </a:lnTo>
                        <a:lnTo>
                          <a:pt x="10" y="8"/>
                        </a:lnTo>
                        <a:lnTo>
                          <a:pt x="6" y="7"/>
                        </a:lnTo>
                        <a:lnTo>
                          <a:pt x="3" y="7"/>
                        </a:lnTo>
                        <a:lnTo>
                          <a:pt x="0" y="5"/>
                        </a:lnTo>
                        <a:lnTo>
                          <a:pt x="0" y="3"/>
                        </a:lnTo>
                        <a:lnTo>
                          <a:pt x="1" y="3"/>
                        </a:lnTo>
                        <a:lnTo>
                          <a:pt x="3" y="3"/>
                        </a:lnTo>
                        <a:lnTo>
                          <a:pt x="3" y="2"/>
                        </a:lnTo>
                        <a:lnTo>
                          <a:pt x="4" y="1"/>
                        </a:lnTo>
                        <a:lnTo>
                          <a:pt x="5" y="0"/>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1" name="Freeform 1454">
                    <a:extLst>
                      <a:ext uri="{FF2B5EF4-FFF2-40B4-BE49-F238E27FC236}">
                        <a16:creationId xmlns:a16="http://schemas.microsoft.com/office/drawing/2014/main" xmlns="" id="{4E917A4D-2543-4EC1-BE8B-F28E794BF506}"/>
                      </a:ext>
                    </a:extLst>
                  </p:cNvPr>
                  <p:cNvSpPr>
                    <a:spLocks/>
                  </p:cNvSpPr>
                  <p:nvPr/>
                </p:nvSpPr>
                <p:spPr bwMode="gray">
                  <a:xfrm>
                    <a:off x="5446572" y="4190771"/>
                    <a:ext cx="2225" cy="3337"/>
                  </a:xfrm>
                  <a:custGeom>
                    <a:avLst/>
                    <a:gdLst>
                      <a:gd name="T0" fmla="*/ 0 w 2"/>
                      <a:gd name="T1" fmla="*/ 0 h 3"/>
                      <a:gd name="T2" fmla="*/ 0 w 2"/>
                      <a:gd name="T3" fmla="*/ 0 h 3"/>
                      <a:gd name="T4" fmla="*/ 0 w 2"/>
                      <a:gd name="T5" fmla="*/ 2147483647 h 3"/>
                      <a:gd name="T6" fmla="*/ 0 w 2"/>
                      <a:gd name="T7" fmla="*/ 2147483647 h 3"/>
                      <a:gd name="T8" fmla="*/ 0 w 2"/>
                      <a:gd name="T9" fmla="*/ 2147483647 h 3"/>
                      <a:gd name="T10" fmla="*/ 2147483647 w 2"/>
                      <a:gd name="T11" fmla="*/ 2147483647 h 3"/>
                      <a:gd name="T12" fmla="*/ 2147483647 w 2"/>
                      <a:gd name="T13" fmla="*/ 2147483647 h 3"/>
                      <a:gd name="T14" fmla="*/ 2147483647 w 2"/>
                      <a:gd name="T15" fmla="*/ 0 h 3"/>
                      <a:gd name="T16" fmla="*/ 0 w 2"/>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3">
                        <a:moveTo>
                          <a:pt x="0" y="0"/>
                        </a:moveTo>
                        <a:lnTo>
                          <a:pt x="0" y="0"/>
                        </a:lnTo>
                        <a:lnTo>
                          <a:pt x="0" y="1"/>
                        </a:lnTo>
                        <a:lnTo>
                          <a:pt x="0" y="2"/>
                        </a:lnTo>
                        <a:lnTo>
                          <a:pt x="0" y="3"/>
                        </a:lnTo>
                        <a:lnTo>
                          <a:pt x="2" y="2"/>
                        </a:lnTo>
                        <a:lnTo>
                          <a:pt x="1" y="1"/>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2" name="Freeform 1456">
                    <a:extLst>
                      <a:ext uri="{FF2B5EF4-FFF2-40B4-BE49-F238E27FC236}">
                        <a16:creationId xmlns:a16="http://schemas.microsoft.com/office/drawing/2014/main" xmlns="" id="{3FBDC0B1-B440-4174-830B-77D979844239}"/>
                      </a:ext>
                    </a:extLst>
                  </p:cNvPr>
                  <p:cNvSpPr>
                    <a:spLocks/>
                  </p:cNvSpPr>
                  <p:nvPr/>
                </p:nvSpPr>
                <p:spPr bwMode="gray">
                  <a:xfrm>
                    <a:off x="5089470" y="1528780"/>
                    <a:ext cx="943372" cy="2275986"/>
                  </a:xfrm>
                  <a:custGeom>
                    <a:avLst/>
                    <a:gdLst>
                      <a:gd name="T0" fmla="*/ 2147483647 w 848"/>
                      <a:gd name="T1" fmla="*/ 2147483647 h 2046"/>
                      <a:gd name="T2" fmla="*/ 2147483647 w 848"/>
                      <a:gd name="T3" fmla="*/ 2147483647 h 2046"/>
                      <a:gd name="T4" fmla="*/ 2147483647 w 848"/>
                      <a:gd name="T5" fmla="*/ 2147483647 h 2046"/>
                      <a:gd name="T6" fmla="*/ 2147483647 w 848"/>
                      <a:gd name="T7" fmla="*/ 2147483647 h 2046"/>
                      <a:gd name="T8" fmla="*/ 2147483647 w 848"/>
                      <a:gd name="T9" fmla="*/ 2147483647 h 2046"/>
                      <a:gd name="T10" fmla="*/ 2147483647 w 848"/>
                      <a:gd name="T11" fmla="*/ 2147483647 h 2046"/>
                      <a:gd name="T12" fmla="*/ 2147483647 w 848"/>
                      <a:gd name="T13" fmla="*/ 2147483647 h 2046"/>
                      <a:gd name="T14" fmla="*/ 2147483647 w 848"/>
                      <a:gd name="T15" fmla="*/ 2147483647 h 2046"/>
                      <a:gd name="T16" fmla="*/ 2147483647 w 848"/>
                      <a:gd name="T17" fmla="*/ 2147483647 h 2046"/>
                      <a:gd name="T18" fmla="*/ 2147483647 w 848"/>
                      <a:gd name="T19" fmla="*/ 2147483647 h 2046"/>
                      <a:gd name="T20" fmla="*/ 2147483647 w 848"/>
                      <a:gd name="T21" fmla="*/ 2147483647 h 2046"/>
                      <a:gd name="T22" fmla="*/ 2147483647 w 848"/>
                      <a:gd name="T23" fmla="*/ 2147483647 h 2046"/>
                      <a:gd name="T24" fmla="*/ 2147483647 w 848"/>
                      <a:gd name="T25" fmla="*/ 2147483647 h 2046"/>
                      <a:gd name="T26" fmla="*/ 2147483647 w 848"/>
                      <a:gd name="T27" fmla="*/ 2147483647 h 2046"/>
                      <a:gd name="T28" fmla="*/ 2147483647 w 848"/>
                      <a:gd name="T29" fmla="*/ 2147483647 h 2046"/>
                      <a:gd name="T30" fmla="*/ 2147483647 w 848"/>
                      <a:gd name="T31" fmla="*/ 2147483647 h 2046"/>
                      <a:gd name="T32" fmla="*/ 2147483647 w 848"/>
                      <a:gd name="T33" fmla="*/ 2147483647 h 2046"/>
                      <a:gd name="T34" fmla="*/ 2147483647 w 848"/>
                      <a:gd name="T35" fmla="*/ 2147483647 h 2046"/>
                      <a:gd name="T36" fmla="*/ 2147483647 w 848"/>
                      <a:gd name="T37" fmla="*/ 2147483647 h 2046"/>
                      <a:gd name="T38" fmla="*/ 2147483647 w 848"/>
                      <a:gd name="T39" fmla="*/ 2147483647 h 2046"/>
                      <a:gd name="T40" fmla="*/ 2147483647 w 848"/>
                      <a:gd name="T41" fmla="*/ 2147483647 h 2046"/>
                      <a:gd name="T42" fmla="*/ 2147483647 w 848"/>
                      <a:gd name="T43" fmla="*/ 2147483647 h 2046"/>
                      <a:gd name="T44" fmla="*/ 2147483647 w 848"/>
                      <a:gd name="T45" fmla="*/ 2147483647 h 2046"/>
                      <a:gd name="T46" fmla="*/ 2147483647 w 848"/>
                      <a:gd name="T47" fmla="*/ 2147483647 h 2046"/>
                      <a:gd name="T48" fmla="*/ 2147483647 w 848"/>
                      <a:gd name="T49" fmla="*/ 2147483647 h 2046"/>
                      <a:gd name="T50" fmla="*/ 2147483647 w 848"/>
                      <a:gd name="T51" fmla="*/ 2147483647 h 2046"/>
                      <a:gd name="T52" fmla="*/ 2147483647 w 848"/>
                      <a:gd name="T53" fmla="*/ 2147483647 h 2046"/>
                      <a:gd name="T54" fmla="*/ 2147483647 w 848"/>
                      <a:gd name="T55" fmla="*/ 2147483647 h 2046"/>
                      <a:gd name="T56" fmla="*/ 2147483647 w 848"/>
                      <a:gd name="T57" fmla="*/ 2147483647 h 2046"/>
                      <a:gd name="T58" fmla="*/ 2147483647 w 848"/>
                      <a:gd name="T59" fmla="*/ 2147483647 h 2046"/>
                      <a:gd name="T60" fmla="*/ 2147483647 w 848"/>
                      <a:gd name="T61" fmla="*/ 2147483647 h 2046"/>
                      <a:gd name="T62" fmla="*/ 2147483647 w 848"/>
                      <a:gd name="T63" fmla="*/ 2147483647 h 2046"/>
                      <a:gd name="T64" fmla="*/ 2147483647 w 848"/>
                      <a:gd name="T65" fmla="*/ 2147483647 h 2046"/>
                      <a:gd name="T66" fmla="*/ 2147483647 w 848"/>
                      <a:gd name="T67" fmla="*/ 2147483647 h 2046"/>
                      <a:gd name="T68" fmla="*/ 2147483647 w 848"/>
                      <a:gd name="T69" fmla="*/ 2147483647 h 2046"/>
                      <a:gd name="T70" fmla="*/ 2147483647 w 848"/>
                      <a:gd name="T71" fmla="*/ 2147483647 h 2046"/>
                      <a:gd name="T72" fmla="*/ 2147483647 w 848"/>
                      <a:gd name="T73" fmla="*/ 2147483647 h 2046"/>
                      <a:gd name="T74" fmla="*/ 2147483647 w 848"/>
                      <a:gd name="T75" fmla="*/ 2147483647 h 2046"/>
                      <a:gd name="T76" fmla="*/ 2147483647 w 848"/>
                      <a:gd name="T77" fmla="*/ 2147483647 h 2046"/>
                      <a:gd name="T78" fmla="*/ 2147483647 w 848"/>
                      <a:gd name="T79" fmla="*/ 2147483647 h 2046"/>
                      <a:gd name="T80" fmla="*/ 2147483647 w 848"/>
                      <a:gd name="T81" fmla="*/ 2147483647 h 2046"/>
                      <a:gd name="T82" fmla="*/ 2147483647 w 848"/>
                      <a:gd name="T83" fmla="*/ 2147483647 h 2046"/>
                      <a:gd name="T84" fmla="*/ 2147483647 w 848"/>
                      <a:gd name="T85" fmla="*/ 2147483647 h 2046"/>
                      <a:gd name="T86" fmla="*/ 2147483647 w 848"/>
                      <a:gd name="T87" fmla="*/ 2147483647 h 2046"/>
                      <a:gd name="T88" fmla="*/ 2147483647 w 848"/>
                      <a:gd name="T89" fmla="*/ 2147483647 h 2046"/>
                      <a:gd name="T90" fmla="*/ 2147483647 w 848"/>
                      <a:gd name="T91" fmla="*/ 2147483647 h 2046"/>
                      <a:gd name="T92" fmla="*/ 2147483647 w 848"/>
                      <a:gd name="T93" fmla="*/ 2147483647 h 2046"/>
                      <a:gd name="T94" fmla="*/ 2147483647 w 848"/>
                      <a:gd name="T95" fmla="*/ 2147483647 h 2046"/>
                      <a:gd name="T96" fmla="*/ 2147483647 w 848"/>
                      <a:gd name="T97" fmla="*/ 2147483647 h 2046"/>
                      <a:gd name="T98" fmla="*/ 2147483647 w 848"/>
                      <a:gd name="T99" fmla="*/ 2147483647 h 2046"/>
                      <a:gd name="T100" fmla="*/ 2147483647 w 848"/>
                      <a:gd name="T101" fmla="*/ 2147483647 h 2046"/>
                      <a:gd name="T102" fmla="*/ 2147483647 w 848"/>
                      <a:gd name="T103" fmla="*/ 2147483647 h 2046"/>
                      <a:gd name="T104" fmla="*/ 2147483647 w 848"/>
                      <a:gd name="T105" fmla="*/ 2147483647 h 2046"/>
                      <a:gd name="T106" fmla="*/ 2147483647 w 848"/>
                      <a:gd name="T107" fmla="*/ 2147483647 h 2046"/>
                      <a:gd name="T108" fmla="*/ 2147483647 w 848"/>
                      <a:gd name="T109" fmla="*/ 2147483647 h 2046"/>
                      <a:gd name="T110" fmla="*/ 2147483647 w 848"/>
                      <a:gd name="T111" fmla="*/ 2147483647 h 2046"/>
                      <a:gd name="T112" fmla="*/ 2147483647 w 848"/>
                      <a:gd name="T113" fmla="*/ 2147483647 h 2046"/>
                      <a:gd name="T114" fmla="*/ 2147483647 w 848"/>
                      <a:gd name="T115" fmla="*/ 2147483647 h 2046"/>
                      <a:gd name="T116" fmla="*/ 2147483647 w 848"/>
                      <a:gd name="T117" fmla="*/ 2147483647 h 2046"/>
                      <a:gd name="T118" fmla="*/ 2147483647 w 848"/>
                      <a:gd name="T119" fmla="*/ 2147483647 h 2046"/>
                      <a:gd name="T120" fmla="*/ 2147483647 w 848"/>
                      <a:gd name="T121" fmla="*/ 2147483647 h 2046"/>
                      <a:gd name="T122" fmla="*/ 2147483647 w 848"/>
                      <a:gd name="T123" fmla="*/ 2147483647 h 2046"/>
                      <a:gd name="T124" fmla="*/ 2147483647 w 848"/>
                      <a:gd name="T125" fmla="*/ 2147483647 h 204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48" h="2046">
                        <a:moveTo>
                          <a:pt x="848" y="1357"/>
                        </a:moveTo>
                        <a:lnTo>
                          <a:pt x="848" y="0"/>
                        </a:lnTo>
                        <a:lnTo>
                          <a:pt x="725" y="0"/>
                        </a:lnTo>
                        <a:lnTo>
                          <a:pt x="723" y="2"/>
                        </a:lnTo>
                        <a:lnTo>
                          <a:pt x="721" y="5"/>
                        </a:lnTo>
                        <a:lnTo>
                          <a:pt x="720" y="6"/>
                        </a:lnTo>
                        <a:lnTo>
                          <a:pt x="718" y="6"/>
                        </a:lnTo>
                        <a:lnTo>
                          <a:pt x="716" y="5"/>
                        </a:lnTo>
                        <a:lnTo>
                          <a:pt x="714" y="5"/>
                        </a:lnTo>
                        <a:lnTo>
                          <a:pt x="712" y="3"/>
                        </a:lnTo>
                        <a:lnTo>
                          <a:pt x="710" y="5"/>
                        </a:lnTo>
                        <a:lnTo>
                          <a:pt x="708" y="6"/>
                        </a:lnTo>
                        <a:lnTo>
                          <a:pt x="707" y="9"/>
                        </a:lnTo>
                        <a:lnTo>
                          <a:pt x="705" y="13"/>
                        </a:lnTo>
                        <a:lnTo>
                          <a:pt x="703" y="17"/>
                        </a:lnTo>
                        <a:lnTo>
                          <a:pt x="699" y="20"/>
                        </a:lnTo>
                        <a:lnTo>
                          <a:pt x="699" y="22"/>
                        </a:lnTo>
                        <a:lnTo>
                          <a:pt x="699" y="26"/>
                        </a:lnTo>
                        <a:lnTo>
                          <a:pt x="698" y="26"/>
                        </a:lnTo>
                        <a:lnTo>
                          <a:pt x="697" y="26"/>
                        </a:lnTo>
                        <a:lnTo>
                          <a:pt x="696" y="26"/>
                        </a:lnTo>
                        <a:lnTo>
                          <a:pt x="695" y="26"/>
                        </a:lnTo>
                        <a:lnTo>
                          <a:pt x="694" y="26"/>
                        </a:lnTo>
                        <a:lnTo>
                          <a:pt x="692" y="28"/>
                        </a:lnTo>
                        <a:lnTo>
                          <a:pt x="690" y="29"/>
                        </a:lnTo>
                        <a:lnTo>
                          <a:pt x="689" y="29"/>
                        </a:lnTo>
                        <a:lnTo>
                          <a:pt x="688" y="29"/>
                        </a:lnTo>
                        <a:lnTo>
                          <a:pt x="687" y="31"/>
                        </a:lnTo>
                        <a:lnTo>
                          <a:pt x="686" y="32"/>
                        </a:lnTo>
                        <a:lnTo>
                          <a:pt x="685" y="32"/>
                        </a:lnTo>
                        <a:lnTo>
                          <a:pt x="685" y="33"/>
                        </a:lnTo>
                        <a:lnTo>
                          <a:pt x="686" y="34"/>
                        </a:lnTo>
                        <a:lnTo>
                          <a:pt x="687" y="35"/>
                        </a:lnTo>
                        <a:lnTo>
                          <a:pt x="689" y="36"/>
                        </a:lnTo>
                        <a:lnTo>
                          <a:pt x="690" y="40"/>
                        </a:lnTo>
                        <a:lnTo>
                          <a:pt x="690" y="44"/>
                        </a:lnTo>
                        <a:lnTo>
                          <a:pt x="689" y="47"/>
                        </a:lnTo>
                        <a:lnTo>
                          <a:pt x="689" y="53"/>
                        </a:lnTo>
                        <a:lnTo>
                          <a:pt x="693" y="53"/>
                        </a:lnTo>
                        <a:lnTo>
                          <a:pt x="695" y="53"/>
                        </a:lnTo>
                        <a:lnTo>
                          <a:pt x="695" y="55"/>
                        </a:lnTo>
                        <a:lnTo>
                          <a:pt x="694" y="57"/>
                        </a:lnTo>
                        <a:lnTo>
                          <a:pt x="692" y="58"/>
                        </a:lnTo>
                        <a:lnTo>
                          <a:pt x="692" y="60"/>
                        </a:lnTo>
                        <a:lnTo>
                          <a:pt x="692" y="61"/>
                        </a:lnTo>
                        <a:lnTo>
                          <a:pt x="693" y="62"/>
                        </a:lnTo>
                        <a:lnTo>
                          <a:pt x="695" y="62"/>
                        </a:lnTo>
                        <a:lnTo>
                          <a:pt x="693" y="64"/>
                        </a:lnTo>
                        <a:lnTo>
                          <a:pt x="690" y="65"/>
                        </a:lnTo>
                        <a:lnTo>
                          <a:pt x="688" y="65"/>
                        </a:lnTo>
                        <a:lnTo>
                          <a:pt x="685" y="65"/>
                        </a:lnTo>
                        <a:lnTo>
                          <a:pt x="684" y="63"/>
                        </a:lnTo>
                        <a:lnTo>
                          <a:pt x="683" y="62"/>
                        </a:lnTo>
                        <a:lnTo>
                          <a:pt x="681" y="62"/>
                        </a:lnTo>
                        <a:lnTo>
                          <a:pt x="679" y="62"/>
                        </a:lnTo>
                        <a:lnTo>
                          <a:pt x="678" y="63"/>
                        </a:lnTo>
                        <a:lnTo>
                          <a:pt x="676" y="65"/>
                        </a:lnTo>
                        <a:lnTo>
                          <a:pt x="679" y="68"/>
                        </a:lnTo>
                        <a:lnTo>
                          <a:pt x="681" y="76"/>
                        </a:lnTo>
                        <a:lnTo>
                          <a:pt x="682" y="82"/>
                        </a:lnTo>
                        <a:lnTo>
                          <a:pt x="683" y="88"/>
                        </a:lnTo>
                        <a:lnTo>
                          <a:pt x="682" y="89"/>
                        </a:lnTo>
                        <a:lnTo>
                          <a:pt x="679" y="92"/>
                        </a:lnTo>
                        <a:lnTo>
                          <a:pt x="677" y="97"/>
                        </a:lnTo>
                        <a:lnTo>
                          <a:pt x="676" y="101"/>
                        </a:lnTo>
                        <a:lnTo>
                          <a:pt x="676" y="110"/>
                        </a:lnTo>
                        <a:lnTo>
                          <a:pt x="674" y="110"/>
                        </a:lnTo>
                        <a:lnTo>
                          <a:pt x="673" y="110"/>
                        </a:lnTo>
                        <a:lnTo>
                          <a:pt x="671" y="115"/>
                        </a:lnTo>
                        <a:lnTo>
                          <a:pt x="671" y="119"/>
                        </a:lnTo>
                        <a:lnTo>
                          <a:pt x="672" y="123"/>
                        </a:lnTo>
                        <a:lnTo>
                          <a:pt x="673" y="126"/>
                        </a:lnTo>
                        <a:lnTo>
                          <a:pt x="672" y="126"/>
                        </a:lnTo>
                        <a:lnTo>
                          <a:pt x="671" y="125"/>
                        </a:lnTo>
                        <a:lnTo>
                          <a:pt x="669" y="124"/>
                        </a:lnTo>
                        <a:lnTo>
                          <a:pt x="668" y="124"/>
                        </a:lnTo>
                        <a:lnTo>
                          <a:pt x="666" y="124"/>
                        </a:lnTo>
                        <a:lnTo>
                          <a:pt x="664" y="127"/>
                        </a:lnTo>
                        <a:lnTo>
                          <a:pt x="662" y="134"/>
                        </a:lnTo>
                        <a:lnTo>
                          <a:pt x="661" y="142"/>
                        </a:lnTo>
                        <a:lnTo>
                          <a:pt x="663" y="149"/>
                        </a:lnTo>
                        <a:lnTo>
                          <a:pt x="664" y="150"/>
                        </a:lnTo>
                        <a:lnTo>
                          <a:pt x="665" y="152"/>
                        </a:lnTo>
                        <a:lnTo>
                          <a:pt x="666" y="152"/>
                        </a:lnTo>
                        <a:lnTo>
                          <a:pt x="666" y="153"/>
                        </a:lnTo>
                        <a:lnTo>
                          <a:pt x="666" y="154"/>
                        </a:lnTo>
                        <a:lnTo>
                          <a:pt x="666" y="155"/>
                        </a:lnTo>
                        <a:lnTo>
                          <a:pt x="669" y="158"/>
                        </a:lnTo>
                        <a:lnTo>
                          <a:pt x="673" y="161"/>
                        </a:lnTo>
                        <a:lnTo>
                          <a:pt x="676" y="164"/>
                        </a:lnTo>
                        <a:lnTo>
                          <a:pt x="679" y="169"/>
                        </a:lnTo>
                        <a:lnTo>
                          <a:pt x="679" y="171"/>
                        </a:lnTo>
                        <a:lnTo>
                          <a:pt x="679" y="172"/>
                        </a:lnTo>
                        <a:lnTo>
                          <a:pt x="682" y="176"/>
                        </a:lnTo>
                        <a:lnTo>
                          <a:pt x="685" y="179"/>
                        </a:lnTo>
                        <a:lnTo>
                          <a:pt x="687" y="182"/>
                        </a:lnTo>
                        <a:lnTo>
                          <a:pt x="689" y="185"/>
                        </a:lnTo>
                        <a:lnTo>
                          <a:pt x="691" y="185"/>
                        </a:lnTo>
                        <a:lnTo>
                          <a:pt x="692" y="186"/>
                        </a:lnTo>
                        <a:lnTo>
                          <a:pt x="692" y="188"/>
                        </a:lnTo>
                        <a:lnTo>
                          <a:pt x="694" y="190"/>
                        </a:lnTo>
                        <a:lnTo>
                          <a:pt x="697" y="191"/>
                        </a:lnTo>
                        <a:lnTo>
                          <a:pt x="698" y="193"/>
                        </a:lnTo>
                        <a:lnTo>
                          <a:pt x="699" y="195"/>
                        </a:lnTo>
                        <a:lnTo>
                          <a:pt x="701" y="197"/>
                        </a:lnTo>
                        <a:lnTo>
                          <a:pt x="702" y="201"/>
                        </a:lnTo>
                        <a:lnTo>
                          <a:pt x="703" y="204"/>
                        </a:lnTo>
                        <a:lnTo>
                          <a:pt x="705" y="207"/>
                        </a:lnTo>
                        <a:lnTo>
                          <a:pt x="707" y="209"/>
                        </a:lnTo>
                        <a:lnTo>
                          <a:pt x="708" y="211"/>
                        </a:lnTo>
                        <a:lnTo>
                          <a:pt x="710" y="212"/>
                        </a:lnTo>
                        <a:lnTo>
                          <a:pt x="711" y="214"/>
                        </a:lnTo>
                        <a:lnTo>
                          <a:pt x="715" y="219"/>
                        </a:lnTo>
                        <a:lnTo>
                          <a:pt x="716" y="222"/>
                        </a:lnTo>
                        <a:lnTo>
                          <a:pt x="716" y="225"/>
                        </a:lnTo>
                        <a:lnTo>
                          <a:pt x="718" y="230"/>
                        </a:lnTo>
                        <a:lnTo>
                          <a:pt x="720" y="232"/>
                        </a:lnTo>
                        <a:lnTo>
                          <a:pt x="721" y="233"/>
                        </a:lnTo>
                        <a:lnTo>
                          <a:pt x="721" y="239"/>
                        </a:lnTo>
                        <a:lnTo>
                          <a:pt x="721" y="242"/>
                        </a:lnTo>
                        <a:lnTo>
                          <a:pt x="721" y="246"/>
                        </a:lnTo>
                        <a:lnTo>
                          <a:pt x="724" y="246"/>
                        </a:lnTo>
                        <a:lnTo>
                          <a:pt x="726" y="248"/>
                        </a:lnTo>
                        <a:lnTo>
                          <a:pt x="727" y="250"/>
                        </a:lnTo>
                        <a:lnTo>
                          <a:pt x="728" y="253"/>
                        </a:lnTo>
                        <a:lnTo>
                          <a:pt x="728" y="263"/>
                        </a:lnTo>
                        <a:lnTo>
                          <a:pt x="729" y="265"/>
                        </a:lnTo>
                        <a:lnTo>
                          <a:pt x="730" y="268"/>
                        </a:lnTo>
                        <a:lnTo>
                          <a:pt x="734" y="272"/>
                        </a:lnTo>
                        <a:lnTo>
                          <a:pt x="734" y="276"/>
                        </a:lnTo>
                        <a:lnTo>
                          <a:pt x="734" y="280"/>
                        </a:lnTo>
                        <a:lnTo>
                          <a:pt x="734" y="285"/>
                        </a:lnTo>
                        <a:lnTo>
                          <a:pt x="736" y="286"/>
                        </a:lnTo>
                        <a:lnTo>
                          <a:pt x="737" y="287"/>
                        </a:lnTo>
                        <a:lnTo>
                          <a:pt x="738" y="288"/>
                        </a:lnTo>
                        <a:lnTo>
                          <a:pt x="740" y="289"/>
                        </a:lnTo>
                        <a:lnTo>
                          <a:pt x="740" y="285"/>
                        </a:lnTo>
                        <a:lnTo>
                          <a:pt x="745" y="285"/>
                        </a:lnTo>
                        <a:lnTo>
                          <a:pt x="748" y="285"/>
                        </a:lnTo>
                        <a:lnTo>
                          <a:pt x="751" y="284"/>
                        </a:lnTo>
                        <a:lnTo>
                          <a:pt x="754" y="282"/>
                        </a:lnTo>
                        <a:lnTo>
                          <a:pt x="755" y="282"/>
                        </a:lnTo>
                        <a:lnTo>
                          <a:pt x="756" y="282"/>
                        </a:lnTo>
                        <a:lnTo>
                          <a:pt x="760" y="282"/>
                        </a:lnTo>
                        <a:lnTo>
                          <a:pt x="760" y="280"/>
                        </a:lnTo>
                        <a:lnTo>
                          <a:pt x="761" y="281"/>
                        </a:lnTo>
                        <a:lnTo>
                          <a:pt x="760" y="282"/>
                        </a:lnTo>
                        <a:lnTo>
                          <a:pt x="755" y="284"/>
                        </a:lnTo>
                        <a:lnTo>
                          <a:pt x="748" y="287"/>
                        </a:lnTo>
                        <a:lnTo>
                          <a:pt x="734" y="292"/>
                        </a:lnTo>
                        <a:lnTo>
                          <a:pt x="733" y="289"/>
                        </a:lnTo>
                        <a:lnTo>
                          <a:pt x="732" y="287"/>
                        </a:lnTo>
                        <a:lnTo>
                          <a:pt x="732" y="284"/>
                        </a:lnTo>
                        <a:lnTo>
                          <a:pt x="731" y="282"/>
                        </a:lnTo>
                        <a:lnTo>
                          <a:pt x="731" y="281"/>
                        </a:lnTo>
                        <a:lnTo>
                          <a:pt x="731" y="280"/>
                        </a:lnTo>
                        <a:lnTo>
                          <a:pt x="731" y="279"/>
                        </a:lnTo>
                        <a:lnTo>
                          <a:pt x="731" y="278"/>
                        </a:lnTo>
                        <a:lnTo>
                          <a:pt x="731" y="276"/>
                        </a:lnTo>
                        <a:lnTo>
                          <a:pt x="730" y="273"/>
                        </a:lnTo>
                        <a:lnTo>
                          <a:pt x="728" y="271"/>
                        </a:lnTo>
                        <a:lnTo>
                          <a:pt x="728" y="269"/>
                        </a:lnTo>
                        <a:lnTo>
                          <a:pt x="728" y="268"/>
                        </a:lnTo>
                        <a:lnTo>
                          <a:pt x="728" y="266"/>
                        </a:lnTo>
                        <a:lnTo>
                          <a:pt x="728" y="261"/>
                        </a:lnTo>
                        <a:lnTo>
                          <a:pt x="727" y="260"/>
                        </a:lnTo>
                        <a:lnTo>
                          <a:pt x="725" y="259"/>
                        </a:lnTo>
                        <a:lnTo>
                          <a:pt x="725" y="261"/>
                        </a:lnTo>
                        <a:lnTo>
                          <a:pt x="726" y="263"/>
                        </a:lnTo>
                        <a:lnTo>
                          <a:pt x="727" y="264"/>
                        </a:lnTo>
                        <a:lnTo>
                          <a:pt x="728" y="266"/>
                        </a:lnTo>
                        <a:lnTo>
                          <a:pt x="727" y="265"/>
                        </a:lnTo>
                        <a:lnTo>
                          <a:pt x="726" y="264"/>
                        </a:lnTo>
                        <a:lnTo>
                          <a:pt x="725" y="263"/>
                        </a:lnTo>
                        <a:lnTo>
                          <a:pt x="723" y="258"/>
                        </a:lnTo>
                        <a:lnTo>
                          <a:pt x="723" y="254"/>
                        </a:lnTo>
                        <a:lnTo>
                          <a:pt x="723" y="250"/>
                        </a:lnTo>
                        <a:lnTo>
                          <a:pt x="721" y="246"/>
                        </a:lnTo>
                        <a:lnTo>
                          <a:pt x="721" y="245"/>
                        </a:lnTo>
                        <a:lnTo>
                          <a:pt x="720" y="243"/>
                        </a:lnTo>
                        <a:lnTo>
                          <a:pt x="718" y="241"/>
                        </a:lnTo>
                        <a:lnTo>
                          <a:pt x="718" y="240"/>
                        </a:lnTo>
                        <a:lnTo>
                          <a:pt x="718" y="238"/>
                        </a:lnTo>
                        <a:lnTo>
                          <a:pt x="718" y="237"/>
                        </a:lnTo>
                        <a:lnTo>
                          <a:pt x="717" y="235"/>
                        </a:lnTo>
                        <a:lnTo>
                          <a:pt x="716" y="234"/>
                        </a:lnTo>
                        <a:lnTo>
                          <a:pt x="711" y="233"/>
                        </a:lnTo>
                        <a:lnTo>
                          <a:pt x="710" y="230"/>
                        </a:lnTo>
                        <a:lnTo>
                          <a:pt x="708" y="225"/>
                        </a:lnTo>
                        <a:lnTo>
                          <a:pt x="707" y="221"/>
                        </a:lnTo>
                        <a:lnTo>
                          <a:pt x="705" y="221"/>
                        </a:lnTo>
                        <a:lnTo>
                          <a:pt x="705" y="219"/>
                        </a:lnTo>
                        <a:lnTo>
                          <a:pt x="705" y="218"/>
                        </a:lnTo>
                        <a:lnTo>
                          <a:pt x="705" y="217"/>
                        </a:lnTo>
                        <a:lnTo>
                          <a:pt x="704" y="215"/>
                        </a:lnTo>
                        <a:lnTo>
                          <a:pt x="702" y="214"/>
                        </a:lnTo>
                        <a:lnTo>
                          <a:pt x="700" y="213"/>
                        </a:lnTo>
                        <a:lnTo>
                          <a:pt x="699" y="211"/>
                        </a:lnTo>
                        <a:lnTo>
                          <a:pt x="697" y="208"/>
                        </a:lnTo>
                        <a:lnTo>
                          <a:pt x="696" y="206"/>
                        </a:lnTo>
                        <a:lnTo>
                          <a:pt x="695" y="201"/>
                        </a:lnTo>
                        <a:lnTo>
                          <a:pt x="694" y="198"/>
                        </a:lnTo>
                        <a:lnTo>
                          <a:pt x="692" y="196"/>
                        </a:lnTo>
                        <a:lnTo>
                          <a:pt x="685" y="187"/>
                        </a:lnTo>
                        <a:lnTo>
                          <a:pt x="683" y="182"/>
                        </a:lnTo>
                        <a:lnTo>
                          <a:pt x="679" y="178"/>
                        </a:lnTo>
                        <a:lnTo>
                          <a:pt x="677" y="176"/>
                        </a:lnTo>
                        <a:lnTo>
                          <a:pt x="676" y="175"/>
                        </a:lnTo>
                        <a:lnTo>
                          <a:pt x="672" y="173"/>
                        </a:lnTo>
                        <a:lnTo>
                          <a:pt x="670" y="174"/>
                        </a:lnTo>
                        <a:lnTo>
                          <a:pt x="668" y="176"/>
                        </a:lnTo>
                        <a:lnTo>
                          <a:pt x="666" y="178"/>
                        </a:lnTo>
                        <a:lnTo>
                          <a:pt x="664" y="177"/>
                        </a:lnTo>
                        <a:lnTo>
                          <a:pt x="664" y="176"/>
                        </a:lnTo>
                        <a:lnTo>
                          <a:pt x="664" y="175"/>
                        </a:lnTo>
                        <a:lnTo>
                          <a:pt x="663" y="175"/>
                        </a:lnTo>
                        <a:lnTo>
                          <a:pt x="665" y="172"/>
                        </a:lnTo>
                        <a:lnTo>
                          <a:pt x="667" y="167"/>
                        </a:lnTo>
                        <a:lnTo>
                          <a:pt x="667" y="161"/>
                        </a:lnTo>
                        <a:lnTo>
                          <a:pt x="666" y="155"/>
                        </a:lnTo>
                        <a:lnTo>
                          <a:pt x="665" y="154"/>
                        </a:lnTo>
                        <a:lnTo>
                          <a:pt x="664" y="153"/>
                        </a:lnTo>
                        <a:lnTo>
                          <a:pt x="660" y="152"/>
                        </a:lnTo>
                        <a:lnTo>
                          <a:pt x="660" y="150"/>
                        </a:lnTo>
                        <a:lnTo>
                          <a:pt x="660" y="149"/>
                        </a:lnTo>
                        <a:lnTo>
                          <a:pt x="660" y="148"/>
                        </a:lnTo>
                        <a:lnTo>
                          <a:pt x="658" y="147"/>
                        </a:lnTo>
                        <a:lnTo>
                          <a:pt x="654" y="146"/>
                        </a:lnTo>
                        <a:lnTo>
                          <a:pt x="656" y="142"/>
                        </a:lnTo>
                        <a:lnTo>
                          <a:pt x="658" y="138"/>
                        </a:lnTo>
                        <a:lnTo>
                          <a:pt x="660" y="135"/>
                        </a:lnTo>
                        <a:lnTo>
                          <a:pt x="660" y="133"/>
                        </a:lnTo>
                        <a:lnTo>
                          <a:pt x="660" y="130"/>
                        </a:lnTo>
                        <a:lnTo>
                          <a:pt x="659" y="126"/>
                        </a:lnTo>
                        <a:lnTo>
                          <a:pt x="659" y="123"/>
                        </a:lnTo>
                        <a:lnTo>
                          <a:pt x="660" y="120"/>
                        </a:lnTo>
                        <a:lnTo>
                          <a:pt x="660" y="118"/>
                        </a:lnTo>
                        <a:lnTo>
                          <a:pt x="663" y="116"/>
                        </a:lnTo>
                        <a:lnTo>
                          <a:pt x="665" y="116"/>
                        </a:lnTo>
                        <a:lnTo>
                          <a:pt x="666" y="113"/>
                        </a:lnTo>
                        <a:lnTo>
                          <a:pt x="665" y="111"/>
                        </a:lnTo>
                        <a:lnTo>
                          <a:pt x="664" y="109"/>
                        </a:lnTo>
                        <a:lnTo>
                          <a:pt x="663" y="107"/>
                        </a:lnTo>
                        <a:lnTo>
                          <a:pt x="662" y="107"/>
                        </a:lnTo>
                        <a:lnTo>
                          <a:pt x="661" y="107"/>
                        </a:lnTo>
                        <a:lnTo>
                          <a:pt x="657" y="107"/>
                        </a:lnTo>
                        <a:lnTo>
                          <a:pt x="656" y="108"/>
                        </a:lnTo>
                        <a:lnTo>
                          <a:pt x="654" y="110"/>
                        </a:lnTo>
                        <a:lnTo>
                          <a:pt x="654" y="113"/>
                        </a:lnTo>
                        <a:lnTo>
                          <a:pt x="655" y="116"/>
                        </a:lnTo>
                        <a:lnTo>
                          <a:pt x="655" y="119"/>
                        </a:lnTo>
                        <a:lnTo>
                          <a:pt x="654" y="124"/>
                        </a:lnTo>
                        <a:lnTo>
                          <a:pt x="653" y="125"/>
                        </a:lnTo>
                        <a:lnTo>
                          <a:pt x="652" y="126"/>
                        </a:lnTo>
                        <a:lnTo>
                          <a:pt x="650" y="126"/>
                        </a:lnTo>
                        <a:lnTo>
                          <a:pt x="650" y="127"/>
                        </a:lnTo>
                        <a:lnTo>
                          <a:pt x="650" y="128"/>
                        </a:lnTo>
                        <a:lnTo>
                          <a:pt x="650" y="129"/>
                        </a:lnTo>
                        <a:lnTo>
                          <a:pt x="650" y="128"/>
                        </a:lnTo>
                        <a:lnTo>
                          <a:pt x="649" y="127"/>
                        </a:lnTo>
                        <a:lnTo>
                          <a:pt x="647" y="126"/>
                        </a:lnTo>
                        <a:lnTo>
                          <a:pt x="647" y="122"/>
                        </a:lnTo>
                        <a:lnTo>
                          <a:pt x="649" y="116"/>
                        </a:lnTo>
                        <a:lnTo>
                          <a:pt x="650" y="110"/>
                        </a:lnTo>
                        <a:lnTo>
                          <a:pt x="650" y="103"/>
                        </a:lnTo>
                        <a:lnTo>
                          <a:pt x="654" y="103"/>
                        </a:lnTo>
                        <a:lnTo>
                          <a:pt x="654" y="102"/>
                        </a:lnTo>
                        <a:lnTo>
                          <a:pt x="654" y="101"/>
                        </a:lnTo>
                        <a:lnTo>
                          <a:pt x="652" y="98"/>
                        </a:lnTo>
                        <a:lnTo>
                          <a:pt x="653" y="95"/>
                        </a:lnTo>
                        <a:lnTo>
                          <a:pt x="654" y="94"/>
                        </a:lnTo>
                        <a:lnTo>
                          <a:pt x="651" y="91"/>
                        </a:lnTo>
                        <a:lnTo>
                          <a:pt x="647" y="87"/>
                        </a:lnTo>
                        <a:lnTo>
                          <a:pt x="645" y="83"/>
                        </a:lnTo>
                        <a:lnTo>
                          <a:pt x="643" y="78"/>
                        </a:lnTo>
                        <a:lnTo>
                          <a:pt x="648" y="74"/>
                        </a:lnTo>
                        <a:lnTo>
                          <a:pt x="650" y="71"/>
                        </a:lnTo>
                        <a:lnTo>
                          <a:pt x="650" y="68"/>
                        </a:lnTo>
                        <a:lnTo>
                          <a:pt x="650" y="67"/>
                        </a:lnTo>
                        <a:lnTo>
                          <a:pt x="650" y="65"/>
                        </a:lnTo>
                        <a:lnTo>
                          <a:pt x="652" y="64"/>
                        </a:lnTo>
                        <a:lnTo>
                          <a:pt x="653" y="64"/>
                        </a:lnTo>
                        <a:lnTo>
                          <a:pt x="654" y="65"/>
                        </a:lnTo>
                        <a:lnTo>
                          <a:pt x="655" y="63"/>
                        </a:lnTo>
                        <a:lnTo>
                          <a:pt x="656" y="62"/>
                        </a:lnTo>
                        <a:lnTo>
                          <a:pt x="657" y="62"/>
                        </a:lnTo>
                        <a:lnTo>
                          <a:pt x="657" y="57"/>
                        </a:lnTo>
                        <a:lnTo>
                          <a:pt x="657" y="54"/>
                        </a:lnTo>
                        <a:lnTo>
                          <a:pt x="657" y="49"/>
                        </a:lnTo>
                        <a:lnTo>
                          <a:pt x="656" y="49"/>
                        </a:lnTo>
                        <a:lnTo>
                          <a:pt x="656" y="47"/>
                        </a:lnTo>
                        <a:lnTo>
                          <a:pt x="657" y="46"/>
                        </a:lnTo>
                        <a:lnTo>
                          <a:pt x="655" y="47"/>
                        </a:lnTo>
                        <a:lnTo>
                          <a:pt x="654" y="49"/>
                        </a:lnTo>
                        <a:lnTo>
                          <a:pt x="652" y="49"/>
                        </a:lnTo>
                        <a:lnTo>
                          <a:pt x="650" y="49"/>
                        </a:lnTo>
                        <a:lnTo>
                          <a:pt x="650" y="47"/>
                        </a:lnTo>
                        <a:lnTo>
                          <a:pt x="650" y="46"/>
                        </a:lnTo>
                        <a:lnTo>
                          <a:pt x="650" y="41"/>
                        </a:lnTo>
                        <a:lnTo>
                          <a:pt x="651" y="37"/>
                        </a:lnTo>
                        <a:lnTo>
                          <a:pt x="652" y="34"/>
                        </a:lnTo>
                        <a:lnTo>
                          <a:pt x="654" y="29"/>
                        </a:lnTo>
                        <a:lnTo>
                          <a:pt x="652" y="29"/>
                        </a:lnTo>
                        <a:lnTo>
                          <a:pt x="650" y="29"/>
                        </a:lnTo>
                        <a:lnTo>
                          <a:pt x="649" y="29"/>
                        </a:lnTo>
                        <a:lnTo>
                          <a:pt x="647" y="29"/>
                        </a:lnTo>
                        <a:lnTo>
                          <a:pt x="640" y="32"/>
                        </a:lnTo>
                        <a:lnTo>
                          <a:pt x="640" y="34"/>
                        </a:lnTo>
                        <a:lnTo>
                          <a:pt x="640" y="36"/>
                        </a:lnTo>
                        <a:lnTo>
                          <a:pt x="640" y="37"/>
                        </a:lnTo>
                        <a:lnTo>
                          <a:pt x="640" y="39"/>
                        </a:lnTo>
                        <a:lnTo>
                          <a:pt x="638" y="37"/>
                        </a:lnTo>
                        <a:lnTo>
                          <a:pt x="636" y="35"/>
                        </a:lnTo>
                        <a:lnTo>
                          <a:pt x="634" y="36"/>
                        </a:lnTo>
                        <a:lnTo>
                          <a:pt x="631" y="39"/>
                        </a:lnTo>
                        <a:lnTo>
                          <a:pt x="628" y="39"/>
                        </a:lnTo>
                        <a:lnTo>
                          <a:pt x="628" y="43"/>
                        </a:lnTo>
                        <a:lnTo>
                          <a:pt x="630" y="44"/>
                        </a:lnTo>
                        <a:lnTo>
                          <a:pt x="632" y="47"/>
                        </a:lnTo>
                        <a:lnTo>
                          <a:pt x="634" y="49"/>
                        </a:lnTo>
                        <a:lnTo>
                          <a:pt x="634" y="50"/>
                        </a:lnTo>
                        <a:lnTo>
                          <a:pt x="634" y="53"/>
                        </a:lnTo>
                        <a:lnTo>
                          <a:pt x="634" y="55"/>
                        </a:lnTo>
                        <a:lnTo>
                          <a:pt x="633" y="57"/>
                        </a:lnTo>
                        <a:lnTo>
                          <a:pt x="631" y="58"/>
                        </a:lnTo>
                        <a:lnTo>
                          <a:pt x="631" y="59"/>
                        </a:lnTo>
                        <a:lnTo>
                          <a:pt x="631" y="60"/>
                        </a:lnTo>
                        <a:lnTo>
                          <a:pt x="631" y="61"/>
                        </a:lnTo>
                        <a:lnTo>
                          <a:pt x="631" y="62"/>
                        </a:lnTo>
                        <a:lnTo>
                          <a:pt x="629" y="62"/>
                        </a:lnTo>
                        <a:lnTo>
                          <a:pt x="628" y="61"/>
                        </a:lnTo>
                        <a:lnTo>
                          <a:pt x="626" y="60"/>
                        </a:lnTo>
                        <a:lnTo>
                          <a:pt x="624" y="58"/>
                        </a:lnTo>
                        <a:lnTo>
                          <a:pt x="624" y="57"/>
                        </a:lnTo>
                        <a:lnTo>
                          <a:pt x="624" y="55"/>
                        </a:lnTo>
                        <a:lnTo>
                          <a:pt x="626" y="55"/>
                        </a:lnTo>
                        <a:lnTo>
                          <a:pt x="627" y="57"/>
                        </a:lnTo>
                        <a:lnTo>
                          <a:pt x="628" y="58"/>
                        </a:lnTo>
                        <a:lnTo>
                          <a:pt x="628" y="56"/>
                        </a:lnTo>
                        <a:lnTo>
                          <a:pt x="629" y="55"/>
                        </a:lnTo>
                        <a:lnTo>
                          <a:pt x="630" y="55"/>
                        </a:lnTo>
                        <a:lnTo>
                          <a:pt x="631" y="55"/>
                        </a:lnTo>
                        <a:lnTo>
                          <a:pt x="631" y="54"/>
                        </a:lnTo>
                        <a:lnTo>
                          <a:pt x="631" y="53"/>
                        </a:lnTo>
                        <a:lnTo>
                          <a:pt x="628" y="49"/>
                        </a:lnTo>
                        <a:lnTo>
                          <a:pt x="626" y="50"/>
                        </a:lnTo>
                        <a:lnTo>
                          <a:pt x="625" y="50"/>
                        </a:lnTo>
                        <a:lnTo>
                          <a:pt x="624" y="52"/>
                        </a:lnTo>
                        <a:lnTo>
                          <a:pt x="624" y="53"/>
                        </a:lnTo>
                        <a:lnTo>
                          <a:pt x="624" y="50"/>
                        </a:lnTo>
                        <a:lnTo>
                          <a:pt x="623" y="49"/>
                        </a:lnTo>
                        <a:lnTo>
                          <a:pt x="621" y="49"/>
                        </a:lnTo>
                        <a:lnTo>
                          <a:pt x="622" y="47"/>
                        </a:lnTo>
                        <a:lnTo>
                          <a:pt x="622" y="46"/>
                        </a:lnTo>
                        <a:lnTo>
                          <a:pt x="621" y="46"/>
                        </a:lnTo>
                        <a:lnTo>
                          <a:pt x="619" y="47"/>
                        </a:lnTo>
                        <a:lnTo>
                          <a:pt x="617" y="50"/>
                        </a:lnTo>
                        <a:lnTo>
                          <a:pt x="616" y="53"/>
                        </a:lnTo>
                        <a:lnTo>
                          <a:pt x="614" y="55"/>
                        </a:lnTo>
                        <a:lnTo>
                          <a:pt x="615" y="60"/>
                        </a:lnTo>
                        <a:lnTo>
                          <a:pt x="616" y="61"/>
                        </a:lnTo>
                        <a:lnTo>
                          <a:pt x="617" y="62"/>
                        </a:lnTo>
                        <a:lnTo>
                          <a:pt x="618" y="62"/>
                        </a:lnTo>
                        <a:lnTo>
                          <a:pt x="619" y="62"/>
                        </a:lnTo>
                        <a:lnTo>
                          <a:pt x="620" y="62"/>
                        </a:lnTo>
                        <a:lnTo>
                          <a:pt x="621" y="62"/>
                        </a:lnTo>
                        <a:lnTo>
                          <a:pt x="621" y="63"/>
                        </a:lnTo>
                        <a:lnTo>
                          <a:pt x="621" y="65"/>
                        </a:lnTo>
                        <a:lnTo>
                          <a:pt x="622" y="68"/>
                        </a:lnTo>
                        <a:lnTo>
                          <a:pt x="625" y="68"/>
                        </a:lnTo>
                        <a:lnTo>
                          <a:pt x="628" y="68"/>
                        </a:lnTo>
                        <a:lnTo>
                          <a:pt x="631" y="68"/>
                        </a:lnTo>
                        <a:lnTo>
                          <a:pt x="631" y="70"/>
                        </a:lnTo>
                        <a:lnTo>
                          <a:pt x="631" y="71"/>
                        </a:lnTo>
                        <a:lnTo>
                          <a:pt x="633" y="74"/>
                        </a:lnTo>
                        <a:lnTo>
                          <a:pt x="634" y="74"/>
                        </a:lnTo>
                        <a:lnTo>
                          <a:pt x="632" y="77"/>
                        </a:lnTo>
                        <a:lnTo>
                          <a:pt x="631" y="77"/>
                        </a:lnTo>
                        <a:lnTo>
                          <a:pt x="630" y="78"/>
                        </a:lnTo>
                        <a:lnTo>
                          <a:pt x="628" y="78"/>
                        </a:lnTo>
                        <a:lnTo>
                          <a:pt x="627" y="78"/>
                        </a:lnTo>
                        <a:lnTo>
                          <a:pt x="625" y="78"/>
                        </a:lnTo>
                        <a:lnTo>
                          <a:pt x="621" y="78"/>
                        </a:lnTo>
                        <a:lnTo>
                          <a:pt x="621" y="77"/>
                        </a:lnTo>
                        <a:lnTo>
                          <a:pt x="620" y="77"/>
                        </a:lnTo>
                        <a:lnTo>
                          <a:pt x="619" y="76"/>
                        </a:lnTo>
                        <a:lnTo>
                          <a:pt x="617" y="74"/>
                        </a:lnTo>
                        <a:lnTo>
                          <a:pt x="617" y="73"/>
                        </a:lnTo>
                        <a:lnTo>
                          <a:pt x="615" y="70"/>
                        </a:lnTo>
                        <a:lnTo>
                          <a:pt x="612" y="65"/>
                        </a:lnTo>
                        <a:lnTo>
                          <a:pt x="612" y="74"/>
                        </a:lnTo>
                        <a:lnTo>
                          <a:pt x="611" y="74"/>
                        </a:lnTo>
                        <a:lnTo>
                          <a:pt x="610" y="76"/>
                        </a:lnTo>
                        <a:lnTo>
                          <a:pt x="607" y="77"/>
                        </a:lnTo>
                        <a:lnTo>
                          <a:pt x="605" y="78"/>
                        </a:lnTo>
                        <a:lnTo>
                          <a:pt x="603" y="79"/>
                        </a:lnTo>
                        <a:lnTo>
                          <a:pt x="602" y="81"/>
                        </a:lnTo>
                        <a:lnTo>
                          <a:pt x="600" y="83"/>
                        </a:lnTo>
                        <a:lnTo>
                          <a:pt x="598" y="84"/>
                        </a:lnTo>
                        <a:lnTo>
                          <a:pt x="598" y="85"/>
                        </a:lnTo>
                        <a:lnTo>
                          <a:pt x="597" y="86"/>
                        </a:lnTo>
                        <a:lnTo>
                          <a:pt x="595" y="87"/>
                        </a:lnTo>
                        <a:lnTo>
                          <a:pt x="595" y="88"/>
                        </a:lnTo>
                        <a:lnTo>
                          <a:pt x="595" y="91"/>
                        </a:lnTo>
                        <a:lnTo>
                          <a:pt x="595" y="94"/>
                        </a:lnTo>
                        <a:lnTo>
                          <a:pt x="595" y="98"/>
                        </a:lnTo>
                        <a:lnTo>
                          <a:pt x="595" y="101"/>
                        </a:lnTo>
                        <a:lnTo>
                          <a:pt x="593" y="101"/>
                        </a:lnTo>
                        <a:lnTo>
                          <a:pt x="592" y="101"/>
                        </a:lnTo>
                        <a:lnTo>
                          <a:pt x="590" y="101"/>
                        </a:lnTo>
                        <a:lnTo>
                          <a:pt x="588" y="101"/>
                        </a:lnTo>
                        <a:lnTo>
                          <a:pt x="589" y="103"/>
                        </a:lnTo>
                        <a:lnTo>
                          <a:pt x="590" y="105"/>
                        </a:lnTo>
                        <a:lnTo>
                          <a:pt x="591" y="106"/>
                        </a:lnTo>
                        <a:lnTo>
                          <a:pt x="592" y="107"/>
                        </a:lnTo>
                        <a:lnTo>
                          <a:pt x="591" y="107"/>
                        </a:lnTo>
                        <a:lnTo>
                          <a:pt x="589" y="107"/>
                        </a:lnTo>
                        <a:lnTo>
                          <a:pt x="586" y="107"/>
                        </a:lnTo>
                        <a:lnTo>
                          <a:pt x="585" y="108"/>
                        </a:lnTo>
                        <a:lnTo>
                          <a:pt x="584" y="110"/>
                        </a:lnTo>
                        <a:lnTo>
                          <a:pt x="583" y="113"/>
                        </a:lnTo>
                        <a:lnTo>
                          <a:pt x="582" y="113"/>
                        </a:lnTo>
                        <a:lnTo>
                          <a:pt x="582" y="115"/>
                        </a:lnTo>
                        <a:lnTo>
                          <a:pt x="582" y="116"/>
                        </a:lnTo>
                        <a:lnTo>
                          <a:pt x="579" y="120"/>
                        </a:lnTo>
                        <a:lnTo>
                          <a:pt x="580" y="125"/>
                        </a:lnTo>
                        <a:lnTo>
                          <a:pt x="581" y="129"/>
                        </a:lnTo>
                        <a:lnTo>
                          <a:pt x="582" y="133"/>
                        </a:lnTo>
                        <a:lnTo>
                          <a:pt x="582" y="136"/>
                        </a:lnTo>
                        <a:lnTo>
                          <a:pt x="581" y="135"/>
                        </a:lnTo>
                        <a:lnTo>
                          <a:pt x="580" y="133"/>
                        </a:lnTo>
                        <a:lnTo>
                          <a:pt x="579" y="133"/>
                        </a:lnTo>
                        <a:lnTo>
                          <a:pt x="578" y="136"/>
                        </a:lnTo>
                        <a:lnTo>
                          <a:pt x="576" y="140"/>
                        </a:lnTo>
                        <a:lnTo>
                          <a:pt x="573" y="143"/>
                        </a:lnTo>
                        <a:lnTo>
                          <a:pt x="572" y="146"/>
                        </a:lnTo>
                        <a:lnTo>
                          <a:pt x="573" y="152"/>
                        </a:lnTo>
                        <a:lnTo>
                          <a:pt x="574" y="157"/>
                        </a:lnTo>
                        <a:lnTo>
                          <a:pt x="575" y="161"/>
                        </a:lnTo>
                        <a:lnTo>
                          <a:pt x="576" y="166"/>
                        </a:lnTo>
                        <a:lnTo>
                          <a:pt x="575" y="169"/>
                        </a:lnTo>
                        <a:lnTo>
                          <a:pt x="572" y="172"/>
                        </a:lnTo>
                        <a:lnTo>
                          <a:pt x="569" y="173"/>
                        </a:lnTo>
                        <a:lnTo>
                          <a:pt x="566" y="175"/>
                        </a:lnTo>
                        <a:lnTo>
                          <a:pt x="564" y="175"/>
                        </a:lnTo>
                        <a:lnTo>
                          <a:pt x="563" y="175"/>
                        </a:lnTo>
                        <a:lnTo>
                          <a:pt x="563" y="185"/>
                        </a:lnTo>
                        <a:lnTo>
                          <a:pt x="563" y="186"/>
                        </a:lnTo>
                        <a:lnTo>
                          <a:pt x="563" y="188"/>
                        </a:lnTo>
                        <a:lnTo>
                          <a:pt x="569" y="188"/>
                        </a:lnTo>
                        <a:lnTo>
                          <a:pt x="569" y="189"/>
                        </a:lnTo>
                        <a:lnTo>
                          <a:pt x="571" y="190"/>
                        </a:lnTo>
                        <a:lnTo>
                          <a:pt x="572" y="191"/>
                        </a:lnTo>
                        <a:lnTo>
                          <a:pt x="563" y="191"/>
                        </a:lnTo>
                        <a:lnTo>
                          <a:pt x="561" y="193"/>
                        </a:lnTo>
                        <a:lnTo>
                          <a:pt x="560" y="195"/>
                        </a:lnTo>
                        <a:lnTo>
                          <a:pt x="558" y="198"/>
                        </a:lnTo>
                        <a:lnTo>
                          <a:pt x="556" y="201"/>
                        </a:lnTo>
                        <a:lnTo>
                          <a:pt x="555" y="202"/>
                        </a:lnTo>
                        <a:lnTo>
                          <a:pt x="554" y="203"/>
                        </a:lnTo>
                        <a:lnTo>
                          <a:pt x="553" y="204"/>
                        </a:lnTo>
                        <a:lnTo>
                          <a:pt x="553" y="208"/>
                        </a:lnTo>
                        <a:lnTo>
                          <a:pt x="554" y="212"/>
                        </a:lnTo>
                        <a:lnTo>
                          <a:pt x="555" y="215"/>
                        </a:lnTo>
                        <a:lnTo>
                          <a:pt x="556" y="217"/>
                        </a:lnTo>
                        <a:lnTo>
                          <a:pt x="557" y="217"/>
                        </a:lnTo>
                        <a:lnTo>
                          <a:pt x="558" y="217"/>
                        </a:lnTo>
                        <a:lnTo>
                          <a:pt x="559" y="217"/>
                        </a:lnTo>
                        <a:lnTo>
                          <a:pt x="560" y="217"/>
                        </a:lnTo>
                        <a:lnTo>
                          <a:pt x="560" y="227"/>
                        </a:lnTo>
                        <a:lnTo>
                          <a:pt x="561" y="233"/>
                        </a:lnTo>
                        <a:lnTo>
                          <a:pt x="564" y="241"/>
                        </a:lnTo>
                        <a:lnTo>
                          <a:pt x="566" y="246"/>
                        </a:lnTo>
                        <a:lnTo>
                          <a:pt x="568" y="248"/>
                        </a:lnTo>
                        <a:lnTo>
                          <a:pt x="569" y="249"/>
                        </a:lnTo>
                        <a:lnTo>
                          <a:pt x="570" y="252"/>
                        </a:lnTo>
                        <a:lnTo>
                          <a:pt x="569" y="254"/>
                        </a:lnTo>
                        <a:lnTo>
                          <a:pt x="567" y="255"/>
                        </a:lnTo>
                        <a:lnTo>
                          <a:pt x="566" y="256"/>
                        </a:lnTo>
                        <a:lnTo>
                          <a:pt x="566" y="257"/>
                        </a:lnTo>
                        <a:lnTo>
                          <a:pt x="566" y="259"/>
                        </a:lnTo>
                        <a:lnTo>
                          <a:pt x="565" y="259"/>
                        </a:lnTo>
                        <a:lnTo>
                          <a:pt x="564" y="259"/>
                        </a:lnTo>
                        <a:lnTo>
                          <a:pt x="563" y="259"/>
                        </a:lnTo>
                        <a:lnTo>
                          <a:pt x="563" y="264"/>
                        </a:lnTo>
                        <a:lnTo>
                          <a:pt x="562" y="265"/>
                        </a:lnTo>
                        <a:lnTo>
                          <a:pt x="560" y="266"/>
                        </a:lnTo>
                        <a:lnTo>
                          <a:pt x="558" y="267"/>
                        </a:lnTo>
                        <a:lnTo>
                          <a:pt x="557" y="268"/>
                        </a:lnTo>
                        <a:lnTo>
                          <a:pt x="556" y="272"/>
                        </a:lnTo>
                        <a:lnTo>
                          <a:pt x="554" y="272"/>
                        </a:lnTo>
                        <a:lnTo>
                          <a:pt x="553" y="272"/>
                        </a:lnTo>
                        <a:lnTo>
                          <a:pt x="552" y="272"/>
                        </a:lnTo>
                        <a:lnTo>
                          <a:pt x="550" y="272"/>
                        </a:lnTo>
                        <a:lnTo>
                          <a:pt x="548" y="276"/>
                        </a:lnTo>
                        <a:lnTo>
                          <a:pt x="547" y="280"/>
                        </a:lnTo>
                        <a:lnTo>
                          <a:pt x="548" y="284"/>
                        </a:lnTo>
                        <a:lnTo>
                          <a:pt x="550" y="289"/>
                        </a:lnTo>
                        <a:lnTo>
                          <a:pt x="549" y="286"/>
                        </a:lnTo>
                        <a:lnTo>
                          <a:pt x="546" y="283"/>
                        </a:lnTo>
                        <a:lnTo>
                          <a:pt x="541" y="281"/>
                        </a:lnTo>
                        <a:lnTo>
                          <a:pt x="537" y="282"/>
                        </a:lnTo>
                        <a:lnTo>
                          <a:pt x="536" y="284"/>
                        </a:lnTo>
                        <a:lnTo>
                          <a:pt x="534" y="285"/>
                        </a:lnTo>
                        <a:lnTo>
                          <a:pt x="531" y="285"/>
                        </a:lnTo>
                        <a:lnTo>
                          <a:pt x="528" y="284"/>
                        </a:lnTo>
                        <a:lnTo>
                          <a:pt x="525" y="282"/>
                        </a:lnTo>
                        <a:lnTo>
                          <a:pt x="524" y="282"/>
                        </a:lnTo>
                        <a:lnTo>
                          <a:pt x="519" y="278"/>
                        </a:lnTo>
                        <a:lnTo>
                          <a:pt x="515" y="272"/>
                        </a:lnTo>
                        <a:lnTo>
                          <a:pt x="511" y="268"/>
                        </a:lnTo>
                        <a:lnTo>
                          <a:pt x="509" y="267"/>
                        </a:lnTo>
                        <a:lnTo>
                          <a:pt x="508" y="266"/>
                        </a:lnTo>
                        <a:lnTo>
                          <a:pt x="505" y="265"/>
                        </a:lnTo>
                        <a:lnTo>
                          <a:pt x="502" y="265"/>
                        </a:lnTo>
                        <a:lnTo>
                          <a:pt x="499" y="265"/>
                        </a:lnTo>
                        <a:lnTo>
                          <a:pt x="498" y="266"/>
                        </a:lnTo>
                        <a:lnTo>
                          <a:pt x="495" y="264"/>
                        </a:lnTo>
                        <a:lnTo>
                          <a:pt x="492" y="263"/>
                        </a:lnTo>
                        <a:lnTo>
                          <a:pt x="488" y="261"/>
                        </a:lnTo>
                        <a:lnTo>
                          <a:pt x="485" y="259"/>
                        </a:lnTo>
                        <a:lnTo>
                          <a:pt x="485" y="258"/>
                        </a:lnTo>
                        <a:lnTo>
                          <a:pt x="485" y="254"/>
                        </a:lnTo>
                        <a:lnTo>
                          <a:pt x="484" y="251"/>
                        </a:lnTo>
                        <a:lnTo>
                          <a:pt x="482" y="249"/>
                        </a:lnTo>
                        <a:lnTo>
                          <a:pt x="483" y="248"/>
                        </a:lnTo>
                        <a:lnTo>
                          <a:pt x="483" y="246"/>
                        </a:lnTo>
                        <a:lnTo>
                          <a:pt x="482" y="246"/>
                        </a:lnTo>
                        <a:lnTo>
                          <a:pt x="485" y="246"/>
                        </a:lnTo>
                        <a:lnTo>
                          <a:pt x="485" y="242"/>
                        </a:lnTo>
                        <a:lnTo>
                          <a:pt x="485" y="239"/>
                        </a:lnTo>
                        <a:lnTo>
                          <a:pt x="484" y="236"/>
                        </a:lnTo>
                        <a:lnTo>
                          <a:pt x="482" y="233"/>
                        </a:lnTo>
                        <a:lnTo>
                          <a:pt x="490" y="227"/>
                        </a:lnTo>
                        <a:lnTo>
                          <a:pt x="497" y="221"/>
                        </a:lnTo>
                        <a:lnTo>
                          <a:pt x="505" y="215"/>
                        </a:lnTo>
                        <a:lnTo>
                          <a:pt x="515" y="211"/>
                        </a:lnTo>
                        <a:lnTo>
                          <a:pt x="515" y="206"/>
                        </a:lnTo>
                        <a:lnTo>
                          <a:pt x="515" y="205"/>
                        </a:lnTo>
                        <a:lnTo>
                          <a:pt x="515" y="204"/>
                        </a:lnTo>
                        <a:lnTo>
                          <a:pt x="512" y="201"/>
                        </a:lnTo>
                        <a:lnTo>
                          <a:pt x="508" y="199"/>
                        </a:lnTo>
                        <a:lnTo>
                          <a:pt x="506" y="198"/>
                        </a:lnTo>
                        <a:lnTo>
                          <a:pt x="505" y="197"/>
                        </a:lnTo>
                        <a:lnTo>
                          <a:pt x="503" y="196"/>
                        </a:lnTo>
                        <a:lnTo>
                          <a:pt x="503" y="193"/>
                        </a:lnTo>
                        <a:lnTo>
                          <a:pt x="503" y="191"/>
                        </a:lnTo>
                        <a:lnTo>
                          <a:pt x="501" y="188"/>
                        </a:lnTo>
                        <a:lnTo>
                          <a:pt x="498" y="187"/>
                        </a:lnTo>
                        <a:lnTo>
                          <a:pt x="494" y="186"/>
                        </a:lnTo>
                        <a:lnTo>
                          <a:pt x="490" y="186"/>
                        </a:lnTo>
                        <a:lnTo>
                          <a:pt x="485" y="185"/>
                        </a:lnTo>
                        <a:lnTo>
                          <a:pt x="483" y="183"/>
                        </a:lnTo>
                        <a:lnTo>
                          <a:pt x="481" y="179"/>
                        </a:lnTo>
                        <a:lnTo>
                          <a:pt x="479" y="175"/>
                        </a:lnTo>
                        <a:lnTo>
                          <a:pt x="479" y="172"/>
                        </a:lnTo>
                        <a:lnTo>
                          <a:pt x="474" y="172"/>
                        </a:lnTo>
                        <a:lnTo>
                          <a:pt x="470" y="172"/>
                        </a:lnTo>
                        <a:lnTo>
                          <a:pt x="467" y="172"/>
                        </a:lnTo>
                        <a:lnTo>
                          <a:pt x="463" y="172"/>
                        </a:lnTo>
                        <a:lnTo>
                          <a:pt x="460" y="173"/>
                        </a:lnTo>
                        <a:lnTo>
                          <a:pt x="458" y="175"/>
                        </a:lnTo>
                        <a:lnTo>
                          <a:pt x="455" y="177"/>
                        </a:lnTo>
                        <a:lnTo>
                          <a:pt x="453" y="178"/>
                        </a:lnTo>
                        <a:lnTo>
                          <a:pt x="452" y="178"/>
                        </a:lnTo>
                        <a:lnTo>
                          <a:pt x="451" y="178"/>
                        </a:lnTo>
                        <a:lnTo>
                          <a:pt x="446" y="178"/>
                        </a:lnTo>
                        <a:lnTo>
                          <a:pt x="444" y="179"/>
                        </a:lnTo>
                        <a:lnTo>
                          <a:pt x="442" y="182"/>
                        </a:lnTo>
                        <a:lnTo>
                          <a:pt x="439" y="185"/>
                        </a:lnTo>
                        <a:lnTo>
                          <a:pt x="437" y="188"/>
                        </a:lnTo>
                        <a:lnTo>
                          <a:pt x="430" y="190"/>
                        </a:lnTo>
                        <a:lnTo>
                          <a:pt x="425" y="189"/>
                        </a:lnTo>
                        <a:lnTo>
                          <a:pt x="421" y="189"/>
                        </a:lnTo>
                        <a:lnTo>
                          <a:pt x="418" y="188"/>
                        </a:lnTo>
                        <a:lnTo>
                          <a:pt x="415" y="188"/>
                        </a:lnTo>
                        <a:lnTo>
                          <a:pt x="411" y="189"/>
                        </a:lnTo>
                        <a:lnTo>
                          <a:pt x="409" y="190"/>
                        </a:lnTo>
                        <a:lnTo>
                          <a:pt x="408" y="191"/>
                        </a:lnTo>
                        <a:lnTo>
                          <a:pt x="407" y="192"/>
                        </a:lnTo>
                        <a:lnTo>
                          <a:pt x="406" y="193"/>
                        </a:lnTo>
                        <a:lnTo>
                          <a:pt x="404" y="195"/>
                        </a:lnTo>
                        <a:lnTo>
                          <a:pt x="415" y="197"/>
                        </a:lnTo>
                        <a:lnTo>
                          <a:pt x="426" y="201"/>
                        </a:lnTo>
                        <a:lnTo>
                          <a:pt x="436" y="207"/>
                        </a:lnTo>
                        <a:lnTo>
                          <a:pt x="440" y="210"/>
                        </a:lnTo>
                        <a:lnTo>
                          <a:pt x="444" y="214"/>
                        </a:lnTo>
                        <a:lnTo>
                          <a:pt x="446" y="221"/>
                        </a:lnTo>
                        <a:lnTo>
                          <a:pt x="449" y="228"/>
                        </a:lnTo>
                        <a:lnTo>
                          <a:pt x="449" y="236"/>
                        </a:lnTo>
                        <a:lnTo>
                          <a:pt x="449" y="243"/>
                        </a:lnTo>
                        <a:lnTo>
                          <a:pt x="451" y="246"/>
                        </a:lnTo>
                        <a:lnTo>
                          <a:pt x="453" y="249"/>
                        </a:lnTo>
                        <a:lnTo>
                          <a:pt x="454" y="253"/>
                        </a:lnTo>
                        <a:lnTo>
                          <a:pt x="456" y="256"/>
                        </a:lnTo>
                        <a:lnTo>
                          <a:pt x="456" y="260"/>
                        </a:lnTo>
                        <a:lnTo>
                          <a:pt x="456" y="264"/>
                        </a:lnTo>
                        <a:lnTo>
                          <a:pt x="456" y="268"/>
                        </a:lnTo>
                        <a:lnTo>
                          <a:pt x="456" y="272"/>
                        </a:lnTo>
                        <a:lnTo>
                          <a:pt x="457" y="274"/>
                        </a:lnTo>
                        <a:lnTo>
                          <a:pt x="458" y="276"/>
                        </a:lnTo>
                        <a:lnTo>
                          <a:pt x="459" y="278"/>
                        </a:lnTo>
                        <a:lnTo>
                          <a:pt x="459" y="280"/>
                        </a:lnTo>
                        <a:lnTo>
                          <a:pt x="459" y="282"/>
                        </a:lnTo>
                        <a:lnTo>
                          <a:pt x="459" y="283"/>
                        </a:lnTo>
                        <a:lnTo>
                          <a:pt x="459" y="285"/>
                        </a:lnTo>
                        <a:lnTo>
                          <a:pt x="460" y="285"/>
                        </a:lnTo>
                        <a:lnTo>
                          <a:pt x="461" y="286"/>
                        </a:lnTo>
                        <a:lnTo>
                          <a:pt x="462" y="287"/>
                        </a:lnTo>
                        <a:lnTo>
                          <a:pt x="463" y="289"/>
                        </a:lnTo>
                        <a:lnTo>
                          <a:pt x="463" y="288"/>
                        </a:lnTo>
                        <a:lnTo>
                          <a:pt x="465" y="287"/>
                        </a:lnTo>
                        <a:lnTo>
                          <a:pt x="467" y="286"/>
                        </a:lnTo>
                        <a:lnTo>
                          <a:pt x="469" y="285"/>
                        </a:lnTo>
                        <a:lnTo>
                          <a:pt x="470" y="286"/>
                        </a:lnTo>
                        <a:lnTo>
                          <a:pt x="473" y="287"/>
                        </a:lnTo>
                        <a:lnTo>
                          <a:pt x="480" y="292"/>
                        </a:lnTo>
                        <a:lnTo>
                          <a:pt x="487" y="297"/>
                        </a:lnTo>
                        <a:lnTo>
                          <a:pt x="490" y="299"/>
                        </a:lnTo>
                        <a:lnTo>
                          <a:pt x="492" y="301"/>
                        </a:lnTo>
                        <a:lnTo>
                          <a:pt x="492" y="304"/>
                        </a:lnTo>
                        <a:lnTo>
                          <a:pt x="494" y="308"/>
                        </a:lnTo>
                        <a:lnTo>
                          <a:pt x="495" y="317"/>
                        </a:lnTo>
                        <a:lnTo>
                          <a:pt x="496" y="328"/>
                        </a:lnTo>
                        <a:lnTo>
                          <a:pt x="494" y="337"/>
                        </a:lnTo>
                        <a:lnTo>
                          <a:pt x="494" y="340"/>
                        </a:lnTo>
                        <a:lnTo>
                          <a:pt x="494" y="343"/>
                        </a:lnTo>
                        <a:lnTo>
                          <a:pt x="494" y="353"/>
                        </a:lnTo>
                        <a:lnTo>
                          <a:pt x="495" y="354"/>
                        </a:lnTo>
                        <a:lnTo>
                          <a:pt x="496" y="356"/>
                        </a:lnTo>
                        <a:lnTo>
                          <a:pt x="497" y="359"/>
                        </a:lnTo>
                        <a:lnTo>
                          <a:pt x="498" y="360"/>
                        </a:lnTo>
                        <a:lnTo>
                          <a:pt x="498" y="361"/>
                        </a:lnTo>
                        <a:lnTo>
                          <a:pt x="500" y="363"/>
                        </a:lnTo>
                        <a:lnTo>
                          <a:pt x="501" y="365"/>
                        </a:lnTo>
                        <a:lnTo>
                          <a:pt x="502" y="365"/>
                        </a:lnTo>
                        <a:lnTo>
                          <a:pt x="503" y="365"/>
                        </a:lnTo>
                        <a:lnTo>
                          <a:pt x="504" y="365"/>
                        </a:lnTo>
                        <a:lnTo>
                          <a:pt x="505" y="365"/>
                        </a:lnTo>
                        <a:lnTo>
                          <a:pt x="505" y="369"/>
                        </a:lnTo>
                        <a:lnTo>
                          <a:pt x="501" y="366"/>
                        </a:lnTo>
                        <a:lnTo>
                          <a:pt x="499" y="365"/>
                        </a:lnTo>
                        <a:lnTo>
                          <a:pt x="495" y="361"/>
                        </a:lnTo>
                        <a:lnTo>
                          <a:pt x="493" y="360"/>
                        </a:lnTo>
                        <a:lnTo>
                          <a:pt x="491" y="359"/>
                        </a:lnTo>
                        <a:lnTo>
                          <a:pt x="487" y="359"/>
                        </a:lnTo>
                        <a:lnTo>
                          <a:pt x="482" y="360"/>
                        </a:lnTo>
                        <a:lnTo>
                          <a:pt x="484" y="358"/>
                        </a:lnTo>
                        <a:lnTo>
                          <a:pt x="485" y="356"/>
                        </a:lnTo>
                        <a:lnTo>
                          <a:pt x="485" y="355"/>
                        </a:lnTo>
                        <a:lnTo>
                          <a:pt x="485" y="353"/>
                        </a:lnTo>
                        <a:lnTo>
                          <a:pt x="481" y="351"/>
                        </a:lnTo>
                        <a:lnTo>
                          <a:pt x="477" y="349"/>
                        </a:lnTo>
                        <a:lnTo>
                          <a:pt x="472" y="348"/>
                        </a:lnTo>
                        <a:lnTo>
                          <a:pt x="466" y="350"/>
                        </a:lnTo>
                        <a:lnTo>
                          <a:pt x="464" y="350"/>
                        </a:lnTo>
                        <a:lnTo>
                          <a:pt x="461" y="351"/>
                        </a:lnTo>
                        <a:lnTo>
                          <a:pt x="459" y="352"/>
                        </a:lnTo>
                        <a:lnTo>
                          <a:pt x="456" y="353"/>
                        </a:lnTo>
                        <a:lnTo>
                          <a:pt x="451" y="352"/>
                        </a:lnTo>
                        <a:lnTo>
                          <a:pt x="446" y="352"/>
                        </a:lnTo>
                        <a:lnTo>
                          <a:pt x="442" y="352"/>
                        </a:lnTo>
                        <a:lnTo>
                          <a:pt x="437" y="353"/>
                        </a:lnTo>
                        <a:lnTo>
                          <a:pt x="435" y="356"/>
                        </a:lnTo>
                        <a:lnTo>
                          <a:pt x="436" y="358"/>
                        </a:lnTo>
                        <a:lnTo>
                          <a:pt x="436" y="362"/>
                        </a:lnTo>
                        <a:lnTo>
                          <a:pt x="437" y="365"/>
                        </a:lnTo>
                        <a:lnTo>
                          <a:pt x="435" y="366"/>
                        </a:lnTo>
                        <a:lnTo>
                          <a:pt x="434" y="367"/>
                        </a:lnTo>
                        <a:lnTo>
                          <a:pt x="434" y="368"/>
                        </a:lnTo>
                        <a:lnTo>
                          <a:pt x="433" y="369"/>
                        </a:lnTo>
                        <a:lnTo>
                          <a:pt x="432" y="376"/>
                        </a:lnTo>
                        <a:lnTo>
                          <a:pt x="431" y="384"/>
                        </a:lnTo>
                        <a:lnTo>
                          <a:pt x="430" y="389"/>
                        </a:lnTo>
                        <a:lnTo>
                          <a:pt x="427" y="395"/>
                        </a:lnTo>
                        <a:lnTo>
                          <a:pt x="425" y="395"/>
                        </a:lnTo>
                        <a:lnTo>
                          <a:pt x="423" y="397"/>
                        </a:lnTo>
                        <a:lnTo>
                          <a:pt x="422" y="398"/>
                        </a:lnTo>
                        <a:lnTo>
                          <a:pt x="421" y="398"/>
                        </a:lnTo>
                        <a:lnTo>
                          <a:pt x="419" y="400"/>
                        </a:lnTo>
                        <a:lnTo>
                          <a:pt x="416" y="402"/>
                        </a:lnTo>
                        <a:lnTo>
                          <a:pt x="415" y="403"/>
                        </a:lnTo>
                        <a:lnTo>
                          <a:pt x="414" y="405"/>
                        </a:lnTo>
                        <a:lnTo>
                          <a:pt x="413" y="408"/>
                        </a:lnTo>
                        <a:lnTo>
                          <a:pt x="413" y="410"/>
                        </a:lnTo>
                        <a:lnTo>
                          <a:pt x="412" y="413"/>
                        </a:lnTo>
                        <a:lnTo>
                          <a:pt x="411" y="417"/>
                        </a:lnTo>
                        <a:lnTo>
                          <a:pt x="410" y="418"/>
                        </a:lnTo>
                        <a:lnTo>
                          <a:pt x="409" y="418"/>
                        </a:lnTo>
                        <a:lnTo>
                          <a:pt x="407" y="419"/>
                        </a:lnTo>
                        <a:lnTo>
                          <a:pt x="404" y="421"/>
                        </a:lnTo>
                        <a:lnTo>
                          <a:pt x="402" y="423"/>
                        </a:lnTo>
                        <a:lnTo>
                          <a:pt x="401" y="426"/>
                        </a:lnTo>
                        <a:lnTo>
                          <a:pt x="399" y="430"/>
                        </a:lnTo>
                        <a:lnTo>
                          <a:pt x="397" y="434"/>
                        </a:lnTo>
                        <a:lnTo>
                          <a:pt x="395" y="438"/>
                        </a:lnTo>
                        <a:lnTo>
                          <a:pt x="390" y="445"/>
                        </a:lnTo>
                        <a:lnTo>
                          <a:pt x="389" y="449"/>
                        </a:lnTo>
                        <a:lnTo>
                          <a:pt x="388" y="454"/>
                        </a:lnTo>
                        <a:lnTo>
                          <a:pt x="389" y="459"/>
                        </a:lnTo>
                        <a:lnTo>
                          <a:pt x="392" y="463"/>
                        </a:lnTo>
                        <a:lnTo>
                          <a:pt x="393" y="463"/>
                        </a:lnTo>
                        <a:lnTo>
                          <a:pt x="395" y="463"/>
                        </a:lnTo>
                        <a:lnTo>
                          <a:pt x="397" y="465"/>
                        </a:lnTo>
                        <a:lnTo>
                          <a:pt x="399" y="466"/>
                        </a:lnTo>
                        <a:lnTo>
                          <a:pt x="404" y="466"/>
                        </a:lnTo>
                        <a:lnTo>
                          <a:pt x="405" y="468"/>
                        </a:lnTo>
                        <a:lnTo>
                          <a:pt x="404" y="469"/>
                        </a:lnTo>
                        <a:lnTo>
                          <a:pt x="403" y="469"/>
                        </a:lnTo>
                        <a:lnTo>
                          <a:pt x="404" y="469"/>
                        </a:lnTo>
                        <a:lnTo>
                          <a:pt x="407" y="472"/>
                        </a:lnTo>
                        <a:lnTo>
                          <a:pt x="409" y="476"/>
                        </a:lnTo>
                        <a:lnTo>
                          <a:pt x="412" y="480"/>
                        </a:lnTo>
                        <a:lnTo>
                          <a:pt x="414" y="483"/>
                        </a:lnTo>
                        <a:lnTo>
                          <a:pt x="415" y="482"/>
                        </a:lnTo>
                        <a:lnTo>
                          <a:pt x="416" y="481"/>
                        </a:lnTo>
                        <a:lnTo>
                          <a:pt x="416" y="480"/>
                        </a:lnTo>
                        <a:lnTo>
                          <a:pt x="414" y="479"/>
                        </a:lnTo>
                        <a:lnTo>
                          <a:pt x="414" y="477"/>
                        </a:lnTo>
                        <a:lnTo>
                          <a:pt x="412" y="475"/>
                        </a:lnTo>
                        <a:lnTo>
                          <a:pt x="410" y="473"/>
                        </a:lnTo>
                        <a:lnTo>
                          <a:pt x="408" y="473"/>
                        </a:lnTo>
                        <a:lnTo>
                          <a:pt x="408" y="471"/>
                        </a:lnTo>
                        <a:lnTo>
                          <a:pt x="409" y="470"/>
                        </a:lnTo>
                        <a:lnTo>
                          <a:pt x="410" y="471"/>
                        </a:lnTo>
                        <a:lnTo>
                          <a:pt x="411" y="473"/>
                        </a:lnTo>
                        <a:lnTo>
                          <a:pt x="413" y="474"/>
                        </a:lnTo>
                        <a:lnTo>
                          <a:pt x="416" y="476"/>
                        </a:lnTo>
                        <a:lnTo>
                          <a:pt x="417" y="478"/>
                        </a:lnTo>
                        <a:lnTo>
                          <a:pt x="418" y="479"/>
                        </a:lnTo>
                        <a:lnTo>
                          <a:pt x="421" y="481"/>
                        </a:lnTo>
                        <a:lnTo>
                          <a:pt x="423" y="481"/>
                        </a:lnTo>
                        <a:lnTo>
                          <a:pt x="427" y="481"/>
                        </a:lnTo>
                        <a:lnTo>
                          <a:pt x="430" y="483"/>
                        </a:lnTo>
                        <a:lnTo>
                          <a:pt x="431" y="485"/>
                        </a:lnTo>
                        <a:lnTo>
                          <a:pt x="432" y="486"/>
                        </a:lnTo>
                        <a:lnTo>
                          <a:pt x="433" y="489"/>
                        </a:lnTo>
                        <a:lnTo>
                          <a:pt x="434" y="489"/>
                        </a:lnTo>
                        <a:lnTo>
                          <a:pt x="435" y="489"/>
                        </a:lnTo>
                        <a:lnTo>
                          <a:pt x="437" y="489"/>
                        </a:lnTo>
                        <a:lnTo>
                          <a:pt x="440" y="499"/>
                        </a:lnTo>
                        <a:lnTo>
                          <a:pt x="440" y="503"/>
                        </a:lnTo>
                        <a:lnTo>
                          <a:pt x="440" y="505"/>
                        </a:lnTo>
                        <a:lnTo>
                          <a:pt x="444" y="509"/>
                        </a:lnTo>
                        <a:lnTo>
                          <a:pt x="448" y="510"/>
                        </a:lnTo>
                        <a:lnTo>
                          <a:pt x="454" y="510"/>
                        </a:lnTo>
                        <a:lnTo>
                          <a:pt x="459" y="511"/>
                        </a:lnTo>
                        <a:lnTo>
                          <a:pt x="460" y="512"/>
                        </a:lnTo>
                        <a:lnTo>
                          <a:pt x="460" y="513"/>
                        </a:lnTo>
                        <a:lnTo>
                          <a:pt x="461" y="514"/>
                        </a:lnTo>
                        <a:lnTo>
                          <a:pt x="463" y="514"/>
                        </a:lnTo>
                        <a:lnTo>
                          <a:pt x="458" y="515"/>
                        </a:lnTo>
                        <a:lnTo>
                          <a:pt x="453" y="516"/>
                        </a:lnTo>
                        <a:lnTo>
                          <a:pt x="449" y="517"/>
                        </a:lnTo>
                        <a:lnTo>
                          <a:pt x="446" y="518"/>
                        </a:lnTo>
                        <a:lnTo>
                          <a:pt x="442" y="513"/>
                        </a:lnTo>
                        <a:lnTo>
                          <a:pt x="441" y="512"/>
                        </a:lnTo>
                        <a:lnTo>
                          <a:pt x="440" y="511"/>
                        </a:lnTo>
                        <a:lnTo>
                          <a:pt x="430" y="511"/>
                        </a:lnTo>
                        <a:lnTo>
                          <a:pt x="432" y="511"/>
                        </a:lnTo>
                        <a:lnTo>
                          <a:pt x="433" y="510"/>
                        </a:lnTo>
                        <a:lnTo>
                          <a:pt x="435" y="509"/>
                        </a:lnTo>
                        <a:lnTo>
                          <a:pt x="437" y="509"/>
                        </a:lnTo>
                        <a:lnTo>
                          <a:pt x="437" y="510"/>
                        </a:lnTo>
                        <a:lnTo>
                          <a:pt x="437" y="511"/>
                        </a:lnTo>
                        <a:lnTo>
                          <a:pt x="439" y="511"/>
                        </a:lnTo>
                        <a:lnTo>
                          <a:pt x="440" y="511"/>
                        </a:lnTo>
                        <a:lnTo>
                          <a:pt x="442" y="512"/>
                        </a:lnTo>
                        <a:lnTo>
                          <a:pt x="444" y="513"/>
                        </a:lnTo>
                        <a:lnTo>
                          <a:pt x="445" y="514"/>
                        </a:lnTo>
                        <a:lnTo>
                          <a:pt x="446" y="514"/>
                        </a:lnTo>
                        <a:lnTo>
                          <a:pt x="449" y="514"/>
                        </a:lnTo>
                        <a:lnTo>
                          <a:pt x="449" y="513"/>
                        </a:lnTo>
                        <a:lnTo>
                          <a:pt x="449" y="512"/>
                        </a:lnTo>
                        <a:lnTo>
                          <a:pt x="449" y="511"/>
                        </a:lnTo>
                        <a:lnTo>
                          <a:pt x="447" y="511"/>
                        </a:lnTo>
                        <a:lnTo>
                          <a:pt x="445" y="511"/>
                        </a:lnTo>
                        <a:lnTo>
                          <a:pt x="446" y="511"/>
                        </a:lnTo>
                        <a:lnTo>
                          <a:pt x="444" y="511"/>
                        </a:lnTo>
                        <a:lnTo>
                          <a:pt x="444" y="509"/>
                        </a:lnTo>
                        <a:lnTo>
                          <a:pt x="441" y="508"/>
                        </a:lnTo>
                        <a:lnTo>
                          <a:pt x="438" y="507"/>
                        </a:lnTo>
                        <a:lnTo>
                          <a:pt x="435" y="506"/>
                        </a:lnTo>
                        <a:lnTo>
                          <a:pt x="430" y="505"/>
                        </a:lnTo>
                        <a:lnTo>
                          <a:pt x="432" y="505"/>
                        </a:lnTo>
                        <a:lnTo>
                          <a:pt x="433" y="505"/>
                        </a:lnTo>
                        <a:lnTo>
                          <a:pt x="435" y="505"/>
                        </a:lnTo>
                        <a:lnTo>
                          <a:pt x="437" y="505"/>
                        </a:lnTo>
                        <a:lnTo>
                          <a:pt x="437" y="502"/>
                        </a:lnTo>
                        <a:lnTo>
                          <a:pt x="436" y="499"/>
                        </a:lnTo>
                        <a:lnTo>
                          <a:pt x="435" y="496"/>
                        </a:lnTo>
                        <a:lnTo>
                          <a:pt x="433" y="495"/>
                        </a:lnTo>
                        <a:lnTo>
                          <a:pt x="431" y="495"/>
                        </a:lnTo>
                        <a:lnTo>
                          <a:pt x="430" y="495"/>
                        </a:lnTo>
                        <a:lnTo>
                          <a:pt x="429" y="495"/>
                        </a:lnTo>
                        <a:lnTo>
                          <a:pt x="427" y="495"/>
                        </a:lnTo>
                        <a:lnTo>
                          <a:pt x="427" y="499"/>
                        </a:lnTo>
                        <a:lnTo>
                          <a:pt x="429" y="501"/>
                        </a:lnTo>
                        <a:lnTo>
                          <a:pt x="431" y="503"/>
                        </a:lnTo>
                        <a:lnTo>
                          <a:pt x="430" y="503"/>
                        </a:lnTo>
                        <a:lnTo>
                          <a:pt x="427" y="502"/>
                        </a:lnTo>
                        <a:lnTo>
                          <a:pt x="427" y="505"/>
                        </a:lnTo>
                        <a:lnTo>
                          <a:pt x="427" y="509"/>
                        </a:lnTo>
                        <a:lnTo>
                          <a:pt x="426" y="508"/>
                        </a:lnTo>
                        <a:lnTo>
                          <a:pt x="427" y="508"/>
                        </a:lnTo>
                        <a:lnTo>
                          <a:pt x="429" y="509"/>
                        </a:lnTo>
                        <a:lnTo>
                          <a:pt x="430" y="510"/>
                        </a:lnTo>
                        <a:lnTo>
                          <a:pt x="431" y="510"/>
                        </a:lnTo>
                        <a:lnTo>
                          <a:pt x="429" y="511"/>
                        </a:lnTo>
                        <a:lnTo>
                          <a:pt x="427" y="511"/>
                        </a:lnTo>
                        <a:lnTo>
                          <a:pt x="426" y="510"/>
                        </a:lnTo>
                        <a:lnTo>
                          <a:pt x="425" y="509"/>
                        </a:lnTo>
                        <a:lnTo>
                          <a:pt x="423" y="509"/>
                        </a:lnTo>
                        <a:lnTo>
                          <a:pt x="421" y="507"/>
                        </a:lnTo>
                        <a:lnTo>
                          <a:pt x="420" y="508"/>
                        </a:lnTo>
                        <a:lnTo>
                          <a:pt x="418" y="508"/>
                        </a:lnTo>
                        <a:lnTo>
                          <a:pt x="418" y="509"/>
                        </a:lnTo>
                        <a:lnTo>
                          <a:pt x="417" y="511"/>
                        </a:lnTo>
                        <a:lnTo>
                          <a:pt x="416" y="514"/>
                        </a:lnTo>
                        <a:lnTo>
                          <a:pt x="415" y="518"/>
                        </a:lnTo>
                        <a:lnTo>
                          <a:pt x="414" y="521"/>
                        </a:lnTo>
                        <a:lnTo>
                          <a:pt x="413" y="521"/>
                        </a:lnTo>
                        <a:lnTo>
                          <a:pt x="411" y="521"/>
                        </a:lnTo>
                        <a:lnTo>
                          <a:pt x="410" y="521"/>
                        </a:lnTo>
                        <a:lnTo>
                          <a:pt x="409" y="520"/>
                        </a:lnTo>
                        <a:lnTo>
                          <a:pt x="408" y="518"/>
                        </a:lnTo>
                        <a:lnTo>
                          <a:pt x="406" y="518"/>
                        </a:lnTo>
                        <a:lnTo>
                          <a:pt x="404" y="518"/>
                        </a:lnTo>
                        <a:lnTo>
                          <a:pt x="403" y="518"/>
                        </a:lnTo>
                        <a:lnTo>
                          <a:pt x="401" y="518"/>
                        </a:lnTo>
                        <a:lnTo>
                          <a:pt x="401" y="517"/>
                        </a:lnTo>
                        <a:lnTo>
                          <a:pt x="401" y="516"/>
                        </a:lnTo>
                        <a:lnTo>
                          <a:pt x="401" y="515"/>
                        </a:lnTo>
                        <a:lnTo>
                          <a:pt x="401" y="514"/>
                        </a:lnTo>
                        <a:lnTo>
                          <a:pt x="399" y="514"/>
                        </a:lnTo>
                        <a:lnTo>
                          <a:pt x="397" y="514"/>
                        </a:lnTo>
                        <a:lnTo>
                          <a:pt x="395" y="514"/>
                        </a:lnTo>
                        <a:lnTo>
                          <a:pt x="392" y="514"/>
                        </a:lnTo>
                        <a:lnTo>
                          <a:pt x="388" y="513"/>
                        </a:lnTo>
                        <a:lnTo>
                          <a:pt x="382" y="512"/>
                        </a:lnTo>
                        <a:lnTo>
                          <a:pt x="375" y="511"/>
                        </a:lnTo>
                        <a:lnTo>
                          <a:pt x="373" y="512"/>
                        </a:lnTo>
                        <a:lnTo>
                          <a:pt x="370" y="513"/>
                        </a:lnTo>
                        <a:lnTo>
                          <a:pt x="367" y="515"/>
                        </a:lnTo>
                        <a:lnTo>
                          <a:pt x="366" y="518"/>
                        </a:lnTo>
                        <a:lnTo>
                          <a:pt x="364" y="520"/>
                        </a:lnTo>
                        <a:lnTo>
                          <a:pt x="363" y="521"/>
                        </a:lnTo>
                        <a:lnTo>
                          <a:pt x="362" y="523"/>
                        </a:lnTo>
                        <a:lnTo>
                          <a:pt x="362" y="525"/>
                        </a:lnTo>
                        <a:lnTo>
                          <a:pt x="361" y="525"/>
                        </a:lnTo>
                        <a:lnTo>
                          <a:pt x="359" y="525"/>
                        </a:lnTo>
                        <a:lnTo>
                          <a:pt x="359" y="521"/>
                        </a:lnTo>
                        <a:lnTo>
                          <a:pt x="358" y="522"/>
                        </a:lnTo>
                        <a:lnTo>
                          <a:pt x="357" y="521"/>
                        </a:lnTo>
                        <a:lnTo>
                          <a:pt x="356" y="519"/>
                        </a:lnTo>
                        <a:lnTo>
                          <a:pt x="356" y="518"/>
                        </a:lnTo>
                        <a:lnTo>
                          <a:pt x="358" y="517"/>
                        </a:lnTo>
                        <a:lnTo>
                          <a:pt x="359" y="516"/>
                        </a:lnTo>
                        <a:lnTo>
                          <a:pt x="359" y="515"/>
                        </a:lnTo>
                        <a:lnTo>
                          <a:pt x="359" y="514"/>
                        </a:lnTo>
                        <a:lnTo>
                          <a:pt x="361" y="514"/>
                        </a:lnTo>
                        <a:lnTo>
                          <a:pt x="362" y="513"/>
                        </a:lnTo>
                        <a:lnTo>
                          <a:pt x="362" y="512"/>
                        </a:lnTo>
                        <a:lnTo>
                          <a:pt x="362" y="511"/>
                        </a:lnTo>
                        <a:lnTo>
                          <a:pt x="358" y="511"/>
                        </a:lnTo>
                        <a:lnTo>
                          <a:pt x="356" y="511"/>
                        </a:lnTo>
                        <a:lnTo>
                          <a:pt x="353" y="511"/>
                        </a:lnTo>
                        <a:lnTo>
                          <a:pt x="349" y="511"/>
                        </a:lnTo>
                        <a:lnTo>
                          <a:pt x="345" y="508"/>
                        </a:lnTo>
                        <a:lnTo>
                          <a:pt x="339" y="503"/>
                        </a:lnTo>
                        <a:lnTo>
                          <a:pt x="332" y="499"/>
                        </a:lnTo>
                        <a:lnTo>
                          <a:pt x="328" y="498"/>
                        </a:lnTo>
                        <a:lnTo>
                          <a:pt x="324" y="499"/>
                        </a:lnTo>
                        <a:lnTo>
                          <a:pt x="322" y="499"/>
                        </a:lnTo>
                        <a:lnTo>
                          <a:pt x="321" y="500"/>
                        </a:lnTo>
                        <a:lnTo>
                          <a:pt x="319" y="502"/>
                        </a:lnTo>
                        <a:lnTo>
                          <a:pt x="317" y="502"/>
                        </a:lnTo>
                        <a:lnTo>
                          <a:pt x="317" y="503"/>
                        </a:lnTo>
                        <a:lnTo>
                          <a:pt x="317" y="504"/>
                        </a:lnTo>
                        <a:lnTo>
                          <a:pt x="316" y="505"/>
                        </a:lnTo>
                        <a:lnTo>
                          <a:pt x="314" y="505"/>
                        </a:lnTo>
                        <a:lnTo>
                          <a:pt x="318" y="510"/>
                        </a:lnTo>
                        <a:lnTo>
                          <a:pt x="319" y="514"/>
                        </a:lnTo>
                        <a:lnTo>
                          <a:pt x="319" y="517"/>
                        </a:lnTo>
                        <a:lnTo>
                          <a:pt x="318" y="519"/>
                        </a:lnTo>
                        <a:lnTo>
                          <a:pt x="316" y="521"/>
                        </a:lnTo>
                        <a:lnTo>
                          <a:pt x="313" y="522"/>
                        </a:lnTo>
                        <a:lnTo>
                          <a:pt x="307" y="521"/>
                        </a:lnTo>
                        <a:lnTo>
                          <a:pt x="309" y="526"/>
                        </a:lnTo>
                        <a:lnTo>
                          <a:pt x="310" y="529"/>
                        </a:lnTo>
                        <a:lnTo>
                          <a:pt x="312" y="532"/>
                        </a:lnTo>
                        <a:lnTo>
                          <a:pt x="314" y="534"/>
                        </a:lnTo>
                        <a:lnTo>
                          <a:pt x="314" y="535"/>
                        </a:lnTo>
                        <a:lnTo>
                          <a:pt x="316" y="537"/>
                        </a:lnTo>
                        <a:lnTo>
                          <a:pt x="321" y="540"/>
                        </a:lnTo>
                        <a:lnTo>
                          <a:pt x="326" y="543"/>
                        </a:lnTo>
                        <a:lnTo>
                          <a:pt x="330" y="544"/>
                        </a:lnTo>
                        <a:lnTo>
                          <a:pt x="331" y="544"/>
                        </a:lnTo>
                        <a:lnTo>
                          <a:pt x="333" y="544"/>
                        </a:lnTo>
                        <a:lnTo>
                          <a:pt x="336" y="547"/>
                        </a:lnTo>
                        <a:lnTo>
                          <a:pt x="339" y="550"/>
                        </a:lnTo>
                        <a:lnTo>
                          <a:pt x="344" y="553"/>
                        </a:lnTo>
                        <a:lnTo>
                          <a:pt x="349" y="554"/>
                        </a:lnTo>
                        <a:lnTo>
                          <a:pt x="351" y="553"/>
                        </a:lnTo>
                        <a:lnTo>
                          <a:pt x="354" y="550"/>
                        </a:lnTo>
                        <a:lnTo>
                          <a:pt x="355" y="547"/>
                        </a:lnTo>
                        <a:lnTo>
                          <a:pt x="356" y="544"/>
                        </a:lnTo>
                        <a:lnTo>
                          <a:pt x="356" y="546"/>
                        </a:lnTo>
                        <a:lnTo>
                          <a:pt x="356" y="547"/>
                        </a:lnTo>
                        <a:lnTo>
                          <a:pt x="356" y="549"/>
                        </a:lnTo>
                        <a:lnTo>
                          <a:pt x="358" y="551"/>
                        </a:lnTo>
                        <a:lnTo>
                          <a:pt x="360" y="552"/>
                        </a:lnTo>
                        <a:lnTo>
                          <a:pt x="362" y="554"/>
                        </a:lnTo>
                        <a:lnTo>
                          <a:pt x="362" y="555"/>
                        </a:lnTo>
                        <a:lnTo>
                          <a:pt x="363" y="556"/>
                        </a:lnTo>
                        <a:lnTo>
                          <a:pt x="364" y="558"/>
                        </a:lnTo>
                        <a:lnTo>
                          <a:pt x="366" y="560"/>
                        </a:lnTo>
                        <a:lnTo>
                          <a:pt x="366" y="561"/>
                        </a:lnTo>
                        <a:lnTo>
                          <a:pt x="367" y="564"/>
                        </a:lnTo>
                        <a:lnTo>
                          <a:pt x="369" y="567"/>
                        </a:lnTo>
                        <a:lnTo>
                          <a:pt x="369" y="570"/>
                        </a:lnTo>
                        <a:lnTo>
                          <a:pt x="373" y="570"/>
                        </a:lnTo>
                        <a:lnTo>
                          <a:pt x="374" y="570"/>
                        </a:lnTo>
                        <a:lnTo>
                          <a:pt x="375" y="570"/>
                        </a:lnTo>
                        <a:lnTo>
                          <a:pt x="376" y="573"/>
                        </a:lnTo>
                        <a:lnTo>
                          <a:pt x="377" y="576"/>
                        </a:lnTo>
                        <a:lnTo>
                          <a:pt x="375" y="578"/>
                        </a:lnTo>
                        <a:lnTo>
                          <a:pt x="374" y="580"/>
                        </a:lnTo>
                        <a:lnTo>
                          <a:pt x="370" y="582"/>
                        </a:lnTo>
                        <a:lnTo>
                          <a:pt x="366" y="586"/>
                        </a:lnTo>
                        <a:lnTo>
                          <a:pt x="366" y="588"/>
                        </a:lnTo>
                        <a:lnTo>
                          <a:pt x="366" y="589"/>
                        </a:lnTo>
                        <a:lnTo>
                          <a:pt x="360" y="589"/>
                        </a:lnTo>
                        <a:lnTo>
                          <a:pt x="354" y="587"/>
                        </a:lnTo>
                        <a:lnTo>
                          <a:pt x="349" y="586"/>
                        </a:lnTo>
                        <a:lnTo>
                          <a:pt x="343" y="586"/>
                        </a:lnTo>
                        <a:lnTo>
                          <a:pt x="339" y="586"/>
                        </a:lnTo>
                        <a:lnTo>
                          <a:pt x="335" y="587"/>
                        </a:lnTo>
                        <a:lnTo>
                          <a:pt x="331" y="587"/>
                        </a:lnTo>
                        <a:lnTo>
                          <a:pt x="326" y="586"/>
                        </a:lnTo>
                        <a:lnTo>
                          <a:pt x="323" y="585"/>
                        </a:lnTo>
                        <a:lnTo>
                          <a:pt x="321" y="584"/>
                        </a:lnTo>
                        <a:lnTo>
                          <a:pt x="319" y="582"/>
                        </a:lnTo>
                        <a:lnTo>
                          <a:pt x="317" y="580"/>
                        </a:lnTo>
                        <a:lnTo>
                          <a:pt x="315" y="578"/>
                        </a:lnTo>
                        <a:lnTo>
                          <a:pt x="312" y="577"/>
                        </a:lnTo>
                        <a:lnTo>
                          <a:pt x="307" y="577"/>
                        </a:lnTo>
                        <a:lnTo>
                          <a:pt x="298" y="566"/>
                        </a:lnTo>
                        <a:lnTo>
                          <a:pt x="297" y="566"/>
                        </a:lnTo>
                        <a:lnTo>
                          <a:pt x="296" y="566"/>
                        </a:lnTo>
                        <a:lnTo>
                          <a:pt x="295" y="566"/>
                        </a:lnTo>
                        <a:lnTo>
                          <a:pt x="295" y="568"/>
                        </a:lnTo>
                        <a:lnTo>
                          <a:pt x="295" y="570"/>
                        </a:lnTo>
                        <a:lnTo>
                          <a:pt x="295" y="571"/>
                        </a:lnTo>
                        <a:lnTo>
                          <a:pt x="295" y="573"/>
                        </a:lnTo>
                        <a:lnTo>
                          <a:pt x="294" y="573"/>
                        </a:lnTo>
                        <a:lnTo>
                          <a:pt x="293" y="573"/>
                        </a:lnTo>
                        <a:lnTo>
                          <a:pt x="292" y="573"/>
                        </a:lnTo>
                        <a:lnTo>
                          <a:pt x="291" y="573"/>
                        </a:lnTo>
                        <a:lnTo>
                          <a:pt x="291" y="574"/>
                        </a:lnTo>
                        <a:lnTo>
                          <a:pt x="289" y="575"/>
                        </a:lnTo>
                        <a:lnTo>
                          <a:pt x="287" y="576"/>
                        </a:lnTo>
                        <a:lnTo>
                          <a:pt x="285" y="577"/>
                        </a:lnTo>
                        <a:lnTo>
                          <a:pt x="284" y="575"/>
                        </a:lnTo>
                        <a:lnTo>
                          <a:pt x="283" y="574"/>
                        </a:lnTo>
                        <a:lnTo>
                          <a:pt x="282" y="573"/>
                        </a:lnTo>
                        <a:lnTo>
                          <a:pt x="281" y="573"/>
                        </a:lnTo>
                        <a:lnTo>
                          <a:pt x="279" y="572"/>
                        </a:lnTo>
                        <a:lnTo>
                          <a:pt x="277" y="572"/>
                        </a:lnTo>
                        <a:lnTo>
                          <a:pt x="275" y="571"/>
                        </a:lnTo>
                        <a:lnTo>
                          <a:pt x="272" y="570"/>
                        </a:lnTo>
                        <a:lnTo>
                          <a:pt x="270" y="567"/>
                        </a:lnTo>
                        <a:lnTo>
                          <a:pt x="269" y="563"/>
                        </a:lnTo>
                        <a:lnTo>
                          <a:pt x="269" y="559"/>
                        </a:lnTo>
                        <a:lnTo>
                          <a:pt x="269" y="557"/>
                        </a:lnTo>
                        <a:lnTo>
                          <a:pt x="267" y="557"/>
                        </a:lnTo>
                        <a:lnTo>
                          <a:pt x="266" y="556"/>
                        </a:lnTo>
                        <a:lnTo>
                          <a:pt x="265" y="554"/>
                        </a:lnTo>
                        <a:lnTo>
                          <a:pt x="263" y="554"/>
                        </a:lnTo>
                        <a:lnTo>
                          <a:pt x="262" y="555"/>
                        </a:lnTo>
                        <a:lnTo>
                          <a:pt x="261" y="555"/>
                        </a:lnTo>
                        <a:lnTo>
                          <a:pt x="259" y="554"/>
                        </a:lnTo>
                        <a:lnTo>
                          <a:pt x="258" y="553"/>
                        </a:lnTo>
                        <a:lnTo>
                          <a:pt x="258" y="552"/>
                        </a:lnTo>
                        <a:lnTo>
                          <a:pt x="259" y="547"/>
                        </a:lnTo>
                        <a:lnTo>
                          <a:pt x="261" y="541"/>
                        </a:lnTo>
                        <a:lnTo>
                          <a:pt x="262" y="537"/>
                        </a:lnTo>
                        <a:lnTo>
                          <a:pt x="261" y="537"/>
                        </a:lnTo>
                        <a:lnTo>
                          <a:pt x="260" y="536"/>
                        </a:lnTo>
                        <a:lnTo>
                          <a:pt x="255" y="534"/>
                        </a:lnTo>
                        <a:lnTo>
                          <a:pt x="252" y="532"/>
                        </a:lnTo>
                        <a:lnTo>
                          <a:pt x="250" y="532"/>
                        </a:lnTo>
                        <a:lnTo>
                          <a:pt x="249" y="531"/>
                        </a:lnTo>
                        <a:lnTo>
                          <a:pt x="249" y="527"/>
                        </a:lnTo>
                        <a:lnTo>
                          <a:pt x="249" y="525"/>
                        </a:lnTo>
                        <a:lnTo>
                          <a:pt x="246" y="521"/>
                        </a:lnTo>
                        <a:lnTo>
                          <a:pt x="246" y="520"/>
                        </a:lnTo>
                        <a:lnTo>
                          <a:pt x="245" y="518"/>
                        </a:lnTo>
                        <a:lnTo>
                          <a:pt x="243" y="518"/>
                        </a:lnTo>
                        <a:lnTo>
                          <a:pt x="242" y="513"/>
                        </a:lnTo>
                        <a:lnTo>
                          <a:pt x="239" y="510"/>
                        </a:lnTo>
                        <a:lnTo>
                          <a:pt x="236" y="509"/>
                        </a:lnTo>
                        <a:lnTo>
                          <a:pt x="233" y="509"/>
                        </a:lnTo>
                        <a:lnTo>
                          <a:pt x="233" y="507"/>
                        </a:lnTo>
                        <a:lnTo>
                          <a:pt x="233" y="506"/>
                        </a:lnTo>
                        <a:lnTo>
                          <a:pt x="233" y="505"/>
                        </a:lnTo>
                        <a:lnTo>
                          <a:pt x="234" y="503"/>
                        </a:lnTo>
                        <a:lnTo>
                          <a:pt x="236" y="502"/>
                        </a:lnTo>
                        <a:lnTo>
                          <a:pt x="238" y="501"/>
                        </a:lnTo>
                        <a:lnTo>
                          <a:pt x="239" y="499"/>
                        </a:lnTo>
                        <a:lnTo>
                          <a:pt x="241" y="493"/>
                        </a:lnTo>
                        <a:lnTo>
                          <a:pt x="241" y="486"/>
                        </a:lnTo>
                        <a:lnTo>
                          <a:pt x="240" y="482"/>
                        </a:lnTo>
                        <a:lnTo>
                          <a:pt x="238" y="480"/>
                        </a:lnTo>
                        <a:lnTo>
                          <a:pt x="236" y="479"/>
                        </a:lnTo>
                        <a:lnTo>
                          <a:pt x="233" y="478"/>
                        </a:lnTo>
                        <a:lnTo>
                          <a:pt x="234" y="478"/>
                        </a:lnTo>
                        <a:lnTo>
                          <a:pt x="236" y="478"/>
                        </a:lnTo>
                        <a:lnTo>
                          <a:pt x="240" y="479"/>
                        </a:lnTo>
                        <a:lnTo>
                          <a:pt x="242" y="479"/>
                        </a:lnTo>
                        <a:lnTo>
                          <a:pt x="243" y="479"/>
                        </a:lnTo>
                        <a:lnTo>
                          <a:pt x="243" y="478"/>
                        </a:lnTo>
                        <a:lnTo>
                          <a:pt x="243" y="476"/>
                        </a:lnTo>
                        <a:lnTo>
                          <a:pt x="243" y="474"/>
                        </a:lnTo>
                        <a:lnTo>
                          <a:pt x="243" y="473"/>
                        </a:lnTo>
                        <a:lnTo>
                          <a:pt x="242" y="472"/>
                        </a:lnTo>
                        <a:lnTo>
                          <a:pt x="241" y="471"/>
                        </a:lnTo>
                        <a:lnTo>
                          <a:pt x="240" y="470"/>
                        </a:lnTo>
                        <a:lnTo>
                          <a:pt x="239" y="469"/>
                        </a:lnTo>
                        <a:lnTo>
                          <a:pt x="236" y="469"/>
                        </a:lnTo>
                        <a:lnTo>
                          <a:pt x="236" y="467"/>
                        </a:lnTo>
                        <a:lnTo>
                          <a:pt x="236" y="466"/>
                        </a:lnTo>
                        <a:lnTo>
                          <a:pt x="236" y="465"/>
                        </a:lnTo>
                        <a:lnTo>
                          <a:pt x="236" y="463"/>
                        </a:lnTo>
                        <a:lnTo>
                          <a:pt x="234" y="462"/>
                        </a:lnTo>
                        <a:lnTo>
                          <a:pt x="233" y="460"/>
                        </a:lnTo>
                        <a:lnTo>
                          <a:pt x="231" y="459"/>
                        </a:lnTo>
                        <a:lnTo>
                          <a:pt x="229" y="457"/>
                        </a:lnTo>
                        <a:lnTo>
                          <a:pt x="228" y="456"/>
                        </a:lnTo>
                        <a:lnTo>
                          <a:pt x="225" y="455"/>
                        </a:lnTo>
                        <a:lnTo>
                          <a:pt x="220" y="450"/>
                        </a:lnTo>
                        <a:lnTo>
                          <a:pt x="215" y="448"/>
                        </a:lnTo>
                        <a:lnTo>
                          <a:pt x="208" y="447"/>
                        </a:lnTo>
                        <a:lnTo>
                          <a:pt x="202" y="445"/>
                        </a:lnTo>
                        <a:lnTo>
                          <a:pt x="194" y="443"/>
                        </a:lnTo>
                        <a:lnTo>
                          <a:pt x="195" y="443"/>
                        </a:lnTo>
                        <a:lnTo>
                          <a:pt x="196" y="443"/>
                        </a:lnTo>
                        <a:lnTo>
                          <a:pt x="197" y="442"/>
                        </a:lnTo>
                        <a:lnTo>
                          <a:pt x="198" y="440"/>
                        </a:lnTo>
                        <a:lnTo>
                          <a:pt x="197" y="438"/>
                        </a:lnTo>
                        <a:lnTo>
                          <a:pt x="195" y="436"/>
                        </a:lnTo>
                        <a:lnTo>
                          <a:pt x="193" y="435"/>
                        </a:lnTo>
                        <a:lnTo>
                          <a:pt x="191" y="434"/>
                        </a:lnTo>
                        <a:lnTo>
                          <a:pt x="187" y="434"/>
                        </a:lnTo>
                        <a:lnTo>
                          <a:pt x="183" y="432"/>
                        </a:lnTo>
                        <a:lnTo>
                          <a:pt x="181" y="430"/>
                        </a:lnTo>
                        <a:lnTo>
                          <a:pt x="181" y="429"/>
                        </a:lnTo>
                        <a:lnTo>
                          <a:pt x="181" y="427"/>
                        </a:lnTo>
                        <a:lnTo>
                          <a:pt x="185" y="427"/>
                        </a:lnTo>
                        <a:lnTo>
                          <a:pt x="187" y="426"/>
                        </a:lnTo>
                        <a:lnTo>
                          <a:pt x="187" y="424"/>
                        </a:lnTo>
                        <a:lnTo>
                          <a:pt x="178" y="424"/>
                        </a:lnTo>
                        <a:lnTo>
                          <a:pt x="178" y="422"/>
                        </a:lnTo>
                        <a:lnTo>
                          <a:pt x="178" y="421"/>
                        </a:lnTo>
                        <a:lnTo>
                          <a:pt x="177" y="421"/>
                        </a:lnTo>
                        <a:lnTo>
                          <a:pt x="175" y="421"/>
                        </a:lnTo>
                        <a:lnTo>
                          <a:pt x="175" y="417"/>
                        </a:lnTo>
                        <a:lnTo>
                          <a:pt x="174" y="418"/>
                        </a:lnTo>
                        <a:lnTo>
                          <a:pt x="173" y="419"/>
                        </a:lnTo>
                        <a:lnTo>
                          <a:pt x="172" y="420"/>
                        </a:lnTo>
                        <a:lnTo>
                          <a:pt x="172" y="421"/>
                        </a:lnTo>
                        <a:lnTo>
                          <a:pt x="169" y="420"/>
                        </a:lnTo>
                        <a:lnTo>
                          <a:pt x="167" y="419"/>
                        </a:lnTo>
                        <a:lnTo>
                          <a:pt x="162" y="414"/>
                        </a:lnTo>
                        <a:lnTo>
                          <a:pt x="152" y="405"/>
                        </a:lnTo>
                        <a:lnTo>
                          <a:pt x="152" y="404"/>
                        </a:lnTo>
                        <a:lnTo>
                          <a:pt x="152" y="403"/>
                        </a:lnTo>
                        <a:lnTo>
                          <a:pt x="152" y="402"/>
                        </a:lnTo>
                        <a:lnTo>
                          <a:pt x="150" y="400"/>
                        </a:lnTo>
                        <a:lnTo>
                          <a:pt x="148" y="399"/>
                        </a:lnTo>
                        <a:lnTo>
                          <a:pt x="146" y="398"/>
                        </a:lnTo>
                        <a:lnTo>
                          <a:pt x="146" y="396"/>
                        </a:lnTo>
                        <a:lnTo>
                          <a:pt x="147" y="395"/>
                        </a:lnTo>
                        <a:lnTo>
                          <a:pt x="149" y="395"/>
                        </a:lnTo>
                        <a:lnTo>
                          <a:pt x="150" y="394"/>
                        </a:lnTo>
                        <a:lnTo>
                          <a:pt x="151" y="394"/>
                        </a:lnTo>
                        <a:lnTo>
                          <a:pt x="152" y="393"/>
                        </a:lnTo>
                        <a:lnTo>
                          <a:pt x="152" y="395"/>
                        </a:lnTo>
                        <a:lnTo>
                          <a:pt x="156" y="395"/>
                        </a:lnTo>
                        <a:lnTo>
                          <a:pt x="158" y="397"/>
                        </a:lnTo>
                        <a:lnTo>
                          <a:pt x="160" y="399"/>
                        </a:lnTo>
                        <a:lnTo>
                          <a:pt x="162" y="402"/>
                        </a:lnTo>
                        <a:lnTo>
                          <a:pt x="163" y="402"/>
                        </a:lnTo>
                        <a:lnTo>
                          <a:pt x="164" y="403"/>
                        </a:lnTo>
                        <a:lnTo>
                          <a:pt x="165" y="405"/>
                        </a:lnTo>
                        <a:lnTo>
                          <a:pt x="167" y="406"/>
                        </a:lnTo>
                        <a:lnTo>
                          <a:pt x="170" y="407"/>
                        </a:lnTo>
                        <a:lnTo>
                          <a:pt x="175" y="412"/>
                        </a:lnTo>
                        <a:lnTo>
                          <a:pt x="178" y="413"/>
                        </a:lnTo>
                        <a:lnTo>
                          <a:pt x="180" y="414"/>
                        </a:lnTo>
                        <a:lnTo>
                          <a:pt x="183" y="414"/>
                        </a:lnTo>
                        <a:lnTo>
                          <a:pt x="187" y="414"/>
                        </a:lnTo>
                        <a:lnTo>
                          <a:pt x="187" y="405"/>
                        </a:lnTo>
                        <a:lnTo>
                          <a:pt x="188" y="405"/>
                        </a:lnTo>
                        <a:lnTo>
                          <a:pt x="189" y="405"/>
                        </a:lnTo>
                        <a:lnTo>
                          <a:pt x="190" y="406"/>
                        </a:lnTo>
                        <a:lnTo>
                          <a:pt x="191" y="408"/>
                        </a:lnTo>
                        <a:lnTo>
                          <a:pt x="191" y="409"/>
                        </a:lnTo>
                        <a:lnTo>
                          <a:pt x="191" y="410"/>
                        </a:lnTo>
                        <a:lnTo>
                          <a:pt x="191" y="411"/>
                        </a:lnTo>
                        <a:lnTo>
                          <a:pt x="191" y="412"/>
                        </a:lnTo>
                        <a:lnTo>
                          <a:pt x="193" y="412"/>
                        </a:lnTo>
                        <a:lnTo>
                          <a:pt x="194" y="413"/>
                        </a:lnTo>
                        <a:lnTo>
                          <a:pt x="194" y="414"/>
                        </a:lnTo>
                        <a:lnTo>
                          <a:pt x="195" y="413"/>
                        </a:lnTo>
                        <a:lnTo>
                          <a:pt x="196" y="413"/>
                        </a:lnTo>
                        <a:lnTo>
                          <a:pt x="197" y="414"/>
                        </a:lnTo>
                        <a:lnTo>
                          <a:pt x="198" y="414"/>
                        </a:lnTo>
                        <a:lnTo>
                          <a:pt x="204" y="408"/>
                        </a:lnTo>
                        <a:lnTo>
                          <a:pt x="204" y="409"/>
                        </a:lnTo>
                        <a:lnTo>
                          <a:pt x="204" y="410"/>
                        </a:lnTo>
                        <a:lnTo>
                          <a:pt x="204" y="411"/>
                        </a:lnTo>
                        <a:lnTo>
                          <a:pt x="204" y="412"/>
                        </a:lnTo>
                        <a:lnTo>
                          <a:pt x="205" y="412"/>
                        </a:lnTo>
                        <a:lnTo>
                          <a:pt x="206" y="412"/>
                        </a:lnTo>
                        <a:lnTo>
                          <a:pt x="207" y="412"/>
                        </a:lnTo>
                        <a:lnTo>
                          <a:pt x="208" y="414"/>
                        </a:lnTo>
                        <a:lnTo>
                          <a:pt x="209" y="417"/>
                        </a:lnTo>
                        <a:lnTo>
                          <a:pt x="210" y="420"/>
                        </a:lnTo>
                        <a:lnTo>
                          <a:pt x="213" y="421"/>
                        </a:lnTo>
                        <a:lnTo>
                          <a:pt x="216" y="421"/>
                        </a:lnTo>
                        <a:lnTo>
                          <a:pt x="218" y="421"/>
                        </a:lnTo>
                        <a:lnTo>
                          <a:pt x="221" y="419"/>
                        </a:lnTo>
                        <a:lnTo>
                          <a:pt x="224" y="416"/>
                        </a:lnTo>
                        <a:lnTo>
                          <a:pt x="227" y="414"/>
                        </a:lnTo>
                        <a:lnTo>
                          <a:pt x="229" y="414"/>
                        </a:lnTo>
                        <a:lnTo>
                          <a:pt x="229" y="415"/>
                        </a:lnTo>
                        <a:lnTo>
                          <a:pt x="229" y="416"/>
                        </a:lnTo>
                        <a:lnTo>
                          <a:pt x="229" y="417"/>
                        </a:lnTo>
                        <a:lnTo>
                          <a:pt x="230" y="418"/>
                        </a:lnTo>
                        <a:lnTo>
                          <a:pt x="231" y="420"/>
                        </a:lnTo>
                        <a:lnTo>
                          <a:pt x="232" y="422"/>
                        </a:lnTo>
                        <a:lnTo>
                          <a:pt x="233" y="424"/>
                        </a:lnTo>
                        <a:lnTo>
                          <a:pt x="235" y="422"/>
                        </a:lnTo>
                        <a:lnTo>
                          <a:pt x="238" y="421"/>
                        </a:lnTo>
                        <a:lnTo>
                          <a:pt x="243" y="421"/>
                        </a:lnTo>
                        <a:lnTo>
                          <a:pt x="243" y="420"/>
                        </a:lnTo>
                        <a:lnTo>
                          <a:pt x="243" y="419"/>
                        </a:lnTo>
                        <a:lnTo>
                          <a:pt x="243" y="418"/>
                        </a:lnTo>
                        <a:lnTo>
                          <a:pt x="243" y="417"/>
                        </a:lnTo>
                        <a:lnTo>
                          <a:pt x="244" y="417"/>
                        </a:lnTo>
                        <a:lnTo>
                          <a:pt x="246" y="417"/>
                        </a:lnTo>
                        <a:lnTo>
                          <a:pt x="246" y="418"/>
                        </a:lnTo>
                        <a:lnTo>
                          <a:pt x="246" y="419"/>
                        </a:lnTo>
                        <a:lnTo>
                          <a:pt x="246" y="420"/>
                        </a:lnTo>
                        <a:lnTo>
                          <a:pt x="246" y="421"/>
                        </a:lnTo>
                        <a:lnTo>
                          <a:pt x="247" y="421"/>
                        </a:lnTo>
                        <a:lnTo>
                          <a:pt x="248" y="421"/>
                        </a:lnTo>
                        <a:lnTo>
                          <a:pt x="249" y="421"/>
                        </a:lnTo>
                        <a:lnTo>
                          <a:pt x="251" y="420"/>
                        </a:lnTo>
                        <a:lnTo>
                          <a:pt x="253" y="419"/>
                        </a:lnTo>
                        <a:lnTo>
                          <a:pt x="253" y="418"/>
                        </a:lnTo>
                        <a:lnTo>
                          <a:pt x="255" y="417"/>
                        </a:lnTo>
                        <a:lnTo>
                          <a:pt x="255" y="418"/>
                        </a:lnTo>
                        <a:lnTo>
                          <a:pt x="256" y="419"/>
                        </a:lnTo>
                        <a:lnTo>
                          <a:pt x="257" y="420"/>
                        </a:lnTo>
                        <a:lnTo>
                          <a:pt x="259" y="421"/>
                        </a:lnTo>
                        <a:lnTo>
                          <a:pt x="259" y="420"/>
                        </a:lnTo>
                        <a:lnTo>
                          <a:pt x="259" y="419"/>
                        </a:lnTo>
                        <a:lnTo>
                          <a:pt x="260" y="418"/>
                        </a:lnTo>
                        <a:lnTo>
                          <a:pt x="262" y="417"/>
                        </a:lnTo>
                        <a:lnTo>
                          <a:pt x="262" y="419"/>
                        </a:lnTo>
                        <a:lnTo>
                          <a:pt x="262" y="421"/>
                        </a:lnTo>
                        <a:lnTo>
                          <a:pt x="262" y="423"/>
                        </a:lnTo>
                        <a:lnTo>
                          <a:pt x="262" y="424"/>
                        </a:lnTo>
                        <a:lnTo>
                          <a:pt x="262" y="423"/>
                        </a:lnTo>
                        <a:lnTo>
                          <a:pt x="263" y="424"/>
                        </a:lnTo>
                        <a:lnTo>
                          <a:pt x="265" y="424"/>
                        </a:lnTo>
                        <a:lnTo>
                          <a:pt x="265" y="421"/>
                        </a:lnTo>
                        <a:lnTo>
                          <a:pt x="266" y="421"/>
                        </a:lnTo>
                        <a:lnTo>
                          <a:pt x="267" y="421"/>
                        </a:lnTo>
                        <a:lnTo>
                          <a:pt x="272" y="421"/>
                        </a:lnTo>
                        <a:lnTo>
                          <a:pt x="274" y="421"/>
                        </a:lnTo>
                        <a:lnTo>
                          <a:pt x="275" y="421"/>
                        </a:lnTo>
                        <a:lnTo>
                          <a:pt x="277" y="421"/>
                        </a:lnTo>
                        <a:lnTo>
                          <a:pt x="278" y="421"/>
                        </a:lnTo>
                        <a:lnTo>
                          <a:pt x="278" y="420"/>
                        </a:lnTo>
                        <a:lnTo>
                          <a:pt x="280" y="419"/>
                        </a:lnTo>
                        <a:lnTo>
                          <a:pt x="282" y="418"/>
                        </a:lnTo>
                        <a:lnTo>
                          <a:pt x="285" y="417"/>
                        </a:lnTo>
                        <a:lnTo>
                          <a:pt x="286" y="416"/>
                        </a:lnTo>
                        <a:lnTo>
                          <a:pt x="288" y="416"/>
                        </a:lnTo>
                        <a:lnTo>
                          <a:pt x="292" y="417"/>
                        </a:lnTo>
                        <a:lnTo>
                          <a:pt x="295" y="417"/>
                        </a:lnTo>
                        <a:lnTo>
                          <a:pt x="302" y="419"/>
                        </a:lnTo>
                        <a:lnTo>
                          <a:pt x="313" y="422"/>
                        </a:lnTo>
                        <a:lnTo>
                          <a:pt x="323" y="423"/>
                        </a:lnTo>
                        <a:lnTo>
                          <a:pt x="328" y="423"/>
                        </a:lnTo>
                        <a:lnTo>
                          <a:pt x="333" y="421"/>
                        </a:lnTo>
                        <a:lnTo>
                          <a:pt x="334" y="421"/>
                        </a:lnTo>
                        <a:lnTo>
                          <a:pt x="335" y="421"/>
                        </a:lnTo>
                        <a:lnTo>
                          <a:pt x="336" y="421"/>
                        </a:lnTo>
                        <a:lnTo>
                          <a:pt x="337" y="421"/>
                        </a:lnTo>
                        <a:lnTo>
                          <a:pt x="338" y="420"/>
                        </a:lnTo>
                        <a:lnTo>
                          <a:pt x="339" y="419"/>
                        </a:lnTo>
                        <a:lnTo>
                          <a:pt x="340" y="417"/>
                        </a:lnTo>
                        <a:lnTo>
                          <a:pt x="342" y="417"/>
                        </a:lnTo>
                        <a:lnTo>
                          <a:pt x="343" y="415"/>
                        </a:lnTo>
                        <a:lnTo>
                          <a:pt x="345" y="413"/>
                        </a:lnTo>
                        <a:lnTo>
                          <a:pt x="347" y="412"/>
                        </a:lnTo>
                        <a:lnTo>
                          <a:pt x="349" y="410"/>
                        </a:lnTo>
                        <a:lnTo>
                          <a:pt x="353" y="410"/>
                        </a:lnTo>
                        <a:lnTo>
                          <a:pt x="357" y="410"/>
                        </a:lnTo>
                        <a:lnTo>
                          <a:pt x="362" y="408"/>
                        </a:lnTo>
                        <a:lnTo>
                          <a:pt x="363" y="408"/>
                        </a:lnTo>
                        <a:lnTo>
                          <a:pt x="364" y="407"/>
                        </a:lnTo>
                        <a:lnTo>
                          <a:pt x="365" y="405"/>
                        </a:lnTo>
                        <a:lnTo>
                          <a:pt x="366" y="405"/>
                        </a:lnTo>
                        <a:lnTo>
                          <a:pt x="371" y="400"/>
                        </a:lnTo>
                        <a:lnTo>
                          <a:pt x="374" y="397"/>
                        </a:lnTo>
                        <a:lnTo>
                          <a:pt x="378" y="393"/>
                        </a:lnTo>
                        <a:lnTo>
                          <a:pt x="382" y="389"/>
                        </a:lnTo>
                        <a:lnTo>
                          <a:pt x="384" y="386"/>
                        </a:lnTo>
                        <a:lnTo>
                          <a:pt x="385" y="382"/>
                        </a:lnTo>
                        <a:lnTo>
                          <a:pt x="386" y="379"/>
                        </a:lnTo>
                        <a:lnTo>
                          <a:pt x="388" y="376"/>
                        </a:lnTo>
                        <a:lnTo>
                          <a:pt x="389" y="375"/>
                        </a:lnTo>
                        <a:lnTo>
                          <a:pt x="390" y="374"/>
                        </a:lnTo>
                        <a:lnTo>
                          <a:pt x="391" y="373"/>
                        </a:lnTo>
                        <a:lnTo>
                          <a:pt x="392" y="372"/>
                        </a:lnTo>
                        <a:lnTo>
                          <a:pt x="394" y="368"/>
                        </a:lnTo>
                        <a:lnTo>
                          <a:pt x="395" y="365"/>
                        </a:lnTo>
                        <a:lnTo>
                          <a:pt x="395" y="361"/>
                        </a:lnTo>
                        <a:lnTo>
                          <a:pt x="395" y="356"/>
                        </a:lnTo>
                        <a:lnTo>
                          <a:pt x="397" y="353"/>
                        </a:lnTo>
                        <a:lnTo>
                          <a:pt x="398" y="349"/>
                        </a:lnTo>
                        <a:lnTo>
                          <a:pt x="399" y="343"/>
                        </a:lnTo>
                        <a:lnTo>
                          <a:pt x="397" y="337"/>
                        </a:lnTo>
                        <a:lnTo>
                          <a:pt x="397" y="336"/>
                        </a:lnTo>
                        <a:lnTo>
                          <a:pt x="396" y="334"/>
                        </a:lnTo>
                        <a:lnTo>
                          <a:pt x="395" y="334"/>
                        </a:lnTo>
                        <a:lnTo>
                          <a:pt x="396" y="331"/>
                        </a:lnTo>
                        <a:lnTo>
                          <a:pt x="397" y="329"/>
                        </a:lnTo>
                        <a:lnTo>
                          <a:pt x="397" y="328"/>
                        </a:lnTo>
                        <a:lnTo>
                          <a:pt x="397" y="327"/>
                        </a:lnTo>
                        <a:lnTo>
                          <a:pt x="397" y="324"/>
                        </a:lnTo>
                        <a:lnTo>
                          <a:pt x="396" y="319"/>
                        </a:lnTo>
                        <a:lnTo>
                          <a:pt x="394" y="316"/>
                        </a:lnTo>
                        <a:lnTo>
                          <a:pt x="392" y="315"/>
                        </a:lnTo>
                        <a:lnTo>
                          <a:pt x="391" y="313"/>
                        </a:lnTo>
                        <a:lnTo>
                          <a:pt x="388" y="312"/>
                        </a:lnTo>
                        <a:lnTo>
                          <a:pt x="386" y="311"/>
                        </a:lnTo>
                        <a:lnTo>
                          <a:pt x="385" y="311"/>
                        </a:lnTo>
                        <a:lnTo>
                          <a:pt x="383" y="309"/>
                        </a:lnTo>
                        <a:lnTo>
                          <a:pt x="383" y="307"/>
                        </a:lnTo>
                        <a:lnTo>
                          <a:pt x="383" y="305"/>
                        </a:lnTo>
                        <a:lnTo>
                          <a:pt x="382" y="304"/>
                        </a:lnTo>
                        <a:lnTo>
                          <a:pt x="381" y="303"/>
                        </a:lnTo>
                        <a:lnTo>
                          <a:pt x="380" y="302"/>
                        </a:lnTo>
                        <a:lnTo>
                          <a:pt x="379" y="301"/>
                        </a:lnTo>
                        <a:lnTo>
                          <a:pt x="378" y="301"/>
                        </a:lnTo>
                        <a:lnTo>
                          <a:pt x="377" y="299"/>
                        </a:lnTo>
                        <a:lnTo>
                          <a:pt x="377" y="296"/>
                        </a:lnTo>
                        <a:lnTo>
                          <a:pt x="378" y="295"/>
                        </a:lnTo>
                        <a:lnTo>
                          <a:pt x="378" y="294"/>
                        </a:lnTo>
                        <a:lnTo>
                          <a:pt x="377" y="293"/>
                        </a:lnTo>
                        <a:lnTo>
                          <a:pt x="375" y="292"/>
                        </a:lnTo>
                        <a:lnTo>
                          <a:pt x="373" y="289"/>
                        </a:lnTo>
                        <a:lnTo>
                          <a:pt x="373" y="287"/>
                        </a:lnTo>
                        <a:lnTo>
                          <a:pt x="372" y="282"/>
                        </a:lnTo>
                        <a:lnTo>
                          <a:pt x="367" y="282"/>
                        </a:lnTo>
                        <a:lnTo>
                          <a:pt x="363" y="282"/>
                        </a:lnTo>
                        <a:lnTo>
                          <a:pt x="359" y="282"/>
                        </a:lnTo>
                        <a:lnTo>
                          <a:pt x="359" y="285"/>
                        </a:lnTo>
                        <a:lnTo>
                          <a:pt x="357" y="285"/>
                        </a:lnTo>
                        <a:lnTo>
                          <a:pt x="356" y="285"/>
                        </a:lnTo>
                        <a:lnTo>
                          <a:pt x="354" y="283"/>
                        </a:lnTo>
                        <a:lnTo>
                          <a:pt x="353" y="282"/>
                        </a:lnTo>
                        <a:lnTo>
                          <a:pt x="352" y="282"/>
                        </a:lnTo>
                        <a:lnTo>
                          <a:pt x="351" y="281"/>
                        </a:lnTo>
                        <a:lnTo>
                          <a:pt x="351" y="280"/>
                        </a:lnTo>
                        <a:lnTo>
                          <a:pt x="352" y="279"/>
                        </a:lnTo>
                        <a:lnTo>
                          <a:pt x="352" y="278"/>
                        </a:lnTo>
                        <a:lnTo>
                          <a:pt x="350" y="276"/>
                        </a:lnTo>
                        <a:lnTo>
                          <a:pt x="348" y="275"/>
                        </a:lnTo>
                        <a:lnTo>
                          <a:pt x="346" y="274"/>
                        </a:lnTo>
                        <a:lnTo>
                          <a:pt x="343" y="272"/>
                        </a:lnTo>
                        <a:lnTo>
                          <a:pt x="342" y="272"/>
                        </a:lnTo>
                        <a:lnTo>
                          <a:pt x="342" y="271"/>
                        </a:lnTo>
                        <a:lnTo>
                          <a:pt x="341" y="270"/>
                        </a:lnTo>
                        <a:lnTo>
                          <a:pt x="340" y="269"/>
                        </a:lnTo>
                        <a:lnTo>
                          <a:pt x="339" y="269"/>
                        </a:lnTo>
                        <a:lnTo>
                          <a:pt x="336" y="267"/>
                        </a:lnTo>
                        <a:lnTo>
                          <a:pt x="334" y="265"/>
                        </a:lnTo>
                        <a:lnTo>
                          <a:pt x="333" y="263"/>
                        </a:lnTo>
                        <a:lnTo>
                          <a:pt x="331" y="265"/>
                        </a:lnTo>
                        <a:lnTo>
                          <a:pt x="330" y="266"/>
                        </a:lnTo>
                        <a:lnTo>
                          <a:pt x="330" y="268"/>
                        </a:lnTo>
                        <a:lnTo>
                          <a:pt x="330" y="269"/>
                        </a:lnTo>
                        <a:lnTo>
                          <a:pt x="326" y="269"/>
                        </a:lnTo>
                        <a:lnTo>
                          <a:pt x="324" y="270"/>
                        </a:lnTo>
                        <a:lnTo>
                          <a:pt x="323" y="270"/>
                        </a:lnTo>
                        <a:lnTo>
                          <a:pt x="321" y="269"/>
                        </a:lnTo>
                        <a:lnTo>
                          <a:pt x="319" y="269"/>
                        </a:lnTo>
                        <a:lnTo>
                          <a:pt x="317" y="268"/>
                        </a:lnTo>
                        <a:lnTo>
                          <a:pt x="316" y="266"/>
                        </a:lnTo>
                        <a:lnTo>
                          <a:pt x="314" y="266"/>
                        </a:lnTo>
                        <a:lnTo>
                          <a:pt x="311" y="264"/>
                        </a:lnTo>
                        <a:lnTo>
                          <a:pt x="307" y="263"/>
                        </a:lnTo>
                        <a:lnTo>
                          <a:pt x="303" y="261"/>
                        </a:lnTo>
                        <a:lnTo>
                          <a:pt x="301" y="259"/>
                        </a:lnTo>
                        <a:lnTo>
                          <a:pt x="301" y="257"/>
                        </a:lnTo>
                        <a:lnTo>
                          <a:pt x="299" y="255"/>
                        </a:lnTo>
                        <a:lnTo>
                          <a:pt x="297" y="253"/>
                        </a:lnTo>
                        <a:lnTo>
                          <a:pt x="295" y="253"/>
                        </a:lnTo>
                        <a:lnTo>
                          <a:pt x="292" y="253"/>
                        </a:lnTo>
                        <a:lnTo>
                          <a:pt x="290" y="254"/>
                        </a:lnTo>
                        <a:lnTo>
                          <a:pt x="287" y="254"/>
                        </a:lnTo>
                        <a:lnTo>
                          <a:pt x="285" y="253"/>
                        </a:lnTo>
                        <a:lnTo>
                          <a:pt x="282" y="252"/>
                        </a:lnTo>
                        <a:lnTo>
                          <a:pt x="280" y="250"/>
                        </a:lnTo>
                        <a:lnTo>
                          <a:pt x="278" y="248"/>
                        </a:lnTo>
                        <a:lnTo>
                          <a:pt x="278" y="246"/>
                        </a:lnTo>
                        <a:lnTo>
                          <a:pt x="277" y="246"/>
                        </a:lnTo>
                        <a:lnTo>
                          <a:pt x="275" y="246"/>
                        </a:lnTo>
                        <a:lnTo>
                          <a:pt x="274" y="246"/>
                        </a:lnTo>
                        <a:lnTo>
                          <a:pt x="272" y="246"/>
                        </a:lnTo>
                        <a:lnTo>
                          <a:pt x="272" y="245"/>
                        </a:lnTo>
                        <a:lnTo>
                          <a:pt x="271" y="244"/>
                        </a:lnTo>
                        <a:lnTo>
                          <a:pt x="269" y="243"/>
                        </a:lnTo>
                        <a:lnTo>
                          <a:pt x="264" y="241"/>
                        </a:lnTo>
                        <a:lnTo>
                          <a:pt x="258" y="240"/>
                        </a:lnTo>
                        <a:lnTo>
                          <a:pt x="253" y="239"/>
                        </a:lnTo>
                        <a:lnTo>
                          <a:pt x="246" y="237"/>
                        </a:lnTo>
                        <a:lnTo>
                          <a:pt x="245" y="236"/>
                        </a:lnTo>
                        <a:lnTo>
                          <a:pt x="241" y="235"/>
                        </a:lnTo>
                        <a:lnTo>
                          <a:pt x="238" y="234"/>
                        </a:lnTo>
                        <a:lnTo>
                          <a:pt x="236" y="233"/>
                        </a:lnTo>
                        <a:lnTo>
                          <a:pt x="234" y="231"/>
                        </a:lnTo>
                        <a:lnTo>
                          <a:pt x="233" y="230"/>
                        </a:lnTo>
                        <a:lnTo>
                          <a:pt x="229" y="226"/>
                        </a:lnTo>
                        <a:lnTo>
                          <a:pt x="223" y="224"/>
                        </a:lnTo>
                        <a:lnTo>
                          <a:pt x="217" y="222"/>
                        </a:lnTo>
                        <a:lnTo>
                          <a:pt x="210" y="221"/>
                        </a:lnTo>
                        <a:lnTo>
                          <a:pt x="208" y="220"/>
                        </a:lnTo>
                        <a:lnTo>
                          <a:pt x="205" y="219"/>
                        </a:lnTo>
                        <a:lnTo>
                          <a:pt x="204" y="218"/>
                        </a:lnTo>
                        <a:lnTo>
                          <a:pt x="201" y="217"/>
                        </a:lnTo>
                        <a:lnTo>
                          <a:pt x="195" y="216"/>
                        </a:lnTo>
                        <a:lnTo>
                          <a:pt x="190" y="215"/>
                        </a:lnTo>
                        <a:lnTo>
                          <a:pt x="184" y="214"/>
                        </a:lnTo>
                        <a:lnTo>
                          <a:pt x="181" y="214"/>
                        </a:lnTo>
                        <a:lnTo>
                          <a:pt x="180" y="217"/>
                        </a:lnTo>
                        <a:lnTo>
                          <a:pt x="179" y="219"/>
                        </a:lnTo>
                        <a:lnTo>
                          <a:pt x="178" y="220"/>
                        </a:lnTo>
                        <a:lnTo>
                          <a:pt x="178" y="221"/>
                        </a:lnTo>
                        <a:lnTo>
                          <a:pt x="176" y="220"/>
                        </a:lnTo>
                        <a:lnTo>
                          <a:pt x="175" y="219"/>
                        </a:lnTo>
                        <a:lnTo>
                          <a:pt x="174" y="218"/>
                        </a:lnTo>
                        <a:lnTo>
                          <a:pt x="172" y="217"/>
                        </a:lnTo>
                        <a:lnTo>
                          <a:pt x="169" y="218"/>
                        </a:lnTo>
                        <a:lnTo>
                          <a:pt x="167" y="220"/>
                        </a:lnTo>
                        <a:lnTo>
                          <a:pt x="166" y="221"/>
                        </a:lnTo>
                        <a:lnTo>
                          <a:pt x="165" y="223"/>
                        </a:lnTo>
                        <a:lnTo>
                          <a:pt x="163" y="223"/>
                        </a:lnTo>
                        <a:lnTo>
                          <a:pt x="162" y="222"/>
                        </a:lnTo>
                        <a:lnTo>
                          <a:pt x="160" y="222"/>
                        </a:lnTo>
                        <a:lnTo>
                          <a:pt x="158" y="223"/>
                        </a:lnTo>
                        <a:lnTo>
                          <a:pt x="158" y="221"/>
                        </a:lnTo>
                        <a:lnTo>
                          <a:pt x="157" y="219"/>
                        </a:lnTo>
                        <a:lnTo>
                          <a:pt x="152" y="214"/>
                        </a:lnTo>
                        <a:lnTo>
                          <a:pt x="151" y="214"/>
                        </a:lnTo>
                        <a:lnTo>
                          <a:pt x="150" y="214"/>
                        </a:lnTo>
                        <a:lnTo>
                          <a:pt x="149" y="214"/>
                        </a:lnTo>
                        <a:lnTo>
                          <a:pt x="149" y="216"/>
                        </a:lnTo>
                        <a:lnTo>
                          <a:pt x="147" y="216"/>
                        </a:lnTo>
                        <a:lnTo>
                          <a:pt x="146" y="216"/>
                        </a:lnTo>
                        <a:lnTo>
                          <a:pt x="146" y="217"/>
                        </a:lnTo>
                        <a:lnTo>
                          <a:pt x="146" y="218"/>
                        </a:lnTo>
                        <a:lnTo>
                          <a:pt x="146" y="219"/>
                        </a:lnTo>
                        <a:lnTo>
                          <a:pt x="146" y="220"/>
                        </a:lnTo>
                        <a:lnTo>
                          <a:pt x="146" y="221"/>
                        </a:lnTo>
                        <a:lnTo>
                          <a:pt x="144" y="221"/>
                        </a:lnTo>
                        <a:lnTo>
                          <a:pt x="142" y="221"/>
                        </a:lnTo>
                        <a:lnTo>
                          <a:pt x="141" y="221"/>
                        </a:lnTo>
                        <a:lnTo>
                          <a:pt x="139" y="223"/>
                        </a:lnTo>
                        <a:lnTo>
                          <a:pt x="139" y="224"/>
                        </a:lnTo>
                        <a:lnTo>
                          <a:pt x="139" y="227"/>
                        </a:lnTo>
                        <a:lnTo>
                          <a:pt x="139" y="229"/>
                        </a:lnTo>
                        <a:lnTo>
                          <a:pt x="139" y="230"/>
                        </a:lnTo>
                        <a:lnTo>
                          <a:pt x="138" y="230"/>
                        </a:lnTo>
                        <a:lnTo>
                          <a:pt x="137" y="230"/>
                        </a:lnTo>
                        <a:lnTo>
                          <a:pt x="136" y="230"/>
                        </a:lnTo>
                        <a:lnTo>
                          <a:pt x="137" y="227"/>
                        </a:lnTo>
                        <a:lnTo>
                          <a:pt x="137" y="225"/>
                        </a:lnTo>
                        <a:lnTo>
                          <a:pt x="136" y="222"/>
                        </a:lnTo>
                        <a:lnTo>
                          <a:pt x="136" y="221"/>
                        </a:lnTo>
                        <a:lnTo>
                          <a:pt x="136" y="220"/>
                        </a:lnTo>
                        <a:lnTo>
                          <a:pt x="136" y="219"/>
                        </a:lnTo>
                        <a:lnTo>
                          <a:pt x="136" y="218"/>
                        </a:lnTo>
                        <a:lnTo>
                          <a:pt x="136" y="217"/>
                        </a:lnTo>
                        <a:lnTo>
                          <a:pt x="135" y="217"/>
                        </a:lnTo>
                        <a:lnTo>
                          <a:pt x="134" y="217"/>
                        </a:lnTo>
                        <a:lnTo>
                          <a:pt x="133" y="216"/>
                        </a:lnTo>
                        <a:lnTo>
                          <a:pt x="133" y="214"/>
                        </a:lnTo>
                        <a:lnTo>
                          <a:pt x="126" y="217"/>
                        </a:lnTo>
                        <a:lnTo>
                          <a:pt x="120" y="218"/>
                        </a:lnTo>
                        <a:lnTo>
                          <a:pt x="113" y="216"/>
                        </a:lnTo>
                        <a:lnTo>
                          <a:pt x="107" y="214"/>
                        </a:lnTo>
                        <a:lnTo>
                          <a:pt x="105" y="214"/>
                        </a:lnTo>
                        <a:lnTo>
                          <a:pt x="102" y="212"/>
                        </a:lnTo>
                        <a:lnTo>
                          <a:pt x="100" y="211"/>
                        </a:lnTo>
                        <a:lnTo>
                          <a:pt x="97" y="211"/>
                        </a:lnTo>
                        <a:lnTo>
                          <a:pt x="96" y="211"/>
                        </a:lnTo>
                        <a:lnTo>
                          <a:pt x="94" y="211"/>
                        </a:lnTo>
                        <a:lnTo>
                          <a:pt x="94" y="210"/>
                        </a:lnTo>
                        <a:lnTo>
                          <a:pt x="96" y="209"/>
                        </a:lnTo>
                        <a:lnTo>
                          <a:pt x="97" y="208"/>
                        </a:lnTo>
                        <a:lnTo>
                          <a:pt x="97" y="207"/>
                        </a:lnTo>
                        <a:lnTo>
                          <a:pt x="98" y="207"/>
                        </a:lnTo>
                        <a:lnTo>
                          <a:pt x="99" y="206"/>
                        </a:lnTo>
                        <a:lnTo>
                          <a:pt x="100" y="206"/>
                        </a:lnTo>
                        <a:lnTo>
                          <a:pt x="101" y="207"/>
                        </a:lnTo>
                        <a:lnTo>
                          <a:pt x="101" y="208"/>
                        </a:lnTo>
                        <a:lnTo>
                          <a:pt x="103" y="209"/>
                        </a:lnTo>
                        <a:lnTo>
                          <a:pt x="105" y="210"/>
                        </a:lnTo>
                        <a:lnTo>
                          <a:pt x="107" y="211"/>
                        </a:lnTo>
                        <a:lnTo>
                          <a:pt x="107" y="207"/>
                        </a:lnTo>
                        <a:lnTo>
                          <a:pt x="116" y="207"/>
                        </a:lnTo>
                        <a:lnTo>
                          <a:pt x="117" y="203"/>
                        </a:lnTo>
                        <a:lnTo>
                          <a:pt x="118" y="201"/>
                        </a:lnTo>
                        <a:lnTo>
                          <a:pt x="120" y="201"/>
                        </a:lnTo>
                        <a:lnTo>
                          <a:pt x="119" y="200"/>
                        </a:lnTo>
                        <a:lnTo>
                          <a:pt x="118" y="199"/>
                        </a:lnTo>
                        <a:lnTo>
                          <a:pt x="117" y="198"/>
                        </a:lnTo>
                        <a:lnTo>
                          <a:pt x="116" y="197"/>
                        </a:lnTo>
                        <a:lnTo>
                          <a:pt x="116" y="196"/>
                        </a:lnTo>
                        <a:lnTo>
                          <a:pt x="114" y="195"/>
                        </a:lnTo>
                        <a:lnTo>
                          <a:pt x="112" y="193"/>
                        </a:lnTo>
                        <a:lnTo>
                          <a:pt x="110" y="191"/>
                        </a:lnTo>
                        <a:lnTo>
                          <a:pt x="109" y="193"/>
                        </a:lnTo>
                        <a:lnTo>
                          <a:pt x="109" y="195"/>
                        </a:lnTo>
                        <a:lnTo>
                          <a:pt x="109" y="196"/>
                        </a:lnTo>
                        <a:lnTo>
                          <a:pt x="107" y="197"/>
                        </a:lnTo>
                        <a:lnTo>
                          <a:pt x="106" y="197"/>
                        </a:lnTo>
                        <a:lnTo>
                          <a:pt x="104" y="197"/>
                        </a:lnTo>
                        <a:lnTo>
                          <a:pt x="103" y="196"/>
                        </a:lnTo>
                        <a:lnTo>
                          <a:pt x="102" y="194"/>
                        </a:lnTo>
                        <a:lnTo>
                          <a:pt x="100" y="192"/>
                        </a:lnTo>
                        <a:lnTo>
                          <a:pt x="97" y="191"/>
                        </a:lnTo>
                        <a:lnTo>
                          <a:pt x="97" y="190"/>
                        </a:lnTo>
                        <a:lnTo>
                          <a:pt x="96" y="190"/>
                        </a:lnTo>
                        <a:lnTo>
                          <a:pt x="94" y="191"/>
                        </a:lnTo>
                        <a:lnTo>
                          <a:pt x="90" y="188"/>
                        </a:lnTo>
                        <a:lnTo>
                          <a:pt x="87" y="188"/>
                        </a:lnTo>
                        <a:lnTo>
                          <a:pt x="86" y="189"/>
                        </a:lnTo>
                        <a:lnTo>
                          <a:pt x="85" y="189"/>
                        </a:lnTo>
                        <a:lnTo>
                          <a:pt x="85" y="190"/>
                        </a:lnTo>
                        <a:lnTo>
                          <a:pt x="86" y="191"/>
                        </a:lnTo>
                        <a:lnTo>
                          <a:pt x="87" y="191"/>
                        </a:lnTo>
                        <a:lnTo>
                          <a:pt x="88" y="192"/>
                        </a:lnTo>
                        <a:lnTo>
                          <a:pt x="89" y="193"/>
                        </a:lnTo>
                        <a:lnTo>
                          <a:pt x="90" y="194"/>
                        </a:lnTo>
                        <a:lnTo>
                          <a:pt x="90" y="195"/>
                        </a:lnTo>
                        <a:lnTo>
                          <a:pt x="90" y="197"/>
                        </a:lnTo>
                        <a:lnTo>
                          <a:pt x="86" y="197"/>
                        </a:lnTo>
                        <a:lnTo>
                          <a:pt x="84" y="197"/>
                        </a:lnTo>
                        <a:lnTo>
                          <a:pt x="82" y="198"/>
                        </a:lnTo>
                        <a:lnTo>
                          <a:pt x="81" y="198"/>
                        </a:lnTo>
                        <a:lnTo>
                          <a:pt x="81" y="201"/>
                        </a:lnTo>
                        <a:lnTo>
                          <a:pt x="81" y="207"/>
                        </a:lnTo>
                        <a:lnTo>
                          <a:pt x="79" y="207"/>
                        </a:lnTo>
                        <a:lnTo>
                          <a:pt x="78" y="206"/>
                        </a:lnTo>
                        <a:lnTo>
                          <a:pt x="78" y="207"/>
                        </a:lnTo>
                        <a:lnTo>
                          <a:pt x="77" y="207"/>
                        </a:lnTo>
                        <a:lnTo>
                          <a:pt x="76" y="207"/>
                        </a:lnTo>
                        <a:lnTo>
                          <a:pt x="75" y="207"/>
                        </a:lnTo>
                        <a:lnTo>
                          <a:pt x="75" y="205"/>
                        </a:lnTo>
                        <a:lnTo>
                          <a:pt x="74" y="204"/>
                        </a:lnTo>
                        <a:lnTo>
                          <a:pt x="73" y="204"/>
                        </a:lnTo>
                        <a:lnTo>
                          <a:pt x="71" y="204"/>
                        </a:lnTo>
                        <a:lnTo>
                          <a:pt x="69" y="204"/>
                        </a:lnTo>
                        <a:lnTo>
                          <a:pt x="66" y="206"/>
                        </a:lnTo>
                        <a:lnTo>
                          <a:pt x="64" y="207"/>
                        </a:lnTo>
                        <a:lnTo>
                          <a:pt x="61" y="207"/>
                        </a:lnTo>
                        <a:lnTo>
                          <a:pt x="61" y="204"/>
                        </a:lnTo>
                        <a:lnTo>
                          <a:pt x="55" y="204"/>
                        </a:lnTo>
                        <a:lnTo>
                          <a:pt x="57" y="212"/>
                        </a:lnTo>
                        <a:lnTo>
                          <a:pt x="60" y="219"/>
                        </a:lnTo>
                        <a:lnTo>
                          <a:pt x="61" y="224"/>
                        </a:lnTo>
                        <a:lnTo>
                          <a:pt x="61" y="227"/>
                        </a:lnTo>
                        <a:lnTo>
                          <a:pt x="59" y="230"/>
                        </a:lnTo>
                        <a:lnTo>
                          <a:pt x="57" y="230"/>
                        </a:lnTo>
                        <a:lnTo>
                          <a:pt x="55" y="230"/>
                        </a:lnTo>
                        <a:lnTo>
                          <a:pt x="54" y="231"/>
                        </a:lnTo>
                        <a:lnTo>
                          <a:pt x="52" y="233"/>
                        </a:lnTo>
                        <a:lnTo>
                          <a:pt x="51" y="233"/>
                        </a:lnTo>
                        <a:lnTo>
                          <a:pt x="50" y="233"/>
                        </a:lnTo>
                        <a:lnTo>
                          <a:pt x="49" y="233"/>
                        </a:lnTo>
                        <a:lnTo>
                          <a:pt x="47" y="233"/>
                        </a:lnTo>
                        <a:lnTo>
                          <a:pt x="45" y="231"/>
                        </a:lnTo>
                        <a:lnTo>
                          <a:pt x="44" y="229"/>
                        </a:lnTo>
                        <a:lnTo>
                          <a:pt x="42" y="227"/>
                        </a:lnTo>
                        <a:lnTo>
                          <a:pt x="37" y="222"/>
                        </a:lnTo>
                        <a:lnTo>
                          <a:pt x="35" y="221"/>
                        </a:lnTo>
                        <a:lnTo>
                          <a:pt x="33" y="221"/>
                        </a:lnTo>
                        <a:lnTo>
                          <a:pt x="31" y="221"/>
                        </a:lnTo>
                        <a:lnTo>
                          <a:pt x="31" y="223"/>
                        </a:lnTo>
                        <a:lnTo>
                          <a:pt x="32" y="226"/>
                        </a:lnTo>
                        <a:lnTo>
                          <a:pt x="33" y="229"/>
                        </a:lnTo>
                        <a:lnTo>
                          <a:pt x="36" y="235"/>
                        </a:lnTo>
                        <a:lnTo>
                          <a:pt x="37" y="237"/>
                        </a:lnTo>
                        <a:lnTo>
                          <a:pt x="36" y="240"/>
                        </a:lnTo>
                        <a:lnTo>
                          <a:pt x="33" y="244"/>
                        </a:lnTo>
                        <a:lnTo>
                          <a:pt x="29" y="246"/>
                        </a:lnTo>
                        <a:lnTo>
                          <a:pt x="26" y="249"/>
                        </a:lnTo>
                        <a:lnTo>
                          <a:pt x="23" y="253"/>
                        </a:lnTo>
                        <a:lnTo>
                          <a:pt x="23" y="255"/>
                        </a:lnTo>
                        <a:lnTo>
                          <a:pt x="23" y="256"/>
                        </a:lnTo>
                        <a:lnTo>
                          <a:pt x="23" y="257"/>
                        </a:lnTo>
                        <a:lnTo>
                          <a:pt x="23" y="259"/>
                        </a:lnTo>
                        <a:lnTo>
                          <a:pt x="22" y="259"/>
                        </a:lnTo>
                        <a:lnTo>
                          <a:pt x="21" y="260"/>
                        </a:lnTo>
                        <a:lnTo>
                          <a:pt x="20" y="261"/>
                        </a:lnTo>
                        <a:lnTo>
                          <a:pt x="19" y="263"/>
                        </a:lnTo>
                        <a:lnTo>
                          <a:pt x="17" y="263"/>
                        </a:lnTo>
                        <a:lnTo>
                          <a:pt x="16" y="264"/>
                        </a:lnTo>
                        <a:lnTo>
                          <a:pt x="16" y="265"/>
                        </a:lnTo>
                        <a:lnTo>
                          <a:pt x="16" y="266"/>
                        </a:lnTo>
                        <a:lnTo>
                          <a:pt x="15" y="269"/>
                        </a:lnTo>
                        <a:lnTo>
                          <a:pt x="16" y="271"/>
                        </a:lnTo>
                        <a:lnTo>
                          <a:pt x="17" y="273"/>
                        </a:lnTo>
                        <a:lnTo>
                          <a:pt x="16" y="275"/>
                        </a:lnTo>
                        <a:lnTo>
                          <a:pt x="16" y="280"/>
                        </a:lnTo>
                        <a:lnTo>
                          <a:pt x="15" y="281"/>
                        </a:lnTo>
                        <a:lnTo>
                          <a:pt x="13" y="282"/>
                        </a:lnTo>
                        <a:lnTo>
                          <a:pt x="13" y="281"/>
                        </a:lnTo>
                        <a:lnTo>
                          <a:pt x="13" y="280"/>
                        </a:lnTo>
                        <a:lnTo>
                          <a:pt x="12" y="279"/>
                        </a:lnTo>
                        <a:lnTo>
                          <a:pt x="10" y="278"/>
                        </a:lnTo>
                        <a:lnTo>
                          <a:pt x="10" y="279"/>
                        </a:lnTo>
                        <a:lnTo>
                          <a:pt x="8" y="279"/>
                        </a:lnTo>
                        <a:lnTo>
                          <a:pt x="6" y="280"/>
                        </a:lnTo>
                        <a:lnTo>
                          <a:pt x="3" y="282"/>
                        </a:lnTo>
                        <a:lnTo>
                          <a:pt x="3" y="284"/>
                        </a:lnTo>
                        <a:lnTo>
                          <a:pt x="2" y="285"/>
                        </a:lnTo>
                        <a:lnTo>
                          <a:pt x="1" y="287"/>
                        </a:lnTo>
                        <a:lnTo>
                          <a:pt x="0" y="289"/>
                        </a:lnTo>
                        <a:lnTo>
                          <a:pt x="1" y="290"/>
                        </a:lnTo>
                        <a:lnTo>
                          <a:pt x="3" y="290"/>
                        </a:lnTo>
                        <a:lnTo>
                          <a:pt x="6" y="289"/>
                        </a:lnTo>
                        <a:lnTo>
                          <a:pt x="7" y="289"/>
                        </a:lnTo>
                        <a:lnTo>
                          <a:pt x="8" y="291"/>
                        </a:lnTo>
                        <a:lnTo>
                          <a:pt x="9" y="293"/>
                        </a:lnTo>
                        <a:lnTo>
                          <a:pt x="8" y="295"/>
                        </a:lnTo>
                        <a:lnTo>
                          <a:pt x="6" y="297"/>
                        </a:lnTo>
                        <a:lnTo>
                          <a:pt x="2" y="301"/>
                        </a:lnTo>
                        <a:lnTo>
                          <a:pt x="1" y="303"/>
                        </a:lnTo>
                        <a:lnTo>
                          <a:pt x="0" y="304"/>
                        </a:lnTo>
                        <a:lnTo>
                          <a:pt x="1" y="310"/>
                        </a:lnTo>
                        <a:lnTo>
                          <a:pt x="2" y="315"/>
                        </a:lnTo>
                        <a:lnTo>
                          <a:pt x="3" y="321"/>
                        </a:lnTo>
                        <a:lnTo>
                          <a:pt x="5" y="326"/>
                        </a:lnTo>
                        <a:lnTo>
                          <a:pt x="7" y="330"/>
                        </a:lnTo>
                        <a:lnTo>
                          <a:pt x="9" y="332"/>
                        </a:lnTo>
                        <a:lnTo>
                          <a:pt x="12" y="334"/>
                        </a:lnTo>
                        <a:lnTo>
                          <a:pt x="18" y="339"/>
                        </a:lnTo>
                        <a:lnTo>
                          <a:pt x="26" y="343"/>
                        </a:lnTo>
                        <a:lnTo>
                          <a:pt x="33" y="346"/>
                        </a:lnTo>
                        <a:lnTo>
                          <a:pt x="34" y="348"/>
                        </a:lnTo>
                        <a:lnTo>
                          <a:pt x="35" y="350"/>
                        </a:lnTo>
                        <a:lnTo>
                          <a:pt x="36" y="354"/>
                        </a:lnTo>
                        <a:lnTo>
                          <a:pt x="39" y="360"/>
                        </a:lnTo>
                        <a:lnTo>
                          <a:pt x="41" y="364"/>
                        </a:lnTo>
                        <a:lnTo>
                          <a:pt x="42" y="365"/>
                        </a:lnTo>
                        <a:lnTo>
                          <a:pt x="43" y="367"/>
                        </a:lnTo>
                        <a:lnTo>
                          <a:pt x="45" y="369"/>
                        </a:lnTo>
                        <a:lnTo>
                          <a:pt x="48" y="373"/>
                        </a:lnTo>
                        <a:lnTo>
                          <a:pt x="50" y="377"/>
                        </a:lnTo>
                        <a:lnTo>
                          <a:pt x="51" y="380"/>
                        </a:lnTo>
                        <a:lnTo>
                          <a:pt x="52" y="382"/>
                        </a:lnTo>
                        <a:lnTo>
                          <a:pt x="51" y="386"/>
                        </a:lnTo>
                        <a:lnTo>
                          <a:pt x="50" y="389"/>
                        </a:lnTo>
                        <a:lnTo>
                          <a:pt x="49" y="389"/>
                        </a:lnTo>
                        <a:lnTo>
                          <a:pt x="49" y="391"/>
                        </a:lnTo>
                        <a:lnTo>
                          <a:pt x="46" y="396"/>
                        </a:lnTo>
                        <a:lnTo>
                          <a:pt x="44" y="400"/>
                        </a:lnTo>
                        <a:lnTo>
                          <a:pt x="41" y="405"/>
                        </a:lnTo>
                        <a:lnTo>
                          <a:pt x="39" y="412"/>
                        </a:lnTo>
                        <a:lnTo>
                          <a:pt x="38" y="413"/>
                        </a:lnTo>
                        <a:lnTo>
                          <a:pt x="37" y="414"/>
                        </a:lnTo>
                        <a:lnTo>
                          <a:pt x="37" y="415"/>
                        </a:lnTo>
                        <a:lnTo>
                          <a:pt x="36" y="417"/>
                        </a:lnTo>
                        <a:lnTo>
                          <a:pt x="37" y="424"/>
                        </a:lnTo>
                        <a:lnTo>
                          <a:pt x="39" y="429"/>
                        </a:lnTo>
                        <a:lnTo>
                          <a:pt x="44" y="433"/>
                        </a:lnTo>
                        <a:lnTo>
                          <a:pt x="49" y="438"/>
                        </a:lnTo>
                        <a:lnTo>
                          <a:pt x="51" y="443"/>
                        </a:lnTo>
                        <a:lnTo>
                          <a:pt x="54" y="448"/>
                        </a:lnTo>
                        <a:lnTo>
                          <a:pt x="56" y="452"/>
                        </a:lnTo>
                        <a:lnTo>
                          <a:pt x="59" y="457"/>
                        </a:lnTo>
                        <a:lnTo>
                          <a:pt x="62" y="463"/>
                        </a:lnTo>
                        <a:lnTo>
                          <a:pt x="64" y="469"/>
                        </a:lnTo>
                        <a:lnTo>
                          <a:pt x="67" y="476"/>
                        </a:lnTo>
                        <a:lnTo>
                          <a:pt x="71" y="483"/>
                        </a:lnTo>
                        <a:lnTo>
                          <a:pt x="77" y="489"/>
                        </a:lnTo>
                        <a:lnTo>
                          <a:pt x="83" y="497"/>
                        </a:lnTo>
                        <a:lnTo>
                          <a:pt x="88" y="505"/>
                        </a:lnTo>
                        <a:lnTo>
                          <a:pt x="94" y="511"/>
                        </a:lnTo>
                        <a:lnTo>
                          <a:pt x="94" y="512"/>
                        </a:lnTo>
                        <a:lnTo>
                          <a:pt x="92" y="513"/>
                        </a:lnTo>
                        <a:lnTo>
                          <a:pt x="89" y="514"/>
                        </a:lnTo>
                        <a:lnTo>
                          <a:pt x="86" y="515"/>
                        </a:lnTo>
                        <a:lnTo>
                          <a:pt x="84" y="516"/>
                        </a:lnTo>
                        <a:lnTo>
                          <a:pt x="81" y="517"/>
                        </a:lnTo>
                        <a:lnTo>
                          <a:pt x="80" y="519"/>
                        </a:lnTo>
                        <a:lnTo>
                          <a:pt x="81" y="521"/>
                        </a:lnTo>
                        <a:lnTo>
                          <a:pt x="82" y="521"/>
                        </a:lnTo>
                        <a:lnTo>
                          <a:pt x="83" y="521"/>
                        </a:lnTo>
                        <a:lnTo>
                          <a:pt x="84" y="521"/>
                        </a:lnTo>
                        <a:lnTo>
                          <a:pt x="85" y="521"/>
                        </a:lnTo>
                        <a:lnTo>
                          <a:pt x="87" y="526"/>
                        </a:lnTo>
                        <a:lnTo>
                          <a:pt x="88" y="531"/>
                        </a:lnTo>
                        <a:lnTo>
                          <a:pt x="89" y="535"/>
                        </a:lnTo>
                        <a:lnTo>
                          <a:pt x="90" y="540"/>
                        </a:lnTo>
                        <a:lnTo>
                          <a:pt x="91" y="543"/>
                        </a:lnTo>
                        <a:lnTo>
                          <a:pt x="92" y="546"/>
                        </a:lnTo>
                        <a:lnTo>
                          <a:pt x="93" y="548"/>
                        </a:lnTo>
                        <a:lnTo>
                          <a:pt x="94" y="551"/>
                        </a:lnTo>
                        <a:lnTo>
                          <a:pt x="93" y="553"/>
                        </a:lnTo>
                        <a:lnTo>
                          <a:pt x="92" y="554"/>
                        </a:lnTo>
                        <a:lnTo>
                          <a:pt x="91" y="555"/>
                        </a:lnTo>
                        <a:lnTo>
                          <a:pt x="90" y="557"/>
                        </a:lnTo>
                        <a:lnTo>
                          <a:pt x="91" y="558"/>
                        </a:lnTo>
                        <a:lnTo>
                          <a:pt x="92" y="559"/>
                        </a:lnTo>
                        <a:lnTo>
                          <a:pt x="96" y="558"/>
                        </a:lnTo>
                        <a:lnTo>
                          <a:pt x="100" y="558"/>
                        </a:lnTo>
                        <a:lnTo>
                          <a:pt x="102" y="558"/>
                        </a:lnTo>
                        <a:lnTo>
                          <a:pt x="104" y="560"/>
                        </a:lnTo>
                        <a:lnTo>
                          <a:pt x="103" y="560"/>
                        </a:lnTo>
                        <a:lnTo>
                          <a:pt x="102" y="560"/>
                        </a:lnTo>
                        <a:lnTo>
                          <a:pt x="101" y="561"/>
                        </a:lnTo>
                        <a:lnTo>
                          <a:pt x="101" y="563"/>
                        </a:lnTo>
                        <a:lnTo>
                          <a:pt x="101" y="564"/>
                        </a:lnTo>
                        <a:lnTo>
                          <a:pt x="102" y="565"/>
                        </a:lnTo>
                        <a:lnTo>
                          <a:pt x="103" y="566"/>
                        </a:lnTo>
                        <a:lnTo>
                          <a:pt x="104" y="566"/>
                        </a:lnTo>
                        <a:lnTo>
                          <a:pt x="103" y="568"/>
                        </a:lnTo>
                        <a:lnTo>
                          <a:pt x="101" y="568"/>
                        </a:lnTo>
                        <a:lnTo>
                          <a:pt x="98" y="568"/>
                        </a:lnTo>
                        <a:lnTo>
                          <a:pt x="97" y="570"/>
                        </a:lnTo>
                        <a:lnTo>
                          <a:pt x="96" y="572"/>
                        </a:lnTo>
                        <a:lnTo>
                          <a:pt x="96" y="575"/>
                        </a:lnTo>
                        <a:lnTo>
                          <a:pt x="98" y="579"/>
                        </a:lnTo>
                        <a:lnTo>
                          <a:pt x="101" y="582"/>
                        </a:lnTo>
                        <a:lnTo>
                          <a:pt x="101" y="583"/>
                        </a:lnTo>
                        <a:lnTo>
                          <a:pt x="103" y="583"/>
                        </a:lnTo>
                        <a:lnTo>
                          <a:pt x="108" y="582"/>
                        </a:lnTo>
                        <a:lnTo>
                          <a:pt x="112" y="581"/>
                        </a:lnTo>
                        <a:lnTo>
                          <a:pt x="115" y="582"/>
                        </a:lnTo>
                        <a:lnTo>
                          <a:pt x="116" y="582"/>
                        </a:lnTo>
                        <a:lnTo>
                          <a:pt x="118" y="583"/>
                        </a:lnTo>
                        <a:lnTo>
                          <a:pt x="119" y="586"/>
                        </a:lnTo>
                        <a:lnTo>
                          <a:pt x="120" y="588"/>
                        </a:lnTo>
                        <a:lnTo>
                          <a:pt x="120" y="589"/>
                        </a:lnTo>
                        <a:lnTo>
                          <a:pt x="118" y="591"/>
                        </a:lnTo>
                        <a:lnTo>
                          <a:pt x="117" y="592"/>
                        </a:lnTo>
                        <a:lnTo>
                          <a:pt x="116" y="594"/>
                        </a:lnTo>
                        <a:lnTo>
                          <a:pt x="116" y="596"/>
                        </a:lnTo>
                        <a:lnTo>
                          <a:pt x="117" y="596"/>
                        </a:lnTo>
                        <a:lnTo>
                          <a:pt x="118" y="598"/>
                        </a:lnTo>
                        <a:lnTo>
                          <a:pt x="119" y="600"/>
                        </a:lnTo>
                        <a:lnTo>
                          <a:pt x="120" y="602"/>
                        </a:lnTo>
                        <a:lnTo>
                          <a:pt x="120" y="603"/>
                        </a:lnTo>
                        <a:lnTo>
                          <a:pt x="122" y="604"/>
                        </a:lnTo>
                        <a:lnTo>
                          <a:pt x="124" y="605"/>
                        </a:lnTo>
                        <a:lnTo>
                          <a:pt x="126" y="606"/>
                        </a:lnTo>
                        <a:lnTo>
                          <a:pt x="127" y="609"/>
                        </a:lnTo>
                        <a:lnTo>
                          <a:pt x="128" y="611"/>
                        </a:lnTo>
                        <a:lnTo>
                          <a:pt x="130" y="612"/>
                        </a:lnTo>
                        <a:lnTo>
                          <a:pt x="133" y="612"/>
                        </a:lnTo>
                        <a:lnTo>
                          <a:pt x="135" y="612"/>
                        </a:lnTo>
                        <a:lnTo>
                          <a:pt x="136" y="612"/>
                        </a:lnTo>
                        <a:lnTo>
                          <a:pt x="135" y="615"/>
                        </a:lnTo>
                        <a:lnTo>
                          <a:pt x="134" y="616"/>
                        </a:lnTo>
                        <a:lnTo>
                          <a:pt x="133" y="617"/>
                        </a:lnTo>
                        <a:lnTo>
                          <a:pt x="133" y="618"/>
                        </a:lnTo>
                        <a:lnTo>
                          <a:pt x="133" y="621"/>
                        </a:lnTo>
                        <a:lnTo>
                          <a:pt x="134" y="623"/>
                        </a:lnTo>
                        <a:lnTo>
                          <a:pt x="139" y="628"/>
                        </a:lnTo>
                        <a:lnTo>
                          <a:pt x="139" y="629"/>
                        </a:lnTo>
                        <a:lnTo>
                          <a:pt x="140" y="629"/>
                        </a:lnTo>
                        <a:lnTo>
                          <a:pt x="140" y="630"/>
                        </a:lnTo>
                        <a:lnTo>
                          <a:pt x="139" y="631"/>
                        </a:lnTo>
                        <a:lnTo>
                          <a:pt x="130" y="641"/>
                        </a:lnTo>
                        <a:lnTo>
                          <a:pt x="129" y="642"/>
                        </a:lnTo>
                        <a:lnTo>
                          <a:pt x="126" y="643"/>
                        </a:lnTo>
                        <a:lnTo>
                          <a:pt x="124" y="643"/>
                        </a:lnTo>
                        <a:lnTo>
                          <a:pt x="123" y="644"/>
                        </a:lnTo>
                        <a:lnTo>
                          <a:pt x="125" y="645"/>
                        </a:lnTo>
                        <a:lnTo>
                          <a:pt x="126" y="646"/>
                        </a:lnTo>
                        <a:lnTo>
                          <a:pt x="128" y="647"/>
                        </a:lnTo>
                        <a:lnTo>
                          <a:pt x="130" y="648"/>
                        </a:lnTo>
                        <a:lnTo>
                          <a:pt x="132" y="650"/>
                        </a:lnTo>
                        <a:lnTo>
                          <a:pt x="133" y="651"/>
                        </a:lnTo>
                        <a:lnTo>
                          <a:pt x="134" y="652"/>
                        </a:lnTo>
                        <a:lnTo>
                          <a:pt x="136" y="654"/>
                        </a:lnTo>
                        <a:lnTo>
                          <a:pt x="138" y="654"/>
                        </a:lnTo>
                        <a:lnTo>
                          <a:pt x="139" y="656"/>
                        </a:lnTo>
                        <a:lnTo>
                          <a:pt x="140" y="658"/>
                        </a:lnTo>
                        <a:lnTo>
                          <a:pt x="142" y="660"/>
                        </a:lnTo>
                        <a:lnTo>
                          <a:pt x="144" y="663"/>
                        </a:lnTo>
                        <a:lnTo>
                          <a:pt x="146" y="665"/>
                        </a:lnTo>
                        <a:lnTo>
                          <a:pt x="147" y="666"/>
                        </a:lnTo>
                        <a:lnTo>
                          <a:pt x="149" y="667"/>
                        </a:lnTo>
                        <a:lnTo>
                          <a:pt x="154" y="670"/>
                        </a:lnTo>
                        <a:lnTo>
                          <a:pt x="157" y="672"/>
                        </a:lnTo>
                        <a:lnTo>
                          <a:pt x="159" y="672"/>
                        </a:lnTo>
                        <a:lnTo>
                          <a:pt x="162" y="674"/>
                        </a:lnTo>
                        <a:lnTo>
                          <a:pt x="164" y="674"/>
                        </a:lnTo>
                        <a:lnTo>
                          <a:pt x="165" y="675"/>
                        </a:lnTo>
                        <a:lnTo>
                          <a:pt x="166" y="677"/>
                        </a:lnTo>
                        <a:lnTo>
                          <a:pt x="168" y="677"/>
                        </a:lnTo>
                        <a:lnTo>
                          <a:pt x="173" y="678"/>
                        </a:lnTo>
                        <a:lnTo>
                          <a:pt x="176" y="679"/>
                        </a:lnTo>
                        <a:lnTo>
                          <a:pt x="179" y="681"/>
                        </a:lnTo>
                        <a:lnTo>
                          <a:pt x="181" y="683"/>
                        </a:lnTo>
                        <a:lnTo>
                          <a:pt x="181" y="685"/>
                        </a:lnTo>
                        <a:lnTo>
                          <a:pt x="182" y="686"/>
                        </a:lnTo>
                        <a:lnTo>
                          <a:pt x="184" y="687"/>
                        </a:lnTo>
                        <a:lnTo>
                          <a:pt x="184" y="689"/>
                        </a:lnTo>
                        <a:lnTo>
                          <a:pt x="187" y="690"/>
                        </a:lnTo>
                        <a:lnTo>
                          <a:pt x="190" y="690"/>
                        </a:lnTo>
                        <a:lnTo>
                          <a:pt x="193" y="691"/>
                        </a:lnTo>
                        <a:lnTo>
                          <a:pt x="194" y="693"/>
                        </a:lnTo>
                        <a:lnTo>
                          <a:pt x="195" y="697"/>
                        </a:lnTo>
                        <a:lnTo>
                          <a:pt x="194" y="701"/>
                        </a:lnTo>
                        <a:lnTo>
                          <a:pt x="192" y="704"/>
                        </a:lnTo>
                        <a:lnTo>
                          <a:pt x="191" y="709"/>
                        </a:lnTo>
                        <a:lnTo>
                          <a:pt x="190" y="713"/>
                        </a:lnTo>
                        <a:lnTo>
                          <a:pt x="188" y="717"/>
                        </a:lnTo>
                        <a:lnTo>
                          <a:pt x="184" y="723"/>
                        </a:lnTo>
                        <a:lnTo>
                          <a:pt x="182" y="726"/>
                        </a:lnTo>
                        <a:lnTo>
                          <a:pt x="181" y="728"/>
                        </a:lnTo>
                        <a:lnTo>
                          <a:pt x="181" y="731"/>
                        </a:lnTo>
                        <a:lnTo>
                          <a:pt x="184" y="735"/>
                        </a:lnTo>
                        <a:lnTo>
                          <a:pt x="183" y="737"/>
                        </a:lnTo>
                        <a:lnTo>
                          <a:pt x="182" y="739"/>
                        </a:lnTo>
                        <a:lnTo>
                          <a:pt x="180" y="747"/>
                        </a:lnTo>
                        <a:lnTo>
                          <a:pt x="178" y="753"/>
                        </a:lnTo>
                        <a:lnTo>
                          <a:pt x="176" y="755"/>
                        </a:lnTo>
                        <a:lnTo>
                          <a:pt x="175" y="757"/>
                        </a:lnTo>
                        <a:lnTo>
                          <a:pt x="173" y="762"/>
                        </a:lnTo>
                        <a:lnTo>
                          <a:pt x="173" y="766"/>
                        </a:lnTo>
                        <a:lnTo>
                          <a:pt x="173" y="770"/>
                        </a:lnTo>
                        <a:lnTo>
                          <a:pt x="172" y="774"/>
                        </a:lnTo>
                        <a:lnTo>
                          <a:pt x="170" y="778"/>
                        </a:lnTo>
                        <a:lnTo>
                          <a:pt x="169" y="782"/>
                        </a:lnTo>
                        <a:lnTo>
                          <a:pt x="168" y="787"/>
                        </a:lnTo>
                        <a:lnTo>
                          <a:pt x="168" y="793"/>
                        </a:lnTo>
                        <a:lnTo>
                          <a:pt x="165" y="797"/>
                        </a:lnTo>
                        <a:lnTo>
                          <a:pt x="160" y="801"/>
                        </a:lnTo>
                        <a:lnTo>
                          <a:pt x="156" y="806"/>
                        </a:lnTo>
                        <a:lnTo>
                          <a:pt x="152" y="809"/>
                        </a:lnTo>
                        <a:lnTo>
                          <a:pt x="149" y="814"/>
                        </a:lnTo>
                        <a:lnTo>
                          <a:pt x="146" y="819"/>
                        </a:lnTo>
                        <a:lnTo>
                          <a:pt x="143" y="822"/>
                        </a:lnTo>
                        <a:lnTo>
                          <a:pt x="142" y="825"/>
                        </a:lnTo>
                        <a:lnTo>
                          <a:pt x="133" y="835"/>
                        </a:lnTo>
                        <a:lnTo>
                          <a:pt x="133" y="839"/>
                        </a:lnTo>
                        <a:lnTo>
                          <a:pt x="131" y="842"/>
                        </a:lnTo>
                        <a:lnTo>
                          <a:pt x="129" y="843"/>
                        </a:lnTo>
                        <a:lnTo>
                          <a:pt x="126" y="845"/>
                        </a:lnTo>
                        <a:lnTo>
                          <a:pt x="124" y="847"/>
                        </a:lnTo>
                        <a:lnTo>
                          <a:pt x="123" y="851"/>
                        </a:lnTo>
                        <a:lnTo>
                          <a:pt x="122" y="853"/>
                        </a:lnTo>
                        <a:lnTo>
                          <a:pt x="120" y="854"/>
                        </a:lnTo>
                        <a:lnTo>
                          <a:pt x="116" y="859"/>
                        </a:lnTo>
                        <a:lnTo>
                          <a:pt x="115" y="862"/>
                        </a:lnTo>
                        <a:lnTo>
                          <a:pt x="114" y="865"/>
                        </a:lnTo>
                        <a:lnTo>
                          <a:pt x="113" y="868"/>
                        </a:lnTo>
                        <a:lnTo>
                          <a:pt x="111" y="872"/>
                        </a:lnTo>
                        <a:lnTo>
                          <a:pt x="110" y="877"/>
                        </a:lnTo>
                        <a:lnTo>
                          <a:pt x="109" y="881"/>
                        </a:lnTo>
                        <a:lnTo>
                          <a:pt x="107" y="884"/>
                        </a:lnTo>
                        <a:lnTo>
                          <a:pt x="105" y="889"/>
                        </a:lnTo>
                        <a:lnTo>
                          <a:pt x="104" y="895"/>
                        </a:lnTo>
                        <a:lnTo>
                          <a:pt x="103" y="901"/>
                        </a:lnTo>
                        <a:lnTo>
                          <a:pt x="101" y="906"/>
                        </a:lnTo>
                        <a:lnTo>
                          <a:pt x="106" y="905"/>
                        </a:lnTo>
                        <a:lnTo>
                          <a:pt x="111" y="903"/>
                        </a:lnTo>
                        <a:lnTo>
                          <a:pt x="116" y="899"/>
                        </a:lnTo>
                        <a:lnTo>
                          <a:pt x="120" y="896"/>
                        </a:lnTo>
                        <a:lnTo>
                          <a:pt x="120" y="895"/>
                        </a:lnTo>
                        <a:lnTo>
                          <a:pt x="120" y="894"/>
                        </a:lnTo>
                        <a:lnTo>
                          <a:pt x="121" y="894"/>
                        </a:lnTo>
                        <a:lnTo>
                          <a:pt x="123" y="894"/>
                        </a:lnTo>
                        <a:lnTo>
                          <a:pt x="123" y="903"/>
                        </a:lnTo>
                        <a:lnTo>
                          <a:pt x="121" y="903"/>
                        </a:lnTo>
                        <a:lnTo>
                          <a:pt x="120" y="903"/>
                        </a:lnTo>
                        <a:lnTo>
                          <a:pt x="120" y="905"/>
                        </a:lnTo>
                        <a:lnTo>
                          <a:pt x="120" y="906"/>
                        </a:lnTo>
                        <a:lnTo>
                          <a:pt x="120" y="908"/>
                        </a:lnTo>
                        <a:lnTo>
                          <a:pt x="120" y="910"/>
                        </a:lnTo>
                        <a:lnTo>
                          <a:pt x="123" y="910"/>
                        </a:lnTo>
                        <a:lnTo>
                          <a:pt x="122" y="912"/>
                        </a:lnTo>
                        <a:lnTo>
                          <a:pt x="122" y="915"/>
                        </a:lnTo>
                        <a:lnTo>
                          <a:pt x="124" y="917"/>
                        </a:lnTo>
                        <a:lnTo>
                          <a:pt x="126" y="919"/>
                        </a:lnTo>
                        <a:lnTo>
                          <a:pt x="136" y="919"/>
                        </a:lnTo>
                        <a:lnTo>
                          <a:pt x="137" y="920"/>
                        </a:lnTo>
                        <a:lnTo>
                          <a:pt x="139" y="922"/>
                        </a:lnTo>
                        <a:lnTo>
                          <a:pt x="141" y="925"/>
                        </a:lnTo>
                        <a:lnTo>
                          <a:pt x="142" y="926"/>
                        </a:lnTo>
                        <a:lnTo>
                          <a:pt x="147" y="925"/>
                        </a:lnTo>
                        <a:lnTo>
                          <a:pt x="150" y="924"/>
                        </a:lnTo>
                        <a:lnTo>
                          <a:pt x="153" y="923"/>
                        </a:lnTo>
                        <a:lnTo>
                          <a:pt x="156" y="922"/>
                        </a:lnTo>
                        <a:lnTo>
                          <a:pt x="161" y="920"/>
                        </a:lnTo>
                        <a:lnTo>
                          <a:pt x="166" y="919"/>
                        </a:lnTo>
                        <a:lnTo>
                          <a:pt x="171" y="921"/>
                        </a:lnTo>
                        <a:lnTo>
                          <a:pt x="175" y="923"/>
                        </a:lnTo>
                        <a:lnTo>
                          <a:pt x="179" y="927"/>
                        </a:lnTo>
                        <a:lnTo>
                          <a:pt x="182" y="932"/>
                        </a:lnTo>
                        <a:lnTo>
                          <a:pt x="187" y="942"/>
                        </a:lnTo>
                        <a:lnTo>
                          <a:pt x="185" y="941"/>
                        </a:lnTo>
                        <a:lnTo>
                          <a:pt x="184" y="941"/>
                        </a:lnTo>
                        <a:lnTo>
                          <a:pt x="183" y="940"/>
                        </a:lnTo>
                        <a:lnTo>
                          <a:pt x="181" y="939"/>
                        </a:lnTo>
                        <a:lnTo>
                          <a:pt x="174" y="938"/>
                        </a:lnTo>
                        <a:lnTo>
                          <a:pt x="167" y="937"/>
                        </a:lnTo>
                        <a:lnTo>
                          <a:pt x="159" y="936"/>
                        </a:lnTo>
                        <a:lnTo>
                          <a:pt x="152" y="936"/>
                        </a:lnTo>
                        <a:lnTo>
                          <a:pt x="151" y="936"/>
                        </a:lnTo>
                        <a:lnTo>
                          <a:pt x="150" y="937"/>
                        </a:lnTo>
                        <a:lnTo>
                          <a:pt x="149" y="938"/>
                        </a:lnTo>
                        <a:lnTo>
                          <a:pt x="149" y="939"/>
                        </a:lnTo>
                        <a:lnTo>
                          <a:pt x="149" y="943"/>
                        </a:lnTo>
                        <a:lnTo>
                          <a:pt x="148" y="946"/>
                        </a:lnTo>
                        <a:lnTo>
                          <a:pt x="146" y="948"/>
                        </a:lnTo>
                        <a:lnTo>
                          <a:pt x="145" y="948"/>
                        </a:lnTo>
                        <a:lnTo>
                          <a:pt x="144" y="949"/>
                        </a:lnTo>
                        <a:lnTo>
                          <a:pt x="143" y="950"/>
                        </a:lnTo>
                        <a:lnTo>
                          <a:pt x="142" y="951"/>
                        </a:lnTo>
                        <a:lnTo>
                          <a:pt x="138" y="954"/>
                        </a:lnTo>
                        <a:lnTo>
                          <a:pt x="134" y="956"/>
                        </a:lnTo>
                        <a:lnTo>
                          <a:pt x="131" y="956"/>
                        </a:lnTo>
                        <a:lnTo>
                          <a:pt x="126" y="955"/>
                        </a:lnTo>
                        <a:lnTo>
                          <a:pt x="124" y="958"/>
                        </a:lnTo>
                        <a:lnTo>
                          <a:pt x="123" y="962"/>
                        </a:lnTo>
                        <a:lnTo>
                          <a:pt x="122" y="965"/>
                        </a:lnTo>
                        <a:lnTo>
                          <a:pt x="120" y="967"/>
                        </a:lnTo>
                        <a:lnTo>
                          <a:pt x="118" y="966"/>
                        </a:lnTo>
                        <a:lnTo>
                          <a:pt x="118" y="965"/>
                        </a:lnTo>
                        <a:lnTo>
                          <a:pt x="116" y="962"/>
                        </a:lnTo>
                        <a:lnTo>
                          <a:pt x="115" y="962"/>
                        </a:lnTo>
                        <a:lnTo>
                          <a:pt x="113" y="963"/>
                        </a:lnTo>
                        <a:lnTo>
                          <a:pt x="111" y="964"/>
                        </a:lnTo>
                        <a:lnTo>
                          <a:pt x="110" y="965"/>
                        </a:lnTo>
                        <a:lnTo>
                          <a:pt x="109" y="968"/>
                        </a:lnTo>
                        <a:lnTo>
                          <a:pt x="109" y="972"/>
                        </a:lnTo>
                        <a:lnTo>
                          <a:pt x="109" y="977"/>
                        </a:lnTo>
                        <a:lnTo>
                          <a:pt x="110" y="981"/>
                        </a:lnTo>
                        <a:lnTo>
                          <a:pt x="110" y="984"/>
                        </a:lnTo>
                        <a:lnTo>
                          <a:pt x="110" y="986"/>
                        </a:lnTo>
                        <a:lnTo>
                          <a:pt x="110" y="987"/>
                        </a:lnTo>
                        <a:lnTo>
                          <a:pt x="110" y="988"/>
                        </a:lnTo>
                        <a:lnTo>
                          <a:pt x="111" y="988"/>
                        </a:lnTo>
                        <a:lnTo>
                          <a:pt x="112" y="989"/>
                        </a:lnTo>
                        <a:lnTo>
                          <a:pt x="113" y="990"/>
                        </a:lnTo>
                        <a:lnTo>
                          <a:pt x="115" y="990"/>
                        </a:lnTo>
                        <a:lnTo>
                          <a:pt x="116" y="992"/>
                        </a:lnTo>
                        <a:lnTo>
                          <a:pt x="116" y="993"/>
                        </a:lnTo>
                        <a:lnTo>
                          <a:pt x="116" y="995"/>
                        </a:lnTo>
                        <a:lnTo>
                          <a:pt x="115" y="997"/>
                        </a:lnTo>
                        <a:lnTo>
                          <a:pt x="113" y="998"/>
                        </a:lnTo>
                        <a:lnTo>
                          <a:pt x="113" y="1000"/>
                        </a:lnTo>
                        <a:lnTo>
                          <a:pt x="111" y="1002"/>
                        </a:lnTo>
                        <a:lnTo>
                          <a:pt x="110" y="1003"/>
                        </a:lnTo>
                        <a:lnTo>
                          <a:pt x="109" y="1005"/>
                        </a:lnTo>
                        <a:lnTo>
                          <a:pt x="107" y="1007"/>
                        </a:lnTo>
                        <a:lnTo>
                          <a:pt x="107" y="1009"/>
                        </a:lnTo>
                        <a:lnTo>
                          <a:pt x="107" y="1010"/>
                        </a:lnTo>
                        <a:lnTo>
                          <a:pt x="107" y="1012"/>
                        </a:lnTo>
                        <a:lnTo>
                          <a:pt x="107" y="1014"/>
                        </a:lnTo>
                        <a:lnTo>
                          <a:pt x="106" y="1015"/>
                        </a:lnTo>
                        <a:lnTo>
                          <a:pt x="106" y="1018"/>
                        </a:lnTo>
                        <a:lnTo>
                          <a:pt x="105" y="1020"/>
                        </a:lnTo>
                        <a:lnTo>
                          <a:pt x="104" y="1023"/>
                        </a:lnTo>
                        <a:lnTo>
                          <a:pt x="107" y="1026"/>
                        </a:lnTo>
                        <a:lnTo>
                          <a:pt x="108" y="1032"/>
                        </a:lnTo>
                        <a:lnTo>
                          <a:pt x="108" y="1039"/>
                        </a:lnTo>
                        <a:lnTo>
                          <a:pt x="107" y="1045"/>
                        </a:lnTo>
                        <a:lnTo>
                          <a:pt x="109" y="1048"/>
                        </a:lnTo>
                        <a:lnTo>
                          <a:pt x="111" y="1052"/>
                        </a:lnTo>
                        <a:lnTo>
                          <a:pt x="113" y="1057"/>
                        </a:lnTo>
                        <a:lnTo>
                          <a:pt x="114" y="1060"/>
                        </a:lnTo>
                        <a:lnTo>
                          <a:pt x="113" y="1062"/>
                        </a:lnTo>
                        <a:lnTo>
                          <a:pt x="112" y="1063"/>
                        </a:lnTo>
                        <a:lnTo>
                          <a:pt x="111" y="1063"/>
                        </a:lnTo>
                        <a:lnTo>
                          <a:pt x="110" y="1064"/>
                        </a:lnTo>
                        <a:lnTo>
                          <a:pt x="110" y="1065"/>
                        </a:lnTo>
                        <a:lnTo>
                          <a:pt x="110" y="1066"/>
                        </a:lnTo>
                        <a:lnTo>
                          <a:pt x="110" y="1067"/>
                        </a:lnTo>
                        <a:lnTo>
                          <a:pt x="110" y="1068"/>
                        </a:lnTo>
                        <a:lnTo>
                          <a:pt x="109" y="1070"/>
                        </a:lnTo>
                        <a:lnTo>
                          <a:pt x="109" y="1072"/>
                        </a:lnTo>
                        <a:lnTo>
                          <a:pt x="108" y="1074"/>
                        </a:lnTo>
                        <a:lnTo>
                          <a:pt x="107" y="1075"/>
                        </a:lnTo>
                        <a:lnTo>
                          <a:pt x="106" y="1077"/>
                        </a:lnTo>
                        <a:lnTo>
                          <a:pt x="106" y="1078"/>
                        </a:lnTo>
                        <a:lnTo>
                          <a:pt x="107" y="1079"/>
                        </a:lnTo>
                        <a:lnTo>
                          <a:pt x="107" y="1081"/>
                        </a:lnTo>
                        <a:lnTo>
                          <a:pt x="108" y="1082"/>
                        </a:lnTo>
                        <a:lnTo>
                          <a:pt x="109" y="1083"/>
                        </a:lnTo>
                        <a:lnTo>
                          <a:pt x="109" y="1084"/>
                        </a:lnTo>
                        <a:lnTo>
                          <a:pt x="110" y="1085"/>
                        </a:lnTo>
                        <a:lnTo>
                          <a:pt x="112" y="1087"/>
                        </a:lnTo>
                        <a:lnTo>
                          <a:pt x="115" y="1087"/>
                        </a:lnTo>
                        <a:lnTo>
                          <a:pt x="120" y="1087"/>
                        </a:lnTo>
                        <a:lnTo>
                          <a:pt x="122" y="1088"/>
                        </a:lnTo>
                        <a:lnTo>
                          <a:pt x="123" y="1089"/>
                        </a:lnTo>
                        <a:lnTo>
                          <a:pt x="123" y="1094"/>
                        </a:lnTo>
                        <a:lnTo>
                          <a:pt x="125" y="1096"/>
                        </a:lnTo>
                        <a:lnTo>
                          <a:pt x="126" y="1099"/>
                        </a:lnTo>
                        <a:lnTo>
                          <a:pt x="126" y="1104"/>
                        </a:lnTo>
                        <a:lnTo>
                          <a:pt x="124" y="1103"/>
                        </a:lnTo>
                        <a:lnTo>
                          <a:pt x="121" y="1102"/>
                        </a:lnTo>
                        <a:lnTo>
                          <a:pt x="116" y="1097"/>
                        </a:lnTo>
                        <a:lnTo>
                          <a:pt x="114" y="1097"/>
                        </a:lnTo>
                        <a:lnTo>
                          <a:pt x="112" y="1096"/>
                        </a:lnTo>
                        <a:lnTo>
                          <a:pt x="110" y="1094"/>
                        </a:lnTo>
                        <a:lnTo>
                          <a:pt x="110" y="1096"/>
                        </a:lnTo>
                        <a:lnTo>
                          <a:pt x="110" y="1097"/>
                        </a:lnTo>
                        <a:lnTo>
                          <a:pt x="112" y="1099"/>
                        </a:lnTo>
                        <a:lnTo>
                          <a:pt x="114" y="1099"/>
                        </a:lnTo>
                        <a:lnTo>
                          <a:pt x="116" y="1099"/>
                        </a:lnTo>
                        <a:lnTo>
                          <a:pt x="116" y="1101"/>
                        </a:lnTo>
                        <a:lnTo>
                          <a:pt x="116" y="1103"/>
                        </a:lnTo>
                        <a:lnTo>
                          <a:pt x="116" y="1104"/>
                        </a:lnTo>
                        <a:lnTo>
                          <a:pt x="116" y="1105"/>
                        </a:lnTo>
                        <a:lnTo>
                          <a:pt x="116" y="1107"/>
                        </a:lnTo>
                        <a:lnTo>
                          <a:pt x="115" y="1107"/>
                        </a:lnTo>
                        <a:lnTo>
                          <a:pt x="113" y="1107"/>
                        </a:lnTo>
                        <a:lnTo>
                          <a:pt x="111" y="1106"/>
                        </a:lnTo>
                        <a:lnTo>
                          <a:pt x="110" y="1108"/>
                        </a:lnTo>
                        <a:lnTo>
                          <a:pt x="110" y="1110"/>
                        </a:lnTo>
                        <a:lnTo>
                          <a:pt x="110" y="1111"/>
                        </a:lnTo>
                        <a:lnTo>
                          <a:pt x="110" y="1112"/>
                        </a:lnTo>
                        <a:lnTo>
                          <a:pt x="110" y="1113"/>
                        </a:lnTo>
                        <a:lnTo>
                          <a:pt x="110" y="1114"/>
                        </a:lnTo>
                        <a:lnTo>
                          <a:pt x="110" y="1116"/>
                        </a:lnTo>
                        <a:lnTo>
                          <a:pt x="110" y="1117"/>
                        </a:lnTo>
                        <a:lnTo>
                          <a:pt x="110" y="1118"/>
                        </a:lnTo>
                        <a:lnTo>
                          <a:pt x="110" y="1119"/>
                        </a:lnTo>
                        <a:lnTo>
                          <a:pt x="110" y="1120"/>
                        </a:lnTo>
                        <a:lnTo>
                          <a:pt x="109" y="1122"/>
                        </a:lnTo>
                        <a:lnTo>
                          <a:pt x="109" y="1124"/>
                        </a:lnTo>
                        <a:lnTo>
                          <a:pt x="108" y="1126"/>
                        </a:lnTo>
                        <a:lnTo>
                          <a:pt x="107" y="1126"/>
                        </a:lnTo>
                        <a:lnTo>
                          <a:pt x="111" y="1126"/>
                        </a:lnTo>
                        <a:lnTo>
                          <a:pt x="112" y="1126"/>
                        </a:lnTo>
                        <a:lnTo>
                          <a:pt x="113" y="1126"/>
                        </a:lnTo>
                        <a:lnTo>
                          <a:pt x="114" y="1129"/>
                        </a:lnTo>
                        <a:lnTo>
                          <a:pt x="115" y="1131"/>
                        </a:lnTo>
                        <a:lnTo>
                          <a:pt x="115" y="1133"/>
                        </a:lnTo>
                        <a:lnTo>
                          <a:pt x="116" y="1133"/>
                        </a:lnTo>
                        <a:lnTo>
                          <a:pt x="118" y="1136"/>
                        </a:lnTo>
                        <a:lnTo>
                          <a:pt x="122" y="1138"/>
                        </a:lnTo>
                        <a:lnTo>
                          <a:pt x="126" y="1139"/>
                        </a:lnTo>
                        <a:lnTo>
                          <a:pt x="130" y="1139"/>
                        </a:lnTo>
                        <a:lnTo>
                          <a:pt x="130" y="1143"/>
                        </a:lnTo>
                        <a:lnTo>
                          <a:pt x="132" y="1146"/>
                        </a:lnTo>
                        <a:lnTo>
                          <a:pt x="133" y="1148"/>
                        </a:lnTo>
                        <a:lnTo>
                          <a:pt x="133" y="1149"/>
                        </a:lnTo>
                        <a:lnTo>
                          <a:pt x="133" y="1151"/>
                        </a:lnTo>
                        <a:lnTo>
                          <a:pt x="133" y="1152"/>
                        </a:lnTo>
                        <a:lnTo>
                          <a:pt x="132" y="1154"/>
                        </a:lnTo>
                        <a:lnTo>
                          <a:pt x="133" y="1156"/>
                        </a:lnTo>
                        <a:lnTo>
                          <a:pt x="133" y="1158"/>
                        </a:lnTo>
                        <a:lnTo>
                          <a:pt x="134" y="1159"/>
                        </a:lnTo>
                        <a:lnTo>
                          <a:pt x="135" y="1161"/>
                        </a:lnTo>
                        <a:lnTo>
                          <a:pt x="136" y="1162"/>
                        </a:lnTo>
                        <a:lnTo>
                          <a:pt x="136" y="1164"/>
                        </a:lnTo>
                        <a:lnTo>
                          <a:pt x="137" y="1165"/>
                        </a:lnTo>
                        <a:lnTo>
                          <a:pt x="138" y="1167"/>
                        </a:lnTo>
                        <a:lnTo>
                          <a:pt x="139" y="1168"/>
                        </a:lnTo>
                        <a:lnTo>
                          <a:pt x="138" y="1171"/>
                        </a:lnTo>
                        <a:lnTo>
                          <a:pt x="136" y="1173"/>
                        </a:lnTo>
                        <a:lnTo>
                          <a:pt x="135" y="1176"/>
                        </a:lnTo>
                        <a:lnTo>
                          <a:pt x="136" y="1178"/>
                        </a:lnTo>
                        <a:lnTo>
                          <a:pt x="138" y="1179"/>
                        </a:lnTo>
                        <a:lnTo>
                          <a:pt x="139" y="1178"/>
                        </a:lnTo>
                        <a:lnTo>
                          <a:pt x="140" y="1176"/>
                        </a:lnTo>
                        <a:lnTo>
                          <a:pt x="142" y="1175"/>
                        </a:lnTo>
                        <a:lnTo>
                          <a:pt x="144" y="1177"/>
                        </a:lnTo>
                        <a:lnTo>
                          <a:pt x="145" y="1179"/>
                        </a:lnTo>
                        <a:lnTo>
                          <a:pt x="145" y="1181"/>
                        </a:lnTo>
                        <a:lnTo>
                          <a:pt x="145" y="1183"/>
                        </a:lnTo>
                        <a:lnTo>
                          <a:pt x="146" y="1185"/>
                        </a:lnTo>
                        <a:lnTo>
                          <a:pt x="149" y="1185"/>
                        </a:lnTo>
                        <a:lnTo>
                          <a:pt x="150" y="1185"/>
                        </a:lnTo>
                        <a:lnTo>
                          <a:pt x="151" y="1186"/>
                        </a:lnTo>
                        <a:lnTo>
                          <a:pt x="151" y="1188"/>
                        </a:lnTo>
                        <a:lnTo>
                          <a:pt x="152" y="1191"/>
                        </a:lnTo>
                        <a:lnTo>
                          <a:pt x="153" y="1194"/>
                        </a:lnTo>
                        <a:lnTo>
                          <a:pt x="154" y="1196"/>
                        </a:lnTo>
                        <a:lnTo>
                          <a:pt x="155" y="1198"/>
                        </a:lnTo>
                        <a:lnTo>
                          <a:pt x="156" y="1201"/>
                        </a:lnTo>
                        <a:lnTo>
                          <a:pt x="156" y="1203"/>
                        </a:lnTo>
                        <a:lnTo>
                          <a:pt x="157" y="1204"/>
                        </a:lnTo>
                        <a:lnTo>
                          <a:pt x="158" y="1206"/>
                        </a:lnTo>
                        <a:lnTo>
                          <a:pt x="158" y="1207"/>
                        </a:lnTo>
                        <a:lnTo>
                          <a:pt x="159" y="1209"/>
                        </a:lnTo>
                        <a:lnTo>
                          <a:pt x="160" y="1212"/>
                        </a:lnTo>
                        <a:lnTo>
                          <a:pt x="161" y="1213"/>
                        </a:lnTo>
                        <a:lnTo>
                          <a:pt x="162" y="1213"/>
                        </a:lnTo>
                        <a:lnTo>
                          <a:pt x="162" y="1218"/>
                        </a:lnTo>
                        <a:lnTo>
                          <a:pt x="162" y="1220"/>
                        </a:lnTo>
                        <a:lnTo>
                          <a:pt x="162" y="1222"/>
                        </a:lnTo>
                        <a:lnTo>
                          <a:pt x="162" y="1224"/>
                        </a:lnTo>
                        <a:lnTo>
                          <a:pt x="161" y="1226"/>
                        </a:lnTo>
                        <a:lnTo>
                          <a:pt x="160" y="1227"/>
                        </a:lnTo>
                        <a:lnTo>
                          <a:pt x="159" y="1227"/>
                        </a:lnTo>
                        <a:lnTo>
                          <a:pt x="158" y="1227"/>
                        </a:lnTo>
                        <a:lnTo>
                          <a:pt x="158" y="1229"/>
                        </a:lnTo>
                        <a:lnTo>
                          <a:pt x="157" y="1230"/>
                        </a:lnTo>
                        <a:lnTo>
                          <a:pt x="156" y="1230"/>
                        </a:lnTo>
                        <a:lnTo>
                          <a:pt x="157" y="1233"/>
                        </a:lnTo>
                        <a:lnTo>
                          <a:pt x="159" y="1234"/>
                        </a:lnTo>
                        <a:lnTo>
                          <a:pt x="161" y="1236"/>
                        </a:lnTo>
                        <a:lnTo>
                          <a:pt x="165" y="1236"/>
                        </a:lnTo>
                        <a:lnTo>
                          <a:pt x="167" y="1236"/>
                        </a:lnTo>
                        <a:lnTo>
                          <a:pt x="168" y="1234"/>
                        </a:lnTo>
                        <a:lnTo>
                          <a:pt x="170" y="1233"/>
                        </a:lnTo>
                        <a:lnTo>
                          <a:pt x="172" y="1233"/>
                        </a:lnTo>
                        <a:lnTo>
                          <a:pt x="174" y="1233"/>
                        </a:lnTo>
                        <a:lnTo>
                          <a:pt x="175" y="1233"/>
                        </a:lnTo>
                        <a:lnTo>
                          <a:pt x="177" y="1233"/>
                        </a:lnTo>
                        <a:lnTo>
                          <a:pt x="180" y="1234"/>
                        </a:lnTo>
                        <a:lnTo>
                          <a:pt x="181" y="1236"/>
                        </a:lnTo>
                        <a:lnTo>
                          <a:pt x="183" y="1239"/>
                        </a:lnTo>
                        <a:lnTo>
                          <a:pt x="184" y="1239"/>
                        </a:lnTo>
                        <a:lnTo>
                          <a:pt x="185" y="1239"/>
                        </a:lnTo>
                        <a:lnTo>
                          <a:pt x="186" y="1239"/>
                        </a:lnTo>
                        <a:lnTo>
                          <a:pt x="187" y="1239"/>
                        </a:lnTo>
                        <a:lnTo>
                          <a:pt x="190" y="1242"/>
                        </a:lnTo>
                        <a:lnTo>
                          <a:pt x="193" y="1242"/>
                        </a:lnTo>
                        <a:lnTo>
                          <a:pt x="195" y="1240"/>
                        </a:lnTo>
                        <a:lnTo>
                          <a:pt x="198" y="1239"/>
                        </a:lnTo>
                        <a:lnTo>
                          <a:pt x="199" y="1239"/>
                        </a:lnTo>
                        <a:lnTo>
                          <a:pt x="200" y="1239"/>
                        </a:lnTo>
                        <a:lnTo>
                          <a:pt x="201" y="1239"/>
                        </a:lnTo>
                        <a:lnTo>
                          <a:pt x="205" y="1239"/>
                        </a:lnTo>
                        <a:lnTo>
                          <a:pt x="208" y="1239"/>
                        </a:lnTo>
                        <a:lnTo>
                          <a:pt x="211" y="1237"/>
                        </a:lnTo>
                        <a:lnTo>
                          <a:pt x="213" y="1236"/>
                        </a:lnTo>
                        <a:lnTo>
                          <a:pt x="215" y="1239"/>
                        </a:lnTo>
                        <a:lnTo>
                          <a:pt x="217" y="1239"/>
                        </a:lnTo>
                        <a:lnTo>
                          <a:pt x="218" y="1239"/>
                        </a:lnTo>
                        <a:lnTo>
                          <a:pt x="220" y="1239"/>
                        </a:lnTo>
                        <a:lnTo>
                          <a:pt x="222" y="1242"/>
                        </a:lnTo>
                        <a:lnTo>
                          <a:pt x="221" y="1246"/>
                        </a:lnTo>
                        <a:lnTo>
                          <a:pt x="221" y="1248"/>
                        </a:lnTo>
                        <a:lnTo>
                          <a:pt x="220" y="1250"/>
                        </a:lnTo>
                        <a:lnTo>
                          <a:pt x="222" y="1252"/>
                        </a:lnTo>
                        <a:lnTo>
                          <a:pt x="223" y="1253"/>
                        </a:lnTo>
                        <a:lnTo>
                          <a:pt x="224" y="1254"/>
                        </a:lnTo>
                        <a:lnTo>
                          <a:pt x="224" y="1256"/>
                        </a:lnTo>
                        <a:lnTo>
                          <a:pt x="226" y="1255"/>
                        </a:lnTo>
                        <a:lnTo>
                          <a:pt x="228" y="1253"/>
                        </a:lnTo>
                        <a:lnTo>
                          <a:pt x="229" y="1251"/>
                        </a:lnTo>
                        <a:lnTo>
                          <a:pt x="229" y="1250"/>
                        </a:lnTo>
                        <a:lnTo>
                          <a:pt x="231" y="1248"/>
                        </a:lnTo>
                        <a:lnTo>
                          <a:pt x="233" y="1247"/>
                        </a:lnTo>
                        <a:lnTo>
                          <a:pt x="234" y="1246"/>
                        </a:lnTo>
                        <a:lnTo>
                          <a:pt x="236" y="1246"/>
                        </a:lnTo>
                        <a:lnTo>
                          <a:pt x="238" y="1246"/>
                        </a:lnTo>
                        <a:lnTo>
                          <a:pt x="239" y="1245"/>
                        </a:lnTo>
                        <a:lnTo>
                          <a:pt x="241" y="1243"/>
                        </a:lnTo>
                        <a:lnTo>
                          <a:pt x="243" y="1243"/>
                        </a:lnTo>
                        <a:lnTo>
                          <a:pt x="253" y="1243"/>
                        </a:lnTo>
                        <a:lnTo>
                          <a:pt x="255" y="1243"/>
                        </a:lnTo>
                        <a:lnTo>
                          <a:pt x="258" y="1245"/>
                        </a:lnTo>
                        <a:lnTo>
                          <a:pt x="261" y="1247"/>
                        </a:lnTo>
                        <a:lnTo>
                          <a:pt x="262" y="1250"/>
                        </a:lnTo>
                        <a:lnTo>
                          <a:pt x="265" y="1251"/>
                        </a:lnTo>
                        <a:lnTo>
                          <a:pt x="267" y="1255"/>
                        </a:lnTo>
                        <a:lnTo>
                          <a:pt x="270" y="1257"/>
                        </a:lnTo>
                        <a:lnTo>
                          <a:pt x="272" y="1260"/>
                        </a:lnTo>
                        <a:lnTo>
                          <a:pt x="276" y="1260"/>
                        </a:lnTo>
                        <a:lnTo>
                          <a:pt x="279" y="1260"/>
                        </a:lnTo>
                        <a:lnTo>
                          <a:pt x="283" y="1260"/>
                        </a:lnTo>
                        <a:lnTo>
                          <a:pt x="285" y="1263"/>
                        </a:lnTo>
                        <a:lnTo>
                          <a:pt x="286" y="1266"/>
                        </a:lnTo>
                        <a:lnTo>
                          <a:pt x="286" y="1267"/>
                        </a:lnTo>
                        <a:lnTo>
                          <a:pt x="286" y="1270"/>
                        </a:lnTo>
                        <a:lnTo>
                          <a:pt x="288" y="1272"/>
                        </a:lnTo>
                        <a:lnTo>
                          <a:pt x="288" y="1277"/>
                        </a:lnTo>
                        <a:lnTo>
                          <a:pt x="287" y="1280"/>
                        </a:lnTo>
                        <a:lnTo>
                          <a:pt x="285" y="1281"/>
                        </a:lnTo>
                        <a:lnTo>
                          <a:pt x="284" y="1284"/>
                        </a:lnTo>
                        <a:lnTo>
                          <a:pt x="283" y="1284"/>
                        </a:lnTo>
                        <a:lnTo>
                          <a:pt x="282" y="1286"/>
                        </a:lnTo>
                        <a:lnTo>
                          <a:pt x="281" y="1286"/>
                        </a:lnTo>
                        <a:lnTo>
                          <a:pt x="282" y="1287"/>
                        </a:lnTo>
                        <a:lnTo>
                          <a:pt x="283" y="1289"/>
                        </a:lnTo>
                        <a:lnTo>
                          <a:pt x="284" y="1290"/>
                        </a:lnTo>
                        <a:lnTo>
                          <a:pt x="285" y="1292"/>
                        </a:lnTo>
                        <a:lnTo>
                          <a:pt x="286" y="1301"/>
                        </a:lnTo>
                        <a:lnTo>
                          <a:pt x="287" y="1308"/>
                        </a:lnTo>
                        <a:lnTo>
                          <a:pt x="289" y="1316"/>
                        </a:lnTo>
                        <a:lnTo>
                          <a:pt x="291" y="1318"/>
                        </a:lnTo>
                        <a:lnTo>
                          <a:pt x="295" y="1321"/>
                        </a:lnTo>
                        <a:lnTo>
                          <a:pt x="296" y="1323"/>
                        </a:lnTo>
                        <a:lnTo>
                          <a:pt x="298" y="1324"/>
                        </a:lnTo>
                        <a:lnTo>
                          <a:pt x="300" y="1325"/>
                        </a:lnTo>
                        <a:lnTo>
                          <a:pt x="301" y="1327"/>
                        </a:lnTo>
                        <a:lnTo>
                          <a:pt x="301" y="1329"/>
                        </a:lnTo>
                        <a:lnTo>
                          <a:pt x="300" y="1331"/>
                        </a:lnTo>
                        <a:lnTo>
                          <a:pt x="298" y="1332"/>
                        </a:lnTo>
                        <a:lnTo>
                          <a:pt x="298" y="1334"/>
                        </a:lnTo>
                        <a:lnTo>
                          <a:pt x="298" y="1335"/>
                        </a:lnTo>
                        <a:lnTo>
                          <a:pt x="298" y="1337"/>
                        </a:lnTo>
                        <a:lnTo>
                          <a:pt x="298" y="1338"/>
                        </a:lnTo>
                        <a:lnTo>
                          <a:pt x="299" y="1341"/>
                        </a:lnTo>
                        <a:lnTo>
                          <a:pt x="300" y="1343"/>
                        </a:lnTo>
                        <a:lnTo>
                          <a:pt x="301" y="1345"/>
                        </a:lnTo>
                        <a:lnTo>
                          <a:pt x="304" y="1347"/>
                        </a:lnTo>
                        <a:lnTo>
                          <a:pt x="304" y="1351"/>
                        </a:lnTo>
                        <a:lnTo>
                          <a:pt x="304" y="1355"/>
                        </a:lnTo>
                        <a:lnTo>
                          <a:pt x="305" y="1358"/>
                        </a:lnTo>
                        <a:lnTo>
                          <a:pt x="307" y="1360"/>
                        </a:lnTo>
                        <a:lnTo>
                          <a:pt x="310" y="1362"/>
                        </a:lnTo>
                        <a:lnTo>
                          <a:pt x="312" y="1363"/>
                        </a:lnTo>
                        <a:lnTo>
                          <a:pt x="317" y="1363"/>
                        </a:lnTo>
                        <a:lnTo>
                          <a:pt x="320" y="1364"/>
                        </a:lnTo>
                        <a:lnTo>
                          <a:pt x="322" y="1366"/>
                        </a:lnTo>
                        <a:lnTo>
                          <a:pt x="323" y="1367"/>
                        </a:lnTo>
                        <a:lnTo>
                          <a:pt x="324" y="1369"/>
                        </a:lnTo>
                        <a:lnTo>
                          <a:pt x="328" y="1374"/>
                        </a:lnTo>
                        <a:lnTo>
                          <a:pt x="329" y="1377"/>
                        </a:lnTo>
                        <a:lnTo>
                          <a:pt x="330" y="1379"/>
                        </a:lnTo>
                        <a:lnTo>
                          <a:pt x="331" y="1381"/>
                        </a:lnTo>
                        <a:lnTo>
                          <a:pt x="330" y="1383"/>
                        </a:lnTo>
                        <a:lnTo>
                          <a:pt x="329" y="1384"/>
                        </a:lnTo>
                        <a:lnTo>
                          <a:pt x="330" y="1386"/>
                        </a:lnTo>
                        <a:lnTo>
                          <a:pt x="333" y="1387"/>
                        </a:lnTo>
                        <a:lnTo>
                          <a:pt x="339" y="1386"/>
                        </a:lnTo>
                        <a:lnTo>
                          <a:pt x="344" y="1385"/>
                        </a:lnTo>
                        <a:lnTo>
                          <a:pt x="349" y="1386"/>
                        </a:lnTo>
                        <a:lnTo>
                          <a:pt x="351" y="1387"/>
                        </a:lnTo>
                        <a:lnTo>
                          <a:pt x="354" y="1388"/>
                        </a:lnTo>
                        <a:lnTo>
                          <a:pt x="356" y="1391"/>
                        </a:lnTo>
                        <a:lnTo>
                          <a:pt x="359" y="1395"/>
                        </a:lnTo>
                        <a:lnTo>
                          <a:pt x="362" y="1395"/>
                        </a:lnTo>
                        <a:lnTo>
                          <a:pt x="364" y="1394"/>
                        </a:lnTo>
                        <a:lnTo>
                          <a:pt x="367" y="1394"/>
                        </a:lnTo>
                        <a:lnTo>
                          <a:pt x="369" y="1395"/>
                        </a:lnTo>
                        <a:lnTo>
                          <a:pt x="369" y="1397"/>
                        </a:lnTo>
                        <a:lnTo>
                          <a:pt x="367" y="1399"/>
                        </a:lnTo>
                        <a:lnTo>
                          <a:pt x="366" y="1400"/>
                        </a:lnTo>
                        <a:lnTo>
                          <a:pt x="366" y="1402"/>
                        </a:lnTo>
                        <a:lnTo>
                          <a:pt x="366" y="1405"/>
                        </a:lnTo>
                        <a:lnTo>
                          <a:pt x="368" y="1407"/>
                        </a:lnTo>
                        <a:lnTo>
                          <a:pt x="373" y="1409"/>
                        </a:lnTo>
                        <a:lnTo>
                          <a:pt x="379" y="1411"/>
                        </a:lnTo>
                        <a:lnTo>
                          <a:pt x="381" y="1412"/>
                        </a:lnTo>
                        <a:lnTo>
                          <a:pt x="382" y="1414"/>
                        </a:lnTo>
                        <a:lnTo>
                          <a:pt x="382" y="1415"/>
                        </a:lnTo>
                        <a:lnTo>
                          <a:pt x="382" y="1417"/>
                        </a:lnTo>
                        <a:lnTo>
                          <a:pt x="382" y="1421"/>
                        </a:lnTo>
                        <a:lnTo>
                          <a:pt x="380" y="1421"/>
                        </a:lnTo>
                        <a:lnTo>
                          <a:pt x="378" y="1421"/>
                        </a:lnTo>
                        <a:lnTo>
                          <a:pt x="377" y="1421"/>
                        </a:lnTo>
                        <a:lnTo>
                          <a:pt x="375" y="1421"/>
                        </a:lnTo>
                        <a:lnTo>
                          <a:pt x="373" y="1422"/>
                        </a:lnTo>
                        <a:lnTo>
                          <a:pt x="372" y="1423"/>
                        </a:lnTo>
                        <a:lnTo>
                          <a:pt x="371" y="1424"/>
                        </a:lnTo>
                        <a:lnTo>
                          <a:pt x="369" y="1425"/>
                        </a:lnTo>
                        <a:lnTo>
                          <a:pt x="369" y="1429"/>
                        </a:lnTo>
                        <a:lnTo>
                          <a:pt x="369" y="1431"/>
                        </a:lnTo>
                        <a:lnTo>
                          <a:pt x="367" y="1433"/>
                        </a:lnTo>
                        <a:lnTo>
                          <a:pt x="364" y="1434"/>
                        </a:lnTo>
                        <a:lnTo>
                          <a:pt x="363" y="1435"/>
                        </a:lnTo>
                        <a:lnTo>
                          <a:pt x="362" y="1435"/>
                        </a:lnTo>
                        <a:lnTo>
                          <a:pt x="361" y="1438"/>
                        </a:lnTo>
                        <a:lnTo>
                          <a:pt x="359" y="1439"/>
                        </a:lnTo>
                        <a:lnTo>
                          <a:pt x="355" y="1439"/>
                        </a:lnTo>
                        <a:lnTo>
                          <a:pt x="352" y="1437"/>
                        </a:lnTo>
                        <a:lnTo>
                          <a:pt x="349" y="1437"/>
                        </a:lnTo>
                        <a:lnTo>
                          <a:pt x="348" y="1436"/>
                        </a:lnTo>
                        <a:lnTo>
                          <a:pt x="347" y="1435"/>
                        </a:lnTo>
                        <a:lnTo>
                          <a:pt x="343" y="1435"/>
                        </a:lnTo>
                        <a:lnTo>
                          <a:pt x="340" y="1435"/>
                        </a:lnTo>
                        <a:lnTo>
                          <a:pt x="339" y="1435"/>
                        </a:lnTo>
                        <a:lnTo>
                          <a:pt x="336" y="1435"/>
                        </a:lnTo>
                        <a:lnTo>
                          <a:pt x="333" y="1435"/>
                        </a:lnTo>
                        <a:lnTo>
                          <a:pt x="330" y="1435"/>
                        </a:lnTo>
                        <a:lnTo>
                          <a:pt x="328" y="1435"/>
                        </a:lnTo>
                        <a:lnTo>
                          <a:pt x="326" y="1435"/>
                        </a:lnTo>
                        <a:lnTo>
                          <a:pt x="325" y="1435"/>
                        </a:lnTo>
                        <a:lnTo>
                          <a:pt x="324" y="1436"/>
                        </a:lnTo>
                        <a:lnTo>
                          <a:pt x="323" y="1438"/>
                        </a:lnTo>
                        <a:lnTo>
                          <a:pt x="321" y="1440"/>
                        </a:lnTo>
                        <a:lnTo>
                          <a:pt x="320" y="1442"/>
                        </a:lnTo>
                        <a:lnTo>
                          <a:pt x="319" y="1443"/>
                        </a:lnTo>
                        <a:lnTo>
                          <a:pt x="318" y="1444"/>
                        </a:lnTo>
                        <a:lnTo>
                          <a:pt x="317" y="1444"/>
                        </a:lnTo>
                        <a:lnTo>
                          <a:pt x="316" y="1448"/>
                        </a:lnTo>
                        <a:lnTo>
                          <a:pt x="318" y="1450"/>
                        </a:lnTo>
                        <a:lnTo>
                          <a:pt x="321" y="1453"/>
                        </a:lnTo>
                        <a:lnTo>
                          <a:pt x="324" y="1457"/>
                        </a:lnTo>
                        <a:lnTo>
                          <a:pt x="325" y="1460"/>
                        </a:lnTo>
                        <a:lnTo>
                          <a:pt x="325" y="1461"/>
                        </a:lnTo>
                        <a:lnTo>
                          <a:pt x="325" y="1464"/>
                        </a:lnTo>
                        <a:lnTo>
                          <a:pt x="326" y="1466"/>
                        </a:lnTo>
                        <a:lnTo>
                          <a:pt x="329" y="1470"/>
                        </a:lnTo>
                        <a:lnTo>
                          <a:pt x="331" y="1473"/>
                        </a:lnTo>
                        <a:lnTo>
                          <a:pt x="333" y="1476"/>
                        </a:lnTo>
                        <a:lnTo>
                          <a:pt x="333" y="1480"/>
                        </a:lnTo>
                        <a:lnTo>
                          <a:pt x="334" y="1484"/>
                        </a:lnTo>
                        <a:lnTo>
                          <a:pt x="335" y="1486"/>
                        </a:lnTo>
                        <a:lnTo>
                          <a:pt x="336" y="1489"/>
                        </a:lnTo>
                        <a:lnTo>
                          <a:pt x="338" y="1491"/>
                        </a:lnTo>
                        <a:lnTo>
                          <a:pt x="340" y="1492"/>
                        </a:lnTo>
                        <a:lnTo>
                          <a:pt x="342" y="1494"/>
                        </a:lnTo>
                        <a:lnTo>
                          <a:pt x="343" y="1496"/>
                        </a:lnTo>
                        <a:lnTo>
                          <a:pt x="343" y="1502"/>
                        </a:lnTo>
                        <a:lnTo>
                          <a:pt x="344" y="1505"/>
                        </a:lnTo>
                        <a:lnTo>
                          <a:pt x="345" y="1508"/>
                        </a:lnTo>
                        <a:lnTo>
                          <a:pt x="347" y="1512"/>
                        </a:lnTo>
                        <a:lnTo>
                          <a:pt x="348" y="1514"/>
                        </a:lnTo>
                        <a:lnTo>
                          <a:pt x="349" y="1516"/>
                        </a:lnTo>
                        <a:lnTo>
                          <a:pt x="349" y="1518"/>
                        </a:lnTo>
                        <a:lnTo>
                          <a:pt x="351" y="1520"/>
                        </a:lnTo>
                        <a:lnTo>
                          <a:pt x="352" y="1522"/>
                        </a:lnTo>
                        <a:lnTo>
                          <a:pt x="354" y="1523"/>
                        </a:lnTo>
                        <a:lnTo>
                          <a:pt x="356" y="1525"/>
                        </a:lnTo>
                        <a:lnTo>
                          <a:pt x="358" y="1526"/>
                        </a:lnTo>
                        <a:lnTo>
                          <a:pt x="361" y="1526"/>
                        </a:lnTo>
                        <a:lnTo>
                          <a:pt x="363" y="1527"/>
                        </a:lnTo>
                        <a:lnTo>
                          <a:pt x="366" y="1525"/>
                        </a:lnTo>
                        <a:lnTo>
                          <a:pt x="370" y="1525"/>
                        </a:lnTo>
                        <a:lnTo>
                          <a:pt x="372" y="1524"/>
                        </a:lnTo>
                        <a:lnTo>
                          <a:pt x="372" y="1522"/>
                        </a:lnTo>
                        <a:lnTo>
                          <a:pt x="373" y="1521"/>
                        </a:lnTo>
                        <a:lnTo>
                          <a:pt x="373" y="1520"/>
                        </a:lnTo>
                        <a:lnTo>
                          <a:pt x="373" y="1519"/>
                        </a:lnTo>
                        <a:lnTo>
                          <a:pt x="375" y="1518"/>
                        </a:lnTo>
                        <a:lnTo>
                          <a:pt x="375" y="1516"/>
                        </a:lnTo>
                        <a:lnTo>
                          <a:pt x="377" y="1514"/>
                        </a:lnTo>
                        <a:lnTo>
                          <a:pt x="379" y="1512"/>
                        </a:lnTo>
                        <a:lnTo>
                          <a:pt x="382" y="1512"/>
                        </a:lnTo>
                        <a:lnTo>
                          <a:pt x="383" y="1511"/>
                        </a:lnTo>
                        <a:lnTo>
                          <a:pt x="385" y="1509"/>
                        </a:lnTo>
                        <a:lnTo>
                          <a:pt x="389" y="1508"/>
                        </a:lnTo>
                        <a:lnTo>
                          <a:pt x="392" y="1508"/>
                        </a:lnTo>
                        <a:lnTo>
                          <a:pt x="397" y="1510"/>
                        </a:lnTo>
                        <a:lnTo>
                          <a:pt x="401" y="1510"/>
                        </a:lnTo>
                        <a:lnTo>
                          <a:pt x="404" y="1510"/>
                        </a:lnTo>
                        <a:lnTo>
                          <a:pt x="406" y="1508"/>
                        </a:lnTo>
                        <a:lnTo>
                          <a:pt x="410" y="1504"/>
                        </a:lnTo>
                        <a:lnTo>
                          <a:pt x="414" y="1499"/>
                        </a:lnTo>
                        <a:lnTo>
                          <a:pt x="419" y="1495"/>
                        </a:lnTo>
                        <a:lnTo>
                          <a:pt x="422" y="1494"/>
                        </a:lnTo>
                        <a:lnTo>
                          <a:pt x="425" y="1494"/>
                        </a:lnTo>
                        <a:lnTo>
                          <a:pt x="428" y="1496"/>
                        </a:lnTo>
                        <a:lnTo>
                          <a:pt x="432" y="1501"/>
                        </a:lnTo>
                        <a:lnTo>
                          <a:pt x="434" y="1504"/>
                        </a:lnTo>
                        <a:lnTo>
                          <a:pt x="437" y="1506"/>
                        </a:lnTo>
                        <a:lnTo>
                          <a:pt x="438" y="1504"/>
                        </a:lnTo>
                        <a:lnTo>
                          <a:pt x="439" y="1500"/>
                        </a:lnTo>
                        <a:lnTo>
                          <a:pt x="440" y="1496"/>
                        </a:lnTo>
                        <a:lnTo>
                          <a:pt x="444" y="1492"/>
                        </a:lnTo>
                        <a:lnTo>
                          <a:pt x="448" y="1492"/>
                        </a:lnTo>
                        <a:lnTo>
                          <a:pt x="452" y="1491"/>
                        </a:lnTo>
                        <a:lnTo>
                          <a:pt x="456" y="1491"/>
                        </a:lnTo>
                        <a:lnTo>
                          <a:pt x="459" y="1492"/>
                        </a:lnTo>
                        <a:lnTo>
                          <a:pt x="459" y="1497"/>
                        </a:lnTo>
                        <a:lnTo>
                          <a:pt x="459" y="1502"/>
                        </a:lnTo>
                        <a:lnTo>
                          <a:pt x="459" y="1505"/>
                        </a:lnTo>
                        <a:lnTo>
                          <a:pt x="459" y="1506"/>
                        </a:lnTo>
                        <a:lnTo>
                          <a:pt x="460" y="1505"/>
                        </a:lnTo>
                        <a:lnTo>
                          <a:pt x="462" y="1502"/>
                        </a:lnTo>
                        <a:lnTo>
                          <a:pt x="465" y="1500"/>
                        </a:lnTo>
                        <a:lnTo>
                          <a:pt x="469" y="1499"/>
                        </a:lnTo>
                        <a:lnTo>
                          <a:pt x="470" y="1500"/>
                        </a:lnTo>
                        <a:lnTo>
                          <a:pt x="472" y="1501"/>
                        </a:lnTo>
                        <a:lnTo>
                          <a:pt x="474" y="1506"/>
                        </a:lnTo>
                        <a:lnTo>
                          <a:pt x="476" y="1509"/>
                        </a:lnTo>
                        <a:lnTo>
                          <a:pt x="476" y="1511"/>
                        </a:lnTo>
                        <a:lnTo>
                          <a:pt x="475" y="1512"/>
                        </a:lnTo>
                        <a:lnTo>
                          <a:pt x="473" y="1515"/>
                        </a:lnTo>
                        <a:lnTo>
                          <a:pt x="471" y="1518"/>
                        </a:lnTo>
                        <a:lnTo>
                          <a:pt x="469" y="1521"/>
                        </a:lnTo>
                        <a:lnTo>
                          <a:pt x="469" y="1522"/>
                        </a:lnTo>
                        <a:lnTo>
                          <a:pt x="470" y="1522"/>
                        </a:lnTo>
                        <a:lnTo>
                          <a:pt x="474" y="1524"/>
                        </a:lnTo>
                        <a:lnTo>
                          <a:pt x="477" y="1527"/>
                        </a:lnTo>
                        <a:lnTo>
                          <a:pt x="479" y="1532"/>
                        </a:lnTo>
                        <a:lnTo>
                          <a:pt x="478" y="1537"/>
                        </a:lnTo>
                        <a:lnTo>
                          <a:pt x="477" y="1542"/>
                        </a:lnTo>
                        <a:lnTo>
                          <a:pt x="477" y="1543"/>
                        </a:lnTo>
                        <a:lnTo>
                          <a:pt x="477" y="1545"/>
                        </a:lnTo>
                        <a:lnTo>
                          <a:pt x="479" y="1546"/>
                        </a:lnTo>
                        <a:lnTo>
                          <a:pt x="482" y="1548"/>
                        </a:lnTo>
                        <a:lnTo>
                          <a:pt x="487" y="1551"/>
                        </a:lnTo>
                        <a:lnTo>
                          <a:pt x="492" y="1554"/>
                        </a:lnTo>
                        <a:lnTo>
                          <a:pt x="495" y="1555"/>
                        </a:lnTo>
                        <a:lnTo>
                          <a:pt x="498" y="1554"/>
                        </a:lnTo>
                        <a:lnTo>
                          <a:pt x="502" y="1551"/>
                        </a:lnTo>
                        <a:lnTo>
                          <a:pt x="506" y="1548"/>
                        </a:lnTo>
                        <a:lnTo>
                          <a:pt x="509" y="1547"/>
                        </a:lnTo>
                        <a:lnTo>
                          <a:pt x="511" y="1548"/>
                        </a:lnTo>
                        <a:lnTo>
                          <a:pt x="515" y="1551"/>
                        </a:lnTo>
                        <a:lnTo>
                          <a:pt x="519" y="1554"/>
                        </a:lnTo>
                        <a:lnTo>
                          <a:pt x="525" y="1557"/>
                        </a:lnTo>
                        <a:lnTo>
                          <a:pt x="531" y="1560"/>
                        </a:lnTo>
                        <a:lnTo>
                          <a:pt x="533" y="1560"/>
                        </a:lnTo>
                        <a:lnTo>
                          <a:pt x="534" y="1561"/>
                        </a:lnTo>
                        <a:lnTo>
                          <a:pt x="534" y="1562"/>
                        </a:lnTo>
                        <a:lnTo>
                          <a:pt x="534" y="1564"/>
                        </a:lnTo>
                        <a:lnTo>
                          <a:pt x="535" y="1566"/>
                        </a:lnTo>
                        <a:lnTo>
                          <a:pt x="537" y="1567"/>
                        </a:lnTo>
                        <a:lnTo>
                          <a:pt x="541" y="1568"/>
                        </a:lnTo>
                        <a:lnTo>
                          <a:pt x="544" y="1569"/>
                        </a:lnTo>
                        <a:lnTo>
                          <a:pt x="546" y="1572"/>
                        </a:lnTo>
                        <a:lnTo>
                          <a:pt x="546" y="1574"/>
                        </a:lnTo>
                        <a:lnTo>
                          <a:pt x="546" y="1577"/>
                        </a:lnTo>
                        <a:lnTo>
                          <a:pt x="546" y="1582"/>
                        </a:lnTo>
                        <a:lnTo>
                          <a:pt x="546" y="1586"/>
                        </a:lnTo>
                        <a:lnTo>
                          <a:pt x="548" y="1589"/>
                        </a:lnTo>
                        <a:lnTo>
                          <a:pt x="550" y="1591"/>
                        </a:lnTo>
                        <a:lnTo>
                          <a:pt x="553" y="1593"/>
                        </a:lnTo>
                        <a:lnTo>
                          <a:pt x="559" y="1598"/>
                        </a:lnTo>
                        <a:lnTo>
                          <a:pt x="562" y="1602"/>
                        </a:lnTo>
                        <a:lnTo>
                          <a:pt x="564" y="1604"/>
                        </a:lnTo>
                        <a:lnTo>
                          <a:pt x="566" y="1605"/>
                        </a:lnTo>
                        <a:lnTo>
                          <a:pt x="569" y="1603"/>
                        </a:lnTo>
                        <a:lnTo>
                          <a:pt x="571" y="1600"/>
                        </a:lnTo>
                        <a:lnTo>
                          <a:pt x="572" y="1597"/>
                        </a:lnTo>
                        <a:lnTo>
                          <a:pt x="576" y="1596"/>
                        </a:lnTo>
                        <a:lnTo>
                          <a:pt x="586" y="1597"/>
                        </a:lnTo>
                        <a:lnTo>
                          <a:pt x="591" y="1598"/>
                        </a:lnTo>
                        <a:lnTo>
                          <a:pt x="598" y="1600"/>
                        </a:lnTo>
                        <a:lnTo>
                          <a:pt x="602" y="1600"/>
                        </a:lnTo>
                        <a:lnTo>
                          <a:pt x="604" y="1600"/>
                        </a:lnTo>
                        <a:lnTo>
                          <a:pt x="606" y="1601"/>
                        </a:lnTo>
                        <a:lnTo>
                          <a:pt x="608" y="1602"/>
                        </a:lnTo>
                        <a:lnTo>
                          <a:pt x="612" y="1603"/>
                        </a:lnTo>
                        <a:lnTo>
                          <a:pt x="614" y="1603"/>
                        </a:lnTo>
                        <a:lnTo>
                          <a:pt x="616" y="1601"/>
                        </a:lnTo>
                        <a:lnTo>
                          <a:pt x="618" y="1597"/>
                        </a:lnTo>
                        <a:lnTo>
                          <a:pt x="620" y="1594"/>
                        </a:lnTo>
                        <a:lnTo>
                          <a:pt x="622" y="1592"/>
                        </a:lnTo>
                        <a:lnTo>
                          <a:pt x="626" y="1589"/>
                        </a:lnTo>
                        <a:lnTo>
                          <a:pt x="631" y="1586"/>
                        </a:lnTo>
                        <a:lnTo>
                          <a:pt x="650" y="1577"/>
                        </a:lnTo>
                        <a:lnTo>
                          <a:pt x="652" y="1573"/>
                        </a:lnTo>
                        <a:lnTo>
                          <a:pt x="654" y="1572"/>
                        </a:lnTo>
                        <a:lnTo>
                          <a:pt x="655" y="1573"/>
                        </a:lnTo>
                        <a:lnTo>
                          <a:pt x="657" y="1577"/>
                        </a:lnTo>
                        <a:lnTo>
                          <a:pt x="657" y="1581"/>
                        </a:lnTo>
                        <a:lnTo>
                          <a:pt x="658" y="1586"/>
                        </a:lnTo>
                        <a:lnTo>
                          <a:pt x="660" y="1590"/>
                        </a:lnTo>
                        <a:lnTo>
                          <a:pt x="666" y="1593"/>
                        </a:lnTo>
                        <a:lnTo>
                          <a:pt x="671" y="1594"/>
                        </a:lnTo>
                        <a:lnTo>
                          <a:pt x="676" y="1595"/>
                        </a:lnTo>
                        <a:lnTo>
                          <a:pt x="681" y="1596"/>
                        </a:lnTo>
                        <a:lnTo>
                          <a:pt x="685" y="1600"/>
                        </a:lnTo>
                        <a:lnTo>
                          <a:pt x="690" y="1603"/>
                        </a:lnTo>
                        <a:lnTo>
                          <a:pt x="692" y="1603"/>
                        </a:lnTo>
                        <a:lnTo>
                          <a:pt x="693" y="1602"/>
                        </a:lnTo>
                        <a:lnTo>
                          <a:pt x="692" y="1600"/>
                        </a:lnTo>
                        <a:lnTo>
                          <a:pt x="690" y="1597"/>
                        </a:lnTo>
                        <a:lnTo>
                          <a:pt x="688" y="1594"/>
                        </a:lnTo>
                        <a:lnTo>
                          <a:pt x="689" y="1592"/>
                        </a:lnTo>
                        <a:lnTo>
                          <a:pt x="692" y="1593"/>
                        </a:lnTo>
                        <a:lnTo>
                          <a:pt x="702" y="1593"/>
                        </a:lnTo>
                        <a:lnTo>
                          <a:pt x="706" y="1594"/>
                        </a:lnTo>
                        <a:lnTo>
                          <a:pt x="708" y="1596"/>
                        </a:lnTo>
                        <a:lnTo>
                          <a:pt x="710" y="1600"/>
                        </a:lnTo>
                        <a:lnTo>
                          <a:pt x="712" y="1603"/>
                        </a:lnTo>
                        <a:lnTo>
                          <a:pt x="714" y="1604"/>
                        </a:lnTo>
                        <a:lnTo>
                          <a:pt x="718" y="1605"/>
                        </a:lnTo>
                        <a:lnTo>
                          <a:pt x="722" y="1605"/>
                        </a:lnTo>
                        <a:lnTo>
                          <a:pt x="726" y="1604"/>
                        </a:lnTo>
                        <a:lnTo>
                          <a:pt x="730" y="1603"/>
                        </a:lnTo>
                        <a:lnTo>
                          <a:pt x="734" y="1603"/>
                        </a:lnTo>
                        <a:lnTo>
                          <a:pt x="739" y="1604"/>
                        </a:lnTo>
                        <a:lnTo>
                          <a:pt x="745" y="1606"/>
                        </a:lnTo>
                        <a:lnTo>
                          <a:pt x="750" y="1609"/>
                        </a:lnTo>
                        <a:lnTo>
                          <a:pt x="754" y="1612"/>
                        </a:lnTo>
                        <a:lnTo>
                          <a:pt x="759" y="1612"/>
                        </a:lnTo>
                        <a:lnTo>
                          <a:pt x="764" y="1610"/>
                        </a:lnTo>
                        <a:lnTo>
                          <a:pt x="770" y="1609"/>
                        </a:lnTo>
                        <a:lnTo>
                          <a:pt x="773" y="1609"/>
                        </a:lnTo>
                        <a:lnTo>
                          <a:pt x="779" y="1606"/>
                        </a:lnTo>
                        <a:lnTo>
                          <a:pt x="783" y="1604"/>
                        </a:lnTo>
                        <a:lnTo>
                          <a:pt x="787" y="1604"/>
                        </a:lnTo>
                        <a:lnTo>
                          <a:pt x="789" y="1604"/>
                        </a:lnTo>
                        <a:lnTo>
                          <a:pt x="789" y="1605"/>
                        </a:lnTo>
                        <a:lnTo>
                          <a:pt x="789" y="1610"/>
                        </a:lnTo>
                        <a:lnTo>
                          <a:pt x="789" y="1615"/>
                        </a:lnTo>
                        <a:lnTo>
                          <a:pt x="789" y="1619"/>
                        </a:lnTo>
                        <a:lnTo>
                          <a:pt x="792" y="1622"/>
                        </a:lnTo>
                        <a:lnTo>
                          <a:pt x="796" y="1624"/>
                        </a:lnTo>
                        <a:lnTo>
                          <a:pt x="797" y="1626"/>
                        </a:lnTo>
                        <a:lnTo>
                          <a:pt x="796" y="1628"/>
                        </a:lnTo>
                        <a:lnTo>
                          <a:pt x="792" y="1631"/>
                        </a:lnTo>
                        <a:lnTo>
                          <a:pt x="789" y="1635"/>
                        </a:lnTo>
                        <a:lnTo>
                          <a:pt x="786" y="1636"/>
                        </a:lnTo>
                        <a:lnTo>
                          <a:pt x="784" y="1638"/>
                        </a:lnTo>
                        <a:lnTo>
                          <a:pt x="783" y="1641"/>
                        </a:lnTo>
                        <a:lnTo>
                          <a:pt x="780" y="1648"/>
                        </a:lnTo>
                        <a:lnTo>
                          <a:pt x="780" y="1652"/>
                        </a:lnTo>
                        <a:lnTo>
                          <a:pt x="780" y="1653"/>
                        </a:lnTo>
                        <a:lnTo>
                          <a:pt x="783" y="1654"/>
                        </a:lnTo>
                        <a:lnTo>
                          <a:pt x="787" y="1655"/>
                        </a:lnTo>
                        <a:lnTo>
                          <a:pt x="792" y="1654"/>
                        </a:lnTo>
                        <a:lnTo>
                          <a:pt x="795" y="1654"/>
                        </a:lnTo>
                        <a:lnTo>
                          <a:pt x="795" y="1655"/>
                        </a:lnTo>
                        <a:lnTo>
                          <a:pt x="796" y="1657"/>
                        </a:lnTo>
                        <a:lnTo>
                          <a:pt x="796" y="1662"/>
                        </a:lnTo>
                        <a:lnTo>
                          <a:pt x="795" y="1665"/>
                        </a:lnTo>
                        <a:lnTo>
                          <a:pt x="793" y="1667"/>
                        </a:lnTo>
                        <a:lnTo>
                          <a:pt x="789" y="1667"/>
                        </a:lnTo>
                        <a:lnTo>
                          <a:pt x="787" y="1668"/>
                        </a:lnTo>
                        <a:lnTo>
                          <a:pt x="787" y="1671"/>
                        </a:lnTo>
                        <a:lnTo>
                          <a:pt x="787" y="1674"/>
                        </a:lnTo>
                        <a:lnTo>
                          <a:pt x="786" y="1676"/>
                        </a:lnTo>
                        <a:lnTo>
                          <a:pt x="784" y="1679"/>
                        </a:lnTo>
                        <a:lnTo>
                          <a:pt x="781" y="1680"/>
                        </a:lnTo>
                        <a:lnTo>
                          <a:pt x="778" y="1683"/>
                        </a:lnTo>
                        <a:lnTo>
                          <a:pt x="777" y="1687"/>
                        </a:lnTo>
                        <a:lnTo>
                          <a:pt x="778" y="1689"/>
                        </a:lnTo>
                        <a:lnTo>
                          <a:pt x="780" y="1690"/>
                        </a:lnTo>
                        <a:lnTo>
                          <a:pt x="783" y="1690"/>
                        </a:lnTo>
                        <a:lnTo>
                          <a:pt x="786" y="1690"/>
                        </a:lnTo>
                        <a:lnTo>
                          <a:pt x="787" y="1689"/>
                        </a:lnTo>
                        <a:lnTo>
                          <a:pt x="789" y="1690"/>
                        </a:lnTo>
                        <a:lnTo>
                          <a:pt x="792" y="1693"/>
                        </a:lnTo>
                        <a:lnTo>
                          <a:pt x="793" y="1698"/>
                        </a:lnTo>
                        <a:lnTo>
                          <a:pt x="796" y="1702"/>
                        </a:lnTo>
                        <a:lnTo>
                          <a:pt x="799" y="1707"/>
                        </a:lnTo>
                        <a:lnTo>
                          <a:pt x="803" y="1712"/>
                        </a:lnTo>
                        <a:lnTo>
                          <a:pt x="804" y="1715"/>
                        </a:lnTo>
                        <a:lnTo>
                          <a:pt x="804" y="1718"/>
                        </a:lnTo>
                        <a:lnTo>
                          <a:pt x="804" y="1720"/>
                        </a:lnTo>
                        <a:lnTo>
                          <a:pt x="802" y="1723"/>
                        </a:lnTo>
                        <a:lnTo>
                          <a:pt x="798" y="1729"/>
                        </a:lnTo>
                        <a:lnTo>
                          <a:pt x="795" y="1736"/>
                        </a:lnTo>
                        <a:lnTo>
                          <a:pt x="793" y="1743"/>
                        </a:lnTo>
                        <a:lnTo>
                          <a:pt x="792" y="1748"/>
                        </a:lnTo>
                        <a:lnTo>
                          <a:pt x="789" y="1751"/>
                        </a:lnTo>
                        <a:lnTo>
                          <a:pt x="784" y="1754"/>
                        </a:lnTo>
                        <a:lnTo>
                          <a:pt x="780" y="1754"/>
                        </a:lnTo>
                        <a:lnTo>
                          <a:pt x="777" y="1754"/>
                        </a:lnTo>
                        <a:lnTo>
                          <a:pt x="756" y="1754"/>
                        </a:lnTo>
                        <a:lnTo>
                          <a:pt x="753" y="1757"/>
                        </a:lnTo>
                        <a:lnTo>
                          <a:pt x="751" y="1760"/>
                        </a:lnTo>
                        <a:lnTo>
                          <a:pt x="749" y="1765"/>
                        </a:lnTo>
                        <a:lnTo>
                          <a:pt x="747" y="1771"/>
                        </a:lnTo>
                        <a:lnTo>
                          <a:pt x="746" y="1773"/>
                        </a:lnTo>
                        <a:lnTo>
                          <a:pt x="745" y="1776"/>
                        </a:lnTo>
                        <a:lnTo>
                          <a:pt x="744" y="1778"/>
                        </a:lnTo>
                        <a:lnTo>
                          <a:pt x="742" y="1779"/>
                        </a:lnTo>
                        <a:lnTo>
                          <a:pt x="740" y="1780"/>
                        </a:lnTo>
                        <a:lnTo>
                          <a:pt x="737" y="1782"/>
                        </a:lnTo>
                        <a:lnTo>
                          <a:pt x="736" y="1785"/>
                        </a:lnTo>
                        <a:lnTo>
                          <a:pt x="737" y="1788"/>
                        </a:lnTo>
                        <a:lnTo>
                          <a:pt x="737" y="1794"/>
                        </a:lnTo>
                        <a:lnTo>
                          <a:pt x="735" y="1797"/>
                        </a:lnTo>
                        <a:lnTo>
                          <a:pt x="732" y="1801"/>
                        </a:lnTo>
                        <a:lnTo>
                          <a:pt x="728" y="1805"/>
                        </a:lnTo>
                        <a:lnTo>
                          <a:pt x="725" y="1810"/>
                        </a:lnTo>
                        <a:lnTo>
                          <a:pt x="725" y="1813"/>
                        </a:lnTo>
                        <a:lnTo>
                          <a:pt x="726" y="1816"/>
                        </a:lnTo>
                        <a:lnTo>
                          <a:pt x="727" y="1819"/>
                        </a:lnTo>
                        <a:lnTo>
                          <a:pt x="728" y="1820"/>
                        </a:lnTo>
                        <a:lnTo>
                          <a:pt x="730" y="1820"/>
                        </a:lnTo>
                        <a:lnTo>
                          <a:pt x="731" y="1820"/>
                        </a:lnTo>
                        <a:lnTo>
                          <a:pt x="729" y="1820"/>
                        </a:lnTo>
                        <a:lnTo>
                          <a:pt x="728" y="1820"/>
                        </a:lnTo>
                        <a:lnTo>
                          <a:pt x="727" y="1820"/>
                        </a:lnTo>
                        <a:lnTo>
                          <a:pt x="725" y="1822"/>
                        </a:lnTo>
                        <a:lnTo>
                          <a:pt x="726" y="1823"/>
                        </a:lnTo>
                        <a:lnTo>
                          <a:pt x="725" y="1824"/>
                        </a:lnTo>
                        <a:lnTo>
                          <a:pt x="725" y="1825"/>
                        </a:lnTo>
                        <a:lnTo>
                          <a:pt x="726" y="1825"/>
                        </a:lnTo>
                        <a:lnTo>
                          <a:pt x="728" y="1825"/>
                        </a:lnTo>
                        <a:lnTo>
                          <a:pt x="728" y="1822"/>
                        </a:lnTo>
                        <a:lnTo>
                          <a:pt x="730" y="1822"/>
                        </a:lnTo>
                        <a:lnTo>
                          <a:pt x="731" y="1822"/>
                        </a:lnTo>
                        <a:lnTo>
                          <a:pt x="732" y="1822"/>
                        </a:lnTo>
                        <a:lnTo>
                          <a:pt x="732" y="1820"/>
                        </a:lnTo>
                        <a:lnTo>
                          <a:pt x="733" y="1820"/>
                        </a:lnTo>
                        <a:lnTo>
                          <a:pt x="734" y="1820"/>
                        </a:lnTo>
                        <a:lnTo>
                          <a:pt x="736" y="1818"/>
                        </a:lnTo>
                        <a:lnTo>
                          <a:pt x="737" y="1818"/>
                        </a:lnTo>
                        <a:lnTo>
                          <a:pt x="738" y="1818"/>
                        </a:lnTo>
                        <a:lnTo>
                          <a:pt x="740" y="1816"/>
                        </a:lnTo>
                        <a:lnTo>
                          <a:pt x="740" y="1815"/>
                        </a:lnTo>
                        <a:lnTo>
                          <a:pt x="740" y="1813"/>
                        </a:lnTo>
                        <a:lnTo>
                          <a:pt x="742" y="1813"/>
                        </a:lnTo>
                        <a:lnTo>
                          <a:pt x="744" y="1813"/>
                        </a:lnTo>
                        <a:lnTo>
                          <a:pt x="745" y="1812"/>
                        </a:lnTo>
                        <a:lnTo>
                          <a:pt x="747" y="1810"/>
                        </a:lnTo>
                        <a:lnTo>
                          <a:pt x="747" y="1809"/>
                        </a:lnTo>
                        <a:lnTo>
                          <a:pt x="747" y="1808"/>
                        </a:lnTo>
                        <a:lnTo>
                          <a:pt x="747" y="1807"/>
                        </a:lnTo>
                        <a:lnTo>
                          <a:pt x="747" y="1806"/>
                        </a:lnTo>
                        <a:lnTo>
                          <a:pt x="748" y="1804"/>
                        </a:lnTo>
                        <a:lnTo>
                          <a:pt x="749" y="1802"/>
                        </a:lnTo>
                        <a:lnTo>
                          <a:pt x="750" y="1800"/>
                        </a:lnTo>
                        <a:lnTo>
                          <a:pt x="751" y="1799"/>
                        </a:lnTo>
                        <a:lnTo>
                          <a:pt x="753" y="1803"/>
                        </a:lnTo>
                        <a:lnTo>
                          <a:pt x="754" y="1804"/>
                        </a:lnTo>
                        <a:lnTo>
                          <a:pt x="756" y="1803"/>
                        </a:lnTo>
                        <a:lnTo>
                          <a:pt x="760" y="1803"/>
                        </a:lnTo>
                        <a:lnTo>
                          <a:pt x="760" y="1802"/>
                        </a:lnTo>
                        <a:lnTo>
                          <a:pt x="760" y="1801"/>
                        </a:lnTo>
                        <a:lnTo>
                          <a:pt x="760" y="1800"/>
                        </a:lnTo>
                        <a:lnTo>
                          <a:pt x="760" y="1799"/>
                        </a:lnTo>
                        <a:lnTo>
                          <a:pt x="761" y="1800"/>
                        </a:lnTo>
                        <a:lnTo>
                          <a:pt x="760" y="1801"/>
                        </a:lnTo>
                        <a:lnTo>
                          <a:pt x="760" y="1803"/>
                        </a:lnTo>
                        <a:lnTo>
                          <a:pt x="762" y="1801"/>
                        </a:lnTo>
                        <a:lnTo>
                          <a:pt x="763" y="1799"/>
                        </a:lnTo>
                        <a:lnTo>
                          <a:pt x="763" y="1798"/>
                        </a:lnTo>
                        <a:lnTo>
                          <a:pt x="763" y="1796"/>
                        </a:lnTo>
                        <a:lnTo>
                          <a:pt x="768" y="1796"/>
                        </a:lnTo>
                        <a:lnTo>
                          <a:pt x="771" y="1796"/>
                        </a:lnTo>
                        <a:lnTo>
                          <a:pt x="777" y="1796"/>
                        </a:lnTo>
                        <a:lnTo>
                          <a:pt x="779" y="1796"/>
                        </a:lnTo>
                        <a:lnTo>
                          <a:pt x="780" y="1796"/>
                        </a:lnTo>
                        <a:lnTo>
                          <a:pt x="783" y="1796"/>
                        </a:lnTo>
                        <a:lnTo>
                          <a:pt x="780" y="1799"/>
                        </a:lnTo>
                        <a:lnTo>
                          <a:pt x="780" y="1801"/>
                        </a:lnTo>
                        <a:lnTo>
                          <a:pt x="780" y="1804"/>
                        </a:lnTo>
                        <a:lnTo>
                          <a:pt x="783" y="1806"/>
                        </a:lnTo>
                        <a:lnTo>
                          <a:pt x="784" y="1807"/>
                        </a:lnTo>
                        <a:lnTo>
                          <a:pt x="786" y="1808"/>
                        </a:lnTo>
                        <a:lnTo>
                          <a:pt x="786" y="1810"/>
                        </a:lnTo>
                        <a:lnTo>
                          <a:pt x="783" y="1812"/>
                        </a:lnTo>
                        <a:lnTo>
                          <a:pt x="780" y="1815"/>
                        </a:lnTo>
                        <a:lnTo>
                          <a:pt x="770" y="1820"/>
                        </a:lnTo>
                        <a:lnTo>
                          <a:pt x="767" y="1822"/>
                        </a:lnTo>
                        <a:lnTo>
                          <a:pt x="764" y="1825"/>
                        </a:lnTo>
                        <a:lnTo>
                          <a:pt x="761" y="1829"/>
                        </a:lnTo>
                        <a:lnTo>
                          <a:pt x="756" y="1832"/>
                        </a:lnTo>
                        <a:lnTo>
                          <a:pt x="754" y="1832"/>
                        </a:lnTo>
                        <a:lnTo>
                          <a:pt x="753" y="1833"/>
                        </a:lnTo>
                        <a:lnTo>
                          <a:pt x="752" y="1834"/>
                        </a:lnTo>
                        <a:lnTo>
                          <a:pt x="751" y="1835"/>
                        </a:lnTo>
                        <a:lnTo>
                          <a:pt x="751" y="1836"/>
                        </a:lnTo>
                        <a:lnTo>
                          <a:pt x="750" y="1836"/>
                        </a:lnTo>
                        <a:lnTo>
                          <a:pt x="749" y="1836"/>
                        </a:lnTo>
                        <a:lnTo>
                          <a:pt x="747" y="1836"/>
                        </a:lnTo>
                        <a:lnTo>
                          <a:pt x="751" y="1842"/>
                        </a:lnTo>
                        <a:lnTo>
                          <a:pt x="752" y="1842"/>
                        </a:lnTo>
                        <a:lnTo>
                          <a:pt x="754" y="1842"/>
                        </a:lnTo>
                        <a:lnTo>
                          <a:pt x="756" y="1842"/>
                        </a:lnTo>
                        <a:lnTo>
                          <a:pt x="758" y="1843"/>
                        </a:lnTo>
                        <a:lnTo>
                          <a:pt x="758" y="1845"/>
                        </a:lnTo>
                        <a:lnTo>
                          <a:pt x="757" y="1847"/>
                        </a:lnTo>
                        <a:lnTo>
                          <a:pt x="756" y="1848"/>
                        </a:lnTo>
                        <a:lnTo>
                          <a:pt x="753" y="1848"/>
                        </a:lnTo>
                        <a:lnTo>
                          <a:pt x="749" y="1847"/>
                        </a:lnTo>
                        <a:lnTo>
                          <a:pt x="746" y="1845"/>
                        </a:lnTo>
                        <a:lnTo>
                          <a:pt x="744" y="1842"/>
                        </a:lnTo>
                        <a:lnTo>
                          <a:pt x="743" y="1845"/>
                        </a:lnTo>
                        <a:lnTo>
                          <a:pt x="742" y="1846"/>
                        </a:lnTo>
                        <a:lnTo>
                          <a:pt x="741" y="1848"/>
                        </a:lnTo>
                        <a:lnTo>
                          <a:pt x="740" y="1848"/>
                        </a:lnTo>
                        <a:lnTo>
                          <a:pt x="739" y="1848"/>
                        </a:lnTo>
                        <a:lnTo>
                          <a:pt x="738" y="1848"/>
                        </a:lnTo>
                        <a:lnTo>
                          <a:pt x="737" y="1848"/>
                        </a:lnTo>
                        <a:lnTo>
                          <a:pt x="737" y="1849"/>
                        </a:lnTo>
                        <a:lnTo>
                          <a:pt x="737" y="1850"/>
                        </a:lnTo>
                        <a:lnTo>
                          <a:pt x="736" y="1851"/>
                        </a:lnTo>
                        <a:lnTo>
                          <a:pt x="734" y="1851"/>
                        </a:lnTo>
                        <a:lnTo>
                          <a:pt x="732" y="1855"/>
                        </a:lnTo>
                        <a:lnTo>
                          <a:pt x="727" y="1857"/>
                        </a:lnTo>
                        <a:lnTo>
                          <a:pt x="721" y="1858"/>
                        </a:lnTo>
                        <a:lnTo>
                          <a:pt x="715" y="1858"/>
                        </a:lnTo>
                        <a:lnTo>
                          <a:pt x="715" y="1862"/>
                        </a:lnTo>
                        <a:lnTo>
                          <a:pt x="717" y="1864"/>
                        </a:lnTo>
                        <a:lnTo>
                          <a:pt x="720" y="1865"/>
                        </a:lnTo>
                        <a:lnTo>
                          <a:pt x="725" y="1865"/>
                        </a:lnTo>
                        <a:lnTo>
                          <a:pt x="729" y="1868"/>
                        </a:lnTo>
                        <a:lnTo>
                          <a:pt x="731" y="1871"/>
                        </a:lnTo>
                        <a:lnTo>
                          <a:pt x="733" y="1874"/>
                        </a:lnTo>
                        <a:lnTo>
                          <a:pt x="737" y="1877"/>
                        </a:lnTo>
                        <a:lnTo>
                          <a:pt x="737" y="1875"/>
                        </a:lnTo>
                        <a:lnTo>
                          <a:pt x="738" y="1874"/>
                        </a:lnTo>
                        <a:lnTo>
                          <a:pt x="739" y="1873"/>
                        </a:lnTo>
                        <a:lnTo>
                          <a:pt x="740" y="1871"/>
                        </a:lnTo>
                        <a:lnTo>
                          <a:pt x="751" y="1881"/>
                        </a:lnTo>
                        <a:lnTo>
                          <a:pt x="759" y="1881"/>
                        </a:lnTo>
                        <a:lnTo>
                          <a:pt x="763" y="1882"/>
                        </a:lnTo>
                        <a:lnTo>
                          <a:pt x="766" y="1884"/>
                        </a:lnTo>
                        <a:lnTo>
                          <a:pt x="767" y="1886"/>
                        </a:lnTo>
                        <a:lnTo>
                          <a:pt x="767" y="1887"/>
                        </a:lnTo>
                        <a:lnTo>
                          <a:pt x="768" y="1889"/>
                        </a:lnTo>
                        <a:lnTo>
                          <a:pt x="770" y="1891"/>
                        </a:lnTo>
                        <a:lnTo>
                          <a:pt x="770" y="1890"/>
                        </a:lnTo>
                        <a:lnTo>
                          <a:pt x="770" y="1891"/>
                        </a:lnTo>
                        <a:lnTo>
                          <a:pt x="770" y="1893"/>
                        </a:lnTo>
                        <a:lnTo>
                          <a:pt x="765" y="1893"/>
                        </a:lnTo>
                        <a:lnTo>
                          <a:pt x="762" y="1892"/>
                        </a:lnTo>
                        <a:lnTo>
                          <a:pt x="756" y="1887"/>
                        </a:lnTo>
                        <a:lnTo>
                          <a:pt x="754" y="1891"/>
                        </a:lnTo>
                        <a:lnTo>
                          <a:pt x="754" y="1886"/>
                        </a:lnTo>
                        <a:lnTo>
                          <a:pt x="754" y="1885"/>
                        </a:lnTo>
                        <a:lnTo>
                          <a:pt x="754" y="1884"/>
                        </a:lnTo>
                        <a:lnTo>
                          <a:pt x="753" y="1884"/>
                        </a:lnTo>
                        <a:lnTo>
                          <a:pt x="752" y="1882"/>
                        </a:lnTo>
                        <a:lnTo>
                          <a:pt x="751" y="1881"/>
                        </a:lnTo>
                        <a:lnTo>
                          <a:pt x="750" y="1885"/>
                        </a:lnTo>
                        <a:lnTo>
                          <a:pt x="749" y="1889"/>
                        </a:lnTo>
                        <a:lnTo>
                          <a:pt x="748" y="1893"/>
                        </a:lnTo>
                        <a:lnTo>
                          <a:pt x="747" y="1897"/>
                        </a:lnTo>
                        <a:lnTo>
                          <a:pt x="748" y="1897"/>
                        </a:lnTo>
                        <a:lnTo>
                          <a:pt x="749" y="1897"/>
                        </a:lnTo>
                        <a:lnTo>
                          <a:pt x="750" y="1897"/>
                        </a:lnTo>
                        <a:lnTo>
                          <a:pt x="751" y="1897"/>
                        </a:lnTo>
                        <a:lnTo>
                          <a:pt x="751" y="1900"/>
                        </a:lnTo>
                        <a:lnTo>
                          <a:pt x="750" y="1900"/>
                        </a:lnTo>
                        <a:lnTo>
                          <a:pt x="749" y="1900"/>
                        </a:lnTo>
                        <a:lnTo>
                          <a:pt x="748" y="1901"/>
                        </a:lnTo>
                        <a:lnTo>
                          <a:pt x="747" y="1903"/>
                        </a:lnTo>
                        <a:lnTo>
                          <a:pt x="748" y="1904"/>
                        </a:lnTo>
                        <a:lnTo>
                          <a:pt x="749" y="1905"/>
                        </a:lnTo>
                        <a:lnTo>
                          <a:pt x="750" y="1906"/>
                        </a:lnTo>
                        <a:lnTo>
                          <a:pt x="751" y="1907"/>
                        </a:lnTo>
                        <a:lnTo>
                          <a:pt x="749" y="1907"/>
                        </a:lnTo>
                        <a:lnTo>
                          <a:pt x="748" y="1907"/>
                        </a:lnTo>
                        <a:lnTo>
                          <a:pt x="747" y="1907"/>
                        </a:lnTo>
                        <a:lnTo>
                          <a:pt x="747" y="1908"/>
                        </a:lnTo>
                        <a:lnTo>
                          <a:pt x="747" y="1910"/>
                        </a:lnTo>
                        <a:lnTo>
                          <a:pt x="749" y="1912"/>
                        </a:lnTo>
                        <a:lnTo>
                          <a:pt x="748" y="1914"/>
                        </a:lnTo>
                        <a:lnTo>
                          <a:pt x="748" y="1916"/>
                        </a:lnTo>
                        <a:lnTo>
                          <a:pt x="747" y="1919"/>
                        </a:lnTo>
                        <a:lnTo>
                          <a:pt x="748" y="1917"/>
                        </a:lnTo>
                        <a:lnTo>
                          <a:pt x="749" y="1917"/>
                        </a:lnTo>
                        <a:lnTo>
                          <a:pt x="750" y="1917"/>
                        </a:lnTo>
                        <a:lnTo>
                          <a:pt x="751" y="1917"/>
                        </a:lnTo>
                        <a:lnTo>
                          <a:pt x="754" y="1917"/>
                        </a:lnTo>
                        <a:lnTo>
                          <a:pt x="754" y="1916"/>
                        </a:lnTo>
                        <a:lnTo>
                          <a:pt x="754" y="1914"/>
                        </a:lnTo>
                        <a:lnTo>
                          <a:pt x="753" y="1913"/>
                        </a:lnTo>
                        <a:lnTo>
                          <a:pt x="751" y="1913"/>
                        </a:lnTo>
                        <a:lnTo>
                          <a:pt x="751" y="1912"/>
                        </a:lnTo>
                        <a:lnTo>
                          <a:pt x="752" y="1912"/>
                        </a:lnTo>
                        <a:lnTo>
                          <a:pt x="754" y="1913"/>
                        </a:lnTo>
                        <a:lnTo>
                          <a:pt x="756" y="1914"/>
                        </a:lnTo>
                        <a:lnTo>
                          <a:pt x="756" y="1915"/>
                        </a:lnTo>
                        <a:lnTo>
                          <a:pt x="754" y="1917"/>
                        </a:lnTo>
                        <a:lnTo>
                          <a:pt x="754" y="1919"/>
                        </a:lnTo>
                        <a:lnTo>
                          <a:pt x="753" y="1920"/>
                        </a:lnTo>
                        <a:lnTo>
                          <a:pt x="753" y="1921"/>
                        </a:lnTo>
                        <a:lnTo>
                          <a:pt x="753" y="1922"/>
                        </a:lnTo>
                        <a:lnTo>
                          <a:pt x="754" y="1923"/>
                        </a:lnTo>
                        <a:lnTo>
                          <a:pt x="754" y="1922"/>
                        </a:lnTo>
                        <a:lnTo>
                          <a:pt x="754" y="1921"/>
                        </a:lnTo>
                        <a:lnTo>
                          <a:pt x="755" y="1920"/>
                        </a:lnTo>
                        <a:lnTo>
                          <a:pt x="756" y="1919"/>
                        </a:lnTo>
                        <a:lnTo>
                          <a:pt x="756" y="1921"/>
                        </a:lnTo>
                        <a:lnTo>
                          <a:pt x="756" y="1923"/>
                        </a:lnTo>
                        <a:lnTo>
                          <a:pt x="756" y="1925"/>
                        </a:lnTo>
                        <a:lnTo>
                          <a:pt x="756" y="1929"/>
                        </a:lnTo>
                        <a:lnTo>
                          <a:pt x="754" y="1929"/>
                        </a:lnTo>
                        <a:lnTo>
                          <a:pt x="753" y="1926"/>
                        </a:lnTo>
                        <a:lnTo>
                          <a:pt x="752" y="1924"/>
                        </a:lnTo>
                        <a:lnTo>
                          <a:pt x="751" y="1922"/>
                        </a:lnTo>
                        <a:lnTo>
                          <a:pt x="749" y="1922"/>
                        </a:lnTo>
                        <a:lnTo>
                          <a:pt x="747" y="1922"/>
                        </a:lnTo>
                        <a:lnTo>
                          <a:pt x="744" y="1923"/>
                        </a:lnTo>
                        <a:lnTo>
                          <a:pt x="746" y="1917"/>
                        </a:lnTo>
                        <a:lnTo>
                          <a:pt x="746" y="1914"/>
                        </a:lnTo>
                        <a:lnTo>
                          <a:pt x="746" y="1911"/>
                        </a:lnTo>
                        <a:lnTo>
                          <a:pt x="744" y="1907"/>
                        </a:lnTo>
                        <a:lnTo>
                          <a:pt x="746" y="1905"/>
                        </a:lnTo>
                        <a:lnTo>
                          <a:pt x="747" y="1904"/>
                        </a:lnTo>
                        <a:lnTo>
                          <a:pt x="747" y="1903"/>
                        </a:lnTo>
                        <a:lnTo>
                          <a:pt x="745" y="1903"/>
                        </a:lnTo>
                        <a:lnTo>
                          <a:pt x="744" y="1903"/>
                        </a:lnTo>
                        <a:lnTo>
                          <a:pt x="742" y="1903"/>
                        </a:lnTo>
                        <a:lnTo>
                          <a:pt x="740" y="1903"/>
                        </a:lnTo>
                        <a:lnTo>
                          <a:pt x="740" y="1910"/>
                        </a:lnTo>
                        <a:lnTo>
                          <a:pt x="740" y="1916"/>
                        </a:lnTo>
                        <a:lnTo>
                          <a:pt x="740" y="1919"/>
                        </a:lnTo>
                        <a:lnTo>
                          <a:pt x="740" y="1923"/>
                        </a:lnTo>
                        <a:lnTo>
                          <a:pt x="738" y="1925"/>
                        </a:lnTo>
                        <a:lnTo>
                          <a:pt x="736" y="1926"/>
                        </a:lnTo>
                        <a:lnTo>
                          <a:pt x="734" y="1927"/>
                        </a:lnTo>
                        <a:lnTo>
                          <a:pt x="734" y="1929"/>
                        </a:lnTo>
                        <a:lnTo>
                          <a:pt x="734" y="1930"/>
                        </a:lnTo>
                        <a:lnTo>
                          <a:pt x="734" y="1931"/>
                        </a:lnTo>
                        <a:lnTo>
                          <a:pt x="734" y="1932"/>
                        </a:lnTo>
                        <a:lnTo>
                          <a:pt x="734" y="1933"/>
                        </a:lnTo>
                        <a:lnTo>
                          <a:pt x="733" y="1933"/>
                        </a:lnTo>
                        <a:lnTo>
                          <a:pt x="732" y="1933"/>
                        </a:lnTo>
                        <a:lnTo>
                          <a:pt x="731" y="1933"/>
                        </a:lnTo>
                        <a:lnTo>
                          <a:pt x="732" y="1938"/>
                        </a:lnTo>
                        <a:lnTo>
                          <a:pt x="732" y="1942"/>
                        </a:lnTo>
                        <a:lnTo>
                          <a:pt x="732" y="1947"/>
                        </a:lnTo>
                        <a:lnTo>
                          <a:pt x="731" y="1952"/>
                        </a:lnTo>
                        <a:lnTo>
                          <a:pt x="731" y="1954"/>
                        </a:lnTo>
                        <a:lnTo>
                          <a:pt x="730" y="1957"/>
                        </a:lnTo>
                        <a:lnTo>
                          <a:pt x="728" y="1959"/>
                        </a:lnTo>
                        <a:lnTo>
                          <a:pt x="728" y="1962"/>
                        </a:lnTo>
                        <a:lnTo>
                          <a:pt x="721" y="1962"/>
                        </a:lnTo>
                        <a:lnTo>
                          <a:pt x="715" y="1963"/>
                        </a:lnTo>
                        <a:lnTo>
                          <a:pt x="708" y="1963"/>
                        </a:lnTo>
                        <a:lnTo>
                          <a:pt x="702" y="1962"/>
                        </a:lnTo>
                        <a:lnTo>
                          <a:pt x="702" y="1959"/>
                        </a:lnTo>
                        <a:lnTo>
                          <a:pt x="697" y="1959"/>
                        </a:lnTo>
                        <a:lnTo>
                          <a:pt x="696" y="1959"/>
                        </a:lnTo>
                        <a:lnTo>
                          <a:pt x="695" y="1959"/>
                        </a:lnTo>
                        <a:lnTo>
                          <a:pt x="693" y="1961"/>
                        </a:lnTo>
                        <a:lnTo>
                          <a:pt x="692" y="1962"/>
                        </a:lnTo>
                        <a:lnTo>
                          <a:pt x="691" y="1963"/>
                        </a:lnTo>
                        <a:lnTo>
                          <a:pt x="689" y="1965"/>
                        </a:lnTo>
                        <a:lnTo>
                          <a:pt x="689" y="1966"/>
                        </a:lnTo>
                        <a:lnTo>
                          <a:pt x="690" y="1967"/>
                        </a:lnTo>
                        <a:lnTo>
                          <a:pt x="692" y="1966"/>
                        </a:lnTo>
                        <a:lnTo>
                          <a:pt x="694" y="1965"/>
                        </a:lnTo>
                        <a:lnTo>
                          <a:pt x="695" y="1962"/>
                        </a:lnTo>
                        <a:lnTo>
                          <a:pt x="696" y="1964"/>
                        </a:lnTo>
                        <a:lnTo>
                          <a:pt x="697" y="1965"/>
                        </a:lnTo>
                        <a:lnTo>
                          <a:pt x="698" y="1965"/>
                        </a:lnTo>
                        <a:lnTo>
                          <a:pt x="699" y="1965"/>
                        </a:lnTo>
                        <a:lnTo>
                          <a:pt x="700" y="1965"/>
                        </a:lnTo>
                        <a:lnTo>
                          <a:pt x="699" y="1965"/>
                        </a:lnTo>
                        <a:lnTo>
                          <a:pt x="699" y="1964"/>
                        </a:lnTo>
                        <a:lnTo>
                          <a:pt x="699" y="1965"/>
                        </a:lnTo>
                        <a:lnTo>
                          <a:pt x="699" y="1967"/>
                        </a:lnTo>
                        <a:lnTo>
                          <a:pt x="699" y="1968"/>
                        </a:lnTo>
                        <a:lnTo>
                          <a:pt x="702" y="1968"/>
                        </a:lnTo>
                        <a:lnTo>
                          <a:pt x="704" y="1969"/>
                        </a:lnTo>
                        <a:lnTo>
                          <a:pt x="705" y="1971"/>
                        </a:lnTo>
                        <a:lnTo>
                          <a:pt x="704" y="1972"/>
                        </a:lnTo>
                        <a:lnTo>
                          <a:pt x="702" y="1974"/>
                        </a:lnTo>
                        <a:lnTo>
                          <a:pt x="699" y="1976"/>
                        </a:lnTo>
                        <a:lnTo>
                          <a:pt x="695" y="1977"/>
                        </a:lnTo>
                        <a:lnTo>
                          <a:pt x="685" y="1978"/>
                        </a:lnTo>
                        <a:lnTo>
                          <a:pt x="685" y="1980"/>
                        </a:lnTo>
                        <a:lnTo>
                          <a:pt x="684" y="1981"/>
                        </a:lnTo>
                        <a:lnTo>
                          <a:pt x="683" y="1981"/>
                        </a:lnTo>
                        <a:lnTo>
                          <a:pt x="687" y="1982"/>
                        </a:lnTo>
                        <a:lnTo>
                          <a:pt x="689" y="1983"/>
                        </a:lnTo>
                        <a:lnTo>
                          <a:pt x="692" y="1985"/>
                        </a:lnTo>
                        <a:lnTo>
                          <a:pt x="695" y="1985"/>
                        </a:lnTo>
                        <a:lnTo>
                          <a:pt x="700" y="1985"/>
                        </a:lnTo>
                        <a:lnTo>
                          <a:pt x="702" y="1985"/>
                        </a:lnTo>
                        <a:lnTo>
                          <a:pt x="706" y="1985"/>
                        </a:lnTo>
                        <a:lnTo>
                          <a:pt x="710" y="1985"/>
                        </a:lnTo>
                        <a:lnTo>
                          <a:pt x="714" y="1986"/>
                        </a:lnTo>
                        <a:lnTo>
                          <a:pt x="718" y="1988"/>
                        </a:lnTo>
                        <a:lnTo>
                          <a:pt x="721" y="1989"/>
                        </a:lnTo>
                        <a:lnTo>
                          <a:pt x="723" y="1992"/>
                        </a:lnTo>
                        <a:lnTo>
                          <a:pt x="730" y="1998"/>
                        </a:lnTo>
                        <a:lnTo>
                          <a:pt x="735" y="2005"/>
                        </a:lnTo>
                        <a:lnTo>
                          <a:pt x="738" y="2006"/>
                        </a:lnTo>
                        <a:lnTo>
                          <a:pt x="740" y="2007"/>
                        </a:lnTo>
                        <a:lnTo>
                          <a:pt x="746" y="2008"/>
                        </a:lnTo>
                        <a:lnTo>
                          <a:pt x="751" y="2007"/>
                        </a:lnTo>
                        <a:lnTo>
                          <a:pt x="756" y="2005"/>
                        </a:lnTo>
                        <a:lnTo>
                          <a:pt x="760" y="2004"/>
                        </a:lnTo>
                        <a:lnTo>
                          <a:pt x="762" y="2005"/>
                        </a:lnTo>
                        <a:lnTo>
                          <a:pt x="765" y="2009"/>
                        </a:lnTo>
                        <a:lnTo>
                          <a:pt x="767" y="2012"/>
                        </a:lnTo>
                        <a:lnTo>
                          <a:pt x="770" y="2013"/>
                        </a:lnTo>
                        <a:lnTo>
                          <a:pt x="772" y="2013"/>
                        </a:lnTo>
                        <a:lnTo>
                          <a:pt x="773" y="2013"/>
                        </a:lnTo>
                        <a:lnTo>
                          <a:pt x="776" y="2013"/>
                        </a:lnTo>
                        <a:lnTo>
                          <a:pt x="778" y="2015"/>
                        </a:lnTo>
                        <a:lnTo>
                          <a:pt x="780" y="2016"/>
                        </a:lnTo>
                        <a:lnTo>
                          <a:pt x="783" y="2016"/>
                        </a:lnTo>
                        <a:lnTo>
                          <a:pt x="787" y="2018"/>
                        </a:lnTo>
                        <a:lnTo>
                          <a:pt x="792" y="2018"/>
                        </a:lnTo>
                        <a:lnTo>
                          <a:pt x="797" y="2017"/>
                        </a:lnTo>
                        <a:lnTo>
                          <a:pt x="802" y="2016"/>
                        </a:lnTo>
                        <a:lnTo>
                          <a:pt x="804" y="2017"/>
                        </a:lnTo>
                        <a:lnTo>
                          <a:pt x="807" y="2018"/>
                        </a:lnTo>
                        <a:lnTo>
                          <a:pt x="808" y="2019"/>
                        </a:lnTo>
                        <a:lnTo>
                          <a:pt x="808" y="2020"/>
                        </a:lnTo>
                        <a:lnTo>
                          <a:pt x="811" y="2021"/>
                        </a:lnTo>
                        <a:lnTo>
                          <a:pt x="813" y="2021"/>
                        </a:lnTo>
                        <a:lnTo>
                          <a:pt x="816" y="2022"/>
                        </a:lnTo>
                        <a:lnTo>
                          <a:pt x="818" y="2023"/>
                        </a:lnTo>
                        <a:lnTo>
                          <a:pt x="819" y="2024"/>
                        </a:lnTo>
                        <a:lnTo>
                          <a:pt x="820" y="2025"/>
                        </a:lnTo>
                        <a:lnTo>
                          <a:pt x="821" y="2026"/>
                        </a:lnTo>
                        <a:lnTo>
                          <a:pt x="822" y="2026"/>
                        </a:lnTo>
                        <a:lnTo>
                          <a:pt x="824" y="2027"/>
                        </a:lnTo>
                        <a:lnTo>
                          <a:pt x="825" y="2027"/>
                        </a:lnTo>
                        <a:lnTo>
                          <a:pt x="826" y="2028"/>
                        </a:lnTo>
                        <a:lnTo>
                          <a:pt x="828" y="2030"/>
                        </a:lnTo>
                        <a:lnTo>
                          <a:pt x="831" y="2030"/>
                        </a:lnTo>
                        <a:lnTo>
                          <a:pt x="834" y="2032"/>
                        </a:lnTo>
                        <a:lnTo>
                          <a:pt x="838" y="2037"/>
                        </a:lnTo>
                        <a:lnTo>
                          <a:pt x="840" y="2037"/>
                        </a:lnTo>
                        <a:lnTo>
                          <a:pt x="841" y="2039"/>
                        </a:lnTo>
                        <a:lnTo>
                          <a:pt x="845" y="2043"/>
                        </a:lnTo>
                        <a:lnTo>
                          <a:pt x="848" y="2046"/>
                        </a:lnTo>
                        <a:lnTo>
                          <a:pt x="848" y="135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3" name="Freeform 1458">
                    <a:extLst>
                      <a:ext uri="{FF2B5EF4-FFF2-40B4-BE49-F238E27FC236}">
                        <a16:creationId xmlns:a16="http://schemas.microsoft.com/office/drawing/2014/main" xmlns="" id="{B69181C4-20A5-4E38-AFBC-D23699585F1A}"/>
                      </a:ext>
                    </a:extLst>
                  </p:cNvPr>
                  <p:cNvSpPr>
                    <a:spLocks/>
                  </p:cNvSpPr>
                  <p:nvPr/>
                </p:nvSpPr>
                <p:spPr bwMode="gray">
                  <a:xfrm>
                    <a:off x="5202942" y="2727957"/>
                    <a:ext cx="2225" cy="7787"/>
                  </a:xfrm>
                  <a:custGeom>
                    <a:avLst/>
                    <a:gdLst>
                      <a:gd name="T0" fmla="*/ 0 w 2"/>
                      <a:gd name="T1" fmla="*/ 0 h 7"/>
                      <a:gd name="T2" fmla="*/ 0 w 2"/>
                      <a:gd name="T3" fmla="*/ 0 h 7"/>
                      <a:gd name="T4" fmla="*/ 2147483647 w 2"/>
                      <a:gd name="T5" fmla="*/ 2147483647 h 7"/>
                      <a:gd name="T6" fmla="*/ 2147483647 w 2"/>
                      <a:gd name="T7" fmla="*/ 2147483647 h 7"/>
                      <a:gd name="T8" fmla="*/ 2147483647 w 2"/>
                      <a:gd name="T9" fmla="*/ 2147483647 h 7"/>
                      <a:gd name="T10" fmla="*/ 2147483647 w 2"/>
                      <a:gd name="T11" fmla="*/ 2147483647 h 7"/>
                      <a:gd name="T12" fmla="*/ 2147483647 w 2"/>
                      <a:gd name="T13" fmla="*/ 2147483647 h 7"/>
                      <a:gd name="T14" fmla="*/ 2147483647 w 2"/>
                      <a:gd name="T15" fmla="*/ 2147483647 h 7"/>
                      <a:gd name="T16" fmla="*/ 2147483647 w 2"/>
                      <a:gd name="T17" fmla="*/ 2147483647 h 7"/>
                      <a:gd name="T18" fmla="*/ 2147483647 w 2"/>
                      <a:gd name="T19" fmla="*/ 0 h 7"/>
                      <a:gd name="T20" fmla="*/ 0 w 2"/>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 h="7">
                        <a:moveTo>
                          <a:pt x="0" y="0"/>
                        </a:moveTo>
                        <a:lnTo>
                          <a:pt x="0" y="0"/>
                        </a:lnTo>
                        <a:lnTo>
                          <a:pt x="1" y="2"/>
                        </a:lnTo>
                        <a:lnTo>
                          <a:pt x="2" y="3"/>
                        </a:lnTo>
                        <a:lnTo>
                          <a:pt x="2" y="5"/>
                        </a:lnTo>
                        <a:lnTo>
                          <a:pt x="2" y="7"/>
                        </a:lnTo>
                        <a:lnTo>
                          <a:pt x="2" y="5"/>
                        </a:lnTo>
                        <a:lnTo>
                          <a:pt x="2" y="3"/>
                        </a:lnTo>
                        <a:lnTo>
                          <a:pt x="2" y="2"/>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4" name="Freeform 1460">
                    <a:extLst>
                      <a:ext uri="{FF2B5EF4-FFF2-40B4-BE49-F238E27FC236}">
                        <a16:creationId xmlns:a16="http://schemas.microsoft.com/office/drawing/2014/main" xmlns="" id="{158E05A3-9B95-43BD-B654-94B6DAD65986}"/>
                      </a:ext>
                    </a:extLst>
                  </p:cNvPr>
                  <p:cNvSpPr>
                    <a:spLocks/>
                  </p:cNvSpPr>
                  <p:nvPr/>
                </p:nvSpPr>
                <p:spPr bwMode="gray">
                  <a:xfrm>
                    <a:off x="5208505" y="2739079"/>
                    <a:ext cx="4450" cy="6675"/>
                  </a:xfrm>
                  <a:custGeom>
                    <a:avLst/>
                    <a:gdLst>
                      <a:gd name="T0" fmla="*/ 2147483647 w 4"/>
                      <a:gd name="T1" fmla="*/ 2147483647 h 6"/>
                      <a:gd name="T2" fmla="*/ 2147483647 w 4"/>
                      <a:gd name="T3" fmla="*/ 2147483647 h 6"/>
                      <a:gd name="T4" fmla="*/ 2147483647 w 4"/>
                      <a:gd name="T5" fmla="*/ 2147483647 h 6"/>
                      <a:gd name="T6" fmla="*/ 2147483647 w 4"/>
                      <a:gd name="T7" fmla="*/ 2147483647 h 6"/>
                      <a:gd name="T8" fmla="*/ 0 w 4"/>
                      <a:gd name="T9" fmla="*/ 2147483647 h 6"/>
                      <a:gd name="T10" fmla="*/ 0 w 4"/>
                      <a:gd name="T11" fmla="*/ 2147483647 h 6"/>
                      <a:gd name="T12" fmla="*/ 0 w 4"/>
                      <a:gd name="T13" fmla="*/ 2147483647 h 6"/>
                      <a:gd name="T14" fmla="*/ 0 w 4"/>
                      <a:gd name="T15" fmla="*/ 2147483647 h 6"/>
                      <a:gd name="T16" fmla="*/ 0 w 4"/>
                      <a:gd name="T17" fmla="*/ 0 h 6"/>
                      <a:gd name="T18" fmla="*/ 0 w 4"/>
                      <a:gd name="T19" fmla="*/ 2147483647 h 6"/>
                      <a:gd name="T20" fmla="*/ 0 w 4"/>
                      <a:gd name="T21" fmla="*/ 2147483647 h 6"/>
                      <a:gd name="T22" fmla="*/ 0 w 4"/>
                      <a:gd name="T23" fmla="*/ 2147483647 h 6"/>
                      <a:gd name="T24" fmla="*/ 0 w 4"/>
                      <a:gd name="T25" fmla="*/ 2147483647 h 6"/>
                      <a:gd name="T26" fmla="*/ 2147483647 w 4"/>
                      <a:gd name="T27" fmla="*/ 2147483647 h 6"/>
                      <a:gd name="T28" fmla="*/ 2147483647 w 4"/>
                      <a:gd name="T29" fmla="*/ 2147483647 h 6"/>
                      <a:gd name="T30" fmla="*/ 2147483647 w 4"/>
                      <a:gd name="T31" fmla="*/ 2147483647 h 6"/>
                      <a:gd name="T32" fmla="*/ 2147483647 w 4"/>
                      <a:gd name="T33" fmla="*/ 2147483647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6">
                        <a:moveTo>
                          <a:pt x="4" y="6"/>
                        </a:moveTo>
                        <a:lnTo>
                          <a:pt x="4" y="4"/>
                        </a:lnTo>
                        <a:lnTo>
                          <a:pt x="3" y="3"/>
                        </a:lnTo>
                        <a:lnTo>
                          <a:pt x="2" y="3"/>
                        </a:lnTo>
                        <a:lnTo>
                          <a:pt x="0" y="3"/>
                        </a:lnTo>
                        <a:lnTo>
                          <a:pt x="0" y="2"/>
                        </a:lnTo>
                        <a:lnTo>
                          <a:pt x="0" y="1"/>
                        </a:lnTo>
                        <a:lnTo>
                          <a:pt x="0" y="0"/>
                        </a:lnTo>
                        <a:lnTo>
                          <a:pt x="0" y="1"/>
                        </a:lnTo>
                        <a:lnTo>
                          <a:pt x="0" y="2"/>
                        </a:lnTo>
                        <a:lnTo>
                          <a:pt x="0" y="3"/>
                        </a:lnTo>
                        <a:lnTo>
                          <a:pt x="1" y="3"/>
                        </a:lnTo>
                        <a:lnTo>
                          <a:pt x="2" y="4"/>
                        </a:lnTo>
                        <a:lnTo>
                          <a:pt x="3" y="5"/>
                        </a:lnTo>
                        <a:lnTo>
                          <a:pt x="4" y="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5" name="Freeform 1462">
                    <a:extLst>
                      <a:ext uri="{FF2B5EF4-FFF2-40B4-BE49-F238E27FC236}">
                        <a16:creationId xmlns:a16="http://schemas.microsoft.com/office/drawing/2014/main" xmlns="" id="{A7C38AF9-F2D6-41BD-9852-35322C570B6D}"/>
                      </a:ext>
                    </a:extLst>
                  </p:cNvPr>
                  <p:cNvSpPr>
                    <a:spLocks/>
                  </p:cNvSpPr>
                  <p:nvPr/>
                </p:nvSpPr>
                <p:spPr bwMode="gray">
                  <a:xfrm>
                    <a:off x="4870314" y="3066128"/>
                    <a:ext cx="14463" cy="11125"/>
                  </a:xfrm>
                  <a:custGeom>
                    <a:avLst/>
                    <a:gdLst>
                      <a:gd name="T0" fmla="*/ 2147483647 w 13"/>
                      <a:gd name="T1" fmla="*/ 2147483647 h 10"/>
                      <a:gd name="T2" fmla="*/ 2147483647 w 13"/>
                      <a:gd name="T3" fmla="*/ 2147483647 h 10"/>
                      <a:gd name="T4" fmla="*/ 2147483647 w 13"/>
                      <a:gd name="T5" fmla="*/ 2147483647 h 10"/>
                      <a:gd name="T6" fmla="*/ 2147483647 w 13"/>
                      <a:gd name="T7" fmla="*/ 2147483647 h 10"/>
                      <a:gd name="T8" fmla="*/ 2147483647 w 13"/>
                      <a:gd name="T9" fmla="*/ 2147483647 h 10"/>
                      <a:gd name="T10" fmla="*/ 2147483647 w 13"/>
                      <a:gd name="T11" fmla="*/ 2147483647 h 10"/>
                      <a:gd name="T12" fmla="*/ 2147483647 w 13"/>
                      <a:gd name="T13" fmla="*/ 2147483647 h 10"/>
                      <a:gd name="T14" fmla="*/ 2147483647 w 13"/>
                      <a:gd name="T15" fmla="*/ 2147483647 h 10"/>
                      <a:gd name="T16" fmla="*/ 2147483647 w 13"/>
                      <a:gd name="T17" fmla="*/ 0 h 10"/>
                      <a:gd name="T18" fmla="*/ 2147483647 w 13"/>
                      <a:gd name="T19" fmla="*/ 0 h 10"/>
                      <a:gd name="T20" fmla="*/ 2147483647 w 13"/>
                      <a:gd name="T21" fmla="*/ 0 h 10"/>
                      <a:gd name="T22" fmla="*/ 2147483647 w 13"/>
                      <a:gd name="T23" fmla="*/ 0 h 10"/>
                      <a:gd name="T24" fmla="*/ 2147483647 w 13"/>
                      <a:gd name="T25" fmla="*/ 0 h 10"/>
                      <a:gd name="T26" fmla="*/ 2147483647 w 13"/>
                      <a:gd name="T27" fmla="*/ 2147483647 h 10"/>
                      <a:gd name="T28" fmla="*/ 2147483647 w 13"/>
                      <a:gd name="T29" fmla="*/ 2147483647 h 10"/>
                      <a:gd name="T30" fmla="*/ 0 w 13"/>
                      <a:gd name="T31" fmla="*/ 2147483647 h 10"/>
                      <a:gd name="T32" fmla="*/ 2147483647 w 13"/>
                      <a:gd name="T33" fmla="*/ 2147483647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 h="10">
                        <a:moveTo>
                          <a:pt x="6" y="10"/>
                        </a:moveTo>
                        <a:lnTo>
                          <a:pt x="7" y="9"/>
                        </a:lnTo>
                        <a:lnTo>
                          <a:pt x="8" y="8"/>
                        </a:lnTo>
                        <a:lnTo>
                          <a:pt x="9" y="7"/>
                        </a:lnTo>
                        <a:lnTo>
                          <a:pt x="10" y="6"/>
                        </a:lnTo>
                        <a:lnTo>
                          <a:pt x="11" y="4"/>
                        </a:lnTo>
                        <a:lnTo>
                          <a:pt x="11" y="3"/>
                        </a:lnTo>
                        <a:lnTo>
                          <a:pt x="12" y="2"/>
                        </a:lnTo>
                        <a:lnTo>
                          <a:pt x="13" y="0"/>
                        </a:lnTo>
                        <a:lnTo>
                          <a:pt x="11" y="0"/>
                        </a:lnTo>
                        <a:lnTo>
                          <a:pt x="10" y="0"/>
                        </a:lnTo>
                        <a:lnTo>
                          <a:pt x="6" y="4"/>
                        </a:lnTo>
                        <a:lnTo>
                          <a:pt x="3" y="6"/>
                        </a:lnTo>
                        <a:lnTo>
                          <a:pt x="0" y="6"/>
                        </a:lnTo>
                        <a:lnTo>
                          <a:pt x="6" y="1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6" name="Freeform 1464">
                    <a:extLst>
                      <a:ext uri="{FF2B5EF4-FFF2-40B4-BE49-F238E27FC236}">
                        <a16:creationId xmlns:a16="http://schemas.microsoft.com/office/drawing/2014/main" xmlns="" id="{5C35B9B8-4639-4F3B-8F2A-1C8F7D1AF005}"/>
                      </a:ext>
                    </a:extLst>
                  </p:cNvPr>
                  <p:cNvSpPr>
                    <a:spLocks/>
                  </p:cNvSpPr>
                  <p:nvPr/>
                </p:nvSpPr>
                <p:spPr bwMode="gray">
                  <a:xfrm>
                    <a:off x="4884776" y="3000495"/>
                    <a:ext cx="147958" cy="87881"/>
                  </a:xfrm>
                  <a:custGeom>
                    <a:avLst/>
                    <a:gdLst>
                      <a:gd name="T0" fmla="*/ 2147483647 w 133"/>
                      <a:gd name="T1" fmla="*/ 2147483647 h 79"/>
                      <a:gd name="T2" fmla="*/ 2147483647 w 133"/>
                      <a:gd name="T3" fmla="*/ 2147483647 h 79"/>
                      <a:gd name="T4" fmla="*/ 2147483647 w 133"/>
                      <a:gd name="T5" fmla="*/ 2147483647 h 79"/>
                      <a:gd name="T6" fmla="*/ 2147483647 w 133"/>
                      <a:gd name="T7" fmla="*/ 2147483647 h 79"/>
                      <a:gd name="T8" fmla="*/ 2147483647 w 133"/>
                      <a:gd name="T9" fmla="*/ 2147483647 h 79"/>
                      <a:gd name="T10" fmla="*/ 2147483647 w 133"/>
                      <a:gd name="T11" fmla="*/ 2147483647 h 79"/>
                      <a:gd name="T12" fmla="*/ 2147483647 w 133"/>
                      <a:gd name="T13" fmla="*/ 2147483647 h 79"/>
                      <a:gd name="T14" fmla="*/ 2147483647 w 133"/>
                      <a:gd name="T15" fmla="*/ 2147483647 h 79"/>
                      <a:gd name="T16" fmla="*/ 2147483647 w 133"/>
                      <a:gd name="T17" fmla="*/ 2147483647 h 79"/>
                      <a:gd name="T18" fmla="*/ 2147483647 w 133"/>
                      <a:gd name="T19" fmla="*/ 2147483647 h 79"/>
                      <a:gd name="T20" fmla="*/ 2147483647 w 133"/>
                      <a:gd name="T21" fmla="*/ 2147483647 h 79"/>
                      <a:gd name="T22" fmla="*/ 2147483647 w 133"/>
                      <a:gd name="T23" fmla="*/ 2147483647 h 79"/>
                      <a:gd name="T24" fmla="*/ 2147483647 w 133"/>
                      <a:gd name="T25" fmla="*/ 2147483647 h 79"/>
                      <a:gd name="T26" fmla="*/ 2147483647 w 133"/>
                      <a:gd name="T27" fmla="*/ 2147483647 h 79"/>
                      <a:gd name="T28" fmla="*/ 2147483647 w 133"/>
                      <a:gd name="T29" fmla="*/ 2147483647 h 79"/>
                      <a:gd name="T30" fmla="*/ 2147483647 w 133"/>
                      <a:gd name="T31" fmla="*/ 0 h 79"/>
                      <a:gd name="T32" fmla="*/ 2147483647 w 133"/>
                      <a:gd name="T33" fmla="*/ 2147483647 h 79"/>
                      <a:gd name="T34" fmla="*/ 2147483647 w 133"/>
                      <a:gd name="T35" fmla="*/ 2147483647 h 79"/>
                      <a:gd name="T36" fmla="*/ 2147483647 w 133"/>
                      <a:gd name="T37" fmla="*/ 2147483647 h 79"/>
                      <a:gd name="T38" fmla="*/ 2147483647 w 133"/>
                      <a:gd name="T39" fmla="*/ 2147483647 h 79"/>
                      <a:gd name="T40" fmla="*/ 2147483647 w 133"/>
                      <a:gd name="T41" fmla="*/ 2147483647 h 79"/>
                      <a:gd name="T42" fmla="*/ 2147483647 w 133"/>
                      <a:gd name="T43" fmla="*/ 2147483647 h 79"/>
                      <a:gd name="T44" fmla="*/ 2147483647 w 133"/>
                      <a:gd name="T45" fmla="*/ 2147483647 h 79"/>
                      <a:gd name="T46" fmla="*/ 2147483647 w 133"/>
                      <a:gd name="T47" fmla="*/ 2147483647 h 79"/>
                      <a:gd name="T48" fmla="*/ 2147483647 w 133"/>
                      <a:gd name="T49" fmla="*/ 2147483647 h 79"/>
                      <a:gd name="T50" fmla="*/ 2147483647 w 133"/>
                      <a:gd name="T51" fmla="*/ 2147483647 h 79"/>
                      <a:gd name="T52" fmla="*/ 2147483647 w 133"/>
                      <a:gd name="T53" fmla="*/ 2147483647 h 79"/>
                      <a:gd name="T54" fmla="*/ 2147483647 w 133"/>
                      <a:gd name="T55" fmla="*/ 2147483647 h 79"/>
                      <a:gd name="T56" fmla="*/ 2147483647 w 133"/>
                      <a:gd name="T57" fmla="*/ 2147483647 h 79"/>
                      <a:gd name="T58" fmla="*/ 2147483647 w 133"/>
                      <a:gd name="T59" fmla="*/ 2147483647 h 79"/>
                      <a:gd name="T60" fmla="*/ 0 w 133"/>
                      <a:gd name="T61" fmla="*/ 2147483647 h 79"/>
                      <a:gd name="T62" fmla="*/ 2147483647 w 133"/>
                      <a:gd name="T63" fmla="*/ 2147483647 h 79"/>
                      <a:gd name="T64" fmla="*/ 2147483647 w 133"/>
                      <a:gd name="T65" fmla="*/ 2147483647 h 79"/>
                      <a:gd name="T66" fmla="*/ 2147483647 w 133"/>
                      <a:gd name="T67" fmla="*/ 2147483647 h 79"/>
                      <a:gd name="T68" fmla="*/ 2147483647 w 133"/>
                      <a:gd name="T69" fmla="*/ 2147483647 h 79"/>
                      <a:gd name="T70" fmla="*/ 2147483647 w 133"/>
                      <a:gd name="T71" fmla="*/ 2147483647 h 79"/>
                      <a:gd name="T72" fmla="*/ 2147483647 w 133"/>
                      <a:gd name="T73" fmla="*/ 2147483647 h 79"/>
                      <a:gd name="T74" fmla="*/ 2147483647 w 133"/>
                      <a:gd name="T75" fmla="*/ 2147483647 h 79"/>
                      <a:gd name="T76" fmla="*/ 2147483647 w 133"/>
                      <a:gd name="T77" fmla="*/ 2147483647 h 79"/>
                      <a:gd name="T78" fmla="*/ 2147483647 w 133"/>
                      <a:gd name="T79" fmla="*/ 2147483647 h 79"/>
                      <a:gd name="T80" fmla="*/ 2147483647 w 133"/>
                      <a:gd name="T81" fmla="*/ 2147483647 h 79"/>
                      <a:gd name="T82" fmla="*/ 2147483647 w 133"/>
                      <a:gd name="T83" fmla="*/ 2147483647 h 79"/>
                      <a:gd name="T84" fmla="*/ 2147483647 w 133"/>
                      <a:gd name="T85" fmla="*/ 2147483647 h 79"/>
                      <a:gd name="T86" fmla="*/ 2147483647 w 133"/>
                      <a:gd name="T87" fmla="*/ 2147483647 h 79"/>
                      <a:gd name="T88" fmla="*/ 2147483647 w 133"/>
                      <a:gd name="T89" fmla="*/ 2147483647 h 79"/>
                      <a:gd name="T90" fmla="*/ 2147483647 w 133"/>
                      <a:gd name="T91" fmla="*/ 2147483647 h 79"/>
                      <a:gd name="T92" fmla="*/ 2147483647 w 133"/>
                      <a:gd name="T93" fmla="*/ 2147483647 h 79"/>
                      <a:gd name="T94" fmla="*/ 2147483647 w 133"/>
                      <a:gd name="T95" fmla="*/ 2147483647 h 79"/>
                      <a:gd name="T96" fmla="*/ 2147483647 w 133"/>
                      <a:gd name="T97" fmla="*/ 2147483647 h 79"/>
                      <a:gd name="T98" fmla="*/ 2147483647 w 133"/>
                      <a:gd name="T99" fmla="*/ 2147483647 h 79"/>
                      <a:gd name="T100" fmla="*/ 2147483647 w 133"/>
                      <a:gd name="T101" fmla="*/ 2147483647 h 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33" h="79">
                        <a:moveTo>
                          <a:pt x="61" y="3"/>
                        </a:moveTo>
                        <a:lnTo>
                          <a:pt x="61" y="3"/>
                        </a:lnTo>
                        <a:lnTo>
                          <a:pt x="61" y="7"/>
                        </a:lnTo>
                        <a:lnTo>
                          <a:pt x="60" y="9"/>
                        </a:lnTo>
                        <a:lnTo>
                          <a:pt x="58" y="12"/>
                        </a:lnTo>
                        <a:lnTo>
                          <a:pt x="55" y="16"/>
                        </a:lnTo>
                        <a:lnTo>
                          <a:pt x="54" y="20"/>
                        </a:lnTo>
                        <a:lnTo>
                          <a:pt x="55" y="20"/>
                        </a:lnTo>
                        <a:lnTo>
                          <a:pt x="56" y="20"/>
                        </a:lnTo>
                        <a:lnTo>
                          <a:pt x="57" y="20"/>
                        </a:lnTo>
                        <a:lnTo>
                          <a:pt x="58" y="20"/>
                        </a:lnTo>
                        <a:lnTo>
                          <a:pt x="60" y="23"/>
                        </a:lnTo>
                        <a:lnTo>
                          <a:pt x="60" y="27"/>
                        </a:lnTo>
                        <a:lnTo>
                          <a:pt x="60" y="30"/>
                        </a:lnTo>
                        <a:lnTo>
                          <a:pt x="58" y="33"/>
                        </a:lnTo>
                        <a:lnTo>
                          <a:pt x="54" y="33"/>
                        </a:lnTo>
                        <a:lnTo>
                          <a:pt x="53" y="34"/>
                        </a:lnTo>
                        <a:lnTo>
                          <a:pt x="52" y="35"/>
                        </a:lnTo>
                        <a:lnTo>
                          <a:pt x="48" y="35"/>
                        </a:lnTo>
                        <a:lnTo>
                          <a:pt x="44" y="36"/>
                        </a:lnTo>
                        <a:lnTo>
                          <a:pt x="39" y="36"/>
                        </a:lnTo>
                        <a:lnTo>
                          <a:pt x="36" y="36"/>
                        </a:lnTo>
                        <a:lnTo>
                          <a:pt x="33" y="36"/>
                        </a:lnTo>
                        <a:lnTo>
                          <a:pt x="32" y="36"/>
                        </a:lnTo>
                        <a:lnTo>
                          <a:pt x="31" y="35"/>
                        </a:lnTo>
                        <a:lnTo>
                          <a:pt x="30" y="33"/>
                        </a:lnTo>
                        <a:lnTo>
                          <a:pt x="29" y="33"/>
                        </a:lnTo>
                        <a:lnTo>
                          <a:pt x="30" y="32"/>
                        </a:lnTo>
                        <a:lnTo>
                          <a:pt x="31" y="31"/>
                        </a:lnTo>
                        <a:lnTo>
                          <a:pt x="32" y="27"/>
                        </a:lnTo>
                        <a:lnTo>
                          <a:pt x="34" y="27"/>
                        </a:lnTo>
                        <a:lnTo>
                          <a:pt x="35" y="25"/>
                        </a:lnTo>
                        <a:lnTo>
                          <a:pt x="37" y="23"/>
                        </a:lnTo>
                        <a:lnTo>
                          <a:pt x="39" y="20"/>
                        </a:lnTo>
                        <a:lnTo>
                          <a:pt x="39" y="22"/>
                        </a:lnTo>
                        <a:lnTo>
                          <a:pt x="40" y="23"/>
                        </a:lnTo>
                        <a:lnTo>
                          <a:pt x="41" y="24"/>
                        </a:lnTo>
                        <a:lnTo>
                          <a:pt x="42" y="24"/>
                        </a:lnTo>
                        <a:lnTo>
                          <a:pt x="42" y="20"/>
                        </a:lnTo>
                        <a:lnTo>
                          <a:pt x="44" y="20"/>
                        </a:lnTo>
                        <a:lnTo>
                          <a:pt x="45" y="19"/>
                        </a:lnTo>
                        <a:lnTo>
                          <a:pt x="45" y="17"/>
                        </a:lnTo>
                        <a:lnTo>
                          <a:pt x="45" y="16"/>
                        </a:lnTo>
                        <a:lnTo>
                          <a:pt x="44" y="15"/>
                        </a:lnTo>
                        <a:lnTo>
                          <a:pt x="44" y="14"/>
                        </a:lnTo>
                        <a:lnTo>
                          <a:pt x="45" y="14"/>
                        </a:lnTo>
                        <a:lnTo>
                          <a:pt x="45" y="10"/>
                        </a:lnTo>
                        <a:lnTo>
                          <a:pt x="47" y="10"/>
                        </a:lnTo>
                        <a:lnTo>
                          <a:pt x="48" y="9"/>
                        </a:lnTo>
                        <a:lnTo>
                          <a:pt x="47" y="7"/>
                        </a:lnTo>
                        <a:lnTo>
                          <a:pt x="45" y="7"/>
                        </a:lnTo>
                        <a:lnTo>
                          <a:pt x="47" y="7"/>
                        </a:lnTo>
                        <a:lnTo>
                          <a:pt x="49" y="6"/>
                        </a:lnTo>
                        <a:lnTo>
                          <a:pt x="50" y="5"/>
                        </a:lnTo>
                        <a:lnTo>
                          <a:pt x="52" y="3"/>
                        </a:lnTo>
                        <a:lnTo>
                          <a:pt x="50" y="3"/>
                        </a:lnTo>
                        <a:lnTo>
                          <a:pt x="49" y="3"/>
                        </a:lnTo>
                        <a:lnTo>
                          <a:pt x="48" y="3"/>
                        </a:lnTo>
                        <a:lnTo>
                          <a:pt x="47" y="3"/>
                        </a:lnTo>
                        <a:lnTo>
                          <a:pt x="46" y="2"/>
                        </a:lnTo>
                        <a:lnTo>
                          <a:pt x="45" y="0"/>
                        </a:lnTo>
                        <a:lnTo>
                          <a:pt x="44" y="3"/>
                        </a:lnTo>
                        <a:lnTo>
                          <a:pt x="44" y="5"/>
                        </a:lnTo>
                        <a:lnTo>
                          <a:pt x="43" y="8"/>
                        </a:lnTo>
                        <a:lnTo>
                          <a:pt x="42" y="10"/>
                        </a:lnTo>
                        <a:lnTo>
                          <a:pt x="41" y="12"/>
                        </a:lnTo>
                        <a:lnTo>
                          <a:pt x="39" y="15"/>
                        </a:lnTo>
                        <a:lnTo>
                          <a:pt x="33" y="22"/>
                        </a:lnTo>
                        <a:lnTo>
                          <a:pt x="27" y="28"/>
                        </a:lnTo>
                        <a:lnTo>
                          <a:pt x="25" y="31"/>
                        </a:lnTo>
                        <a:lnTo>
                          <a:pt x="23" y="33"/>
                        </a:lnTo>
                        <a:lnTo>
                          <a:pt x="20" y="32"/>
                        </a:lnTo>
                        <a:lnTo>
                          <a:pt x="18" y="32"/>
                        </a:lnTo>
                        <a:lnTo>
                          <a:pt x="17" y="31"/>
                        </a:lnTo>
                        <a:lnTo>
                          <a:pt x="16" y="33"/>
                        </a:lnTo>
                        <a:lnTo>
                          <a:pt x="13" y="33"/>
                        </a:lnTo>
                        <a:lnTo>
                          <a:pt x="11" y="33"/>
                        </a:lnTo>
                        <a:lnTo>
                          <a:pt x="9" y="33"/>
                        </a:lnTo>
                        <a:lnTo>
                          <a:pt x="6" y="33"/>
                        </a:lnTo>
                        <a:lnTo>
                          <a:pt x="3" y="33"/>
                        </a:lnTo>
                        <a:lnTo>
                          <a:pt x="3" y="41"/>
                        </a:lnTo>
                        <a:lnTo>
                          <a:pt x="2" y="46"/>
                        </a:lnTo>
                        <a:lnTo>
                          <a:pt x="1" y="51"/>
                        </a:lnTo>
                        <a:lnTo>
                          <a:pt x="0" y="56"/>
                        </a:lnTo>
                        <a:lnTo>
                          <a:pt x="1" y="57"/>
                        </a:lnTo>
                        <a:lnTo>
                          <a:pt x="2" y="58"/>
                        </a:lnTo>
                        <a:lnTo>
                          <a:pt x="3" y="59"/>
                        </a:lnTo>
                        <a:lnTo>
                          <a:pt x="3" y="60"/>
                        </a:lnTo>
                        <a:lnTo>
                          <a:pt x="4" y="57"/>
                        </a:lnTo>
                        <a:lnTo>
                          <a:pt x="5" y="54"/>
                        </a:lnTo>
                        <a:lnTo>
                          <a:pt x="5" y="51"/>
                        </a:lnTo>
                        <a:lnTo>
                          <a:pt x="6" y="46"/>
                        </a:lnTo>
                        <a:lnTo>
                          <a:pt x="8" y="47"/>
                        </a:lnTo>
                        <a:lnTo>
                          <a:pt x="9" y="48"/>
                        </a:lnTo>
                        <a:lnTo>
                          <a:pt x="9" y="49"/>
                        </a:lnTo>
                        <a:lnTo>
                          <a:pt x="9" y="50"/>
                        </a:lnTo>
                        <a:lnTo>
                          <a:pt x="9" y="52"/>
                        </a:lnTo>
                        <a:lnTo>
                          <a:pt x="9" y="56"/>
                        </a:lnTo>
                        <a:lnTo>
                          <a:pt x="13" y="56"/>
                        </a:lnTo>
                        <a:lnTo>
                          <a:pt x="13" y="55"/>
                        </a:lnTo>
                        <a:lnTo>
                          <a:pt x="13" y="53"/>
                        </a:lnTo>
                        <a:lnTo>
                          <a:pt x="15" y="53"/>
                        </a:lnTo>
                        <a:lnTo>
                          <a:pt x="16" y="53"/>
                        </a:lnTo>
                        <a:lnTo>
                          <a:pt x="17" y="53"/>
                        </a:lnTo>
                        <a:lnTo>
                          <a:pt x="19" y="53"/>
                        </a:lnTo>
                        <a:lnTo>
                          <a:pt x="18" y="53"/>
                        </a:lnTo>
                        <a:lnTo>
                          <a:pt x="18" y="55"/>
                        </a:lnTo>
                        <a:lnTo>
                          <a:pt x="19" y="56"/>
                        </a:lnTo>
                        <a:lnTo>
                          <a:pt x="17" y="56"/>
                        </a:lnTo>
                        <a:lnTo>
                          <a:pt x="16" y="56"/>
                        </a:lnTo>
                        <a:lnTo>
                          <a:pt x="16" y="60"/>
                        </a:lnTo>
                        <a:lnTo>
                          <a:pt x="11" y="60"/>
                        </a:lnTo>
                        <a:lnTo>
                          <a:pt x="10" y="61"/>
                        </a:lnTo>
                        <a:lnTo>
                          <a:pt x="9" y="63"/>
                        </a:lnTo>
                        <a:lnTo>
                          <a:pt x="0" y="72"/>
                        </a:lnTo>
                        <a:lnTo>
                          <a:pt x="0" y="75"/>
                        </a:lnTo>
                        <a:lnTo>
                          <a:pt x="0" y="76"/>
                        </a:lnTo>
                        <a:lnTo>
                          <a:pt x="0" y="77"/>
                        </a:lnTo>
                        <a:lnTo>
                          <a:pt x="14" y="77"/>
                        </a:lnTo>
                        <a:lnTo>
                          <a:pt x="28" y="77"/>
                        </a:lnTo>
                        <a:lnTo>
                          <a:pt x="38" y="78"/>
                        </a:lnTo>
                        <a:lnTo>
                          <a:pt x="42" y="79"/>
                        </a:lnTo>
                        <a:lnTo>
                          <a:pt x="45" y="79"/>
                        </a:lnTo>
                        <a:lnTo>
                          <a:pt x="56" y="77"/>
                        </a:lnTo>
                        <a:lnTo>
                          <a:pt x="66" y="77"/>
                        </a:lnTo>
                        <a:lnTo>
                          <a:pt x="72" y="76"/>
                        </a:lnTo>
                        <a:lnTo>
                          <a:pt x="77" y="75"/>
                        </a:lnTo>
                        <a:lnTo>
                          <a:pt x="85" y="75"/>
                        </a:lnTo>
                        <a:lnTo>
                          <a:pt x="91" y="74"/>
                        </a:lnTo>
                        <a:lnTo>
                          <a:pt x="97" y="72"/>
                        </a:lnTo>
                        <a:lnTo>
                          <a:pt x="105" y="71"/>
                        </a:lnTo>
                        <a:lnTo>
                          <a:pt x="113" y="67"/>
                        </a:lnTo>
                        <a:lnTo>
                          <a:pt x="119" y="65"/>
                        </a:lnTo>
                        <a:lnTo>
                          <a:pt x="125" y="63"/>
                        </a:lnTo>
                        <a:lnTo>
                          <a:pt x="125" y="62"/>
                        </a:lnTo>
                        <a:lnTo>
                          <a:pt x="125" y="61"/>
                        </a:lnTo>
                        <a:lnTo>
                          <a:pt x="124" y="60"/>
                        </a:lnTo>
                        <a:lnTo>
                          <a:pt x="123" y="56"/>
                        </a:lnTo>
                        <a:lnTo>
                          <a:pt x="125" y="53"/>
                        </a:lnTo>
                        <a:lnTo>
                          <a:pt x="125" y="49"/>
                        </a:lnTo>
                        <a:lnTo>
                          <a:pt x="125" y="44"/>
                        </a:lnTo>
                        <a:lnTo>
                          <a:pt x="125" y="39"/>
                        </a:lnTo>
                        <a:lnTo>
                          <a:pt x="126" y="39"/>
                        </a:lnTo>
                        <a:lnTo>
                          <a:pt x="127" y="38"/>
                        </a:lnTo>
                        <a:lnTo>
                          <a:pt x="129" y="36"/>
                        </a:lnTo>
                        <a:lnTo>
                          <a:pt x="131" y="34"/>
                        </a:lnTo>
                        <a:lnTo>
                          <a:pt x="132" y="32"/>
                        </a:lnTo>
                        <a:lnTo>
                          <a:pt x="132" y="29"/>
                        </a:lnTo>
                        <a:lnTo>
                          <a:pt x="133" y="28"/>
                        </a:lnTo>
                        <a:lnTo>
                          <a:pt x="132" y="27"/>
                        </a:lnTo>
                        <a:lnTo>
                          <a:pt x="130" y="26"/>
                        </a:lnTo>
                        <a:lnTo>
                          <a:pt x="129" y="24"/>
                        </a:lnTo>
                        <a:lnTo>
                          <a:pt x="129" y="22"/>
                        </a:lnTo>
                        <a:lnTo>
                          <a:pt x="128" y="22"/>
                        </a:lnTo>
                        <a:lnTo>
                          <a:pt x="127" y="22"/>
                        </a:lnTo>
                        <a:lnTo>
                          <a:pt x="125" y="20"/>
                        </a:lnTo>
                        <a:lnTo>
                          <a:pt x="125" y="19"/>
                        </a:lnTo>
                        <a:lnTo>
                          <a:pt x="125" y="17"/>
                        </a:lnTo>
                        <a:lnTo>
                          <a:pt x="116" y="17"/>
                        </a:lnTo>
                        <a:lnTo>
                          <a:pt x="114" y="16"/>
                        </a:lnTo>
                        <a:lnTo>
                          <a:pt x="112" y="15"/>
                        </a:lnTo>
                        <a:lnTo>
                          <a:pt x="110" y="14"/>
                        </a:lnTo>
                        <a:lnTo>
                          <a:pt x="108" y="16"/>
                        </a:lnTo>
                        <a:lnTo>
                          <a:pt x="107" y="17"/>
                        </a:lnTo>
                        <a:lnTo>
                          <a:pt x="106" y="18"/>
                        </a:lnTo>
                        <a:lnTo>
                          <a:pt x="106" y="20"/>
                        </a:lnTo>
                        <a:lnTo>
                          <a:pt x="104" y="20"/>
                        </a:lnTo>
                        <a:lnTo>
                          <a:pt x="103" y="20"/>
                        </a:lnTo>
                        <a:lnTo>
                          <a:pt x="102" y="20"/>
                        </a:lnTo>
                        <a:lnTo>
                          <a:pt x="101" y="20"/>
                        </a:lnTo>
                        <a:lnTo>
                          <a:pt x="99" y="20"/>
                        </a:lnTo>
                        <a:lnTo>
                          <a:pt x="99" y="19"/>
                        </a:lnTo>
                        <a:lnTo>
                          <a:pt x="99" y="17"/>
                        </a:lnTo>
                        <a:lnTo>
                          <a:pt x="97" y="17"/>
                        </a:lnTo>
                        <a:lnTo>
                          <a:pt x="92" y="17"/>
                        </a:lnTo>
                        <a:lnTo>
                          <a:pt x="88" y="17"/>
                        </a:lnTo>
                        <a:lnTo>
                          <a:pt x="84" y="17"/>
                        </a:lnTo>
                        <a:lnTo>
                          <a:pt x="82" y="15"/>
                        </a:lnTo>
                        <a:lnTo>
                          <a:pt x="80" y="14"/>
                        </a:lnTo>
                        <a:lnTo>
                          <a:pt x="79" y="12"/>
                        </a:lnTo>
                        <a:lnTo>
                          <a:pt x="77" y="10"/>
                        </a:lnTo>
                        <a:lnTo>
                          <a:pt x="74" y="10"/>
                        </a:lnTo>
                        <a:lnTo>
                          <a:pt x="72" y="8"/>
                        </a:lnTo>
                        <a:lnTo>
                          <a:pt x="70" y="6"/>
                        </a:lnTo>
                        <a:lnTo>
                          <a:pt x="68" y="3"/>
                        </a:lnTo>
                        <a:lnTo>
                          <a:pt x="67" y="3"/>
                        </a:lnTo>
                        <a:lnTo>
                          <a:pt x="66" y="2"/>
                        </a:lnTo>
                        <a:lnTo>
                          <a:pt x="64" y="1"/>
                        </a:lnTo>
                        <a:lnTo>
                          <a:pt x="61" y="0"/>
                        </a:lnTo>
                        <a:lnTo>
                          <a:pt x="61" y="1"/>
                        </a:lnTo>
                        <a:lnTo>
                          <a:pt x="61" y="2"/>
                        </a:lnTo>
                        <a:lnTo>
                          <a:pt x="61"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7" name="Freeform 1466">
                    <a:extLst>
                      <a:ext uri="{FF2B5EF4-FFF2-40B4-BE49-F238E27FC236}">
                        <a16:creationId xmlns:a16="http://schemas.microsoft.com/office/drawing/2014/main" xmlns="" id="{ECEA2D87-04D2-4BBF-9C3D-ABA8CA66F476}"/>
                      </a:ext>
                    </a:extLst>
                  </p:cNvPr>
                  <p:cNvSpPr>
                    <a:spLocks/>
                  </p:cNvSpPr>
                  <p:nvPr/>
                </p:nvSpPr>
                <p:spPr bwMode="gray">
                  <a:xfrm>
                    <a:off x="5413198" y="2094995"/>
                    <a:ext cx="7787" cy="6675"/>
                  </a:xfrm>
                  <a:custGeom>
                    <a:avLst/>
                    <a:gdLst>
                      <a:gd name="T0" fmla="*/ 2147483647 w 7"/>
                      <a:gd name="T1" fmla="*/ 0 h 6"/>
                      <a:gd name="T2" fmla="*/ 2147483647 w 7"/>
                      <a:gd name="T3" fmla="*/ 0 h 6"/>
                      <a:gd name="T4" fmla="*/ 0 w 7"/>
                      <a:gd name="T5" fmla="*/ 2147483647 h 6"/>
                      <a:gd name="T6" fmla="*/ 2147483647 w 7"/>
                      <a:gd name="T7" fmla="*/ 2147483647 h 6"/>
                      <a:gd name="T8" fmla="*/ 2147483647 w 7"/>
                      <a:gd name="T9" fmla="*/ 2147483647 h 6"/>
                      <a:gd name="T10" fmla="*/ 2147483647 w 7"/>
                      <a:gd name="T11" fmla="*/ 2147483647 h 6"/>
                      <a:gd name="T12" fmla="*/ 2147483647 w 7"/>
                      <a:gd name="T13" fmla="*/ 2147483647 h 6"/>
                      <a:gd name="T14" fmla="*/ 2147483647 w 7"/>
                      <a:gd name="T15" fmla="*/ 2147483647 h 6"/>
                      <a:gd name="T16" fmla="*/ 2147483647 w 7"/>
                      <a:gd name="T17" fmla="*/ 2147483647 h 6"/>
                      <a:gd name="T18" fmla="*/ 2147483647 w 7"/>
                      <a:gd name="T19" fmla="*/ 2147483647 h 6"/>
                      <a:gd name="T20" fmla="*/ 2147483647 w 7"/>
                      <a:gd name="T21" fmla="*/ 2147483647 h 6"/>
                      <a:gd name="T22" fmla="*/ 2147483647 w 7"/>
                      <a:gd name="T23" fmla="*/ 0 h 6"/>
                      <a:gd name="T24" fmla="*/ 2147483647 w 7"/>
                      <a:gd name="T25" fmla="*/ 0 h 6"/>
                      <a:gd name="T26" fmla="*/ 2147483647 w 7"/>
                      <a:gd name="T27" fmla="*/ 0 h 6"/>
                      <a:gd name="T28" fmla="*/ 2147483647 w 7"/>
                      <a:gd name="T29" fmla="*/ 0 h 6"/>
                      <a:gd name="T30" fmla="*/ 2147483647 w 7"/>
                      <a:gd name="T31" fmla="*/ 0 h 6"/>
                      <a:gd name="T32" fmla="*/ 2147483647 w 7"/>
                      <a:gd name="T33" fmla="*/ 0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 h="6">
                        <a:moveTo>
                          <a:pt x="1" y="0"/>
                        </a:moveTo>
                        <a:lnTo>
                          <a:pt x="1" y="0"/>
                        </a:lnTo>
                        <a:lnTo>
                          <a:pt x="0" y="2"/>
                        </a:lnTo>
                        <a:lnTo>
                          <a:pt x="1" y="4"/>
                        </a:lnTo>
                        <a:lnTo>
                          <a:pt x="4" y="6"/>
                        </a:lnTo>
                        <a:lnTo>
                          <a:pt x="5" y="5"/>
                        </a:lnTo>
                        <a:lnTo>
                          <a:pt x="6" y="4"/>
                        </a:lnTo>
                        <a:lnTo>
                          <a:pt x="7" y="3"/>
                        </a:lnTo>
                        <a:lnTo>
                          <a:pt x="7" y="1"/>
                        </a:lnTo>
                        <a:lnTo>
                          <a:pt x="7" y="0"/>
                        </a:lnTo>
                        <a:lnTo>
                          <a:pt x="5" y="0"/>
                        </a:lnTo>
                        <a:lnTo>
                          <a:pt x="4" y="0"/>
                        </a:lnTo>
                        <a:lnTo>
                          <a:pt x="3"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8" name="Freeform 1468">
                    <a:extLst>
                      <a:ext uri="{FF2B5EF4-FFF2-40B4-BE49-F238E27FC236}">
                        <a16:creationId xmlns:a16="http://schemas.microsoft.com/office/drawing/2014/main" xmlns="" id="{28E68B58-3D29-40F7-B8E8-EF7DDE35BBDF}"/>
                      </a:ext>
                    </a:extLst>
                  </p:cNvPr>
                  <p:cNvSpPr>
                    <a:spLocks/>
                  </p:cNvSpPr>
                  <p:nvPr/>
                </p:nvSpPr>
                <p:spPr bwMode="gray">
                  <a:xfrm>
                    <a:off x="5399849" y="2094995"/>
                    <a:ext cx="14463" cy="21136"/>
                  </a:xfrm>
                  <a:custGeom>
                    <a:avLst/>
                    <a:gdLst>
                      <a:gd name="T0" fmla="*/ 2147483647 w 13"/>
                      <a:gd name="T1" fmla="*/ 0 h 19"/>
                      <a:gd name="T2" fmla="*/ 2147483647 w 13"/>
                      <a:gd name="T3" fmla="*/ 2147483647 h 19"/>
                      <a:gd name="T4" fmla="*/ 2147483647 w 13"/>
                      <a:gd name="T5" fmla="*/ 2147483647 h 19"/>
                      <a:gd name="T6" fmla="*/ 2147483647 w 13"/>
                      <a:gd name="T7" fmla="*/ 2147483647 h 19"/>
                      <a:gd name="T8" fmla="*/ 0 w 13"/>
                      <a:gd name="T9" fmla="*/ 2147483647 h 19"/>
                      <a:gd name="T10" fmla="*/ 0 w 13"/>
                      <a:gd name="T11" fmla="*/ 2147483647 h 19"/>
                      <a:gd name="T12" fmla="*/ 0 w 13"/>
                      <a:gd name="T13" fmla="*/ 2147483647 h 19"/>
                      <a:gd name="T14" fmla="*/ 0 w 13"/>
                      <a:gd name="T15" fmla="*/ 2147483647 h 19"/>
                      <a:gd name="T16" fmla="*/ 2147483647 w 13"/>
                      <a:gd name="T17" fmla="*/ 2147483647 h 19"/>
                      <a:gd name="T18" fmla="*/ 2147483647 w 13"/>
                      <a:gd name="T19" fmla="*/ 2147483647 h 19"/>
                      <a:gd name="T20" fmla="*/ 2147483647 w 13"/>
                      <a:gd name="T21" fmla="*/ 2147483647 h 19"/>
                      <a:gd name="T22" fmla="*/ 2147483647 w 13"/>
                      <a:gd name="T23" fmla="*/ 2147483647 h 19"/>
                      <a:gd name="T24" fmla="*/ 2147483647 w 13"/>
                      <a:gd name="T25" fmla="*/ 2147483647 h 19"/>
                      <a:gd name="T26" fmla="*/ 2147483647 w 13"/>
                      <a:gd name="T27" fmla="*/ 2147483647 h 19"/>
                      <a:gd name="T28" fmla="*/ 2147483647 w 13"/>
                      <a:gd name="T29" fmla="*/ 2147483647 h 19"/>
                      <a:gd name="T30" fmla="*/ 2147483647 w 13"/>
                      <a:gd name="T31" fmla="*/ 2147483647 h 19"/>
                      <a:gd name="T32" fmla="*/ 2147483647 w 13"/>
                      <a:gd name="T33" fmla="*/ 2147483647 h 19"/>
                      <a:gd name="T34" fmla="*/ 2147483647 w 13"/>
                      <a:gd name="T35" fmla="*/ 2147483647 h 19"/>
                      <a:gd name="T36" fmla="*/ 2147483647 w 13"/>
                      <a:gd name="T37" fmla="*/ 2147483647 h 19"/>
                      <a:gd name="T38" fmla="*/ 2147483647 w 13"/>
                      <a:gd name="T39" fmla="*/ 2147483647 h 19"/>
                      <a:gd name="T40" fmla="*/ 2147483647 w 13"/>
                      <a:gd name="T41" fmla="*/ 2147483647 h 19"/>
                      <a:gd name="T42" fmla="*/ 2147483647 w 13"/>
                      <a:gd name="T43" fmla="*/ 2147483647 h 19"/>
                      <a:gd name="T44" fmla="*/ 2147483647 w 13"/>
                      <a:gd name="T45" fmla="*/ 2147483647 h 19"/>
                      <a:gd name="T46" fmla="*/ 2147483647 w 13"/>
                      <a:gd name="T47" fmla="*/ 2147483647 h 19"/>
                      <a:gd name="T48" fmla="*/ 2147483647 w 13"/>
                      <a:gd name="T49" fmla="*/ 2147483647 h 19"/>
                      <a:gd name="T50" fmla="*/ 2147483647 w 13"/>
                      <a:gd name="T51" fmla="*/ 2147483647 h 19"/>
                      <a:gd name="T52" fmla="*/ 2147483647 w 13"/>
                      <a:gd name="T53" fmla="*/ 0 h 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3" h="19">
                        <a:moveTo>
                          <a:pt x="7" y="0"/>
                        </a:moveTo>
                        <a:lnTo>
                          <a:pt x="3" y="2"/>
                        </a:lnTo>
                        <a:lnTo>
                          <a:pt x="2" y="5"/>
                        </a:lnTo>
                        <a:lnTo>
                          <a:pt x="1" y="6"/>
                        </a:lnTo>
                        <a:lnTo>
                          <a:pt x="0" y="9"/>
                        </a:lnTo>
                        <a:lnTo>
                          <a:pt x="0" y="10"/>
                        </a:lnTo>
                        <a:lnTo>
                          <a:pt x="0" y="12"/>
                        </a:lnTo>
                        <a:lnTo>
                          <a:pt x="2" y="12"/>
                        </a:lnTo>
                        <a:lnTo>
                          <a:pt x="3" y="12"/>
                        </a:lnTo>
                        <a:lnTo>
                          <a:pt x="6" y="14"/>
                        </a:lnTo>
                        <a:lnTo>
                          <a:pt x="8" y="16"/>
                        </a:lnTo>
                        <a:lnTo>
                          <a:pt x="11" y="17"/>
                        </a:lnTo>
                        <a:lnTo>
                          <a:pt x="13" y="19"/>
                        </a:lnTo>
                        <a:lnTo>
                          <a:pt x="13" y="9"/>
                        </a:lnTo>
                        <a:lnTo>
                          <a:pt x="12" y="9"/>
                        </a:lnTo>
                        <a:lnTo>
                          <a:pt x="10" y="9"/>
                        </a:lnTo>
                        <a:lnTo>
                          <a:pt x="10" y="5"/>
                        </a:lnTo>
                        <a:lnTo>
                          <a:pt x="10" y="4"/>
                        </a:lnTo>
                        <a:lnTo>
                          <a:pt x="10" y="3"/>
                        </a:lnTo>
                        <a:lnTo>
                          <a:pt x="8" y="3"/>
                        </a:lnTo>
                        <a:lnTo>
                          <a:pt x="7" y="3"/>
                        </a:lnTo>
                        <a:lnTo>
                          <a:pt x="7" y="2"/>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29" name="Freeform 1470">
                    <a:extLst>
                      <a:ext uri="{FF2B5EF4-FFF2-40B4-BE49-F238E27FC236}">
                        <a16:creationId xmlns:a16="http://schemas.microsoft.com/office/drawing/2014/main" xmlns="" id="{7D185AC2-0053-4272-9D3E-1FE03473FAF6}"/>
                      </a:ext>
                    </a:extLst>
                  </p:cNvPr>
                  <p:cNvSpPr>
                    <a:spLocks/>
                  </p:cNvSpPr>
                  <p:nvPr/>
                </p:nvSpPr>
                <p:spPr bwMode="gray">
                  <a:xfrm>
                    <a:off x="5830374" y="1532117"/>
                    <a:ext cx="13350" cy="4450"/>
                  </a:xfrm>
                  <a:custGeom>
                    <a:avLst/>
                    <a:gdLst>
                      <a:gd name="T0" fmla="*/ 2147483647 w 12"/>
                      <a:gd name="T1" fmla="*/ 0 h 4"/>
                      <a:gd name="T2" fmla="*/ 0 w 12"/>
                      <a:gd name="T3" fmla="*/ 0 h 4"/>
                      <a:gd name="T4" fmla="*/ 0 w 12"/>
                      <a:gd name="T5" fmla="*/ 0 h 4"/>
                      <a:gd name="T6" fmla="*/ 2147483647 w 12"/>
                      <a:gd name="T7" fmla="*/ 2147483647 h 4"/>
                      <a:gd name="T8" fmla="*/ 2147483647 w 12"/>
                      <a:gd name="T9" fmla="*/ 2147483647 h 4"/>
                      <a:gd name="T10" fmla="*/ 2147483647 w 12"/>
                      <a:gd name="T11" fmla="*/ 2147483647 h 4"/>
                      <a:gd name="T12" fmla="*/ 2147483647 w 12"/>
                      <a:gd name="T13" fmla="*/ 2147483647 h 4"/>
                      <a:gd name="T14" fmla="*/ 2147483647 w 12"/>
                      <a:gd name="T15" fmla="*/ 2147483647 h 4"/>
                      <a:gd name="T16" fmla="*/ 2147483647 w 12"/>
                      <a:gd name="T17" fmla="*/ 0 h 4"/>
                      <a:gd name="T18" fmla="*/ 2147483647 w 1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4">
                        <a:moveTo>
                          <a:pt x="11" y="0"/>
                        </a:moveTo>
                        <a:lnTo>
                          <a:pt x="0" y="0"/>
                        </a:lnTo>
                        <a:lnTo>
                          <a:pt x="2" y="3"/>
                        </a:lnTo>
                        <a:lnTo>
                          <a:pt x="4" y="4"/>
                        </a:lnTo>
                        <a:lnTo>
                          <a:pt x="8" y="4"/>
                        </a:lnTo>
                        <a:lnTo>
                          <a:pt x="9" y="4"/>
                        </a:lnTo>
                        <a:lnTo>
                          <a:pt x="11" y="3"/>
                        </a:lnTo>
                        <a:lnTo>
                          <a:pt x="12" y="0"/>
                        </a:lnTo>
                        <a:lnTo>
                          <a:pt x="1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0" name="Freeform 1472">
                    <a:extLst>
                      <a:ext uri="{FF2B5EF4-FFF2-40B4-BE49-F238E27FC236}">
                        <a16:creationId xmlns:a16="http://schemas.microsoft.com/office/drawing/2014/main" xmlns="" id="{3CE33EBC-2C4F-4391-A235-96737DB4AF74}"/>
                      </a:ext>
                    </a:extLst>
                  </p:cNvPr>
                  <p:cNvSpPr>
                    <a:spLocks/>
                  </p:cNvSpPr>
                  <p:nvPr/>
                </p:nvSpPr>
                <p:spPr bwMode="gray">
                  <a:xfrm>
                    <a:off x="5812574" y="1551028"/>
                    <a:ext cx="5563" cy="3337"/>
                  </a:xfrm>
                  <a:custGeom>
                    <a:avLst/>
                    <a:gdLst>
                      <a:gd name="T0" fmla="*/ 2147483647 w 5"/>
                      <a:gd name="T1" fmla="*/ 0 h 3"/>
                      <a:gd name="T2" fmla="*/ 0 w 5"/>
                      <a:gd name="T3" fmla="*/ 2147483647 h 3"/>
                      <a:gd name="T4" fmla="*/ 2147483647 w 5"/>
                      <a:gd name="T5" fmla="*/ 2147483647 h 3"/>
                      <a:gd name="T6" fmla="*/ 2147483647 w 5"/>
                      <a:gd name="T7" fmla="*/ 2147483647 h 3"/>
                      <a:gd name="T8" fmla="*/ 2147483647 w 5"/>
                      <a:gd name="T9" fmla="*/ 2147483647 h 3"/>
                      <a:gd name="T10" fmla="*/ 2147483647 w 5"/>
                      <a:gd name="T11" fmla="*/ 2147483647 h 3"/>
                      <a:gd name="T12" fmla="*/ 2147483647 w 5"/>
                      <a:gd name="T13" fmla="*/ 2147483647 h 3"/>
                      <a:gd name="T14" fmla="*/ 2147483647 w 5"/>
                      <a:gd name="T15" fmla="*/ 0 h 3"/>
                      <a:gd name="T16" fmla="*/ 2147483647 w 5"/>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
                        <a:moveTo>
                          <a:pt x="1" y="0"/>
                        </a:moveTo>
                        <a:lnTo>
                          <a:pt x="0" y="2"/>
                        </a:lnTo>
                        <a:lnTo>
                          <a:pt x="2" y="3"/>
                        </a:lnTo>
                        <a:lnTo>
                          <a:pt x="4" y="3"/>
                        </a:lnTo>
                        <a:lnTo>
                          <a:pt x="5" y="3"/>
                        </a:lnTo>
                        <a:lnTo>
                          <a:pt x="4" y="2"/>
                        </a:lnTo>
                        <a:lnTo>
                          <a:pt x="3"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1" name="Freeform 1474">
                    <a:extLst>
                      <a:ext uri="{FF2B5EF4-FFF2-40B4-BE49-F238E27FC236}">
                        <a16:creationId xmlns:a16="http://schemas.microsoft.com/office/drawing/2014/main" xmlns="" id="{238F4B22-ECD6-4B05-B230-D91ED91B6CB0}"/>
                      </a:ext>
                    </a:extLst>
                  </p:cNvPr>
                  <p:cNvSpPr>
                    <a:spLocks/>
                  </p:cNvSpPr>
                  <p:nvPr/>
                </p:nvSpPr>
                <p:spPr bwMode="gray">
                  <a:xfrm>
                    <a:off x="5647929" y="1601088"/>
                    <a:ext cx="57848" cy="68969"/>
                  </a:xfrm>
                  <a:custGeom>
                    <a:avLst/>
                    <a:gdLst>
                      <a:gd name="T0" fmla="*/ 2147483647 w 52"/>
                      <a:gd name="T1" fmla="*/ 2147483647 h 62"/>
                      <a:gd name="T2" fmla="*/ 2147483647 w 52"/>
                      <a:gd name="T3" fmla="*/ 2147483647 h 62"/>
                      <a:gd name="T4" fmla="*/ 2147483647 w 52"/>
                      <a:gd name="T5" fmla="*/ 2147483647 h 62"/>
                      <a:gd name="T6" fmla="*/ 2147483647 w 52"/>
                      <a:gd name="T7" fmla="*/ 2147483647 h 62"/>
                      <a:gd name="T8" fmla="*/ 2147483647 w 52"/>
                      <a:gd name="T9" fmla="*/ 2147483647 h 62"/>
                      <a:gd name="T10" fmla="*/ 2147483647 w 52"/>
                      <a:gd name="T11" fmla="*/ 2147483647 h 62"/>
                      <a:gd name="T12" fmla="*/ 2147483647 w 52"/>
                      <a:gd name="T13" fmla="*/ 2147483647 h 62"/>
                      <a:gd name="T14" fmla="*/ 0 w 52"/>
                      <a:gd name="T15" fmla="*/ 2147483647 h 62"/>
                      <a:gd name="T16" fmla="*/ 2147483647 w 52"/>
                      <a:gd name="T17" fmla="*/ 2147483647 h 62"/>
                      <a:gd name="T18" fmla="*/ 2147483647 w 52"/>
                      <a:gd name="T19" fmla="*/ 2147483647 h 62"/>
                      <a:gd name="T20" fmla="*/ 2147483647 w 52"/>
                      <a:gd name="T21" fmla="*/ 2147483647 h 62"/>
                      <a:gd name="T22" fmla="*/ 2147483647 w 52"/>
                      <a:gd name="T23" fmla="*/ 2147483647 h 62"/>
                      <a:gd name="T24" fmla="*/ 2147483647 w 52"/>
                      <a:gd name="T25" fmla="*/ 2147483647 h 62"/>
                      <a:gd name="T26" fmla="*/ 2147483647 w 52"/>
                      <a:gd name="T27" fmla="*/ 2147483647 h 62"/>
                      <a:gd name="T28" fmla="*/ 2147483647 w 52"/>
                      <a:gd name="T29" fmla="*/ 2147483647 h 62"/>
                      <a:gd name="T30" fmla="*/ 2147483647 w 52"/>
                      <a:gd name="T31" fmla="*/ 2147483647 h 62"/>
                      <a:gd name="T32" fmla="*/ 2147483647 w 52"/>
                      <a:gd name="T33" fmla="*/ 2147483647 h 62"/>
                      <a:gd name="T34" fmla="*/ 2147483647 w 52"/>
                      <a:gd name="T35" fmla="*/ 2147483647 h 62"/>
                      <a:gd name="T36" fmla="*/ 2147483647 w 52"/>
                      <a:gd name="T37" fmla="*/ 2147483647 h 62"/>
                      <a:gd name="T38" fmla="*/ 2147483647 w 52"/>
                      <a:gd name="T39" fmla="*/ 2147483647 h 62"/>
                      <a:gd name="T40" fmla="*/ 2147483647 w 52"/>
                      <a:gd name="T41" fmla="*/ 2147483647 h 62"/>
                      <a:gd name="T42" fmla="*/ 2147483647 w 52"/>
                      <a:gd name="T43" fmla="*/ 2147483647 h 62"/>
                      <a:gd name="T44" fmla="*/ 2147483647 w 52"/>
                      <a:gd name="T45" fmla="*/ 2147483647 h 62"/>
                      <a:gd name="T46" fmla="*/ 2147483647 w 52"/>
                      <a:gd name="T47" fmla="*/ 2147483647 h 62"/>
                      <a:gd name="T48" fmla="*/ 2147483647 w 52"/>
                      <a:gd name="T49" fmla="*/ 2147483647 h 62"/>
                      <a:gd name="T50" fmla="*/ 2147483647 w 52"/>
                      <a:gd name="T51" fmla="*/ 2147483647 h 62"/>
                      <a:gd name="T52" fmla="*/ 2147483647 w 52"/>
                      <a:gd name="T53" fmla="*/ 2147483647 h 62"/>
                      <a:gd name="T54" fmla="*/ 2147483647 w 52"/>
                      <a:gd name="T55" fmla="*/ 2147483647 h 62"/>
                      <a:gd name="T56" fmla="*/ 2147483647 w 52"/>
                      <a:gd name="T57" fmla="*/ 2147483647 h 62"/>
                      <a:gd name="T58" fmla="*/ 2147483647 w 52"/>
                      <a:gd name="T59" fmla="*/ 2147483647 h 62"/>
                      <a:gd name="T60" fmla="*/ 2147483647 w 52"/>
                      <a:gd name="T61" fmla="*/ 2147483647 h 62"/>
                      <a:gd name="T62" fmla="*/ 2147483647 w 52"/>
                      <a:gd name="T63" fmla="*/ 2147483647 h 62"/>
                      <a:gd name="T64" fmla="*/ 2147483647 w 52"/>
                      <a:gd name="T65" fmla="*/ 2147483647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2" h="62">
                        <a:moveTo>
                          <a:pt x="30" y="0"/>
                        </a:moveTo>
                        <a:lnTo>
                          <a:pt x="26" y="3"/>
                        </a:lnTo>
                        <a:lnTo>
                          <a:pt x="22" y="3"/>
                        </a:lnTo>
                        <a:lnTo>
                          <a:pt x="18" y="2"/>
                        </a:lnTo>
                        <a:lnTo>
                          <a:pt x="14" y="2"/>
                        </a:lnTo>
                        <a:lnTo>
                          <a:pt x="9" y="3"/>
                        </a:lnTo>
                        <a:lnTo>
                          <a:pt x="7" y="4"/>
                        </a:lnTo>
                        <a:lnTo>
                          <a:pt x="6" y="5"/>
                        </a:lnTo>
                        <a:lnTo>
                          <a:pt x="6" y="6"/>
                        </a:lnTo>
                        <a:lnTo>
                          <a:pt x="6" y="7"/>
                        </a:lnTo>
                        <a:lnTo>
                          <a:pt x="5" y="7"/>
                        </a:lnTo>
                        <a:lnTo>
                          <a:pt x="4" y="9"/>
                        </a:lnTo>
                        <a:lnTo>
                          <a:pt x="3" y="10"/>
                        </a:lnTo>
                        <a:lnTo>
                          <a:pt x="1" y="17"/>
                        </a:lnTo>
                        <a:lnTo>
                          <a:pt x="0" y="24"/>
                        </a:lnTo>
                        <a:lnTo>
                          <a:pt x="1" y="33"/>
                        </a:lnTo>
                        <a:lnTo>
                          <a:pt x="3" y="39"/>
                        </a:lnTo>
                        <a:lnTo>
                          <a:pt x="3" y="40"/>
                        </a:lnTo>
                        <a:lnTo>
                          <a:pt x="4" y="41"/>
                        </a:lnTo>
                        <a:lnTo>
                          <a:pt x="5" y="42"/>
                        </a:lnTo>
                        <a:lnTo>
                          <a:pt x="6" y="43"/>
                        </a:lnTo>
                        <a:lnTo>
                          <a:pt x="8" y="45"/>
                        </a:lnTo>
                        <a:lnTo>
                          <a:pt x="9" y="47"/>
                        </a:lnTo>
                        <a:lnTo>
                          <a:pt x="9" y="48"/>
                        </a:lnTo>
                        <a:lnTo>
                          <a:pt x="9" y="50"/>
                        </a:lnTo>
                        <a:lnTo>
                          <a:pt x="10" y="52"/>
                        </a:lnTo>
                        <a:lnTo>
                          <a:pt x="11" y="53"/>
                        </a:lnTo>
                        <a:lnTo>
                          <a:pt x="12" y="53"/>
                        </a:lnTo>
                        <a:lnTo>
                          <a:pt x="13" y="53"/>
                        </a:lnTo>
                        <a:lnTo>
                          <a:pt x="13" y="55"/>
                        </a:lnTo>
                        <a:lnTo>
                          <a:pt x="13" y="56"/>
                        </a:lnTo>
                        <a:lnTo>
                          <a:pt x="14" y="56"/>
                        </a:lnTo>
                        <a:lnTo>
                          <a:pt x="16" y="56"/>
                        </a:lnTo>
                        <a:lnTo>
                          <a:pt x="17" y="58"/>
                        </a:lnTo>
                        <a:lnTo>
                          <a:pt x="20" y="58"/>
                        </a:lnTo>
                        <a:lnTo>
                          <a:pt x="23" y="57"/>
                        </a:lnTo>
                        <a:lnTo>
                          <a:pt x="26" y="56"/>
                        </a:lnTo>
                        <a:lnTo>
                          <a:pt x="26" y="57"/>
                        </a:lnTo>
                        <a:lnTo>
                          <a:pt x="26" y="60"/>
                        </a:lnTo>
                        <a:lnTo>
                          <a:pt x="26" y="61"/>
                        </a:lnTo>
                        <a:lnTo>
                          <a:pt x="26" y="62"/>
                        </a:lnTo>
                        <a:lnTo>
                          <a:pt x="30" y="62"/>
                        </a:lnTo>
                        <a:lnTo>
                          <a:pt x="38" y="57"/>
                        </a:lnTo>
                        <a:lnTo>
                          <a:pt x="42" y="50"/>
                        </a:lnTo>
                        <a:lnTo>
                          <a:pt x="47" y="42"/>
                        </a:lnTo>
                        <a:lnTo>
                          <a:pt x="50" y="33"/>
                        </a:lnTo>
                        <a:lnTo>
                          <a:pt x="52" y="29"/>
                        </a:lnTo>
                        <a:lnTo>
                          <a:pt x="52" y="24"/>
                        </a:lnTo>
                        <a:lnTo>
                          <a:pt x="52" y="20"/>
                        </a:lnTo>
                        <a:lnTo>
                          <a:pt x="52" y="17"/>
                        </a:lnTo>
                        <a:lnTo>
                          <a:pt x="52" y="15"/>
                        </a:lnTo>
                        <a:lnTo>
                          <a:pt x="51" y="14"/>
                        </a:lnTo>
                        <a:lnTo>
                          <a:pt x="50" y="12"/>
                        </a:lnTo>
                        <a:lnTo>
                          <a:pt x="50" y="10"/>
                        </a:lnTo>
                        <a:lnTo>
                          <a:pt x="48" y="8"/>
                        </a:lnTo>
                        <a:lnTo>
                          <a:pt x="47" y="6"/>
                        </a:lnTo>
                        <a:lnTo>
                          <a:pt x="46" y="4"/>
                        </a:lnTo>
                        <a:lnTo>
                          <a:pt x="46" y="3"/>
                        </a:lnTo>
                        <a:lnTo>
                          <a:pt x="44" y="4"/>
                        </a:lnTo>
                        <a:lnTo>
                          <a:pt x="41" y="5"/>
                        </a:lnTo>
                        <a:lnTo>
                          <a:pt x="39" y="6"/>
                        </a:lnTo>
                        <a:lnTo>
                          <a:pt x="39" y="7"/>
                        </a:lnTo>
                        <a:lnTo>
                          <a:pt x="38" y="6"/>
                        </a:lnTo>
                        <a:lnTo>
                          <a:pt x="36" y="3"/>
                        </a:lnTo>
                        <a:lnTo>
                          <a:pt x="34" y="1"/>
                        </a:lnTo>
                        <a:lnTo>
                          <a:pt x="3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2" name="Freeform 1476">
                    <a:extLst>
                      <a:ext uri="{FF2B5EF4-FFF2-40B4-BE49-F238E27FC236}">
                        <a16:creationId xmlns:a16="http://schemas.microsoft.com/office/drawing/2014/main" xmlns="" id="{D517239E-22A6-4504-83B0-4E07CAC709CA}"/>
                      </a:ext>
                    </a:extLst>
                  </p:cNvPr>
                  <p:cNvSpPr>
                    <a:spLocks/>
                  </p:cNvSpPr>
                  <p:nvPr/>
                </p:nvSpPr>
                <p:spPr bwMode="gray">
                  <a:xfrm>
                    <a:off x="5818136" y="1616661"/>
                    <a:ext cx="24475" cy="16686"/>
                  </a:xfrm>
                  <a:custGeom>
                    <a:avLst/>
                    <a:gdLst>
                      <a:gd name="T0" fmla="*/ 2147483647 w 22"/>
                      <a:gd name="T1" fmla="*/ 0 h 15"/>
                      <a:gd name="T2" fmla="*/ 2147483647 w 22"/>
                      <a:gd name="T3" fmla="*/ 2147483647 h 15"/>
                      <a:gd name="T4" fmla="*/ 2147483647 w 22"/>
                      <a:gd name="T5" fmla="*/ 2147483647 h 15"/>
                      <a:gd name="T6" fmla="*/ 2147483647 w 22"/>
                      <a:gd name="T7" fmla="*/ 2147483647 h 15"/>
                      <a:gd name="T8" fmla="*/ 2147483647 w 22"/>
                      <a:gd name="T9" fmla="*/ 2147483647 h 15"/>
                      <a:gd name="T10" fmla="*/ 2147483647 w 22"/>
                      <a:gd name="T11" fmla="*/ 2147483647 h 15"/>
                      <a:gd name="T12" fmla="*/ 2147483647 w 22"/>
                      <a:gd name="T13" fmla="*/ 2147483647 h 15"/>
                      <a:gd name="T14" fmla="*/ 2147483647 w 22"/>
                      <a:gd name="T15" fmla="*/ 2147483647 h 15"/>
                      <a:gd name="T16" fmla="*/ 2147483647 w 22"/>
                      <a:gd name="T17" fmla="*/ 2147483647 h 15"/>
                      <a:gd name="T18" fmla="*/ 2147483647 w 22"/>
                      <a:gd name="T19" fmla="*/ 2147483647 h 15"/>
                      <a:gd name="T20" fmla="*/ 2147483647 w 22"/>
                      <a:gd name="T21" fmla="*/ 2147483647 h 15"/>
                      <a:gd name="T22" fmla="*/ 2147483647 w 22"/>
                      <a:gd name="T23" fmla="*/ 2147483647 h 15"/>
                      <a:gd name="T24" fmla="*/ 2147483647 w 22"/>
                      <a:gd name="T25" fmla="*/ 2147483647 h 15"/>
                      <a:gd name="T26" fmla="*/ 2147483647 w 22"/>
                      <a:gd name="T27" fmla="*/ 2147483647 h 15"/>
                      <a:gd name="T28" fmla="*/ 2147483647 w 22"/>
                      <a:gd name="T29" fmla="*/ 2147483647 h 15"/>
                      <a:gd name="T30" fmla="*/ 2147483647 w 22"/>
                      <a:gd name="T31" fmla="*/ 2147483647 h 15"/>
                      <a:gd name="T32" fmla="*/ 2147483647 w 22"/>
                      <a:gd name="T33" fmla="*/ 2147483647 h 15"/>
                      <a:gd name="T34" fmla="*/ 2147483647 w 22"/>
                      <a:gd name="T35" fmla="*/ 2147483647 h 15"/>
                      <a:gd name="T36" fmla="*/ 2147483647 w 22"/>
                      <a:gd name="T37" fmla="*/ 2147483647 h 15"/>
                      <a:gd name="T38" fmla="*/ 2147483647 w 22"/>
                      <a:gd name="T39" fmla="*/ 2147483647 h 15"/>
                      <a:gd name="T40" fmla="*/ 0 w 22"/>
                      <a:gd name="T41" fmla="*/ 2147483647 h 15"/>
                      <a:gd name="T42" fmla="*/ 2147483647 w 22"/>
                      <a:gd name="T43" fmla="*/ 2147483647 h 15"/>
                      <a:gd name="T44" fmla="*/ 2147483647 w 22"/>
                      <a:gd name="T45" fmla="*/ 2147483647 h 15"/>
                      <a:gd name="T46" fmla="*/ 2147483647 w 22"/>
                      <a:gd name="T47" fmla="*/ 2147483647 h 15"/>
                      <a:gd name="T48" fmla="*/ 2147483647 w 22"/>
                      <a:gd name="T49" fmla="*/ 2147483647 h 15"/>
                      <a:gd name="T50" fmla="*/ 2147483647 w 22"/>
                      <a:gd name="T51" fmla="*/ 2147483647 h 15"/>
                      <a:gd name="T52" fmla="*/ 2147483647 w 22"/>
                      <a:gd name="T53" fmla="*/ 2147483647 h 15"/>
                      <a:gd name="T54" fmla="*/ 2147483647 w 22"/>
                      <a:gd name="T55" fmla="*/ 2147483647 h 15"/>
                      <a:gd name="T56" fmla="*/ 2147483647 w 22"/>
                      <a:gd name="T57" fmla="*/ 2147483647 h 15"/>
                      <a:gd name="T58" fmla="*/ 2147483647 w 22"/>
                      <a:gd name="T59" fmla="*/ 2147483647 h 15"/>
                      <a:gd name="T60" fmla="*/ 2147483647 w 22"/>
                      <a:gd name="T61" fmla="*/ 2147483647 h 15"/>
                      <a:gd name="T62" fmla="*/ 2147483647 w 22"/>
                      <a:gd name="T63" fmla="*/ 2147483647 h 15"/>
                      <a:gd name="T64" fmla="*/ 2147483647 w 22"/>
                      <a:gd name="T65" fmla="*/ 2147483647 h 15"/>
                      <a:gd name="T66" fmla="*/ 2147483647 w 22"/>
                      <a:gd name="T67" fmla="*/ 2147483647 h 15"/>
                      <a:gd name="T68" fmla="*/ 2147483647 w 22"/>
                      <a:gd name="T69" fmla="*/ 2147483647 h 15"/>
                      <a:gd name="T70" fmla="*/ 2147483647 w 22"/>
                      <a:gd name="T71" fmla="*/ 2147483647 h 15"/>
                      <a:gd name="T72" fmla="*/ 2147483647 w 22"/>
                      <a:gd name="T73" fmla="*/ 2147483647 h 15"/>
                      <a:gd name="T74" fmla="*/ 2147483647 w 22"/>
                      <a:gd name="T75" fmla="*/ 0 h 15"/>
                      <a:gd name="T76" fmla="*/ 2147483647 w 22"/>
                      <a:gd name="T77" fmla="*/ 0 h 15"/>
                      <a:gd name="T78" fmla="*/ 2147483647 w 22"/>
                      <a:gd name="T79" fmla="*/ 0 h 15"/>
                      <a:gd name="T80" fmla="*/ 2147483647 w 22"/>
                      <a:gd name="T81" fmla="*/ 0 h 15"/>
                      <a:gd name="T82" fmla="*/ 2147483647 w 22"/>
                      <a:gd name="T83" fmla="*/ 0 h 1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2" h="15">
                        <a:moveTo>
                          <a:pt x="16" y="0"/>
                        </a:moveTo>
                        <a:lnTo>
                          <a:pt x="16" y="1"/>
                        </a:lnTo>
                        <a:lnTo>
                          <a:pt x="16" y="3"/>
                        </a:lnTo>
                        <a:lnTo>
                          <a:pt x="16" y="7"/>
                        </a:lnTo>
                        <a:lnTo>
                          <a:pt x="16" y="10"/>
                        </a:lnTo>
                        <a:lnTo>
                          <a:pt x="18" y="10"/>
                        </a:lnTo>
                        <a:lnTo>
                          <a:pt x="17" y="10"/>
                        </a:lnTo>
                        <a:lnTo>
                          <a:pt x="16" y="10"/>
                        </a:lnTo>
                        <a:lnTo>
                          <a:pt x="16" y="9"/>
                        </a:lnTo>
                        <a:lnTo>
                          <a:pt x="15" y="8"/>
                        </a:lnTo>
                        <a:lnTo>
                          <a:pt x="13" y="7"/>
                        </a:lnTo>
                        <a:lnTo>
                          <a:pt x="13" y="6"/>
                        </a:lnTo>
                        <a:lnTo>
                          <a:pt x="12" y="6"/>
                        </a:lnTo>
                        <a:lnTo>
                          <a:pt x="9" y="6"/>
                        </a:lnTo>
                        <a:lnTo>
                          <a:pt x="6" y="6"/>
                        </a:lnTo>
                        <a:lnTo>
                          <a:pt x="3" y="6"/>
                        </a:lnTo>
                        <a:lnTo>
                          <a:pt x="3" y="7"/>
                        </a:lnTo>
                        <a:lnTo>
                          <a:pt x="3" y="8"/>
                        </a:lnTo>
                        <a:lnTo>
                          <a:pt x="2" y="9"/>
                        </a:lnTo>
                        <a:lnTo>
                          <a:pt x="0" y="10"/>
                        </a:lnTo>
                        <a:lnTo>
                          <a:pt x="2" y="10"/>
                        </a:lnTo>
                        <a:lnTo>
                          <a:pt x="3" y="10"/>
                        </a:lnTo>
                        <a:lnTo>
                          <a:pt x="5" y="10"/>
                        </a:lnTo>
                        <a:lnTo>
                          <a:pt x="8" y="10"/>
                        </a:lnTo>
                        <a:lnTo>
                          <a:pt x="10" y="11"/>
                        </a:lnTo>
                        <a:lnTo>
                          <a:pt x="13" y="12"/>
                        </a:lnTo>
                        <a:lnTo>
                          <a:pt x="13" y="15"/>
                        </a:lnTo>
                        <a:lnTo>
                          <a:pt x="15" y="15"/>
                        </a:lnTo>
                        <a:lnTo>
                          <a:pt x="16" y="15"/>
                        </a:lnTo>
                        <a:lnTo>
                          <a:pt x="19" y="11"/>
                        </a:lnTo>
                        <a:lnTo>
                          <a:pt x="21" y="9"/>
                        </a:lnTo>
                        <a:lnTo>
                          <a:pt x="22" y="5"/>
                        </a:lnTo>
                        <a:lnTo>
                          <a:pt x="22" y="0"/>
                        </a:lnTo>
                        <a:lnTo>
                          <a:pt x="20" y="0"/>
                        </a:lnTo>
                        <a:lnTo>
                          <a:pt x="19" y="0"/>
                        </a:lnTo>
                        <a:lnTo>
                          <a:pt x="18" y="0"/>
                        </a:lnTo>
                        <a:lnTo>
                          <a:pt x="1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3" name="Freeform 1479">
                    <a:extLst>
                      <a:ext uri="{FF2B5EF4-FFF2-40B4-BE49-F238E27FC236}">
                        <a16:creationId xmlns:a16="http://schemas.microsoft.com/office/drawing/2014/main" xmlns="" id="{02C04AED-2B15-4FB4-B2E2-E824DD1A72DF}"/>
                      </a:ext>
                    </a:extLst>
                  </p:cNvPr>
                  <p:cNvSpPr>
                    <a:spLocks/>
                  </p:cNvSpPr>
                  <p:nvPr/>
                </p:nvSpPr>
                <p:spPr bwMode="gray">
                  <a:xfrm>
                    <a:off x="5823698" y="1635571"/>
                    <a:ext cx="5563" cy="5563"/>
                  </a:xfrm>
                  <a:custGeom>
                    <a:avLst/>
                    <a:gdLst>
                      <a:gd name="T0" fmla="*/ 2147483647 w 5"/>
                      <a:gd name="T1" fmla="*/ 2147483647 h 5"/>
                      <a:gd name="T2" fmla="*/ 2147483647 w 5"/>
                      <a:gd name="T3" fmla="*/ 2147483647 h 5"/>
                      <a:gd name="T4" fmla="*/ 0 w 5"/>
                      <a:gd name="T5" fmla="*/ 2147483647 h 5"/>
                      <a:gd name="T6" fmla="*/ 0 w 5"/>
                      <a:gd name="T7" fmla="*/ 2147483647 h 5"/>
                      <a:gd name="T8" fmla="*/ 0 w 5"/>
                      <a:gd name="T9" fmla="*/ 2147483647 h 5"/>
                      <a:gd name="T10" fmla="*/ 0 w 5"/>
                      <a:gd name="T11" fmla="*/ 2147483647 h 5"/>
                      <a:gd name="T12" fmla="*/ 2147483647 w 5"/>
                      <a:gd name="T13" fmla="*/ 2147483647 h 5"/>
                      <a:gd name="T14" fmla="*/ 2147483647 w 5"/>
                      <a:gd name="T15" fmla="*/ 2147483647 h 5"/>
                      <a:gd name="T16" fmla="*/ 2147483647 w 5"/>
                      <a:gd name="T17" fmla="*/ 2147483647 h 5"/>
                      <a:gd name="T18" fmla="*/ 2147483647 w 5"/>
                      <a:gd name="T19" fmla="*/ 2147483647 h 5"/>
                      <a:gd name="T20" fmla="*/ 2147483647 w 5"/>
                      <a:gd name="T21" fmla="*/ 2147483647 h 5"/>
                      <a:gd name="T22" fmla="*/ 2147483647 w 5"/>
                      <a:gd name="T23" fmla="*/ 0 h 5"/>
                      <a:gd name="T24" fmla="*/ 2147483647 w 5"/>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5">
                        <a:moveTo>
                          <a:pt x="4" y="2"/>
                        </a:moveTo>
                        <a:lnTo>
                          <a:pt x="1" y="2"/>
                        </a:lnTo>
                        <a:lnTo>
                          <a:pt x="0" y="3"/>
                        </a:lnTo>
                        <a:lnTo>
                          <a:pt x="0" y="5"/>
                        </a:lnTo>
                        <a:lnTo>
                          <a:pt x="1" y="5"/>
                        </a:lnTo>
                        <a:lnTo>
                          <a:pt x="3" y="5"/>
                        </a:lnTo>
                        <a:lnTo>
                          <a:pt x="4" y="5"/>
                        </a:lnTo>
                        <a:lnTo>
                          <a:pt x="4" y="4"/>
                        </a:lnTo>
                        <a:lnTo>
                          <a:pt x="5" y="2"/>
                        </a:lnTo>
                        <a:lnTo>
                          <a:pt x="5" y="0"/>
                        </a:lnTo>
                        <a:lnTo>
                          <a:pt x="4" y="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4" name="Freeform 1481">
                    <a:extLst>
                      <a:ext uri="{FF2B5EF4-FFF2-40B4-BE49-F238E27FC236}">
                        <a16:creationId xmlns:a16="http://schemas.microsoft.com/office/drawing/2014/main" xmlns="" id="{7C3E32E7-0F16-4940-82F9-119361B5B89F}"/>
                      </a:ext>
                    </a:extLst>
                  </p:cNvPr>
                  <p:cNvSpPr>
                    <a:spLocks/>
                  </p:cNvSpPr>
                  <p:nvPr/>
                </p:nvSpPr>
                <p:spPr bwMode="gray">
                  <a:xfrm>
                    <a:off x="4787990" y="3755822"/>
                    <a:ext cx="309266" cy="371545"/>
                  </a:xfrm>
                  <a:custGeom>
                    <a:avLst/>
                    <a:gdLst>
                      <a:gd name="T0" fmla="*/ 2147483647 w 278"/>
                      <a:gd name="T1" fmla="*/ 2147483647 h 334"/>
                      <a:gd name="T2" fmla="*/ 2147483647 w 278"/>
                      <a:gd name="T3" fmla="*/ 2147483647 h 334"/>
                      <a:gd name="T4" fmla="*/ 2147483647 w 278"/>
                      <a:gd name="T5" fmla="*/ 2147483647 h 334"/>
                      <a:gd name="T6" fmla="*/ 2147483647 w 278"/>
                      <a:gd name="T7" fmla="*/ 2147483647 h 334"/>
                      <a:gd name="T8" fmla="*/ 2147483647 w 278"/>
                      <a:gd name="T9" fmla="*/ 2147483647 h 334"/>
                      <a:gd name="T10" fmla="*/ 2147483647 w 278"/>
                      <a:gd name="T11" fmla="*/ 2147483647 h 334"/>
                      <a:gd name="T12" fmla="*/ 2147483647 w 278"/>
                      <a:gd name="T13" fmla="*/ 2147483647 h 334"/>
                      <a:gd name="T14" fmla="*/ 2147483647 w 278"/>
                      <a:gd name="T15" fmla="*/ 2147483647 h 334"/>
                      <a:gd name="T16" fmla="*/ 2147483647 w 278"/>
                      <a:gd name="T17" fmla="*/ 2147483647 h 334"/>
                      <a:gd name="T18" fmla="*/ 2147483647 w 278"/>
                      <a:gd name="T19" fmla="*/ 2147483647 h 334"/>
                      <a:gd name="T20" fmla="*/ 2147483647 w 278"/>
                      <a:gd name="T21" fmla="*/ 2147483647 h 334"/>
                      <a:gd name="T22" fmla="*/ 2147483647 w 278"/>
                      <a:gd name="T23" fmla="*/ 2147483647 h 334"/>
                      <a:gd name="T24" fmla="*/ 2147483647 w 278"/>
                      <a:gd name="T25" fmla="*/ 2147483647 h 334"/>
                      <a:gd name="T26" fmla="*/ 2147483647 w 278"/>
                      <a:gd name="T27" fmla="*/ 2147483647 h 334"/>
                      <a:gd name="T28" fmla="*/ 2147483647 w 278"/>
                      <a:gd name="T29" fmla="*/ 2147483647 h 334"/>
                      <a:gd name="T30" fmla="*/ 2147483647 w 278"/>
                      <a:gd name="T31" fmla="*/ 2147483647 h 334"/>
                      <a:gd name="T32" fmla="*/ 2147483647 w 278"/>
                      <a:gd name="T33" fmla="*/ 2147483647 h 334"/>
                      <a:gd name="T34" fmla="*/ 2147483647 w 278"/>
                      <a:gd name="T35" fmla="*/ 2147483647 h 334"/>
                      <a:gd name="T36" fmla="*/ 2147483647 w 278"/>
                      <a:gd name="T37" fmla="*/ 2147483647 h 334"/>
                      <a:gd name="T38" fmla="*/ 2147483647 w 278"/>
                      <a:gd name="T39" fmla="*/ 2147483647 h 334"/>
                      <a:gd name="T40" fmla="*/ 2147483647 w 278"/>
                      <a:gd name="T41" fmla="*/ 2147483647 h 334"/>
                      <a:gd name="T42" fmla="*/ 2147483647 w 278"/>
                      <a:gd name="T43" fmla="*/ 2147483647 h 334"/>
                      <a:gd name="T44" fmla="*/ 2147483647 w 278"/>
                      <a:gd name="T45" fmla="*/ 2147483647 h 334"/>
                      <a:gd name="T46" fmla="*/ 2147483647 w 278"/>
                      <a:gd name="T47" fmla="*/ 2147483647 h 334"/>
                      <a:gd name="T48" fmla="*/ 2147483647 w 278"/>
                      <a:gd name="T49" fmla="*/ 2147483647 h 334"/>
                      <a:gd name="T50" fmla="*/ 2147483647 w 278"/>
                      <a:gd name="T51" fmla="*/ 2147483647 h 334"/>
                      <a:gd name="T52" fmla="*/ 2147483647 w 278"/>
                      <a:gd name="T53" fmla="*/ 2147483647 h 334"/>
                      <a:gd name="T54" fmla="*/ 2147483647 w 278"/>
                      <a:gd name="T55" fmla="*/ 2147483647 h 334"/>
                      <a:gd name="T56" fmla="*/ 2147483647 w 278"/>
                      <a:gd name="T57" fmla="*/ 2147483647 h 334"/>
                      <a:gd name="T58" fmla="*/ 2147483647 w 278"/>
                      <a:gd name="T59" fmla="*/ 2147483647 h 334"/>
                      <a:gd name="T60" fmla="*/ 2147483647 w 278"/>
                      <a:gd name="T61" fmla="*/ 2147483647 h 334"/>
                      <a:gd name="T62" fmla="*/ 2147483647 w 278"/>
                      <a:gd name="T63" fmla="*/ 2147483647 h 334"/>
                      <a:gd name="T64" fmla="*/ 2147483647 w 278"/>
                      <a:gd name="T65" fmla="*/ 2147483647 h 334"/>
                      <a:gd name="T66" fmla="*/ 2147483647 w 278"/>
                      <a:gd name="T67" fmla="*/ 2147483647 h 334"/>
                      <a:gd name="T68" fmla="*/ 2147483647 w 278"/>
                      <a:gd name="T69" fmla="*/ 2147483647 h 334"/>
                      <a:gd name="T70" fmla="*/ 2147483647 w 278"/>
                      <a:gd name="T71" fmla="*/ 2147483647 h 334"/>
                      <a:gd name="T72" fmla="*/ 2147483647 w 278"/>
                      <a:gd name="T73" fmla="*/ 2147483647 h 334"/>
                      <a:gd name="T74" fmla="*/ 2147483647 w 278"/>
                      <a:gd name="T75" fmla="*/ 0 h 334"/>
                      <a:gd name="T76" fmla="*/ 2147483647 w 278"/>
                      <a:gd name="T77" fmla="*/ 2147483647 h 334"/>
                      <a:gd name="T78" fmla="*/ 2147483647 w 278"/>
                      <a:gd name="T79" fmla="*/ 2147483647 h 334"/>
                      <a:gd name="T80" fmla="*/ 2147483647 w 278"/>
                      <a:gd name="T81" fmla="*/ 2147483647 h 334"/>
                      <a:gd name="T82" fmla="*/ 2147483647 w 278"/>
                      <a:gd name="T83" fmla="*/ 2147483647 h 334"/>
                      <a:gd name="T84" fmla="*/ 2147483647 w 278"/>
                      <a:gd name="T85" fmla="*/ 2147483647 h 334"/>
                      <a:gd name="T86" fmla="*/ 2147483647 w 278"/>
                      <a:gd name="T87" fmla="*/ 2147483647 h 334"/>
                      <a:gd name="T88" fmla="*/ 2147483647 w 278"/>
                      <a:gd name="T89" fmla="*/ 2147483647 h 334"/>
                      <a:gd name="T90" fmla="*/ 2147483647 w 278"/>
                      <a:gd name="T91" fmla="*/ 2147483647 h 334"/>
                      <a:gd name="T92" fmla="*/ 2147483647 w 278"/>
                      <a:gd name="T93" fmla="*/ 2147483647 h 334"/>
                      <a:gd name="T94" fmla="*/ 2147483647 w 278"/>
                      <a:gd name="T95" fmla="*/ 2147483647 h 334"/>
                      <a:gd name="T96" fmla="*/ 2147483647 w 278"/>
                      <a:gd name="T97" fmla="*/ 2147483647 h 334"/>
                      <a:gd name="T98" fmla="*/ 2147483647 w 278"/>
                      <a:gd name="T99" fmla="*/ 2147483647 h 334"/>
                      <a:gd name="T100" fmla="*/ 2147483647 w 278"/>
                      <a:gd name="T101" fmla="*/ 2147483647 h 334"/>
                      <a:gd name="T102" fmla="*/ 2147483647 w 278"/>
                      <a:gd name="T103" fmla="*/ 2147483647 h 334"/>
                      <a:gd name="T104" fmla="*/ 2147483647 w 278"/>
                      <a:gd name="T105" fmla="*/ 2147483647 h 334"/>
                      <a:gd name="T106" fmla="*/ 2147483647 w 278"/>
                      <a:gd name="T107" fmla="*/ 2147483647 h 334"/>
                      <a:gd name="T108" fmla="*/ 2147483647 w 278"/>
                      <a:gd name="T109" fmla="*/ 2147483647 h 334"/>
                      <a:gd name="T110" fmla="*/ 2147483647 w 278"/>
                      <a:gd name="T111" fmla="*/ 2147483647 h 334"/>
                      <a:gd name="T112" fmla="*/ 2147483647 w 278"/>
                      <a:gd name="T113" fmla="*/ 2147483647 h 334"/>
                      <a:gd name="T114" fmla="*/ 2147483647 w 278"/>
                      <a:gd name="T115" fmla="*/ 2147483647 h 334"/>
                      <a:gd name="T116" fmla="*/ 2147483647 w 278"/>
                      <a:gd name="T117" fmla="*/ 2147483647 h 334"/>
                      <a:gd name="T118" fmla="*/ 2147483647 w 278"/>
                      <a:gd name="T119" fmla="*/ 2147483647 h 334"/>
                      <a:gd name="T120" fmla="*/ 2147483647 w 278"/>
                      <a:gd name="T121" fmla="*/ 2147483647 h 334"/>
                      <a:gd name="T122" fmla="*/ 0 w 278"/>
                      <a:gd name="T123" fmla="*/ 2147483647 h 334"/>
                      <a:gd name="T124" fmla="*/ 2147483647 w 278"/>
                      <a:gd name="T125" fmla="*/ 2147483647 h 3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 h="334">
                        <a:moveTo>
                          <a:pt x="15" y="285"/>
                        </a:moveTo>
                        <a:lnTo>
                          <a:pt x="16" y="285"/>
                        </a:lnTo>
                        <a:lnTo>
                          <a:pt x="17" y="285"/>
                        </a:lnTo>
                        <a:lnTo>
                          <a:pt x="19" y="285"/>
                        </a:lnTo>
                        <a:lnTo>
                          <a:pt x="19" y="286"/>
                        </a:lnTo>
                        <a:lnTo>
                          <a:pt x="19" y="288"/>
                        </a:lnTo>
                        <a:lnTo>
                          <a:pt x="20" y="290"/>
                        </a:lnTo>
                        <a:lnTo>
                          <a:pt x="22" y="292"/>
                        </a:lnTo>
                        <a:lnTo>
                          <a:pt x="26" y="289"/>
                        </a:lnTo>
                        <a:lnTo>
                          <a:pt x="26" y="288"/>
                        </a:lnTo>
                        <a:lnTo>
                          <a:pt x="26" y="287"/>
                        </a:lnTo>
                        <a:lnTo>
                          <a:pt x="26" y="286"/>
                        </a:lnTo>
                        <a:lnTo>
                          <a:pt x="26" y="285"/>
                        </a:lnTo>
                        <a:lnTo>
                          <a:pt x="28" y="290"/>
                        </a:lnTo>
                        <a:lnTo>
                          <a:pt x="30" y="295"/>
                        </a:lnTo>
                        <a:lnTo>
                          <a:pt x="32" y="299"/>
                        </a:lnTo>
                        <a:lnTo>
                          <a:pt x="32" y="301"/>
                        </a:lnTo>
                        <a:lnTo>
                          <a:pt x="35" y="301"/>
                        </a:lnTo>
                        <a:lnTo>
                          <a:pt x="38" y="300"/>
                        </a:lnTo>
                        <a:lnTo>
                          <a:pt x="39" y="300"/>
                        </a:lnTo>
                        <a:lnTo>
                          <a:pt x="41" y="301"/>
                        </a:lnTo>
                        <a:lnTo>
                          <a:pt x="43" y="304"/>
                        </a:lnTo>
                        <a:lnTo>
                          <a:pt x="44" y="306"/>
                        </a:lnTo>
                        <a:lnTo>
                          <a:pt x="45" y="307"/>
                        </a:lnTo>
                        <a:lnTo>
                          <a:pt x="45" y="308"/>
                        </a:lnTo>
                        <a:lnTo>
                          <a:pt x="50" y="312"/>
                        </a:lnTo>
                        <a:lnTo>
                          <a:pt x="52" y="314"/>
                        </a:lnTo>
                        <a:lnTo>
                          <a:pt x="55" y="315"/>
                        </a:lnTo>
                        <a:lnTo>
                          <a:pt x="55" y="319"/>
                        </a:lnTo>
                        <a:lnTo>
                          <a:pt x="55" y="323"/>
                        </a:lnTo>
                        <a:lnTo>
                          <a:pt x="56" y="324"/>
                        </a:lnTo>
                        <a:lnTo>
                          <a:pt x="57" y="327"/>
                        </a:lnTo>
                        <a:lnTo>
                          <a:pt x="57" y="328"/>
                        </a:lnTo>
                        <a:lnTo>
                          <a:pt x="58" y="329"/>
                        </a:lnTo>
                        <a:lnTo>
                          <a:pt x="59" y="329"/>
                        </a:lnTo>
                        <a:lnTo>
                          <a:pt x="60" y="330"/>
                        </a:lnTo>
                        <a:lnTo>
                          <a:pt x="61" y="328"/>
                        </a:lnTo>
                        <a:lnTo>
                          <a:pt x="61" y="327"/>
                        </a:lnTo>
                        <a:lnTo>
                          <a:pt x="62" y="326"/>
                        </a:lnTo>
                        <a:lnTo>
                          <a:pt x="64" y="324"/>
                        </a:lnTo>
                        <a:lnTo>
                          <a:pt x="66" y="323"/>
                        </a:lnTo>
                        <a:lnTo>
                          <a:pt x="67" y="323"/>
                        </a:lnTo>
                        <a:lnTo>
                          <a:pt x="67" y="321"/>
                        </a:lnTo>
                        <a:lnTo>
                          <a:pt x="67" y="319"/>
                        </a:lnTo>
                        <a:lnTo>
                          <a:pt x="67" y="318"/>
                        </a:lnTo>
                        <a:lnTo>
                          <a:pt x="67" y="317"/>
                        </a:lnTo>
                        <a:lnTo>
                          <a:pt x="67" y="315"/>
                        </a:lnTo>
                        <a:lnTo>
                          <a:pt x="67" y="314"/>
                        </a:lnTo>
                        <a:lnTo>
                          <a:pt x="67" y="313"/>
                        </a:lnTo>
                        <a:lnTo>
                          <a:pt x="67" y="312"/>
                        </a:lnTo>
                        <a:lnTo>
                          <a:pt x="67" y="311"/>
                        </a:lnTo>
                        <a:lnTo>
                          <a:pt x="67" y="307"/>
                        </a:lnTo>
                        <a:lnTo>
                          <a:pt x="66" y="305"/>
                        </a:lnTo>
                        <a:lnTo>
                          <a:pt x="64" y="303"/>
                        </a:lnTo>
                        <a:lnTo>
                          <a:pt x="64" y="301"/>
                        </a:lnTo>
                        <a:lnTo>
                          <a:pt x="62" y="299"/>
                        </a:lnTo>
                        <a:lnTo>
                          <a:pt x="61" y="299"/>
                        </a:lnTo>
                        <a:lnTo>
                          <a:pt x="61" y="297"/>
                        </a:lnTo>
                        <a:lnTo>
                          <a:pt x="60" y="295"/>
                        </a:lnTo>
                        <a:lnTo>
                          <a:pt x="59" y="294"/>
                        </a:lnTo>
                        <a:lnTo>
                          <a:pt x="58" y="293"/>
                        </a:lnTo>
                        <a:lnTo>
                          <a:pt x="57" y="292"/>
                        </a:lnTo>
                        <a:lnTo>
                          <a:pt x="57" y="290"/>
                        </a:lnTo>
                        <a:lnTo>
                          <a:pt x="56" y="289"/>
                        </a:lnTo>
                        <a:lnTo>
                          <a:pt x="55" y="287"/>
                        </a:lnTo>
                        <a:lnTo>
                          <a:pt x="55" y="285"/>
                        </a:lnTo>
                        <a:lnTo>
                          <a:pt x="55" y="284"/>
                        </a:lnTo>
                        <a:lnTo>
                          <a:pt x="56" y="283"/>
                        </a:lnTo>
                        <a:lnTo>
                          <a:pt x="60" y="282"/>
                        </a:lnTo>
                        <a:lnTo>
                          <a:pt x="60" y="278"/>
                        </a:lnTo>
                        <a:lnTo>
                          <a:pt x="60" y="276"/>
                        </a:lnTo>
                        <a:lnTo>
                          <a:pt x="60" y="275"/>
                        </a:lnTo>
                        <a:lnTo>
                          <a:pt x="63" y="274"/>
                        </a:lnTo>
                        <a:lnTo>
                          <a:pt x="65" y="273"/>
                        </a:lnTo>
                        <a:lnTo>
                          <a:pt x="67" y="272"/>
                        </a:lnTo>
                        <a:lnTo>
                          <a:pt x="67" y="270"/>
                        </a:lnTo>
                        <a:lnTo>
                          <a:pt x="69" y="269"/>
                        </a:lnTo>
                        <a:lnTo>
                          <a:pt x="70" y="268"/>
                        </a:lnTo>
                        <a:lnTo>
                          <a:pt x="71" y="267"/>
                        </a:lnTo>
                        <a:lnTo>
                          <a:pt x="71" y="266"/>
                        </a:lnTo>
                        <a:lnTo>
                          <a:pt x="71" y="262"/>
                        </a:lnTo>
                        <a:lnTo>
                          <a:pt x="72" y="260"/>
                        </a:lnTo>
                        <a:lnTo>
                          <a:pt x="74" y="260"/>
                        </a:lnTo>
                        <a:lnTo>
                          <a:pt x="76" y="260"/>
                        </a:lnTo>
                        <a:lnTo>
                          <a:pt x="77" y="260"/>
                        </a:lnTo>
                        <a:lnTo>
                          <a:pt x="79" y="261"/>
                        </a:lnTo>
                        <a:lnTo>
                          <a:pt x="80" y="263"/>
                        </a:lnTo>
                        <a:lnTo>
                          <a:pt x="80" y="264"/>
                        </a:lnTo>
                        <a:lnTo>
                          <a:pt x="80" y="265"/>
                        </a:lnTo>
                        <a:lnTo>
                          <a:pt x="80" y="270"/>
                        </a:lnTo>
                        <a:lnTo>
                          <a:pt x="80" y="272"/>
                        </a:lnTo>
                        <a:lnTo>
                          <a:pt x="80" y="273"/>
                        </a:lnTo>
                        <a:lnTo>
                          <a:pt x="81" y="274"/>
                        </a:lnTo>
                        <a:lnTo>
                          <a:pt x="83" y="275"/>
                        </a:lnTo>
                        <a:lnTo>
                          <a:pt x="85" y="275"/>
                        </a:lnTo>
                        <a:lnTo>
                          <a:pt x="86" y="275"/>
                        </a:lnTo>
                        <a:lnTo>
                          <a:pt x="89" y="274"/>
                        </a:lnTo>
                        <a:lnTo>
                          <a:pt x="91" y="273"/>
                        </a:lnTo>
                        <a:lnTo>
                          <a:pt x="94" y="272"/>
                        </a:lnTo>
                        <a:lnTo>
                          <a:pt x="96" y="270"/>
                        </a:lnTo>
                        <a:lnTo>
                          <a:pt x="97" y="270"/>
                        </a:lnTo>
                        <a:lnTo>
                          <a:pt x="99" y="270"/>
                        </a:lnTo>
                        <a:lnTo>
                          <a:pt x="103" y="270"/>
                        </a:lnTo>
                        <a:lnTo>
                          <a:pt x="104" y="265"/>
                        </a:lnTo>
                        <a:lnTo>
                          <a:pt x="104" y="264"/>
                        </a:lnTo>
                        <a:lnTo>
                          <a:pt x="107" y="263"/>
                        </a:lnTo>
                        <a:lnTo>
                          <a:pt x="109" y="264"/>
                        </a:lnTo>
                        <a:lnTo>
                          <a:pt x="110" y="267"/>
                        </a:lnTo>
                        <a:lnTo>
                          <a:pt x="110" y="272"/>
                        </a:lnTo>
                        <a:lnTo>
                          <a:pt x="110" y="275"/>
                        </a:lnTo>
                        <a:lnTo>
                          <a:pt x="112" y="278"/>
                        </a:lnTo>
                        <a:lnTo>
                          <a:pt x="113" y="280"/>
                        </a:lnTo>
                        <a:lnTo>
                          <a:pt x="115" y="282"/>
                        </a:lnTo>
                        <a:lnTo>
                          <a:pt x="116" y="282"/>
                        </a:lnTo>
                        <a:lnTo>
                          <a:pt x="116" y="284"/>
                        </a:lnTo>
                        <a:lnTo>
                          <a:pt x="118" y="285"/>
                        </a:lnTo>
                        <a:lnTo>
                          <a:pt x="120" y="287"/>
                        </a:lnTo>
                        <a:lnTo>
                          <a:pt x="122" y="289"/>
                        </a:lnTo>
                        <a:lnTo>
                          <a:pt x="127" y="289"/>
                        </a:lnTo>
                        <a:lnTo>
                          <a:pt x="129" y="290"/>
                        </a:lnTo>
                        <a:lnTo>
                          <a:pt x="129" y="292"/>
                        </a:lnTo>
                        <a:lnTo>
                          <a:pt x="131" y="293"/>
                        </a:lnTo>
                        <a:lnTo>
                          <a:pt x="132" y="294"/>
                        </a:lnTo>
                        <a:lnTo>
                          <a:pt x="132" y="299"/>
                        </a:lnTo>
                        <a:lnTo>
                          <a:pt x="134" y="300"/>
                        </a:lnTo>
                        <a:lnTo>
                          <a:pt x="135" y="301"/>
                        </a:lnTo>
                        <a:lnTo>
                          <a:pt x="136" y="303"/>
                        </a:lnTo>
                        <a:lnTo>
                          <a:pt x="136" y="305"/>
                        </a:lnTo>
                        <a:lnTo>
                          <a:pt x="138" y="307"/>
                        </a:lnTo>
                        <a:lnTo>
                          <a:pt x="140" y="308"/>
                        </a:lnTo>
                        <a:lnTo>
                          <a:pt x="141" y="309"/>
                        </a:lnTo>
                        <a:lnTo>
                          <a:pt x="141" y="311"/>
                        </a:lnTo>
                        <a:lnTo>
                          <a:pt x="141" y="316"/>
                        </a:lnTo>
                        <a:lnTo>
                          <a:pt x="141" y="319"/>
                        </a:lnTo>
                        <a:lnTo>
                          <a:pt x="139" y="321"/>
                        </a:lnTo>
                        <a:lnTo>
                          <a:pt x="139" y="326"/>
                        </a:lnTo>
                        <a:lnTo>
                          <a:pt x="139" y="329"/>
                        </a:lnTo>
                        <a:lnTo>
                          <a:pt x="139" y="334"/>
                        </a:lnTo>
                        <a:lnTo>
                          <a:pt x="140" y="333"/>
                        </a:lnTo>
                        <a:lnTo>
                          <a:pt x="141" y="333"/>
                        </a:lnTo>
                        <a:lnTo>
                          <a:pt x="145" y="332"/>
                        </a:lnTo>
                        <a:lnTo>
                          <a:pt x="151" y="329"/>
                        </a:lnTo>
                        <a:lnTo>
                          <a:pt x="155" y="327"/>
                        </a:lnTo>
                        <a:lnTo>
                          <a:pt x="156" y="326"/>
                        </a:lnTo>
                        <a:lnTo>
                          <a:pt x="156" y="323"/>
                        </a:lnTo>
                        <a:lnTo>
                          <a:pt x="155" y="321"/>
                        </a:lnTo>
                        <a:lnTo>
                          <a:pt x="155" y="318"/>
                        </a:lnTo>
                        <a:lnTo>
                          <a:pt x="157" y="315"/>
                        </a:lnTo>
                        <a:lnTo>
                          <a:pt x="158" y="313"/>
                        </a:lnTo>
                        <a:lnTo>
                          <a:pt x="160" y="310"/>
                        </a:lnTo>
                        <a:lnTo>
                          <a:pt x="162" y="308"/>
                        </a:lnTo>
                        <a:lnTo>
                          <a:pt x="162" y="307"/>
                        </a:lnTo>
                        <a:lnTo>
                          <a:pt x="163" y="306"/>
                        </a:lnTo>
                        <a:lnTo>
                          <a:pt x="165" y="305"/>
                        </a:lnTo>
                        <a:lnTo>
                          <a:pt x="165" y="304"/>
                        </a:lnTo>
                        <a:lnTo>
                          <a:pt x="165" y="303"/>
                        </a:lnTo>
                        <a:lnTo>
                          <a:pt x="165" y="302"/>
                        </a:lnTo>
                        <a:lnTo>
                          <a:pt x="165" y="301"/>
                        </a:lnTo>
                        <a:lnTo>
                          <a:pt x="166" y="299"/>
                        </a:lnTo>
                        <a:lnTo>
                          <a:pt x="167" y="299"/>
                        </a:lnTo>
                        <a:lnTo>
                          <a:pt x="169" y="298"/>
                        </a:lnTo>
                        <a:lnTo>
                          <a:pt x="170" y="297"/>
                        </a:lnTo>
                        <a:lnTo>
                          <a:pt x="171" y="296"/>
                        </a:lnTo>
                        <a:lnTo>
                          <a:pt x="171" y="295"/>
                        </a:lnTo>
                        <a:lnTo>
                          <a:pt x="173" y="296"/>
                        </a:lnTo>
                        <a:lnTo>
                          <a:pt x="174" y="297"/>
                        </a:lnTo>
                        <a:lnTo>
                          <a:pt x="174" y="298"/>
                        </a:lnTo>
                        <a:lnTo>
                          <a:pt x="174" y="299"/>
                        </a:lnTo>
                        <a:lnTo>
                          <a:pt x="176" y="300"/>
                        </a:lnTo>
                        <a:lnTo>
                          <a:pt x="177" y="301"/>
                        </a:lnTo>
                        <a:lnTo>
                          <a:pt x="179" y="301"/>
                        </a:lnTo>
                        <a:lnTo>
                          <a:pt x="181" y="301"/>
                        </a:lnTo>
                        <a:lnTo>
                          <a:pt x="183" y="300"/>
                        </a:lnTo>
                        <a:lnTo>
                          <a:pt x="184" y="299"/>
                        </a:lnTo>
                        <a:lnTo>
                          <a:pt x="184" y="297"/>
                        </a:lnTo>
                        <a:lnTo>
                          <a:pt x="184" y="295"/>
                        </a:lnTo>
                        <a:lnTo>
                          <a:pt x="186" y="294"/>
                        </a:lnTo>
                        <a:lnTo>
                          <a:pt x="187" y="293"/>
                        </a:lnTo>
                        <a:lnTo>
                          <a:pt x="188" y="292"/>
                        </a:lnTo>
                        <a:lnTo>
                          <a:pt x="189" y="292"/>
                        </a:lnTo>
                        <a:lnTo>
                          <a:pt x="190" y="292"/>
                        </a:lnTo>
                        <a:lnTo>
                          <a:pt x="191" y="292"/>
                        </a:lnTo>
                        <a:lnTo>
                          <a:pt x="193" y="292"/>
                        </a:lnTo>
                        <a:lnTo>
                          <a:pt x="196" y="293"/>
                        </a:lnTo>
                        <a:lnTo>
                          <a:pt x="198" y="294"/>
                        </a:lnTo>
                        <a:lnTo>
                          <a:pt x="201" y="295"/>
                        </a:lnTo>
                        <a:lnTo>
                          <a:pt x="203" y="295"/>
                        </a:lnTo>
                        <a:lnTo>
                          <a:pt x="206" y="295"/>
                        </a:lnTo>
                        <a:lnTo>
                          <a:pt x="208" y="294"/>
                        </a:lnTo>
                        <a:lnTo>
                          <a:pt x="211" y="293"/>
                        </a:lnTo>
                        <a:lnTo>
                          <a:pt x="213" y="292"/>
                        </a:lnTo>
                        <a:lnTo>
                          <a:pt x="214" y="292"/>
                        </a:lnTo>
                        <a:lnTo>
                          <a:pt x="216" y="292"/>
                        </a:lnTo>
                        <a:lnTo>
                          <a:pt x="216" y="290"/>
                        </a:lnTo>
                        <a:lnTo>
                          <a:pt x="216" y="289"/>
                        </a:lnTo>
                        <a:lnTo>
                          <a:pt x="217" y="289"/>
                        </a:lnTo>
                        <a:lnTo>
                          <a:pt x="219" y="289"/>
                        </a:lnTo>
                        <a:lnTo>
                          <a:pt x="220" y="289"/>
                        </a:lnTo>
                        <a:lnTo>
                          <a:pt x="221" y="289"/>
                        </a:lnTo>
                        <a:lnTo>
                          <a:pt x="222" y="289"/>
                        </a:lnTo>
                        <a:lnTo>
                          <a:pt x="224" y="289"/>
                        </a:lnTo>
                        <a:lnTo>
                          <a:pt x="226" y="289"/>
                        </a:lnTo>
                        <a:lnTo>
                          <a:pt x="227" y="289"/>
                        </a:lnTo>
                        <a:lnTo>
                          <a:pt x="229" y="289"/>
                        </a:lnTo>
                        <a:lnTo>
                          <a:pt x="231" y="289"/>
                        </a:lnTo>
                        <a:lnTo>
                          <a:pt x="233" y="289"/>
                        </a:lnTo>
                        <a:lnTo>
                          <a:pt x="234" y="289"/>
                        </a:lnTo>
                        <a:lnTo>
                          <a:pt x="236" y="289"/>
                        </a:lnTo>
                        <a:lnTo>
                          <a:pt x="237" y="289"/>
                        </a:lnTo>
                        <a:lnTo>
                          <a:pt x="238" y="289"/>
                        </a:lnTo>
                        <a:lnTo>
                          <a:pt x="240" y="289"/>
                        </a:lnTo>
                        <a:lnTo>
                          <a:pt x="242" y="289"/>
                        </a:lnTo>
                        <a:lnTo>
                          <a:pt x="244" y="286"/>
                        </a:lnTo>
                        <a:lnTo>
                          <a:pt x="245" y="284"/>
                        </a:lnTo>
                        <a:lnTo>
                          <a:pt x="246" y="283"/>
                        </a:lnTo>
                        <a:lnTo>
                          <a:pt x="248" y="282"/>
                        </a:lnTo>
                        <a:lnTo>
                          <a:pt x="248" y="280"/>
                        </a:lnTo>
                        <a:lnTo>
                          <a:pt x="248" y="279"/>
                        </a:lnTo>
                        <a:lnTo>
                          <a:pt x="248" y="277"/>
                        </a:lnTo>
                        <a:lnTo>
                          <a:pt x="248" y="275"/>
                        </a:lnTo>
                        <a:lnTo>
                          <a:pt x="247" y="275"/>
                        </a:lnTo>
                        <a:lnTo>
                          <a:pt x="245" y="273"/>
                        </a:lnTo>
                        <a:lnTo>
                          <a:pt x="245" y="274"/>
                        </a:lnTo>
                        <a:lnTo>
                          <a:pt x="243" y="274"/>
                        </a:lnTo>
                        <a:lnTo>
                          <a:pt x="242" y="275"/>
                        </a:lnTo>
                        <a:lnTo>
                          <a:pt x="242" y="273"/>
                        </a:lnTo>
                        <a:lnTo>
                          <a:pt x="242" y="271"/>
                        </a:lnTo>
                        <a:lnTo>
                          <a:pt x="242" y="270"/>
                        </a:lnTo>
                        <a:lnTo>
                          <a:pt x="242" y="268"/>
                        </a:lnTo>
                        <a:lnTo>
                          <a:pt x="242" y="266"/>
                        </a:lnTo>
                        <a:lnTo>
                          <a:pt x="242" y="265"/>
                        </a:lnTo>
                        <a:lnTo>
                          <a:pt x="243" y="265"/>
                        </a:lnTo>
                        <a:lnTo>
                          <a:pt x="245" y="263"/>
                        </a:lnTo>
                        <a:lnTo>
                          <a:pt x="244" y="261"/>
                        </a:lnTo>
                        <a:lnTo>
                          <a:pt x="242" y="260"/>
                        </a:lnTo>
                        <a:lnTo>
                          <a:pt x="241" y="258"/>
                        </a:lnTo>
                        <a:lnTo>
                          <a:pt x="242" y="256"/>
                        </a:lnTo>
                        <a:lnTo>
                          <a:pt x="242" y="254"/>
                        </a:lnTo>
                        <a:lnTo>
                          <a:pt x="242" y="253"/>
                        </a:lnTo>
                        <a:lnTo>
                          <a:pt x="243" y="253"/>
                        </a:lnTo>
                        <a:lnTo>
                          <a:pt x="245" y="253"/>
                        </a:lnTo>
                        <a:lnTo>
                          <a:pt x="246" y="253"/>
                        </a:lnTo>
                        <a:lnTo>
                          <a:pt x="247" y="253"/>
                        </a:lnTo>
                        <a:lnTo>
                          <a:pt x="248" y="253"/>
                        </a:lnTo>
                        <a:lnTo>
                          <a:pt x="250" y="252"/>
                        </a:lnTo>
                        <a:lnTo>
                          <a:pt x="252" y="253"/>
                        </a:lnTo>
                        <a:lnTo>
                          <a:pt x="254" y="253"/>
                        </a:lnTo>
                        <a:lnTo>
                          <a:pt x="255" y="253"/>
                        </a:lnTo>
                        <a:lnTo>
                          <a:pt x="257" y="253"/>
                        </a:lnTo>
                        <a:lnTo>
                          <a:pt x="258" y="253"/>
                        </a:lnTo>
                        <a:lnTo>
                          <a:pt x="260" y="253"/>
                        </a:lnTo>
                        <a:lnTo>
                          <a:pt x="262" y="253"/>
                        </a:lnTo>
                        <a:lnTo>
                          <a:pt x="262" y="251"/>
                        </a:lnTo>
                        <a:lnTo>
                          <a:pt x="265" y="251"/>
                        </a:lnTo>
                        <a:lnTo>
                          <a:pt x="268" y="249"/>
                        </a:lnTo>
                        <a:lnTo>
                          <a:pt x="268" y="247"/>
                        </a:lnTo>
                        <a:lnTo>
                          <a:pt x="269" y="247"/>
                        </a:lnTo>
                        <a:lnTo>
                          <a:pt x="271" y="246"/>
                        </a:lnTo>
                        <a:lnTo>
                          <a:pt x="271" y="244"/>
                        </a:lnTo>
                        <a:lnTo>
                          <a:pt x="271" y="243"/>
                        </a:lnTo>
                        <a:lnTo>
                          <a:pt x="273" y="242"/>
                        </a:lnTo>
                        <a:lnTo>
                          <a:pt x="274" y="241"/>
                        </a:lnTo>
                        <a:lnTo>
                          <a:pt x="275" y="239"/>
                        </a:lnTo>
                        <a:lnTo>
                          <a:pt x="276" y="238"/>
                        </a:lnTo>
                        <a:lnTo>
                          <a:pt x="277" y="237"/>
                        </a:lnTo>
                        <a:lnTo>
                          <a:pt x="278" y="237"/>
                        </a:lnTo>
                        <a:lnTo>
                          <a:pt x="277" y="235"/>
                        </a:lnTo>
                        <a:lnTo>
                          <a:pt x="276" y="234"/>
                        </a:lnTo>
                        <a:lnTo>
                          <a:pt x="275" y="234"/>
                        </a:lnTo>
                        <a:lnTo>
                          <a:pt x="274" y="234"/>
                        </a:lnTo>
                        <a:lnTo>
                          <a:pt x="274" y="233"/>
                        </a:lnTo>
                        <a:lnTo>
                          <a:pt x="274" y="232"/>
                        </a:lnTo>
                        <a:lnTo>
                          <a:pt x="274" y="231"/>
                        </a:lnTo>
                        <a:lnTo>
                          <a:pt x="273" y="231"/>
                        </a:lnTo>
                        <a:lnTo>
                          <a:pt x="271" y="231"/>
                        </a:lnTo>
                        <a:lnTo>
                          <a:pt x="268" y="230"/>
                        </a:lnTo>
                        <a:lnTo>
                          <a:pt x="266" y="229"/>
                        </a:lnTo>
                        <a:lnTo>
                          <a:pt x="265" y="228"/>
                        </a:lnTo>
                        <a:lnTo>
                          <a:pt x="265" y="227"/>
                        </a:lnTo>
                        <a:lnTo>
                          <a:pt x="262" y="227"/>
                        </a:lnTo>
                        <a:lnTo>
                          <a:pt x="262" y="225"/>
                        </a:lnTo>
                        <a:lnTo>
                          <a:pt x="262" y="224"/>
                        </a:lnTo>
                        <a:lnTo>
                          <a:pt x="262" y="223"/>
                        </a:lnTo>
                        <a:lnTo>
                          <a:pt x="262" y="222"/>
                        </a:lnTo>
                        <a:lnTo>
                          <a:pt x="260" y="221"/>
                        </a:lnTo>
                        <a:lnTo>
                          <a:pt x="259" y="220"/>
                        </a:lnTo>
                        <a:lnTo>
                          <a:pt x="259" y="219"/>
                        </a:lnTo>
                        <a:lnTo>
                          <a:pt x="258" y="218"/>
                        </a:lnTo>
                        <a:lnTo>
                          <a:pt x="256" y="218"/>
                        </a:lnTo>
                        <a:lnTo>
                          <a:pt x="255" y="218"/>
                        </a:lnTo>
                        <a:lnTo>
                          <a:pt x="254" y="218"/>
                        </a:lnTo>
                        <a:lnTo>
                          <a:pt x="252" y="218"/>
                        </a:lnTo>
                        <a:lnTo>
                          <a:pt x="252" y="217"/>
                        </a:lnTo>
                        <a:lnTo>
                          <a:pt x="252" y="215"/>
                        </a:lnTo>
                        <a:lnTo>
                          <a:pt x="250" y="215"/>
                        </a:lnTo>
                        <a:lnTo>
                          <a:pt x="249" y="214"/>
                        </a:lnTo>
                        <a:lnTo>
                          <a:pt x="249" y="213"/>
                        </a:lnTo>
                        <a:lnTo>
                          <a:pt x="248" y="211"/>
                        </a:lnTo>
                        <a:lnTo>
                          <a:pt x="246" y="211"/>
                        </a:lnTo>
                        <a:lnTo>
                          <a:pt x="245" y="211"/>
                        </a:lnTo>
                        <a:lnTo>
                          <a:pt x="244" y="211"/>
                        </a:lnTo>
                        <a:lnTo>
                          <a:pt x="242" y="211"/>
                        </a:lnTo>
                        <a:lnTo>
                          <a:pt x="241" y="210"/>
                        </a:lnTo>
                        <a:lnTo>
                          <a:pt x="240" y="209"/>
                        </a:lnTo>
                        <a:lnTo>
                          <a:pt x="239" y="208"/>
                        </a:lnTo>
                        <a:lnTo>
                          <a:pt x="238" y="208"/>
                        </a:lnTo>
                        <a:lnTo>
                          <a:pt x="238" y="206"/>
                        </a:lnTo>
                        <a:lnTo>
                          <a:pt x="238" y="205"/>
                        </a:lnTo>
                        <a:lnTo>
                          <a:pt x="238" y="203"/>
                        </a:lnTo>
                        <a:lnTo>
                          <a:pt x="238" y="202"/>
                        </a:lnTo>
                        <a:lnTo>
                          <a:pt x="238" y="200"/>
                        </a:lnTo>
                        <a:lnTo>
                          <a:pt x="237" y="198"/>
                        </a:lnTo>
                        <a:lnTo>
                          <a:pt x="236" y="196"/>
                        </a:lnTo>
                        <a:lnTo>
                          <a:pt x="235" y="196"/>
                        </a:lnTo>
                        <a:lnTo>
                          <a:pt x="234" y="195"/>
                        </a:lnTo>
                        <a:lnTo>
                          <a:pt x="233" y="194"/>
                        </a:lnTo>
                        <a:lnTo>
                          <a:pt x="233" y="192"/>
                        </a:lnTo>
                        <a:lnTo>
                          <a:pt x="233" y="190"/>
                        </a:lnTo>
                        <a:lnTo>
                          <a:pt x="233" y="186"/>
                        </a:lnTo>
                        <a:lnTo>
                          <a:pt x="233" y="185"/>
                        </a:lnTo>
                        <a:lnTo>
                          <a:pt x="232" y="184"/>
                        </a:lnTo>
                        <a:lnTo>
                          <a:pt x="231" y="183"/>
                        </a:lnTo>
                        <a:lnTo>
                          <a:pt x="229" y="182"/>
                        </a:lnTo>
                        <a:lnTo>
                          <a:pt x="230" y="180"/>
                        </a:lnTo>
                        <a:lnTo>
                          <a:pt x="231" y="180"/>
                        </a:lnTo>
                        <a:lnTo>
                          <a:pt x="232" y="179"/>
                        </a:lnTo>
                        <a:lnTo>
                          <a:pt x="233" y="179"/>
                        </a:lnTo>
                        <a:lnTo>
                          <a:pt x="233" y="178"/>
                        </a:lnTo>
                        <a:lnTo>
                          <a:pt x="233" y="177"/>
                        </a:lnTo>
                        <a:lnTo>
                          <a:pt x="234" y="177"/>
                        </a:lnTo>
                        <a:lnTo>
                          <a:pt x="236" y="177"/>
                        </a:lnTo>
                        <a:lnTo>
                          <a:pt x="236" y="172"/>
                        </a:lnTo>
                        <a:lnTo>
                          <a:pt x="236" y="171"/>
                        </a:lnTo>
                        <a:lnTo>
                          <a:pt x="236" y="170"/>
                        </a:lnTo>
                        <a:lnTo>
                          <a:pt x="237" y="169"/>
                        </a:lnTo>
                        <a:lnTo>
                          <a:pt x="238" y="168"/>
                        </a:lnTo>
                        <a:lnTo>
                          <a:pt x="240" y="168"/>
                        </a:lnTo>
                        <a:lnTo>
                          <a:pt x="242" y="168"/>
                        </a:lnTo>
                        <a:lnTo>
                          <a:pt x="244" y="165"/>
                        </a:lnTo>
                        <a:lnTo>
                          <a:pt x="245" y="163"/>
                        </a:lnTo>
                        <a:lnTo>
                          <a:pt x="245" y="162"/>
                        </a:lnTo>
                        <a:lnTo>
                          <a:pt x="245" y="160"/>
                        </a:lnTo>
                        <a:lnTo>
                          <a:pt x="246" y="159"/>
                        </a:lnTo>
                        <a:lnTo>
                          <a:pt x="247" y="157"/>
                        </a:lnTo>
                        <a:lnTo>
                          <a:pt x="248" y="157"/>
                        </a:lnTo>
                        <a:lnTo>
                          <a:pt x="249" y="156"/>
                        </a:lnTo>
                        <a:lnTo>
                          <a:pt x="250" y="151"/>
                        </a:lnTo>
                        <a:lnTo>
                          <a:pt x="250" y="148"/>
                        </a:lnTo>
                        <a:lnTo>
                          <a:pt x="249" y="147"/>
                        </a:lnTo>
                        <a:lnTo>
                          <a:pt x="248" y="148"/>
                        </a:lnTo>
                        <a:lnTo>
                          <a:pt x="245" y="148"/>
                        </a:lnTo>
                        <a:lnTo>
                          <a:pt x="244" y="147"/>
                        </a:lnTo>
                        <a:lnTo>
                          <a:pt x="243" y="146"/>
                        </a:lnTo>
                        <a:lnTo>
                          <a:pt x="242" y="144"/>
                        </a:lnTo>
                        <a:lnTo>
                          <a:pt x="239" y="144"/>
                        </a:lnTo>
                        <a:lnTo>
                          <a:pt x="237" y="144"/>
                        </a:lnTo>
                        <a:lnTo>
                          <a:pt x="235" y="141"/>
                        </a:lnTo>
                        <a:lnTo>
                          <a:pt x="236" y="138"/>
                        </a:lnTo>
                        <a:lnTo>
                          <a:pt x="236" y="137"/>
                        </a:lnTo>
                        <a:lnTo>
                          <a:pt x="237" y="135"/>
                        </a:lnTo>
                        <a:lnTo>
                          <a:pt x="238" y="135"/>
                        </a:lnTo>
                        <a:lnTo>
                          <a:pt x="241" y="135"/>
                        </a:lnTo>
                        <a:lnTo>
                          <a:pt x="242" y="135"/>
                        </a:lnTo>
                        <a:lnTo>
                          <a:pt x="241" y="132"/>
                        </a:lnTo>
                        <a:lnTo>
                          <a:pt x="240" y="131"/>
                        </a:lnTo>
                        <a:lnTo>
                          <a:pt x="237" y="129"/>
                        </a:lnTo>
                        <a:lnTo>
                          <a:pt x="236" y="125"/>
                        </a:lnTo>
                        <a:lnTo>
                          <a:pt x="235" y="124"/>
                        </a:lnTo>
                        <a:lnTo>
                          <a:pt x="234" y="120"/>
                        </a:lnTo>
                        <a:lnTo>
                          <a:pt x="232" y="117"/>
                        </a:lnTo>
                        <a:lnTo>
                          <a:pt x="229" y="116"/>
                        </a:lnTo>
                        <a:lnTo>
                          <a:pt x="225" y="119"/>
                        </a:lnTo>
                        <a:lnTo>
                          <a:pt x="221" y="121"/>
                        </a:lnTo>
                        <a:lnTo>
                          <a:pt x="218" y="124"/>
                        </a:lnTo>
                        <a:lnTo>
                          <a:pt x="216" y="125"/>
                        </a:lnTo>
                        <a:lnTo>
                          <a:pt x="214" y="130"/>
                        </a:lnTo>
                        <a:lnTo>
                          <a:pt x="214" y="132"/>
                        </a:lnTo>
                        <a:lnTo>
                          <a:pt x="214" y="135"/>
                        </a:lnTo>
                        <a:lnTo>
                          <a:pt x="213" y="138"/>
                        </a:lnTo>
                        <a:lnTo>
                          <a:pt x="212" y="140"/>
                        </a:lnTo>
                        <a:lnTo>
                          <a:pt x="212" y="138"/>
                        </a:lnTo>
                        <a:lnTo>
                          <a:pt x="212" y="135"/>
                        </a:lnTo>
                        <a:lnTo>
                          <a:pt x="210" y="132"/>
                        </a:lnTo>
                        <a:lnTo>
                          <a:pt x="209" y="129"/>
                        </a:lnTo>
                        <a:lnTo>
                          <a:pt x="209" y="127"/>
                        </a:lnTo>
                        <a:lnTo>
                          <a:pt x="208" y="126"/>
                        </a:lnTo>
                        <a:lnTo>
                          <a:pt x="207" y="125"/>
                        </a:lnTo>
                        <a:lnTo>
                          <a:pt x="203" y="124"/>
                        </a:lnTo>
                        <a:lnTo>
                          <a:pt x="202" y="123"/>
                        </a:lnTo>
                        <a:lnTo>
                          <a:pt x="200" y="123"/>
                        </a:lnTo>
                        <a:lnTo>
                          <a:pt x="197" y="122"/>
                        </a:lnTo>
                        <a:lnTo>
                          <a:pt x="195" y="119"/>
                        </a:lnTo>
                        <a:lnTo>
                          <a:pt x="193" y="117"/>
                        </a:lnTo>
                        <a:lnTo>
                          <a:pt x="192" y="117"/>
                        </a:lnTo>
                        <a:lnTo>
                          <a:pt x="190" y="116"/>
                        </a:lnTo>
                        <a:lnTo>
                          <a:pt x="189" y="116"/>
                        </a:lnTo>
                        <a:lnTo>
                          <a:pt x="188" y="116"/>
                        </a:lnTo>
                        <a:lnTo>
                          <a:pt x="186" y="116"/>
                        </a:lnTo>
                        <a:lnTo>
                          <a:pt x="184" y="116"/>
                        </a:lnTo>
                        <a:lnTo>
                          <a:pt x="182" y="114"/>
                        </a:lnTo>
                        <a:lnTo>
                          <a:pt x="181" y="113"/>
                        </a:lnTo>
                        <a:lnTo>
                          <a:pt x="181" y="111"/>
                        </a:lnTo>
                        <a:lnTo>
                          <a:pt x="181" y="109"/>
                        </a:lnTo>
                        <a:lnTo>
                          <a:pt x="182" y="107"/>
                        </a:lnTo>
                        <a:lnTo>
                          <a:pt x="186" y="106"/>
                        </a:lnTo>
                        <a:lnTo>
                          <a:pt x="189" y="105"/>
                        </a:lnTo>
                        <a:lnTo>
                          <a:pt x="190" y="103"/>
                        </a:lnTo>
                        <a:lnTo>
                          <a:pt x="189" y="101"/>
                        </a:lnTo>
                        <a:lnTo>
                          <a:pt x="186" y="101"/>
                        </a:lnTo>
                        <a:lnTo>
                          <a:pt x="182" y="101"/>
                        </a:lnTo>
                        <a:lnTo>
                          <a:pt x="181" y="99"/>
                        </a:lnTo>
                        <a:lnTo>
                          <a:pt x="180" y="98"/>
                        </a:lnTo>
                        <a:lnTo>
                          <a:pt x="181" y="97"/>
                        </a:lnTo>
                        <a:lnTo>
                          <a:pt x="184" y="95"/>
                        </a:lnTo>
                        <a:lnTo>
                          <a:pt x="187" y="94"/>
                        </a:lnTo>
                        <a:lnTo>
                          <a:pt x="188" y="94"/>
                        </a:lnTo>
                        <a:lnTo>
                          <a:pt x="187" y="91"/>
                        </a:lnTo>
                        <a:lnTo>
                          <a:pt x="184" y="89"/>
                        </a:lnTo>
                        <a:lnTo>
                          <a:pt x="182" y="88"/>
                        </a:lnTo>
                        <a:lnTo>
                          <a:pt x="181" y="87"/>
                        </a:lnTo>
                        <a:lnTo>
                          <a:pt x="181" y="84"/>
                        </a:lnTo>
                        <a:lnTo>
                          <a:pt x="180" y="81"/>
                        </a:lnTo>
                        <a:lnTo>
                          <a:pt x="179" y="79"/>
                        </a:lnTo>
                        <a:lnTo>
                          <a:pt x="177" y="80"/>
                        </a:lnTo>
                        <a:lnTo>
                          <a:pt x="174" y="79"/>
                        </a:lnTo>
                        <a:lnTo>
                          <a:pt x="171" y="77"/>
                        </a:lnTo>
                        <a:lnTo>
                          <a:pt x="168" y="75"/>
                        </a:lnTo>
                        <a:lnTo>
                          <a:pt x="167" y="74"/>
                        </a:lnTo>
                        <a:lnTo>
                          <a:pt x="165" y="71"/>
                        </a:lnTo>
                        <a:lnTo>
                          <a:pt x="163" y="68"/>
                        </a:lnTo>
                        <a:lnTo>
                          <a:pt x="161" y="67"/>
                        </a:lnTo>
                        <a:lnTo>
                          <a:pt x="158" y="65"/>
                        </a:lnTo>
                        <a:lnTo>
                          <a:pt x="156" y="62"/>
                        </a:lnTo>
                        <a:lnTo>
                          <a:pt x="155" y="60"/>
                        </a:lnTo>
                        <a:lnTo>
                          <a:pt x="154" y="57"/>
                        </a:lnTo>
                        <a:lnTo>
                          <a:pt x="152" y="55"/>
                        </a:lnTo>
                        <a:lnTo>
                          <a:pt x="148" y="52"/>
                        </a:lnTo>
                        <a:lnTo>
                          <a:pt x="146" y="48"/>
                        </a:lnTo>
                        <a:lnTo>
                          <a:pt x="145" y="45"/>
                        </a:lnTo>
                        <a:lnTo>
                          <a:pt x="145" y="42"/>
                        </a:lnTo>
                        <a:lnTo>
                          <a:pt x="145" y="38"/>
                        </a:lnTo>
                        <a:lnTo>
                          <a:pt x="144" y="34"/>
                        </a:lnTo>
                        <a:lnTo>
                          <a:pt x="143" y="31"/>
                        </a:lnTo>
                        <a:lnTo>
                          <a:pt x="141" y="29"/>
                        </a:lnTo>
                        <a:lnTo>
                          <a:pt x="141" y="30"/>
                        </a:lnTo>
                        <a:lnTo>
                          <a:pt x="139" y="32"/>
                        </a:lnTo>
                        <a:lnTo>
                          <a:pt x="137" y="33"/>
                        </a:lnTo>
                        <a:lnTo>
                          <a:pt x="136" y="31"/>
                        </a:lnTo>
                        <a:lnTo>
                          <a:pt x="134" y="27"/>
                        </a:lnTo>
                        <a:lnTo>
                          <a:pt x="132" y="23"/>
                        </a:lnTo>
                        <a:lnTo>
                          <a:pt x="129" y="21"/>
                        </a:lnTo>
                        <a:lnTo>
                          <a:pt x="126" y="18"/>
                        </a:lnTo>
                        <a:lnTo>
                          <a:pt x="123" y="17"/>
                        </a:lnTo>
                        <a:lnTo>
                          <a:pt x="122" y="16"/>
                        </a:lnTo>
                        <a:lnTo>
                          <a:pt x="120" y="10"/>
                        </a:lnTo>
                        <a:lnTo>
                          <a:pt x="118" y="4"/>
                        </a:lnTo>
                        <a:lnTo>
                          <a:pt x="116" y="1"/>
                        </a:lnTo>
                        <a:lnTo>
                          <a:pt x="116" y="0"/>
                        </a:lnTo>
                        <a:lnTo>
                          <a:pt x="115" y="0"/>
                        </a:lnTo>
                        <a:lnTo>
                          <a:pt x="113" y="0"/>
                        </a:lnTo>
                        <a:lnTo>
                          <a:pt x="110" y="0"/>
                        </a:lnTo>
                        <a:lnTo>
                          <a:pt x="107" y="0"/>
                        </a:lnTo>
                        <a:lnTo>
                          <a:pt x="105" y="0"/>
                        </a:lnTo>
                        <a:lnTo>
                          <a:pt x="103" y="0"/>
                        </a:lnTo>
                        <a:lnTo>
                          <a:pt x="101" y="1"/>
                        </a:lnTo>
                        <a:lnTo>
                          <a:pt x="100" y="3"/>
                        </a:lnTo>
                        <a:lnTo>
                          <a:pt x="97" y="2"/>
                        </a:lnTo>
                        <a:lnTo>
                          <a:pt x="95" y="2"/>
                        </a:lnTo>
                        <a:lnTo>
                          <a:pt x="92" y="2"/>
                        </a:lnTo>
                        <a:lnTo>
                          <a:pt x="90" y="3"/>
                        </a:lnTo>
                        <a:lnTo>
                          <a:pt x="87" y="4"/>
                        </a:lnTo>
                        <a:lnTo>
                          <a:pt x="85" y="4"/>
                        </a:lnTo>
                        <a:lnTo>
                          <a:pt x="82" y="3"/>
                        </a:lnTo>
                        <a:lnTo>
                          <a:pt x="80" y="3"/>
                        </a:lnTo>
                        <a:lnTo>
                          <a:pt x="79" y="3"/>
                        </a:lnTo>
                        <a:lnTo>
                          <a:pt x="77" y="3"/>
                        </a:lnTo>
                        <a:lnTo>
                          <a:pt x="75" y="4"/>
                        </a:lnTo>
                        <a:lnTo>
                          <a:pt x="71" y="6"/>
                        </a:lnTo>
                        <a:lnTo>
                          <a:pt x="70" y="7"/>
                        </a:lnTo>
                        <a:lnTo>
                          <a:pt x="70" y="10"/>
                        </a:lnTo>
                        <a:lnTo>
                          <a:pt x="68" y="12"/>
                        </a:lnTo>
                        <a:lnTo>
                          <a:pt x="64" y="13"/>
                        </a:lnTo>
                        <a:lnTo>
                          <a:pt x="63" y="15"/>
                        </a:lnTo>
                        <a:lnTo>
                          <a:pt x="62" y="16"/>
                        </a:lnTo>
                        <a:lnTo>
                          <a:pt x="61" y="18"/>
                        </a:lnTo>
                        <a:lnTo>
                          <a:pt x="60" y="20"/>
                        </a:lnTo>
                        <a:lnTo>
                          <a:pt x="59" y="21"/>
                        </a:lnTo>
                        <a:lnTo>
                          <a:pt x="56" y="20"/>
                        </a:lnTo>
                        <a:lnTo>
                          <a:pt x="54" y="19"/>
                        </a:lnTo>
                        <a:lnTo>
                          <a:pt x="55" y="20"/>
                        </a:lnTo>
                        <a:lnTo>
                          <a:pt x="54" y="23"/>
                        </a:lnTo>
                        <a:lnTo>
                          <a:pt x="51" y="25"/>
                        </a:lnTo>
                        <a:lnTo>
                          <a:pt x="48" y="26"/>
                        </a:lnTo>
                        <a:lnTo>
                          <a:pt x="45" y="25"/>
                        </a:lnTo>
                        <a:lnTo>
                          <a:pt x="43" y="26"/>
                        </a:lnTo>
                        <a:lnTo>
                          <a:pt x="41" y="28"/>
                        </a:lnTo>
                        <a:lnTo>
                          <a:pt x="40" y="30"/>
                        </a:lnTo>
                        <a:lnTo>
                          <a:pt x="38" y="32"/>
                        </a:lnTo>
                        <a:lnTo>
                          <a:pt x="35" y="33"/>
                        </a:lnTo>
                        <a:lnTo>
                          <a:pt x="33" y="34"/>
                        </a:lnTo>
                        <a:lnTo>
                          <a:pt x="32" y="35"/>
                        </a:lnTo>
                        <a:lnTo>
                          <a:pt x="29" y="35"/>
                        </a:lnTo>
                        <a:lnTo>
                          <a:pt x="29" y="36"/>
                        </a:lnTo>
                        <a:lnTo>
                          <a:pt x="31" y="37"/>
                        </a:lnTo>
                        <a:lnTo>
                          <a:pt x="32" y="38"/>
                        </a:lnTo>
                        <a:lnTo>
                          <a:pt x="32" y="39"/>
                        </a:lnTo>
                        <a:lnTo>
                          <a:pt x="32" y="41"/>
                        </a:lnTo>
                        <a:lnTo>
                          <a:pt x="32" y="42"/>
                        </a:lnTo>
                        <a:lnTo>
                          <a:pt x="33" y="45"/>
                        </a:lnTo>
                        <a:lnTo>
                          <a:pt x="34" y="47"/>
                        </a:lnTo>
                        <a:lnTo>
                          <a:pt x="33" y="47"/>
                        </a:lnTo>
                        <a:lnTo>
                          <a:pt x="32" y="48"/>
                        </a:lnTo>
                        <a:lnTo>
                          <a:pt x="32" y="50"/>
                        </a:lnTo>
                        <a:lnTo>
                          <a:pt x="32" y="55"/>
                        </a:lnTo>
                        <a:lnTo>
                          <a:pt x="33" y="55"/>
                        </a:lnTo>
                        <a:lnTo>
                          <a:pt x="35" y="55"/>
                        </a:lnTo>
                        <a:lnTo>
                          <a:pt x="36" y="55"/>
                        </a:lnTo>
                        <a:lnTo>
                          <a:pt x="38" y="55"/>
                        </a:lnTo>
                        <a:lnTo>
                          <a:pt x="38" y="54"/>
                        </a:lnTo>
                        <a:lnTo>
                          <a:pt x="38" y="53"/>
                        </a:lnTo>
                        <a:lnTo>
                          <a:pt x="39" y="52"/>
                        </a:lnTo>
                        <a:lnTo>
                          <a:pt x="41" y="51"/>
                        </a:lnTo>
                        <a:lnTo>
                          <a:pt x="41" y="53"/>
                        </a:lnTo>
                        <a:lnTo>
                          <a:pt x="41" y="55"/>
                        </a:lnTo>
                        <a:lnTo>
                          <a:pt x="43" y="55"/>
                        </a:lnTo>
                        <a:lnTo>
                          <a:pt x="44" y="56"/>
                        </a:lnTo>
                        <a:lnTo>
                          <a:pt x="45" y="57"/>
                        </a:lnTo>
                        <a:lnTo>
                          <a:pt x="45" y="58"/>
                        </a:lnTo>
                        <a:lnTo>
                          <a:pt x="44" y="60"/>
                        </a:lnTo>
                        <a:lnTo>
                          <a:pt x="43" y="61"/>
                        </a:lnTo>
                        <a:lnTo>
                          <a:pt x="42" y="61"/>
                        </a:lnTo>
                        <a:lnTo>
                          <a:pt x="41" y="61"/>
                        </a:lnTo>
                        <a:lnTo>
                          <a:pt x="39" y="61"/>
                        </a:lnTo>
                        <a:lnTo>
                          <a:pt x="38" y="61"/>
                        </a:lnTo>
                        <a:lnTo>
                          <a:pt x="38" y="63"/>
                        </a:lnTo>
                        <a:lnTo>
                          <a:pt x="40" y="63"/>
                        </a:lnTo>
                        <a:lnTo>
                          <a:pt x="41" y="63"/>
                        </a:lnTo>
                        <a:lnTo>
                          <a:pt x="41" y="65"/>
                        </a:lnTo>
                        <a:lnTo>
                          <a:pt x="40" y="65"/>
                        </a:lnTo>
                        <a:lnTo>
                          <a:pt x="40" y="66"/>
                        </a:lnTo>
                        <a:lnTo>
                          <a:pt x="41" y="68"/>
                        </a:lnTo>
                        <a:lnTo>
                          <a:pt x="42" y="68"/>
                        </a:lnTo>
                        <a:lnTo>
                          <a:pt x="43" y="68"/>
                        </a:lnTo>
                        <a:lnTo>
                          <a:pt x="45" y="68"/>
                        </a:lnTo>
                        <a:lnTo>
                          <a:pt x="45" y="70"/>
                        </a:lnTo>
                        <a:lnTo>
                          <a:pt x="46" y="71"/>
                        </a:lnTo>
                        <a:lnTo>
                          <a:pt x="48" y="71"/>
                        </a:lnTo>
                        <a:lnTo>
                          <a:pt x="50" y="71"/>
                        </a:lnTo>
                        <a:lnTo>
                          <a:pt x="51" y="72"/>
                        </a:lnTo>
                        <a:lnTo>
                          <a:pt x="53" y="73"/>
                        </a:lnTo>
                        <a:lnTo>
                          <a:pt x="55" y="74"/>
                        </a:lnTo>
                        <a:lnTo>
                          <a:pt x="55" y="73"/>
                        </a:lnTo>
                        <a:lnTo>
                          <a:pt x="56" y="72"/>
                        </a:lnTo>
                        <a:lnTo>
                          <a:pt x="57" y="71"/>
                        </a:lnTo>
                        <a:lnTo>
                          <a:pt x="59" y="72"/>
                        </a:lnTo>
                        <a:lnTo>
                          <a:pt x="60" y="73"/>
                        </a:lnTo>
                        <a:lnTo>
                          <a:pt x="60" y="74"/>
                        </a:lnTo>
                        <a:lnTo>
                          <a:pt x="59" y="75"/>
                        </a:lnTo>
                        <a:lnTo>
                          <a:pt x="58" y="76"/>
                        </a:lnTo>
                        <a:lnTo>
                          <a:pt x="57" y="77"/>
                        </a:lnTo>
                        <a:lnTo>
                          <a:pt x="56" y="77"/>
                        </a:lnTo>
                        <a:lnTo>
                          <a:pt x="55" y="77"/>
                        </a:lnTo>
                        <a:lnTo>
                          <a:pt x="54" y="77"/>
                        </a:lnTo>
                        <a:lnTo>
                          <a:pt x="53" y="77"/>
                        </a:lnTo>
                        <a:lnTo>
                          <a:pt x="52" y="77"/>
                        </a:lnTo>
                        <a:lnTo>
                          <a:pt x="51" y="77"/>
                        </a:lnTo>
                        <a:lnTo>
                          <a:pt x="50" y="78"/>
                        </a:lnTo>
                        <a:lnTo>
                          <a:pt x="49" y="78"/>
                        </a:lnTo>
                        <a:lnTo>
                          <a:pt x="48" y="77"/>
                        </a:lnTo>
                        <a:lnTo>
                          <a:pt x="47" y="79"/>
                        </a:lnTo>
                        <a:lnTo>
                          <a:pt x="47" y="80"/>
                        </a:lnTo>
                        <a:lnTo>
                          <a:pt x="48" y="80"/>
                        </a:lnTo>
                        <a:lnTo>
                          <a:pt x="46" y="82"/>
                        </a:lnTo>
                        <a:lnTo>
                          <a:pt x="45" y="82"/>
                        </a:lnTo>
                        <a:lnTo>
                          <a:pt x="45" y="81"/>
                        </a:lnTo>
                        <a:lnTo>
                          <a:pt x="45" y="80"/>
                        </a:lnTo>
                        <a:lnTo>
                          <a:pt x="43" y="83"/>
                        </a:lnTo>
                        <a:lnTo>
                          <a:pt x="43" y="85"/>
                        </a:lnTo>
                        <a:lnTo>
                          <a:pt x="44" y="88"/>
                        </a:lnTo>
                        <a:lnTo>
                          <a:pt x="45" y="90"/>
                        </a:lnTo>
                        <a:lnTo>
                          <a:pt x="46" y="93"/>
                        </a:lnTo>
                        <a:lnTo>
                          <a:pt x="46" y="96"/>
                        </a:lnTo>
                        <a:lnTo>
                          <a:pt x="47" y="98"/>
                        </a:lnTo>
                        <a:lnTo>
                          <a:pt x="48" y="99"/>
                        </a:lnTo>
                        <a:lnTo>
                          <a:pt x="49" y="99"/>
                        </a:lnTo>
                        <a:lnTo>
                          <a:pt x="50" y="98"/>
                        </a:lnTo>
                        <a:lnTo>
                          <a:pt x="51" y="97"/>
                        </a:lnTo>
                        <a:lnTo>
                          <a:pt x="51" y="96"/>
                        </a:lnTo>
                        <a:lnTo>
                          <a:pt x="51" y="99"/>
                        </a:lnTo>
                        <a:lnTo>
                          <a:pt x="50" y="102"/>
                        </a:lnTo>
                        <a:lnTo>
                          <a:pt x="49" y="105"/>
                        </a:lnTo>
                        <a:lnTo>
                          <a:pt x="48" y="106"/>
                        </a:lnTo>
                        <a:lnTo>
                          <a:pt x="50" y="105"/>
                        </a:lnTo>
                        <a:lnTo>
                          <a:pt x="51" y="103"/>
                        </a:lnTo>
                        <a:lnTo>
                          <a:pt x="53" y="100"/>
                        </a:lnTo>
                        <a:lnTo>
                          <a:pt x="55" y="99"/>
                        </a:lnTo>
                        <a:lnTo>
                          <a:pt x="57" y="101"/>
                        </a:lnTo>
                        <a:lnTo>
                          <a:pt x="60" y="101"/>
                        </a:lnTo>
                        <a:lnTo>
                          <a:pt x="63" y="101"/>
                        </a:lnTo>
                        <a:lnTo>
                          <a:pt x="64" y="103"/>
                        </a:lnTo>
                        <a:lnTo>
                          <a:pt x="63" y="108"/>
                        </a:lnTo>
                        <a:lnTo>
                          <a:pt x="62" y="110"/>
                        </a:lnTo>
                        <a:lnTo>
                          <a:pt x="60" y="113"/>
                        </a:lnTo>
                        <a:lnTo>
                          <a:pt x="59" y="114"/>
                        </a:lnTo>
                        <a:lnTo>
                          <a:pt x="58" y="116"/>
                        </a:lnTo>
                        <a:lnTo>
                          <a:pt x="57" y="116"/>
                        </a:lnTo>
                        <a:lnTo>
                          <a:pt x="56" y="117"/>
                        </a:lnTo>
                        <a:lnTo>
                          <a:pt x="55" y="119"/>
                        </a:lnTo>
                        <a:lnTo>
                          <a:pt x="55" y="120"/>
                        </a:lnTo>
                        <a:lnTo>
                          <a:pt x="55" y="122"/>
                        </a:lnTo>
                        <a:lnTo>
                          <a:pt x="55" y="124"/>
                        </a:lnTo>
                        <a:lnTo>
                          <a:pt x="55" y="125"/>
                        </a:lnTo>
                        <a:lnTo>
                          <a:pt x="55" y="126"/>
                        </a:lnTo>
                        <a:lnTo>
                          <a:pt x="55" y="128"/>
                        </a:lnTo>
                        <a:lnTo>
                          <a:pt x="54" y="131"/>
                        </a:lnTo>
                        <a:lnTo>
                          <a:pt x="54" y="132"/>
                        </a:lnTo>
                        <a:lnTo>
                          <a:pt x="53" y="135"/>
                        </a:lnTo>
                        <a:lnTo>
                          <a:pt x="55" y="135"/>
                        </a:lnTo>
                        <a:lnTo>
                          <a:pt x="55" y="137"/>
                        </a:lnTo>
                        <a:lnTo>
                          <a:pt x="56" y="138"/>
                        </a:lnTo>
                        <a:lnTo>
                          <a:pt x="57" y="141"/>
                        </a:lnTo>
                        <a:lnTo>
                          <a:pt x="57" y="144"/>
                        </a:lnTo>
                        <a:lnTo>
                          <a:pt x="57" y="148"/>
                        </a:lnTo>
                        <a:lnTo>
                          <a:pt x="59" y="148"/>
                        </a:lnTo>
                        <a:lnTo>
                          <a:pt x="59" y="149"/>
                        </a:lnTo>
                        <a:lnTo>
                          <a:pt x="59" y="150"/>
                        </a:lnTo>
                        <a:lnTo>
                          <a:pt x="60" y="151"/>
                        </a:lnTo>
                        <a:lnTo>
                          <a:pt x="61" y="153"/>
                        </a:lnTo>
                        <a:lnTo>
                          <a:pt x="61" y="154"/>
                        </a:lnTo>
                        <a:lnTo>
                          <a:pt x="62" y="154"/>
                        </a:lnTo>
                        <a:lnTo>
                          <a:pt x="64" y="154"/>
                        </a:lnTo>
                        <a:lnTo>
                          <a:pt x="64" y="155"/>
                        </a:lnTo>
                        <a:lnTo>
                          <a:pt x="64" y="156"/>
                        </a:lnTo>
                        <a:lnTo>
                          <a:pt x="64" y="157"/>
                        </a:lnTo>
                        <a:lnTo>
                          <a:pt x="63" y="159"/>
                        </a:lnTo>
                        <a:lnTo>
                          <a:pt x="62" y="162"/>
                        </a:lnTo>
                        <a:lnTo>
                          <a:pt x="61" y="163"/>
                        </a:lnTo>
                        <a:lnTo>
                          <a:pt x="60" y="163"/>
                        </a:lnTo>
                        <a:lnTo>
                          <a:pt x="60" y="165"/>
                        </a:lnTo>
                        <a:lnTo>
                          <a:pt x="59" y="165"/>
                        </a:lnTo>
                        <a:lnTo>
                          <a:pt x="58" y="166"/>
                        </a:lnTo>
                        <a:lnTo>
                          <a:pt x="57" y="168"/>
                        </a:lnTo>
                        <a:lnTo>
                          <a:pt x="57" y="166"/>
                        </a:lnTo>
                        <a:lnTo>
                          <a:pt x="56" y="165"/>
                        </a:lnTo>
                        <a:lnTo>
                          <a:pt x="55" y="165"/>
                        </a:lnTo>
                        <a:lnTo>
                          <a:pt x="55" y="163"/>
                        </a:lnTo>
                        <a:lnTo>
                          <a:pt x="53" y="163"/>
                        </a:lnTo>
                        <a:lnTo>
                          <a:pt x="52" y="163"/>
                        </a:lnTo>
                        <a:lnTo>
                          <a:pt x="51" y="163"/>
                        </a:lnTo>
                        <a:lnTo>
                          <a:pt x="48" y="162"/>
                        </a:lnTo>
                        <a:lnTo>
                          <a:pt x="45" y="160"/>
                        </a:lnTo>
                        <a:lnTo>
                          <a:pt x="42" y="159"/>
                        </a:lnTo>
                        <a:lnTo>
                          <a:pt x="41" y="160"/>
                        </a:lnTo>
                        <a:lnTo>
                          <a:pt x="42" y="162"/>
                        </a:lnTo>
                        <a:lnTo>
                          <a:pt x="45" y="165"/>
                        </a:lnTo>
                        <a:lnTo>
                          <a:pt x="47" y="168"/>
                        </a:lnTo>
                        <a:lnTo>
                          <a:pt x="48" y="170"/>
                        </a:lnTo>
                        <a:lnTo>
                          <a:pt x="50" y="172"/>
                        </a:lnTo>
                        <a:lnTo>
                          <a:pt x="51" y="173"/>
                        </a:lnTo>
                        <a:lnTo>
                          <a:pt x="51" y="175"/>
                        </a:lnTo>
                        <a:lnTo>
                          <a:pt x="51" y="177"/>
                        </a:lnTo>
                        <a:lnTo>
                          <a:pt x="53" y="179"/>
                        </a:lnTo>
                        <a:lnTo>
                          <a:pt x="55" y="179"/>
                        </a:lnTo>
                        <a:lnTo>
                          <a:pt x="56" y="179"/>
                        </a:lnTo>
                        <a:lnTo>
                          <a:pt x="57" y="179"/>
                        </a:lnTo>
                        <a:lnTo>
                          <a:pt x="59" y="181"/>
                        </a:lnTo>
                        <a:lnTo>
                          <a:pt x="60" y="181"/>
                        </a:lnTo>
                        <a:lnTo>
                          <a:pt x="62" y="181"/>
                        </a:lnTo>
                        <a:lnTo>
                          <a:pt x="64" y="182"/>
                        </a:lnTo>
                        <a:lnTo>
                          <a:pt x="64" y="183"/>
                        </a:lnTo>
                        <a:lnTo>
                          <a:pt x="64" y="184"/>
                        </a:lnTo>
                        <a:lnTo>
                          <a:pt x="64" y="186"/>
                        </a:lnTo>
                        <a:lnTo>
                          <a:pt x="66" y="187"/>
                        </a:lnTo>
                        <a:lnTo>
                          <a:pt x="66" y="189"/>
                        </a:lnTo>
                        <a:lnTo>
                          <a:pt x="66" y="191"/>
                        </a:lnTo>
                        <a:lnTo>
                          <a:pt x="64" y="192"/>
                        </a:lnTo>
                        <a:lnTo>
                          <a:pt x="63" y="193"/>
                        </a:lnTo>
                        <a:lnTo>
                          <a:pt x="62" y="194"/>
                        </a:lnTo>
                        <a:lnTo>
                          <a:pt x="60" y="194"/>
                        </a:lnTo>
                        <a:lnTo>
                          <a:pt x="57" y="192"/>
                        </a:lnTo>
                        <a:lnTo>
                          <a:pt x="56" y="192"/>
                        </a:lnTo>
                        <a:lnTo>
                          <a:pt x="55" y="191"/>
                        </a:lnTo>
                        <a:lnTo>
                          <a:pt x="55" y="189"/>
                        </a:lnTo>
                        <a:lnTo>
                          <a:pt x="54" y="188"/>
                        </a:lnTo>
                        <a:lnTo>
                          <a:pt x="52" y="188"/>
                        </a:lnTo>
                        <a:lnTo>
                          <a:pt x="49" y="190"/>
                        </a:lnTo>
                        <a:lnTo>
                          <a:pt x="45" y="192"/>
                        </a:lnTo>
                        <a:lnTo>
                          <a:pt x="45" y="193"/>
                        </a:lnTo>
                        <a:lnTo>
                          <a:pt x="46" y="195"/>
                        </a:lnTo>
                        <a:lnTo>
                          <a:pt x="48" y="197"/>
                        </a:lnTo>
                        <a:lnTo>
                          <a:pt x="48" y="199"/>
                        </a:lnTo>
                        <a:lnTo>
                          <a:pt x="38" y="199"/>
                        </a:lnTo>
                        <a:lnTo>
                          <a:pt x="38" y="200"/>
                        </a:lnTo>
                        <a:lnTo>
                          <a:pt x="38" y="201"/>
                        </a:lnTo>
                        <a:lnTo>
                          <a:pt x="37" y="202"/>
                        </a:lnTo>
                        <a:lnTo>
                          <a:pt x="35" y="202"/>
                        </a:lnTo>
                        <a:lnTo>
                          <a:pt x="33" y="202"/>
                        </a:lnTo>
                        <a:lnTo>
                          <a:pt x="33" y="201"/>
                        </a:lnTo>
                        <a:lnTo>
                          <a:pt x="33" y="200"/>
                        </a:lnTo>
                        <a:lnTo>
                          <a:pt x="32" y="199"/>
                        </a:lnTo>
                        <a:lnTo>
                          <a:pt x="30" y="201"/>
                        </a:lnTo>
                        <a:lnTo>
                          <a:pt x="28" y="202"/>
                        </a:lnTo>
                        <a:lnTo>
                          <a:pt x="28" y="203"/>
                        </a:lnTo>
                        <a:lnTo>
                          <a:pt x="29" y="205"/>
                        </a:lnTo>
                        <a:lnTo>
                          <a:pt x="31" y="205"/>
                        </a:lnTo>
                        <a:lnTo>
                          <a:pt x="32" y="207"/>
                        </a:lnTo>
                        <a:lnTo>
                          <a:pt x="34" y="209"/>
                        </a:lnTo>
                        <a:lnTo>
                          <a:pt x="35" y="211"/>
                        </a:lnTo>
                        <a:lnTo>
                          <a:pt x="35" y="212"/>
                        </a:lnTo>
                        <a:lnTo>
                          <a:pt x="36" y="212"/>
                        </a:lnTo>
                        <a:lnTo>
                          <a:pt x="37" y="213"/>
                        </a:lnTo>
                        <a:lnTo>
                          <a:pt x="38" y="215"/>
                        </a:lnTo>
                        <a:lnTo>
                          <a:pt x="37" y="217"/>
                        </a:lnTo>
                        <a:lnTo>
                          <a:pt x="36" y="219"/>
                        </a:lnTo>
                        <a:lnTo>
                          <a:pt x="34" y="221"/>
                        </a:lnTo>
                        <a:lnTo>
                          <a:pt x="32" y="222"/>
                        </a:lnTo>
                        <a:lnTo>
                          <a:pt x="32" y="220"/>
                        </a:lnTo>
                        <a:lnTo>
                          <a:pt x="31" y="219"/>
                        </a:lnTo>
                        <a:lnTo>
                          <a:pt x="29" y="218"/>
                        </a:lnTo>
                        <a:lnTo>
                          <a:pt x="27" y="216"/>
                        </a:lnTo>
                        <a:lnTo>
                          <a:pt x="26" y="215"/>
                        </a:lnTo>
                        <a:lnTo>
                          <a:pt x="24" y="215"/>
                        </a:lnTo>
                        <a:lnTo>
                          <a:pt x="22" y="215"/>
                        </a:lnTo>
                        <a:lnTo>
                          <a:pt x="20" y="213"/>
                        </a:lnTo>
                        <a:lnTo>
                          <a:pt x="19" y="214"/>
                        </a:lnTo>
                        <a:lnTo>
                          <a:pt x="17" y="216"/>
                        </a:lnTo>
                        <a:lnTo>
                          <a:pt x="15" y="218"/>
                        </a:lnTo>
                        <a:lnTo>
                          <a:pt x="13" y="218"/>
                        </a:lnTo>
                        <a:lnTo>
                          <a:pt x="12" y="218"/>
                        </a:lnTo>
                        <a:lnTo>
                          <a:pt x="11" y="218"/>
                        </a:lnTo>
                        <a:lnTo>
                          <a:pt x="9" y="218"/>
                        </a:lnTo>
                        <a:lnTo>
                          <a:pt x="9" y="219"/>
                        </a:lnTo>
                        <a:lnTo>
                          <a:pt x="9" y="220"/>
                        </a:lnTo>
                        <a:lnTo>
                          <a:pt x="9" y="221"/>
                        </a:lnTo>
                        <a:lnTo>
                          <a:pt x="9" y="222"/>
                        </a:lnTo>
                        <a:lnTo>
                          <a:pt x="10" y="224"/>
                        </a:lnTo>
                        <a:lnTo>
                          <a:pt x="10" y="227"/>
                        </a:lnTo>
                        <a:lnTo>
                          <a:pt x="9" y="228"/>
                        </a:lnTo>
                        <a:lnTo>
                          <a:pt x="9" y="231"/>
                        </a:lnTo>
                        <a:lnTo>
                          <a:pt x="8" y="232"/>
                        </a:lnTo>
                        <a:lnTo>
                          <a:pt x="8" y="233"/>
                        </a:lnTo>
                        <a:lnTo>
                          <a:pt x="6" y="234"/>
                        </a:lnTo>
                        <a:lnTo>
                          <a:pt x="5" y="234"/>
                        </a:lnTo>
                        <a:lnTo>
                          <a:pt x="3" y="234"/>
                        </a:lnTo>
                        <a:lnTo>
                          <a:pt x="1" y="235"/>
                        </a:lnTo>
                        <a:lnTo>
                          <a:pt x="0" y="236"/>
                        </a:lnTo>
                        <a:lnTo>
                          <a:pt x="0" y="241"/>
                        </a:lnTo>
                        <a:lnTo>
                          <a:pt x="0" y="242"/>
                        </a:lnTo>
                        <a:lnTo>
                          <a:pt x="0" y="244"/>
                        </a:lnTo>
                        <a:lnTo>
                          <a:pt x="0" y="246"/>
                        </a:lnTo>
                        <a:lnTo>
                          <a:pt x="0" y="247"/>
                        </a:lnTo>
                        <a:lnTo>
                          <a:pt x="0" y="256"/>
                        </a:lnTo>
                        <a:lnTo>
                          <a:pt x="2" y="256"/>
                        </a:lnTo>
                        <a:lnTo>
                          <a:pt x="3" y="257"/>
                        </a:lnTo>
                        <a:lnTo>
                          <a:pt x="4" y="258"/>
                        </a:lnTo>
                        <a:lnTo>
                          <a:pt x="6" y="260"/>
                        </a:lnTo>
                        <a:lnTo>
                          <a:pt x="7" y="260"/>
                        </a:lnTo>
                        <a:lnTo>
                          <a:pt x="8" y="262"/>
                        </a:lnTo>
                        <a:lnTo>
                          <a:pt x="8" y="264"/>
                        </a:lnTo>
                        <a:lnTo>
                          <a:pt x="9" y="266"/>
                        </a:lnTo>
                        <a:lnTo>
                          <a:pt x="9" y="268"/>
                        </a:lnTo>
                        <a:lnTo>
                          <a:pt x="9" y="270"/>
                        </a:lnTo>
                        <a:lnTo>
                          <a:pt x="9" y="271"/>
                        </a:lnTo>
                        <a:lnTo>
                          <a:pt x="9" y="273"/>
                        </a:lnTo>
                        <a:lnTo>
                          <a:pt x="9" y="275"/>
                        </a:lnTo>
                        <a:lnTo>
                          <a:pt x="10" y="275"/>
                        </a:lnTo>
                        <a:lnTo>
                          <a:pt x="12" y="275"/>
                        </a:lnTo>
                        <a:lnTo>
                          <a:pt x="14" y="278"/>
                        </a:lnTo>
                        <a:lnTo>
                          <a:pt x="15" y="280"/>
                        </a:lnTo>
                        <a:lnTo>
                          <a:pt x="15" y="28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5" name="Freeform 1483">
                    <a:extLst>
                      <a:ext uri="{FF2B5EF4-FFF2-40B4-BE49-F238E27FC236}">
                        <a16:creationId xmlns:a16="http://schemas.microsoft.com/office/drawing/2014/main" xmlns="" id="{FCF5367A-6F6C-442D-BC8C-C4204AD6A1EB}"/>
                      </a:ext>
                    </a:extLst>
                  </p:cNvPr>
                  <p:cNvSpPr>
                    <a:spLocks/>
                  </p:cNvSpPr>
                  <p:nvPr/>
                </p:nvSpPr>
                <p:spPr bwMode="gray">
                  <a:xfrm>
                    <a:off x="5552257" y="3690189"/>
                    <a:ext cx="32262" cy="10012"/>
                  </a:xfrm>
                  <a:custGeom>
                    <a:avLst/>
                    <a:gdLst>
                      <a:gd name="T0" fmla="*/ 2147483647 w 29"/>
                      <a:gd name="T1" fmla="*/ 0 h 9"/>
                      <a:gd name="T2" fmla="*/ 2147483647 w 29"/>
                      <a:gd name="T3" fmla="*/ 2147483647 h 9"/>
                      <a:gd name="T4" fmla="*/ 2147483647 w 29"/>
                      <a:gd name="T5" fmla="*/ 2147483647 h 9"/>
                      <a:gd name="T6" fmla="*/ 0 w 29"/>
                      <a:gd name="T7" fmla="*/ 2147483647 h 9"/>
                      <a:gd name="T8" fmla="*/ 0 w 29"/>
                      <a:gd name="T9" fmla="*/ 2147483647 h 9"/>
                      <a:gd name="T10" fmla="*/ 2147483647 w 29"/>
                      <a:gd name="T11" fmla="*/ 2147483647 h 9"/>
                      <a:gd name="T12" fmla="*/ 2147483647 w 29"/>
                      <a:gd name="T13" fmla="*/ 2147483647 h 9"/>
                      <a:gd name="T14" fmla="*/ 2147483647 w 29"/>
                      <a:gd name="T15" fmla="*/ 2147483647 h 9"/>
                      <a:gd name="T16" fmla="*/ 2147483647 w 29"/>
                      <a:gd name="T17" fmla="*/ 2147483647 h 9"/>
                      <a:gd name="T18" fmla="*/ 2147483647 w 29"/>
                      <a:gd name="T19" fmla="*/ 2147483647 h 9"/>
                      <a:gd name="T20" fmla="*/ 2147483647 w 29"/>
                      <a:gd name="T21" fmla="*/ 2147483647 h 9"/>
                      <a:gd name="T22" fmla="*/ 2147483647 w 29"/>
                      <a:gd name="T23" fmla="*/ 2147483647 h 9"/>
                      <a:gd name="T24" fmla="*/ 2147483647 w 29"/>
                      <a:gd name="T25" fmla="*/ 2147483647 h 9"/>
                      <a:gd name="T26" fmla="*/ 2147483647 w 29"/>
                      <a:gd name="T27" fmla="*/ 2147483647 h 9"/>
                      <a:gd name="T28" fmla="*/ 2147483647 w 29"/>
                      <a:gd name="T29" fmla="*/ 2147483647 h 9"/>
                      <a:gd name="T30" fmla="*/ 2147483647 w 29"/>
                      <a:gd name="T31" fmla="*/ 2147483647 h 9"/>
                      <a:gd name="T32" fmla="*/ 2147483647 w 29"/>
                      <a:gd name="T33" fmla="*/ 2147483647 h 9"/>
                      <a:gd name="T34" fmla="*/ 2147483647 w 29"/>
                      <a:gd name="T35" fmla="*/ 2147483647 h 9"/>
                      <a:gd name="T36" fmla="*/ 2147483647 w 29"/>
                      <a:gd name="T37" fmla="*/ 2147483647 h 9"/>
                      <a:gd name="T38" fmla="*/ 2147483647 w 29"/>
                      <a:gd name="T39" fmla="*/ 2147483647 h 9"/>
                      <a:gd name="T40" fmla="*/ 2147483647 w 29"/>
                      <a:gd name="T41" fmla="*/ 0 h 9"/>
                      <a:gd name="T42" fmla="*/ 2147483647 w 29"/>
                      <a:gd name="T43" fmla="*/ 0 h 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9" h="9">
                        <a:moveTo>
                          <a:pt x="3" y="0"/>
                        </a:moveTo>
                        <a:lnTo>
                          <a:pt x="2" y="1"/>
                        </a:lnTo>
                        <a:lnTo>
                          <a:pt x="1" y="2"/>
                        </a:lnTo>
                        <a:lnTo>
                          <a:pt x="0" y="3"/>
                        </a:lnTo>
                        <a:lnTo>
                          <a:pt x="3" y="5"/>
                        </a:lnTo>
                        <a:lnTo>
                          <a:pt x="5" y="7"/>
                        </a:lnTo>
                        <a:lnTo>
                          <a:pt x="8" y="8"/>
                        </a:lnTo>
                        <a:lnTo>
                          <a:pt x="9" y="9"/>
                        </a:lnTo>
                        <a:lnTo>
                          <a:pt x="15" y="9"/>
                        </a:lnTo>
                        <a:lnTo>
                          <a:pt x="20" y="9"/>
                        </a:lnTo>
                        <a:lnTo>
                          <a:pt x="24" y="9"/>
                        </a:lnTo>
                        <a:lnTo>
                          <a:pt x="29" y="9"/>
                        </a:lnTo>
                        <a:lnTo>
                          <a:pt x="29" y="6"/>
                        </a:lnTo>
                        <a:lnTo>
                          <a:pt x="22" y="5"/>
                        </a:lnTo>
                        <a:lnTo>
                          <a:pt x="15" y="4"/>
                        </a:lnTo>
                        <a:lnTo>
                          <a:pt x="9" y="3"/>
                        </a:lnTo>
                        <a:lnTo>
                          <a:pt x="3" y="3"/>
                        </a:lnTo>
                        <a:lnTo>
                          <a:pt x="3" y="2"/>
                        </a:lnTo>
                        <a:lnTo>
                          <a:pt x="3"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6" name="Freeform 1485">
                    <a:extLst>
                      <a:ext uri="{FF2B5EF4-FFF2-40B4-BE49-F238E27FC236}">
                        <a16:creationId xmlns:a16="http://schemas.microsoft.com/office/drawing/2014/main" xmlns="" id="{BA313AE3-00E2-47E8-9EC8-ECAFDFB02C01}"/>
                      </a:ext>
                    </a:extLst>
                  </p:cNvPr>
                  <p:cNvSpPr>
                    <a:spLocks/>
                  </p:cNvSpPr>
                  <p:nvPr/>
                </p:nvSpPr>
                <p:spPr bwMode="gray">
                  <a:xfrm>
                    <a:off x="5720239" y="3666829"/>
                    <a:ext cx="4450" cy="6675"/>
                  </a:xfrm>
                  <a:custGeom>
                    <a:avLst/>
                    <a:gdLst>
                      <a:gd name="T0" fmla="*/ 2147483647 w 4"/>
                      <a:gd name="T1" fmla="*/ 2147483647 h 6"/>
                      <a:gd name="T2" fmla="*/ 2147483647 w 4"/>
                      <a:gd name="T3" fmla="*/ 0 h 6"/>
                      <a:gd name="T4" fmla="*/ 2147483647 w 4"/>
                      <a:gd name="T5" fmla="*/ 0 h 6"/>
                      <a:gd name="T6" fmla="*/ 2147483647 w 4"/>
                      <a:gd name="T7" fmla="*/ 2147483647 h 6"/>
                      <a:gd name="T8" fmla="*/ 0 w 4"/>
                      <a:gd name="T9" fmla="*/ 2147483647 h 6"/>
                      <a:gd name="T10" fmla="*/ 0 w 4"/>
                      <a:gd name="T11" fmla="*/ 2147483647 h 6"/>
                      <a:gd name="T12" fmla="*/ 0 w 4"/>
                      <a:gd name="T13" fmla="*/ 2147483647 h 6"/>
                      <a:gd name="T14" fmla="*/ 2147483647 w 4"/>
                      <a:gd name="T15" fmla="*/ 2147483647 h 6"/>
                      <a:gd name="T16" fmla="*/ 2147483647 w 4"/>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4" y="5"/>
                        </a:moveTo>
                        <a:lnTo>
                          <a:pt x="4" y="0"/>
                        </a:lnTo>
                        <a:lnTo>
                          <a:pt x="3" y="0"/>
                        </a:lnTo>
                        <a:lnTo>
                          <a:pt x="3" y="2"/>
                        </a:lnTo>
                        <a:lnTo>
                          <a:pt x="0" y="4"/>
                        </a:lnTo>
                        <a:lnTo>
                          <a:pt x="0" y="5"/>
                        </a:lnTo>
                        <a:lnTo>
                          <a:pt x="0" y="6"/>
                        </a:lnTo>
                        <a:lnTo>
                          <a:pt x="1" y="6"/>
                        </a:lnTo>
                        <a:lnTo>
                          <a:pt x="4" y="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7" name="Freeform 1487">
                    <a:extLst>
                      <a:ext uri="{FF2B5EF4-FFF2-40B4-BE49-F238E27FC236}">
                        <a16:creationId xmlns:a16="http://schemas.microsoft.com/office/drawing/2014/main" xmlns="" id="{8BB83092-1CAC-45D2-9490-E9E389F2BCD2}"/>
                      </a:ext>
                    </a:extLst>
                  </p:cNvPr>
                  <p:cNvSpPr>
                    <a:spLocks/>
                  </p:cNvSpPr>
                  <p:nvPr/>
                </p:nvSpPr>
                <p:spPr bwMode="gray">
                  <a:xfrm>
                    <a:off x="5023835" y="3185156"/>
                    <a:ext cx="960059" cy="647421"/>
                  </a:xfrm>
                  <a:custGeom>
                    <a:avLst/>
                    <a:gdLst>
                      <a:gd name="T0" fmla="*/ 2147483647 w 863"/>
                      <a:gd name="T1" fmla="*/ 2147483647 h 582"/>
                      <a:gd name="T2" fmla="*/ 2147483647 w 863"/>
                      <a:gd name="T3" fmla="*/ 2147483647 h 582"/>
                      <a:gd name="T4" fmla="*/ 2147483647 w 863"/>
                      <a:gd name="T5" fmla="*/ 2147483647 h 582"/>
                      <a:gd name="T6" fmla="*/ 2147483647 w 863"/>
                      <a:gd name="T7" fmla="*/ 2147483647 h 582"/>
                      <a:gd name="T8" fmla="*/ 2147483647 w 863"/>
                      <a:gd name="T9" fmla="*/ 2147483647 h 582"/>
                      <a:gd name="T10" fmla="*/ 2147483647 w 863"/>
                      <a:gd name="T11" fmla="*/ 2147483647 h 582"/>
                      <a:gd name="T12" fmla="*/ 2147483647 w 863"/>
                      <a:gd name="T13" fmla="*/ 2147483647 h 582"/>
                      <a:gd name="T14" fmla="*/ 2147483647 w 863"/>
                      <a:gd name="T15" fmla="*/ 2147483647 h 582"/>
                      <a:gd name="T16" fmla="*/ 2147483647 w 863"/>
                      <a:gd name="T17" fmla="*/ 2147483647 h 582"/>
                      <a:gd name="T18" fmla="*/ 2147483647 w 863"/>
                      <a:gd name="T19" fmla="*/ 2147483647 h 582"/>
                      <a:gd name="T20" fmla="*/ 2147483647 w 863"/>
                      <a:gd name="T21" fmla="*/ 2147483647 h 582"/>
                      <a:gd name="T22" fmla="*/ 2147483647 w 863"/>
                      <a:gd name="T23" fmla="*/ 2147483647 h 582"/>
                      <a:gd name="T24" fmla="*/ 2147483647 w 863"/>
                      <a:gd name="T25" fmla="*/ 2147483647 h 582"/>
                      <a:gd name="T26" fmla="*/ 2147483647 w 863"/>
                      <a:gd name="T27" fmla="*/ 2147483647 h 582"/>
                      <a:gd name="T28" fmla="*/ 2147483647 w 863"/>
                      <a:gd name="T29" fmla="*/ 2147483647 h 582"/>
                      <a:gd name="T30" fmla="*/ 2147483647 w 863"/>
                      <a:gd name="T31" fmla="*/ 2147483647 h 582"/>
                      <a:gd name="T32" fmla="*/ 2147483647 w 863"/>
                      <a:gd name="T33" fmla="*/ 2147483647 h 582"/>
                      <a:gd name="T34" fmla="*/ 2147483647 w 863"/>
                      <a:gd name="T35" fmla="*/ 2147483647 h 582"/>
                      <a:gd name="T36" fmla="*/ 2147483647 w 863"/>
                      <a:gd name="T37" fmla="*/ 2147483647 h 582"/>
                      <a:gd name="T38" fmla="*/ 2147483647 w 863"/>
                      <a:gd name="T39" fmla="*/ 2147483647 h 582"/>
                      <a:gd name="T40" fmla="*/ 2147483647 w 863"/>
                      <a:gd name="T41" fmla="*/ 2147483647 h 582"/>
                      <a:gd name="T42" fmla="*/ 2147483647 w 863"/>
                      <a:gd name="T43" fmla="*/ 2147483647 h 582"/>
                      <a:gd name="T44" fmla="*/ 2147483647 w 863"/>
                      <a:gd name="T45" fmla="*/ 2147483647 h 582"/>
                      <a:gd name="T46" fmla="*/ 2147483647 w 863"/>
                      <a:gd name="T47" fmla="*/ 2147483647 h 582"/>
                      <a:gd name="T48" fmla="*/ 2147483647 w 863"/>
                      <a:gd name="T49" fmla="*/ 2147483647 h 582"/>
                      <a:gd name="T50" fmla="*/ 2147483647 w 863"/>
                      <a:gd name="T51" fmla="*/ 2147483647 h 582"/>
                      <a:gd name="T52" fmla="*/ 2147483647 w 863"/>
                      <a:gd name="T53" fmla="*/ 2147483647 h 582"/>
                      <a:gd name="T54" fmla="*/ 2147483647 w 863"/>
                      <a:gd name="T55" fmla="*/ 2147483647 h 582"/>
                      <a:gd name="T56" fmla="*/ 2147483647 w 863"/>
                      <a:gd name="T57" fmla="*/ 2147483647 h 582"/>
                      <a:gd name="T58" fmla="*/ 2147483647 w 863"/>
                      <a:gd name="T59" fmla="*/ 2147483647 h 582"/>
                      <a:gd name="T60" fmla="*/ 2147483647 w 863"/>
                      <a:gd name="T61" fmla="*/ 2147483647 h 582"/>
                      <a:gd name="T62" fmla="*/ 2147483647 w 863"/>
                      <a:gd name="T63" fmla="*/ 2147483647 h 582"/>
                      <a:gd name="T64" fmla="*/ 2147483647 w 863"/>
                      <a:gd name="T65" fmla="*/ 2147483647 h 582"/>
                      <a:gd name="T66" fmla="*/ 2147483647 w 863"/>
                      <a:gd name="T67" fmla="*/ 2147483647 h 582"/>
                      <a:gd name="T68" fmla="*/ 2147483647 w 863"/>
                      <a:gd name="T69" fmla="*/ 2147483647 h 582"/>
                      <a:gd name="T70" fmla="*/ 2147483647 w 863"/>
                      <a:gd name="T71" fmla="*/ 2147483647 h 582"/>
                      <a:gd name="T72" fmla="*/ 2147483647 w 863"/>
                      <a:gd name="T73" fmla="*/ 2147483647 h 582"/>
                      <a:gd name="T74" fmla="*/ 2147483647 w 863"/>
                      <a:gd name="T75" fmla="*/ 2147483647 h 582"/>
                      <a:gd name="T76" fmla="*/ 2147483647 w 863"/>
                      <a:gd name="T77" fmla="*/ 2147483647 h 582"/>
                      <a:gd name="T78" fmla="*/ 2147483647 w 863"/>
                      <a:gd name="T79" fmla="*/ 2147483647 h 582"/>
                      <a:gd name="T80" fmla="*/ 2147483647 w 863"/>
                      <a:gd name="T81" fmla="*/ 2147483647 h 582"/>
                      <a:gd name="T82" fmla="*/ 2147483647 w 863"/>
                      <a:gd name="T83" fmla="*/ 2147483647 h 582"/>
                      <a:gd name="T84" fmla="*/ 2147483647 w 863"/>
                      <a:gd name="T85" fmla="*/ 2147483647 h 582"/>
                      <a:gd name="T86" fmla="*/ 2147483647 w 863"/>
                      <a:gd name="T87" fmla="*/ 2147483647 h 582"/>
                      <a:gd name="T88" fmla="*/ 2147483647 w 863"/>
                      <a:gd name="T89" fmla="*/ 2147483647 h 582"/>
                      <a:gd name="T90" fmla="*/ 2147483647 w 863"/>
                      <a:gd name="T91" fmla="*/ 2147483647 h 582"/>
                      <a:gd name="T92" fmla="*/ 2147483647 w 863"/>
                      <a:gd name="T93" fmla="*/ 2147483647 h 582"/>
                      <a:gd name="T94" fmla="*/ 2147483647 w 863"/>
                      <a:gd name="T95" fmla="*/ 2147483647 h 582"/>
                      <a:gd name="T96" fmla="*/ 2147483647 w 863"/>
                      <a:gd name="T97" fmla="*/ 2147483647 h 582"/>
                      <a:gd name="T98" fmla="*/ 2147483647 w 863"/>
                      <a:gd name="T99" fmla="*/ 2147483647 h 582"/>
                      <a:gd name="T100" fmla="*/ 2147483647 w 863"/>
                      <a:gd name="T101" fmla="*/ 2147483647 h 582"/>
                      <a:gd name="T102" fmla="*/ 2147483647 w 863"/>
                      <a:gd name="T103" fmla="*/ 2147483647 h 582"/>
                      <a:gd name="T104" fmla="*/ 2147483647 w 863"/>
                      <a:gd name="T105" fmla="*/ 2147483647 h 582"/>
                      <a:gd name="T106" fmla="*/ 2147483647 w 863"/>
                      <a:gd name="T107" fmla="*/ 2147483647 h 582"/>
                      <a:gd name="T108" fmla="*/ 2147483647 w 863"/>
                      <a:gd name="T109" fmla="*/ 2147483647 h 582"/>
                      <a:gd name="T110" fmla="*/ 2147483647 w 863"/>
                      <a:gd name="T111" fmla="*/ 2147483647 h 582"/>
                      <a:gd name="T112" fmla="*/ 2147483647 w 863"/>
                      <a:gd name="T113" fmla="*/ 2147483647 h 582"/>
                      <a:gd name="T114" fmla="*/ 2147483647 w 863"/>
                      <a:gd name="T115" fmla="*/ 2147483647 h 582"/>
                      <a:gd name="T116" fmla="*/ 2147483647 w 863"/>
                      <a:gd name="T117" fmla="*/ 2147483647 h 582"/>
                      <a:gd name="T118" fmla="*/ 2147483647 w 863"/>
                      <a:gd name="T119" fmla="*/ 2147483647 h 582"/>
                      <a:gd name="T120" fmla="*/ 2147483647 w 863"/>
                      <a:gd name="T121" fmla="*/ 2147483647 h 58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63" h="582">
                        <a:moveTo>
                          <a:pt x="854" y="211"/>
                        </a:moveTo>
                        <a:lnTo>
                          <a:pt x="852" y="206"/>
                        </a:lnTo>
                        <a:lnTo>
                          <a:pt x="849" y="201"/>
                        </a:lnTo>
                        <a:lnTo>
                          <a:pt x="847" y="199"/>
                        </a:lnTo>
                        <a:lnTo>
                          <a:pt x="845" y="198"/>
                        </a:lnTo>
                        <a:lnTo>
                          <a:pt x="844" y="199"/>
                        </a:lnTo>
                        <a:lnTo>
                          <a:pt x="841" y="199"/>
                        </a:lnTo>
                        <a:lnTo>
                          <a:pt x="839" y="199"/>
                        </a:lnTo>
                        <a:lnTo>
                          <a:pt x="836" y="198"/>
                        </a:lnTo>
                        <a:lnTo>
                          <a:pt x="835" y="195"/>
                        </a:lnTo>
                        <a:lnTo>
                          <a:pt x="837" y="193"/>
                        </a:lnTo>
                        <a:lnTo>
                          <a:pt x="839" y="192"/>
                        </a:lnTo>
                        <a:lnTo>
                          <a:pt x="843" y="191"/>
                        </a:lnTo>
                        <a:lnTo>
                          <a:pt x="844" y="189"/>
                        </a:lnTo>
                        <a:lnTo>
                          <a:pt x="846" y="185"/>
                        </a:lnTo>
                        <a:lnTo>
                          <a:pt x="846" y="181"/>
                        </a:lnTo>
                        <a:lnTo>
                          <a:pt x="846" y="177"/>
                        </a:lnTo>
                        <a:lnTo>
                          <a:pt x="847" y="175"/>
                        </a:lnTo>
                        <a:lnTo>
                          <a:pt x="851" y="175"/>
                        </a:lnTo>
                        <a:lnTo>
                          <a:pt x="853" y="174"/>
                        </a:lnTo>
                        <a:lnTo>
                          <a:pt x="854" y="171"/>
                        </a:lnTo>
                        <a:lnTo>
                          <a:pt x="854" y="166"/>
                        </a:lnTo>
                        <a:lnTo>
                          <a:pt x="853" y="165"/>
                        </a:lnTo>
                        <a:lnTo>
                          <a:pt x="850" y="165"/>
                        </a:lnTo>
                        <a:lnTo>
                          <a:pt x="846" y="166"/>
                        </a:lnTo>
                        <a:lnTo>
                          <a:pt x="841" y="166"/>
                        </a:lnTo>
                        <a:lnTo>
                          <a:pt x="839" y="165"/>
                        </a:lnTo>
                        <a:lnTo>
                          <a:pt x="838" y="162"/>
                        </a:lnTo>
                        <a:lnTo>
                          <a:pt x="839" y="158"/>
                        </a:lnTo>
                        <a:lnTo>
                          <a:pt x="841" y="153"/>
                        </a:lnTo>
                        <a:lnTo>
                          <a:pt x="842" y="151"/>
                        </a:lnTo>
                        <a:lnTo>
                          <a:pt x="843" y="149"/>
                        </a:lnTo>
                        <a:lnTo>
                          <a:pt x="845" y="146"/>
                        </a:lnTo>
                        <a:lnTo>
                          <a:pt x="847" y="145"/>
                        </a:lnTo>
                        <a:lnTo>
                          <a:pt x="851" y="144"/>
                        </a:lnTo>
                        <a:lnTo>
                          <a:pt x="855" y="139"/>
                        </a:lnTo>
                        <a:lnTo>
                          <a:pt x="856" y="136"/>
                        </a:lnTo>
                        <a:lnTo>
                          <a:pt x="855" y="133"/>
                        </a:lnTo>
                        <a:lnTo>
                          <a:pt x="851" y="130"/>
                        </a:lnTo>
                        <a:lnTo>
                          <a:pt x="848" y="128"/>
                        </a:lnTo>
                        <a:lnTo>
                          <a:pt x="847" y="126"/>
                        </a:lnTo>
                        <a:lnTo>
                          <a:pt x="847" y="121"/>
                        </a:lnTo>
                        <a:lnTo>
                          <a:pt x="847" y="115"/>
                        </a:lnTo>
                        <a:lnTo>
                          <a:pt x="847" y="113"/>
                        </a:lnTo>
                        <a:lnTo>
                          <a:pt x="846" y="112"/>
                        </a:lnTo>
                        <a:lnTo>
                          <a:pt x="842" y="114"/>
                        </a:lnTo>
                        <a:lnTo>
                          <a:pt x="837" y="117"/>
                        </a:lnTo>
                        <a:lnTo>
                          <a:pt x="832" y="118"/>
                        </a:lnTo>
                        <a:lnTo>
                          <a:pt x="828" y="120"/>
                        </a:lnTo>
                        <a:lnTo>
                          <a:pt x="823" y="122"/>
                        </a:lnTo>
                        <a:lnTo>
                          <a:pt x="817" y="123"/>
                        </a:lnTo>
                        <a:lnTo>
                          <a:pt x="813" y="121"/>
                        </a:lnTo>
                        <a:lnTo>
                          <a:pt x="809" y="119"/>
                        </a:lnTo>
                        <a:lnTo>
                          <a:pt x="804" y="117"/>
                        </a:lnTo>
                        <a:lnTo>
                          <a:pt x="798" y="115"/>
                        </a:lnTo>
                        <a:lnTo>
                          <a:pt x="792" y="115"/>
                        </a:lnTo>
                        <a:lnTo>
                          <a:pt x="789" y="115"/>
                        </a:lnTo>
                        <a:lnTo>
                          <a:pt x="785" y="115"/>
                        </a:lnTo>
                        <a:lnTo>
                          <a:pt x="781" y="115"/>
                        </a:lnTo>
                        <a:lnTo>
                          <a:pt x="777" y="115"/>
                        </a:lnTo>
                        <a:lnTo>
                          <a:pt x="773" y="115"/>
                        </a:lnTo>
                        <a:lnTo>
                          <a:pt x="770" y="114"/>
                        </a:lnTo>
                        <a:lnTo>
                          <a:pt x="769" y="112"/>
                        </a:lnTo>
                        <a:lnTo>
                          <a:pt x="767" y="108"/>
                        </a:lnTo>
                        <a:lnTo>
                          <a:pt x="765" y="105"/>
                        </a:lnTo>
                        <a:lnTo>
                          <a:pt x="760" y="103"/>
                        </a:lnTo>
                        <a:lnTo>
                          <a:pt x="756" y="103"/>
                        </a:lnTo>
                        <a:lnTo>
                          <a:pt x="751" y="102"/>
                        </a:lnTo>
                        <a:lnTo>
                          <a:pt x="748" y="101"/>
                        </a:lnTo>
                        <a:lnTo>
                          <a:pt x="747" y="103"/>
                        </a:lnTo>
                        <a:lnTo>
                          <a:pt x="748" y="105"/>
                        </a:lnTo>
                        <a:lnTo>
                          <a:pt x="751" y="108"/>
                        </a:lnTo>
                        <a:lnTo>
                          <a:pt x="752" y="112"/>
                        </a:lnTo>
                        <a:lnTo>
                          <a:pt x="751" y="113"/>
                        </a:lnTo>
                        <a:lnTo>
                          <a:pt x="748" y="112"/>
                        </a:lnTo>
                        <a:lnTo>
                          <a:pt x="744" y="108"/>
                        </a:lnTo>
                        <a:lnTo>
                          <a:pt x="740" y="106"/>
                        </a:lnTo>
                        <a:lnTo>
                          <a:pt x="735" y="105"/>
                        </a:lnTo>
                        <a:lnTo>
                          <a:pt x="730" y="103"/>
                        </a:lnTo>
                        <a:lnTo>
                          <a:pt x="725" y="102"/>
                        </a:lnTo>
                        <a:lnTo>
                          <a:pt x="719" y="99"/>
                        </a:lnTo>
                        <a:lnTo>
                          <a:pt x="717" y="95"/>
                        </a:lnTo>
                        <a:lnTo>
                          <a:pt x="716" y="90"/>
                        </a:lnTo>
                        <a:lnTo>
                          <a:pt x="716" y="85"/>
                        </a:lnTo>
                        <a:lnTo>
                          <a:pt x="714" y="84"/>
                        </a:lnTo>
                        <a:lnTo>
                          <a:pt x="712" y="83"/>
                        </a:lnTo>
                        <a:lnTo>
                          <a:pt x="710" y="84"/>
                        </a:lnTo>
                        <a:lnTo>
                          <a:pt x="706" y="85"/>
                        </a:lnTo>
                        <a:lnTo>
                          <a:pt x="703" y="88"/>
                        </a:lnTo>
                        <a:lnTo>
                          <a:pt x="699" y="91"/>
                        </a:lnTo>
                        <a:lnTo>
                          <a:pt x="690" y="96"/>
                        </a:lnTo>
                        <a:lnTo>
                          <a:pt x="685" y="98"/>
                        </a:lnTo>
                        <a:lnTo>
                          <a:pt x="681" y="102"/>
                        </a:lnTo>
                        <a:lnTo>
                          <a:pt x="679" y="104"/>
                        </a:lnTo>
                        <a:lnTo>
                          <a:pt x="678" y="107"/>
                        </a:lnTo>
                        <a:lnTo>
                          <a:pt x="675" y="113"/>
                        </a:lnTo>
                        <a:lnTo>
                          <a:pt x="673" y="114"/>
                        </a:lnTo>
                        <a:lnTo>
                          <a:pt x="671" y="115"/>
                        </a:lnTo>
                        <a:lnTo>
                          <a:pt x="667" y="114"/>
                        </a:lnTo>
                        <a:lnTo>
                          <a:pt x="664" y="111"/>
                        </a:lnTo>
                        <a:lnTo>
                          <a:pt x="662" y="109"/>
                        </a:lnTo>
                        <a:lnTo>
                          <a:pt x="658" y="108"/>
                        </a:lnTo>
                        <a:lnTo>
                          <a:pt x="651" y="107"/>
                        </a:lnTo>
                        <a:lnTo>
                          <a:pt x="646" y="106"/>
                        </a:lnTo>
                        <a:lnTo>
                          <a:pt x="640" y="105"/>
                        </a:lnTo>
                        <a:lnTo>
                          <a:pt x="635" y="105"/>
                        </a:lnTo>
                        <a:lnTo>
                          <a:pt x="632" y="106"/>
                        </a:lnTo>
                        <a:lnTo>
                          <a:pt x="630" y="108"/>
                        </a:lnTo>
                        <a:lnTo>
                          <a:pt x="628" y="112"/>
                        </a:lnTo>
                        <a:lnTo>
                          <a:pt x="625" y="115"/>
                        </a:lnTo>
                        <a:lnTo>
                          <a:pt x="623" y="115"/>
                        </a:lnTo>
                        <a:lnTo>
                          <a:pt x="622" y="113"/>
                        </a:lnTo>
                        <a:lnTo>
                          <a:pt x="618" y="108"/>
                        </a:lnTo>
                        <a:lnTo>
                          <a:pt x="613" y="102"/>
                        </a:lnTo>
                        <a:lnTo>
                          <a:pt x="609" y="100"/>
                        </a:lnTo>
                        <a:lnTo>
                          <a:pt x="607" y="98"/>
                        </a:lnTo>
                        <a:lnTo>
                          <a:pt x="605" y="95"/>
                        </a:lnTo>
                        <a:lnTo>
                          <a:pt x="605" y="91"/>
                        </a:lnTo>
                        <a:lnTo>
                          <a:pt x="606" y="85"/>
                        </a:lnTo>
                        <a:lnTo>
                          <a:pt x="605" y="82"/>
                        </a:lnTo>
                        <a:lnTo>
                          <a:pt x="603" y="79"/>
                        </a:lnTo>
                        <a:lnTo>
                          <a:pt x="600" y="79"/>
                        </a:lnTo>
                        <a:lnTo>
                          <a:pt x="597" y="76"/>
                        </a:lnTo>
                        <a:lnTo>
                          <a:pt x="595" y="76"/>
                        </a:lnTo>
                        <a:lnTo>
                          <a:pt x="594" y="75"/>
                        </a:lnTo>
                        <a:lnTo>
                          <a:pt x="593" y="73"/>
                        </a:lnTo>
                        <a:lnTo>
                          <a:pt x="593" y="71"/>
                        </a:lnTo>
                        <a:lnTo>
                          <a:pt x="592" y="70"/>
                        </a:lnTo>
                        <a:lnTo>
                          <a:pt x="590" y="70"/>
                        </a:lnTo>
                        <a:lnTo>
                          <a:pt x="585" y="68"/>
                        </a:lnTo>
                        <a:lnTo>
                          <a:pt x="579" y="64"/>
                        </a:lnTo>
                        <a:lnTo>
                          <a:pt x="575" y="60"/>
                        </a:lnTo>
                        <a:lnTo>
                          <a:pt x="571" y="56"/>
                        </a:lnTo>
                        <a:lnTo>
                          <a:pt x="568" y="56"/>
                        </a:lnTo>
                        <a:lnTo>
                          <a:pt x="565" y="57"/>
                        </a:lnTo>
                        <a:lnTo>
                          <a:pt x="562" y="60"/>
                        </a:lnTo>
                        <a:lnTo>
                          <a:pt x="557" y="63"/>
                        </a:lnTo>
                        <a:lnTo>
                          <a:pt x="554" y="64"/>
                        </a:lnTo>
                        <a:lnTo>
                          <a:pt x="551" y="64"/>
                        </a:lnTo>
                        <a:lnTo>
                          <a:pt x="547" y="62"/>
                        </a:lnTo>
                        <a:lnTo>
                          <a:pt x="542" y="60"/>
                        </a:lnTo>
                        <a:lnTo>
                          <a:pt x="539" y="58"/>
                        </a:lnTo>
                        <a:lnTo>
                          <a:pt x="537" y="57"/>
                        </a:lnTo>
                        <a:lnTo>
                          <a:pt x="536" y="55"/>
                        </a:lnTo>
                        <a:lnTo>
                          <a:pt x="536" y="54"/>
                        </a:lnTo>
                        <a:lnTo>
                          <a:pt x="537" y="49"/>
                        </a:lnTo>
                        <a:lnTo>
                          <a:pt x="538" y="44"/>
                        </a:lnTo>
                        <a:lnTo>
                          <a:pt x="537" y="39"/>
                        </a:lnTo>
                        <a:lnTo>
                          <a:pt x="533" y="35"/>
                        </a:lnTo>
                        <a:lnTo>
                          <a:pt x="530" y="32"/>
                        </a:lnTo>
                        <a:lnTo>
                          <a:pt x="528" y="30"/>
                        </a:lnTo>
                        <a:lnTo>
                          <a:pt x="529" y="29"/>
                        </a:lnTo>
                        <a:lnTo>
                          <a:pt x="530" y="28"/>
                        </a:lnTo>
                        <a:lnTo>
                          <a:pt x="533" y="26"/>
                        </a:lnTo>
                        <a:lnTo>
                          <a:pt x="535" y="25"/>
                        </a:lnTo>
                        <a:lnTo>
                          <a:pt x="536" y="20"/>
                        </a:lnTo>
                        <a:lnTo>
                          <a:pt x="534" y="17"/>
                        </a:lnTo>
                        <a:lnTo>
                          <a:pt x="531" y="13"/>
                        </a:lnTo>
                        <a:lnTo>
                          <a:pt x="528" y="11"/>
                        </a:lnTo>
                        <a:lnTo>
                          <a:pt x="525" y="12"/>
                        </a:lnTo>
                        <a:lnTo>
                          <a:pt x="522" y="13"/>
                        </a:lnTo>
                        <a:lnTo>
                          <a:pt x="520" y="14"/>
                        </a:lnTo>
                        <a:lnTo>
                          <a:pt x="519" y="15"/>
                        </a:lnTo>
                        <a:lnTo>
                          <a:pt x="519" y="14"/>
                        </a:lnTo>
                        <a:lnTo>
                          <a:pt x="519" y="11"/>
                        </a:lnTo>
                        <a:lnTo>
                          <a:pt x="519" y="6"/>
                        </a:lnTo>
                        <a:lnTo>
                          <a:pt x="519" y="2"/>
                        </a:lnTo>
                        <a:lnTo>
                          <a:pt x="516" y="0"/>
                        </a:lnTo>
                        <a:lnTo>
                          <a:pt x="512" y="2"/>
                        </a:lnTo>
                        <a:lnTo>
                          <a:pt x="507" y="2"/>
                        </a:lnTo>
                        <a:lnTo>
                          <a:pt x="503" y="5"/>
                        </a:lnTo>
                        <a:lnTo>
                          <a:pt x="500" y="6"/>
                        </a:lnTo>
                        <a:lnTo>
                          <a:pt x="499" y="10"/>
                        </a:lnTo>
                        <a:lnTo>
                          <a:pt x="498" y="13"/>
                        </a:lnTo>
                        <a:lnTo>
                          <a:pt x="497" y="15"/>
                        </a:lnTo>
                        <a:lnTo>
                          <a:pt x="494" y="13"/>
                        </a:lnTo>
                        <a:lnTo>
                          <a:pt x="492" y="10"/>
                        </a:lnTo>
                        <a:lnTo>
                          <a:pt x="486" y="6"/>
                        </a:lnTo>
                        <a:lnTo>
                          <a:pt x="483" y="5"/>
                        </a:lnTo>
                        <a:lnTo>
                          <a:pt x="480" y="5"/>
                        </a:lnTo>
                        <a:lnTo>
                          <a:pt x="478" y="7"/>
                        </a:lnTo>
                        <a:lnTo>
                          <a:pt x="474" y="11"/>
                        </a:lnTo>
                        <a:lnTo>
                          <a:pt x="470" y="15"/>
                        </a:lnTo>
                        <a:lnTo>
                          <a:pt x="465" y="19"/>
                        </a:lnTo>
                        <a:lnTo>
                          <a:pt x="462" y="20"/>
                        </a:lnTo>
                        <a:lnTo>
                          <a:pt x="459" y="20"/>
                        </a:lnTo>
                        <a:lnTo>
                          <a:pt x="456" y="20"/>
                        </a:lnTo>
                        <a:lnTo>
                          <a:pt x="452" y="18"/>
                        </a:lnTo>
                        <a:lnTo>
                          <a:pt x="449" y="19"/>
                        </a:lnTo>
                        <a:lnTo>
                          <a:pt x="446" y="20"/>
                        </a:lnTo>
                        <a:lnTo>
                          <a:pt x="443" y="23"/>
                        </a:lnTo>
                        <a:lnTo>
                          <a:pt x="442" y="25"/>
                        </a:lnTo>
                        <a:lnTo>
                          <a:pt x="437" y="25"/>
                        </a:lnTo>
                        <a:lnTo>
                          <a:pt x="436" y="26"/>
                        </a:lnTo>
                        <a:lnTo>
                          <a:pt x="435" y="28"/>
                        </a:lnTo>
                        <a:lnTo>
                          <a:pt x="433" y="29"/>
                        </a:lnTo>
                        <a:lnTo>
                          <a:pt x="433" y="30"/>
                        </a:lnTo>
                        <a:lnTo>
                          <a:pt x="432" y="30"/>
                        </a:lnTo>
                        <a:lnTo>
                          <a:pt x="432" y="32"/>
                        </a:lnTo>
                        <a:lnTo>
                          <a:pt x="431" y="34"/>
                        </a:lnTo>
                        <a:lnTo>
                          <a:pt x="428" y="35"/>
                        </a:lnTo>
                        <a:lnTo>
                          <a:pt x="426" y="37"/>
                        </a:lnTo>
                        <a:lnTo>
                          <a:pt x="424" y="37"/>
                        </a:lnTo>
                        <a:lnTo>
                          <a:pt x="422" y="37"/>
                        </a:lnTo>
                        <a:lnTo>
                          <a:pt x="420" y="36"/>
                        </a:lnTo>
                        <a:lnTo>
                          <a:pt x="416" y="34"/>
                        </a:lnTo>
                        <a:lnTo>
                          <a:pt x="415" y="34"/>
                        </a:lnTo>
                        <a:lnTo>
                          <a:pt x="412" y="35"/>
                        </a:lnTo>
                        <a:lnTo>
                          <a:pt x="409" y="35"/>
                        </a:lnTo>
                        <a:lnTo>
                          <a:pt x="407" y="34"/>
                        </a:lnTo>
                        <a:lnTo>
                          <a:pt x="405" y="32"/>
                        </a:lnTo>
                        <a:lnTo>
                          <a:pt x="403" y="33"/>
                        </a:lnTo>
                        <a:lnTo>
                          <a:pt x="402" y="34"/>
                        </a:lnTo>
                        <a:lnTo>
                          <a:pt x="401" y="36"/>
                        </a:lnTo>
                        <a:lnTo>
                          <a:pt x="399" y="40"/>
                        </a:lnTo>
                        <a:lnTo>
                          <a:pt x="397" y="41"/>
                        </a:lnTo>
                        <a:lnTo>
                          <a:pt x="393" y="41"/>
                        </a:lnTo>
                        <a:lnTo>
                          <a:pt x="391" y="40"/>
                        </a:lnTo>
                        <a:lnTo>
                          <a:pt x="390" y="40"/>
                        </a:lnTo>
                        <a:lnTo>
                          <a:pt x="388" y="43"/>
                        </a:lnTo>
                        <a:lnTo>
                          <a:pt x="387" y="49"/>
                        </a:lnTo>
                        <a:lnTo>
                          <a:pt x="384" y="54"/>
                        </a:lnTo>
                        <a:lnTo>
                          <a:pt x="382" y="55"/>
                        </a:lnTo>
                        <a:lnTo>
                          <a:pt x="380" y="58"/>
                        </a:lnTo>
                        <a:lnTo>
                          <a:pt x="377" y="67"/>
                        </a:lnTo>
                        <a:lnTo>
                          <a:pt x="375" y="76"/>
                        </a:lnTo>
                        <a:lnTo>
                          <a:pt x="374" y="79"/>
                        </a:lnTo>
                        <a:lnTo>
                          <a:pt x="374" y="82"/>
                        </a:lnTo>
                        <a:lnTo>
                          <a:pt x="377" y="87"/>
                        </a:lnTo>
                        <a:lnTo>
                          <a:pt x="378" y="90"/>
                        </a:lnTo>
                        <a:lnTo>
                          <a:pt x="378" y="93"/>
                        </a:lnTo>
                        <a:lnTo>
                          <a:pt x="374" y="96"/>
                        </a:lnTo>
                        <a:lnTo>
                          <a:pt x="373" y="96"/>
                        </a:lnTo>
                        <a:lnTo>
                          <a:pt x="372" y="96"/>
                        </a:lnTo>
                        <a:lnTo>
                          <a:pt x="369" y="93"/>
                        </a:lnTo>
                        <a:lnTo>
                          <a:pt x="365" y="89"/>
                        </a:lnTo>
                        <a:lnTo>
                          <a:pt x="361" y="85"/>
                        </a:lnTo>
                        <a:lnTo>
                          <a:pt x="359" y="84"/>
                        </a:lnTo>
                        <a:lnTo>
                          <a:pt x="355" y="83"/>
                        </a:lnTo>
                        <a:lnTo>
                          <a:pt x="346" y="84"/>
                        </a:lnTo>
                        <a:lnTo>
                          <a:pt x="336" y="85"/>
                        </a:lnTo>
                        <a:lnTo>
                          <a:pt x="331" y="84"/>
                        </a:lnTo>
                        <a:lnTo>
                          <a:pt x="326" y="82"/>
                        </a:lnTo>
                        <a:lnTo>
                          <a:pt x="323" y="83"/>
                        </a:lnTo>
                        <a:lnTo>
                          <a:pt x="322" y="84"/>
                        </a:lnTo>
                        <a:lnTo>
                          <a:pt x="322" y="85"/>
                        </a:lnTo>
                        <a:lnTo>
                          <a:pt x="323" y="87"/>
                        </a:lnTo>
                        <a:lnTo>
                          <a:pt x="323" y="89"/>
                        </a:lnTo>
                        <a:lnTo>
                          <a:pt x="323" y="91"/>
                        </a:lnTo>
                        <a:lnTo>
                          <a:pt x="322" y="92"/>
                        </a:lnTo>
                        <a:lnTo>
                          <a:pt x="319" y="92"/>
                        </a:lnTo>
                        <a:lnTo>
                          <a:pt x="316" y="93"/>
                        </a:lnTo>
                        <a:lnTo>
                          <a:pt x="313" y="92"/>
                        </a:lnTo>
                        <a:lnTo>
                          <a:pt x="312" y="89"/>
                        </a:lnTo>
                        <a:lnTo>
                          <a:pt x="311" y="87"/>
                        </a:lnTo>
                        <a:lnTo>
                          <a:pt x="307" y="81"/>
                        </a:lnTo>
                        <a:lnTo>
                          <a:pt x="306" y="80"/>
                        </a:lnTo>
                        <a:lnTo>
                          <a:pt x="303" y="79"/>
                        </a:lnTo>
                        <a:lnTo>
                          <a:pt x="301" y="80"/>
                        </a:lnTo>
                        <a:lnTo>
                          <a:pt x="299" y="84"/>
                        </a:lnTo>
                        <a:lnTo>
                          <a:pt x="297" y="89"/>
                        </a:lnTo>
                        <a:lnTo>
                          <a:pt x="297" y="92"/>
                        </a:lnTo>
                        <a:lnTo>
                          <a:pt x="297" y="94"/>
                        </a:lnTo>
                        <a:lnTo>
                          <a:pt x="297" y="95"/>
                        </a:lnTo>
                        <a:lnTo>
                          <a:pt x="296" y="95"/>
                        </a:lnTo>
                        <a:lnTo>
                          <a:pt x="294" y="95"/>
                        </a:lnTo>
                        <a:lnTo>
                          <a:pt x="290" y="96"/>
                        </a:lnTo>
                        <a:lnTo>
                          <a:pt x="288" y="96"/>
                        </a:lnTo>
                        <a:lnTo>
                          <a:pt x="288" y="95"/>
                        </a:lnTo>
                        <a:lnTo>
                          <a:pt x="287" y="90"/>
                        </a:lnTo>
                        <a:lnTo>
                          <a:pt x="286" y="88"/>
                        </a:lnTo>
                        <a:lnTo>
                          <a:pt x="284" y="86"/>
                        </a:lnTo>
                        <a:lnTo>
                          <a:pt x="282" y="85"/>
                        </a:lnTo>
                        <a:lnTo>
                          <a:pt x="278" y="85"/>
                        </a:lnTo>
                        <a:lnTo>
                          <a:pt x="274" y="86"/>
                        </a:lnTo>
                        <a:lnTo>
                          <a:pt x="272" y="88"/>
                        </a:lnTo>
                        <a:lnTo>
                          <a:pt x="270" y="90"/>
                        </a:lnTo>
                        <a:lnTo>
                          <a:pt x="267" y="91"/>
                        </a:lnTo>
                        <a:lnTo>
                          <a:pt x="264" y="92"/>
                        </a:lnTo>
                        <a:lnTo>
                          <a:pt x="261" y="92"/>
                        </a:lnTo>
                        <a:lnTo>
                          <a:pt x="259" y="90"/>
                        </a:lnTo>
                        <a:lnTo>
                          <a:pt x="257" y="88"/>
                        </a:lnTo>
                        <a:lnTo>
                          <a:pt x="255" y="85"/>
                        </a:lnTo>
                        <a:lnTo>
                          <a:pt x="253" y="85"/>
                        </a:lnTo>
                        <a:lnTo>
                          <a:pt x="252" y="85"/>
                        </a:lnTo>
                        <a:lnTo>
                          <a:pt x="250" y="88"/>
                        </a:lnTo>
                        <a:lnTo>
                          <a:pt x="248" y="92"/>
                        </a:lnTo>
                        <a:lnTo>
                          <a:pt x="245" y="96"/>
                        </a:lnTo>
                        <a:lnTo>
                          <a:pt x="240" y="96"/>
                        </a:lnTo>
                        <a:lnTo>
                          <a:pt x="236" y="95"/>
                        </a:lnTo>
                        <a:lnTo>
                          <a:pt x="232" y="94"/>
                        </a:lnTo>
                        <a:lnTo>
                          <a:pt x="232" y="93"/>
                        </a:lnTo>
                        <a:lnTo>
                          <a:pt x="233" y="92"/>
                        </a:lnTo>
                        <a:lnTo>
                          <a:pt x="232" y="90"/>
                        </a:lnTo>
                        <a:lnTo>
                          <a:pt x="230" y="90"/>
                        </a:lnTo>
                        <a:lnTo>
                          <a:pt x="227" y="90"/>
                        </a:lnTo>
                        <a:lnTo>
                          <a:pt x="223" y="92"/>
                        </a:lnTo>
                        <a:lnTo>
                          <a:pt x="221" y="93"/>
                        </a:lnTo>
                        <a:lnTo>
                          <a:pt x="219" y="94"/>
                        </a:lnTo>
                        <a:lnTo>
                          <a:pt x="218" y="95"/>
                        </a:lnTo>
                        <a:lnTo>
                          <a:pt x="216" y="96"/>
                        </a:lnTo>
                        <a:lnTo>
                          <a:pt x="211" y="93"/>
                        </a:lnTo>
                        <a:lnTo>
                          <a:pt x="203" y="89"/>
                        </a:lnTo>
                        <a:lnTo>
                          <a:pt x="196" y="87"/>
                        </a:lnTo>
                        <a:lnTo>
                          <a:pt x="191" y="85"/>
                        </a:lnTo>
                        <a:lnTo>
                          <a:pt x="186" y="84"/>
                        </a:lnTo>
                        <a:lnTo>
                          <a:pt x="182" y="84"/>
                        </a:lnTo>
                        <a:lnTo>
                          <a:pt x="176" y="84"/>
                        </a:lnTo>
                        <a:lnTo>
                          <a:pt x="168" y="82"/>
                        </a:lnTo>
                        <a:lnTo>
                          <a:pt x="158" y="83"/>
                        </a:lnTo>
                        <a:lnTo>
                          <a:pt x="150" y="83"/>
                        </a:lnTo>
                        <a:lnTo>
                          <a:pt x="144" y="82"/>
                        </a:lnTo>
                        <a:lnTo>
                          <a:pt x="139" y="79"/>
                        </a:lnTo>
                        <a:lnTo>
                          <a:pt x="136" y="79"/>
                        </a:lnTo>
                        <a:lnTo>
                          <a:pt x="132" y="81"/>
                        </a:lnTo>
                        <a:lnTo>
                          <a:pt x="122" y="85"/>
                        </a:lnTo>
                        <a:lnTo>
                          <a:pt x="118" y="87"/>
                        </a:lnTo>
                        <a:lnTo>
                          <a:pt x="113" y="87"/>
                        </a:lnTo>
                        <a:lnTo>
                          <a:pt x="107" y="86"/>
                        </a:lnTo>
                        <a:lnTo>
                          <a:pt x="100" y="85"/>
                        </a:lnTo>
                        <a:lnTo>
                          <a:pt x="97" y="84"/>
                        </a:lnTo>
                        <a:lnTo>
                          <a:pt x="96" y="83"/>
                        </a:lnTo>
                        <a:lnTo>
                          <a:pt x="96" y="85"/>
                        </a:lnTo>
                        <a:lnTo>
                          <a:pt x="94" y="89"/>
                        </a:lnTo>
                        <a:lnTo>
                          <a:pt x="91" y="93"/>
                        </a:lnTo>
                        <a:lnTo>
                          <a:pt x="87" y="97"/>
                        </a:lnTo>
                        <a:lnTo>
                          <a:pt x="78" y="102"/>
                        </a:lnTo>
                        <a:lnTo>
                          <a:pt x="76" y="103"/>
                        </a:lnTo>
                        <a:lnTo>
                          <a:pt x="74" y="101"/>
                        </a:lnTo>
                        <a:lnTo>
                          <a:pt x="72" y="98"/>
                        </a:lnTo>
                        <a:lnTo>
                          <a:pt x="68" y="96"/>
                        </a:lnTo>
                        <a:lnTo>
                          <a:pt x="67" y="96"/>
                        </a:lnTo>
                        <a:lnTo>
                          <a:pt x="65" y="96"/>
                        </a:lnTo>
                        <a:lnTo>
                          <a:pt x="63" y="96"/>
                        </a:lnTo>
                        <a:lnTo>
                          <a:pt x="62" y="96"/>
                        </a:lnTo>
                        <a:lnTo>
                          <a:pt x="61" y="99"/>
                        </a:lnTo>
                        <a:lnTo>
                          <a:pt x="61" y="103"/>
                        </a:lnTo>
                        <a:lnTo>
                          <a:pt x="61" y="106"/>
                        </a:lnTo>
                        <a:lnTo>
                          <a:pt x="60" y="108"/>
                        </a:lnTo>
                        <a:lnTo>
                          <a:pt x="58" y="108"/>
                        </a:lnTo>
                        <a:lnTo>
                          <a:pt x="57" y="108"/>
                        </a:lnTo>
                        <a:lnTo>
                          <a:pt x="56" y="108"/>
                        </a:lnTo>
                        <a:lnTo>
                          <a:pt x="55" y="108"/>
                        </a:lnTo>
                        <a:lnTo>
                          <a:pt x="55" y="109"/>
                        </a:lnTo>
                        <a:lnTo>
                          <a:pt x="54" y="110"/>
                        </a:lnTo>
                        <a:lnTo>
                          <a:pt x="54" y="112"/>
                        </a:lnTo>
                        <a:lnTo>
                          <a:pt x="55" y="115"/>
                        </a:lnTo>
                        <a:lnTo>
                          <a:pt x="57" y="118"/>
                        </a:lnTo>
                        <a:lnTo>
                          <a:pt x="58" y="122"/>
                        </a:lnTo>
                        <a:lnTo>
                          <a:pt x="58" y="130"/>
                        </a:lnTo>
                        <a:lnTo>
                          <a:pt x="59" y="134"/>
                        </a:lnTo>
                        <a:lnTo>
                          <a:pt x="61" y="139"/>
                        </a:lnTo>
                        <a:lnTo>
                          <a:pt x="63" y="145"/>
                        </a:lnTo>
                        <a:lnTo>
                          <a:pt x="65" y="151"/>
                        </a:lnTo>
                        <a:lnTo>
                          <a:pt x="67" y="151"/>
                        </a:lnTo>
                        <a:lnTo>
                          <a:pt x="67" y="152"/>
                        </a:lnTo>
                        <a:lnTo>
                          <a:pt x="67" y="153"/>
                        </a:lnTo>
                        <a:lnTo>
                          <a:pt x="68" y="153"/>
                        </a:lnTo>
                        <a:lnTo>
                          <a:pt x="72" y="154"/>
                        </a:lnTo>
                        <a:lnTo>
                          <a:pt x="75" y="156"/>
                        </a:lnTo>
                        <a:lnTo>
                          <a:pt x="75" y="158"/>
                        </a:lnTo>
                        <a:lnTo>
                          <a:pt x="74" y="160"/>
                        </a:lnTo>
                        <a:lnTo>
                          <a:pt x="72" y="163"/>
                        </a:lnTo>
                        <a:lnTo>
                          <a:pt x="71" y="165"/>
                        </a:lnTo>
                        <a:lnTo>
                          <a:pt x="72" y="166"/>
                        </a:lnTo>
                        <a:lnTo>
                          <a:pt x="74" y="169"/>
                        </a:lnTo>
                        <a:lnTo>
                          <a:pt x="76" y="171"/>
                        </a:lnTo>
                        <a:lnTo>
                          <a:pt x="78" y="175"/>
                        </a:lnTo>
                        <a:lnTo>
                          <a:pt x="78" y="180"/>
                        </a:lnTo>
                        <a:lnTo>
                          <a:pt x="78" y="185"/>
                        </a:lnTo>
                        <a:lnTo>
                          <a:pt x="77" y="187"/>
                        </a:lnTo>
                        <a:lnTo>
                          <a:pt x="75" y="188"/>
                        </a:lnTo>
                        <a:lnTo>
                          <a:pt x="72" y="189"/>
                        </a:lnTo>
                        <a:lnTo>
                          <a:pt x="69" y="190"/>
                        </a:lnTo>
                        <a:lnTo>
                          <a:pt x="67" y="194"/>
                        </a:lnTo>
                        <a:lnTo>
                          <a:pt x="66" y="197"/>
                        </a:lnTo>
                        <a:lnTo>
                          <a:pt x="65" y="199"/>
                        </a:lnTo>
                        <a:lnTo>
                          <a:pt x="65" y="200"/>
                        </a:lnTo>
                        <a:lnTo>
                          <a:pt x="64" y="204"/>
                        </a:lnTo>
                        <a:lnTo>
                          <a:pt x="62" y="209"/>
                        </a:lnTo>
                        <a:lnTo>
                          <a:pt x="58" y="215"/>
                        </a:lnTo>
                        <a:lnTo>
                          <a:pt x="54" y="218"/>
                        </a:lnTo>
                        <a:lnTo>
                          <a:pt x="49" y="223"/>
                        </a:lnTo>
                        <a:lnTo>
                          <a:pt x="44" y="231"/>
                        </a:lnTo>
                        <a:lnTo>
                          <a:pt x="36" y="240"/>
                        </a:lnTo>
                        <a:lnTo>
                          <a:pt x="32" y="244"/>
                        </a:lnTo>
                        <a:lnTo>
                          <a:pt x="28" y="249"/>
                        </a:lnTo>
                        <a:lnTo>
                          <a:pt x="24" y="254"/>
                        </a:lnTo>
                        <a:lnTo>
                          <a:pt x="24" y="256"/>
                        </a:lnTo>
                        <a:lnTo>
                          <a:pt x="23" y="256"/>
                        </a:lnTo>
                        <a:lnTo>
                          <a:pt x="23" y="257"/>
                        </a:lnTo>
                        <a:lnTo>
                          <a:pt x="23" y="260"/>
                        </a:lnTo>
                        <a:lnTo>
                          <a:pt x="23" y="263"/>
                        </a:lnTo>
                        <a:lnTo>
                          <a:pt x="23" y="266"/>
                        </a:lnTo>
                        <a:lnTo>
                          <a:pt x="24" y="269"/>
                        </a:lnTo>
                        <a:lnTo>
                          <a:pt x="25" y="271"/>
                        </a:lnTo>
                        <a:lnTo>
                          <a:pt x="24" y="273"/>
                        </a:lnTo>
                        <a:lnTo>
                          <a:pt x="23" y="275"/>
                        </a:lnTo>
                        <a:lnTo>
                          <a:pt x="23" y="278"/>
                        </a:lnTo>
                        <a:lnTo>
                          <a:pt x="24" y="282"/>
                        </a:lnTo>
                        <a:lnTo>
                          <a:pt x="26" y="286"/>
                        </a:lnTo>
                        <a:lnTo>
                          <a:pt x="29" y="289"/>
                        </a:lnTo>
                        <a:lnTo>
                          <a:pt x="32" y="292"/>
                        </a:lnTo>
                        <a:lnTo>
                          <a:pt x="33" y="295"/>
                        </a:lnTo>
                        <a:lnTo>
                          <a:pt x="33" y="298"/>
                        </a:lnTo>
                        <a:lnTo>
                          <a:pt x="31" y="298"/>
                        </a:lnTo>
                        <a:lnTo>
                          <a:pt x="29" y="298"/>
                        </a:lnTo>
                        <a:lnTo>
                          <a:pt x="25" y="298"/>
                        </a:lnTo>
                        <a:lnTo>
                          <a:pt x="23" y="299"/>
                        </a:lnTo>
                        <a:lnTo>
                          <a:pt x="21" y="299"/>
                        </a:lnTo>
                        <a:lnTo>
                          <a:pt x="17" y="298"/>
                        </a:lnTo>
                        <a:lnTo>
                          <a:pt x="12" y="296"/>
                        </a:lnTo>
                        <a:lnTo>
                          <a:pt x="9" y="296"/>
                        </a:lnTo>
                        <a:lnTo>
                          <a:pt x="7" y="297"/>
                        </a:lnTo>
                        <a:lnTo>
                          <a:pt x="7" y="298"/>
                        </a:lnTo>
                        <a:lnTo>
                          <a:pt x="7" y="300"/>
                        </a:lnTo>
                        <a:lnTo>
                          <a:pt x="8" y="307"/>
                        </a:lnTo>
                        <a:lnTo>
                          <a:pt x="8" y="313"/>
                        </a:lnTo>
                        <a:lnTo>
                          <a:pt x="8" y="316"/>
                        </a:lnTo>
                        <a:lnTo>
                          <a:pt x="7" y="318"/>
                        </a:lnTo>
                        <a:lnTo>
                          <a:pt x="5" y="319"/>
                        </a:lnTo>
                        <a:lnTo>
                          <a:pt x="5" y="322"/>
                        </a:lnTo>
                        <a:lnTo>
                          <a:pt x="5" y="324"/>
                        </a:lnTo>
                        <a:lnTo>
                          <a:pt x="3" y="327"/>
                        </a:lnTo>
                        <a:lnTo>
                          <a:pt x="2" y="327"/>
                        </a:lnTo>
                        <a:lnTo>
                          <a:pt x="2" y="328"/>
                        </a:lnTo>
                        <a:lnTo>
                          <a:pt x="1" y="330"/>
                        </a:lnTo>
                        <a:lnTo>
                          <a:pt x="0" y="334"/>
                        </a:lnTo>
                        <a:lnTo>
                          <a:pt x="0" y="337"/>
                        </a:lnTo>
                        <a:lnTo>
                          <a:pt x="0" y="340"/>
                        </a:lnTo>
                        <a:lnTo>
                          <a:pt x="0" y="343"/>
                        </a:lnTo>
                        <a:lnTo>
                          <a:pt x="1" y="343"/>
                        </a:lnTo>
                        <a:lnTo>
                          <a:pt x="3" y="343"/>
                        </a:lnTo>
                        <a:lnTo>
                          <a:pt x="6" y="345"/>
                        </a:lnTo>
                        <a:lnTo>
                          <a:pt x="7" y="349"/>
                        </a:lnTo>
                        <a:lnTo>
                          <a:pt x="7" y="351"/>
                        </a:lnTo>
                        <a:lnTo>
                          <a:pt x="8" y="352"/>
                        </a:lnTo>
                        <a:lnTo>
                          <a:pt x="12" y="354"/>
                        </a:lnTo>
                        <a:lnTo>
                          <a:pt x="14" y="354"/>
                        </a:lnTo>
                        <a:lnTo>
                          <a:pt x="17" y="356"/>
                        </a:lnTo>
                        <a:lnTo>
                          <a:pt x="19" y="359"/>
                        </a:lnTo>
                        <a:lnTo>
                          <a:pt x="20" y="363"/>
                        </a:lnTo>
                        <a:lnTo>
                          <a:pt x="21" y="365"/>
                        </a:lnTo>
                        <a:lnTo>
                          <a:pt x="22" y="367"/>
                        </a:lnTo>
                        <a:lnTo>
                          <a:pt x="23" y="369"/>
                        </a:lnTo>
                        <a:lnTo>
                          <a:pt x="26" y="368"/>
                        </a:lnTo>
                        <a:lnTo>
                          <a:pt x="29" y="367"/>
                        </a:lnTo>
                        <a:lnTo>
                          <a:pt x="31" y="365"/>
                        </a:lnTo>
                        <a:lnTo>
                          <a:pt x="33" y="366"/>
                        </a:lnTo>
                        <a:lnTo>
                          <a:pt x="35" y="366"/>
                        </a:lnTo>
                        <a:lnTo>
                          <a:pt x="39" y="366"/>
                        </a:lnTo>
                        <a:lnTo>
                          <a:pt x="41" y="369"/>
                        </a:lnTo>
                        <a:lnTo>
                          <a:pt x="40" y="372"/>
                        </a:lnTo>
                        <a:lnTo>
                          <a:pt x="40" y="375"/>
                        </a:lnTo>
                        <a:lnTo>
                          <a:pt x="39" y="375"/>
                        </a:lnTo>
                        <a:lnTo>
                          <a:pt x="40" y="377"/>
                        </a:lnTo>
                        <a:lnTo>
                          <a:pt x="43" y="378"/>
                        </a:lnTo>
                        <a:lnTo>
                          <a:pt x="48" y="378"/>
                        </a:lnTo>
                        <a:lnTo>
                          <a:pt x="49" y="378"/>
                        </a:lnTo>
                        <a:lnTo>
                          <a:pt x="52" y="375"/>
                        </a:lnTo>
                        <a:lnTo>
                          <a:pt x="52" y="372"/>
                        </a:lnTo>
                        <a:lnTo>
                          <a:pt x="53" y="369"/>
                        </a:lnTo>
                        <a:lnTo>
                          <a:pt x="55" y="369"/>
                        </a:lnTo>
                        <a:lnTo>
                          <a:pt x="56" y="369"/>
                        </a:lnTo>
                        <a:lnTo>
                          <a:pt x="58" y="369"/>
                        </a:lnTo>
                        <a:lnTo>
                          <a:pt x="59" y="369"/>
                        </a:lnTo>
                        <a:lnTo>
                          <a:pt x="58" y="372"/>
                        </a:lnTo>
                        <a:lnTo>
                          <a:pt x="59" y="374"/>
                        </a:lnTo>
                        <a:lnTo>
                          <a:pt x="61" y="375"/>
                        </a:lnTo>
                        <a:lnTo>
                          <a:pt x="66" y="378"/>
                        </a:lnTo>
                        <a:lnTo>
                          <a:pt x="72" y="380"/>
                        </a:lnTo>
                        <a:lnTo>
                          <a:pt x="78" y="382"/>
                        </a:lnTo>
                        <a:lnTo>
                          <a:pt x="80" y="381"/>
                        </a:lnTo>
                        <a:lnTo>
                          <a:pt x="81" y="380"/>
                        </a:lnTo>
                        <a:lnTo>
                          <a:pt x="82" y="378"/>
                        </a:lnTo>
                        <a:lnTo>
                          <a:pt x="84" y="378"/>
                        </a:lnTo>
                        <a:lnTo>
                          <a:pt x="89" y="380"/>
                        </a:lnTo>
                        <a:lnTo>
                          <a:pt x="92" y="380"/>
                        </a:lnTo>
                        <a:lnTo>
                          <a:pt x="94" y="382"/>
                        </a:lnTo>
                        <a:lnTo>
                          <a:pt x="96" y="381"/>
                        </a:lnTo>
                        <a:lnTo>
                          <a:pt x="100" y="380"/>
                        </a:lnTo>
                        <a:lnTo>
                          <a:pt x="104" y="380"/>
                        </a:lnTo>
                        <a:lnTo>
                          <a:pt x="107" y="378"/>
                        </a:lnTo>
                        <a:lnTo>
                          <a:pt x="110" y="380"/>
                        </a:lnTo>
                        <a:lnTo>
                          <a:pt x="113" y="380"/>
                        </a:lnTo>
                        <a:lnTo>
                          <a:pt x="117" y="381"/>
                        </a:lnTo>
                        <a:lnTo>
                          <a:pt x="120" y="382"/>
                        </a:lnTo>
                        <a:lnTo>
                          <a:pt x="123" y="378"/>
                        </a:lnTo>
                        <a:lnTo>
                          <a:pt x="126" y="377"/>
                        </a:lnTo>
                        <a:lnTo>
                          <a:pt x="130" y="375"/>
                        </a:lnTo>
                        <a:lnTo>
                          <a:pt x="136" y="375"/>
                        </a:lnTo>
                        <a:lnTo>
                          <a:pt x="137" y="377"/>
                        </a:lnTo>
                        <a:lnTo>
                          <a:pt x="138" y="378"/>
                        </a:lnTo>
                        <a:lnTo>
                          <a:pt x="138" y="381"/>
                        </a:lnTo>
                        <a:lnTo>
                          <a:pt x="139" y="382"/>
                        </a:lnTo>
                        <a:lnTo>
                          <a:pt x="143" y="382"/>
                        </a:lnTo>
                        <a:lnTo>
                          <a:pt x="144" y="384"/>
                        </a:lnTo>
                        <a:lnTo>
                          <a:pt x="145" y="385"/>
                        </a:lnTo>
                        <a:lnTo>
                          <a:pt x="147" y="385"/>
                        </a:lnTo>
                        <a:lnTo>
                          <a:pt x="148" y="385"/>
                        </a:lnTo>
                        <a:lnTo>
                          <a:pt x="150" y="385"/>
                        </a:lnTo>
                        <a:lnTo>
                          <a:pt x="152" y="385"/>
                        </a:lnTo>
                        <a:lnTo>
                          <a:pt x="154" y="386"/>
                        </a:lnTo>
                        <a:lnTo>
                          <a:pt x="155" y="387"/>
                        </a:lnTo>
                        <a:lnTo>
                          <a:pt x="156" y="388"/>
                        </a:lnTo>
                        <a:lnTo>
                          <a:pt x="158" y="389"/>
                        </a:lnTo>
                        <a:lnTo>
                          <a:pt x="161" y="387"/>
                        </a:lnTo>
                        <a:lnTo>
                          <a:pt x="163" y="385"/>
                        </a:lnTo>
                        <a:lnTo>
                          <a:pt x="166" y="384"/>
                        </a:lnTo>
                        <a:lnTo>
                          <a:pt x="168" y="382"/>
                        </a:lnTo>
                        <a:lnTo>
                          <a:pt x="170" y="381"/>
                        </a:lnTo>
                        <a:lnTo>
                          <a:pt x="171" y="380"/>
                        </a:lnTo>
                        <a:lnTo>
                          <a:pt x="173" y="375"/>
                        </a:lnTo>
                        <a:lnTo>
                          <a:pt x="174" y="372"/>
                        </a:lnTo>
                        <a:lnTo>
                          <a:pt x="174" y="369"/>
                        </a:lnTo>
                        <a:lnTo>
                          <a:pt x="179" y="369"/>
                        </a:lnTo>
                        <a:lnTo>
                          <a:pt x="183" y="369"/>
                        </a:lnTo>
                        <a:lnTo>
                          <a:pt x="186" y="368"/>
                        </a:lnTo>
                        <a:lnTo>
                          <a:pt x="191" y="366"/>
                        </a:lnTo>
                        <a:lnTo>
                          <a:pt x="192" y="364"/>
                        </a:lnTo>
                        <a:lnTo>
                          <a:pt x="194" y="363"/>
                        </a:lnTo>
                        <a:lnTo>
                          <a:pt x="197" y="361"/>
                        </a:lnTo>
                        <a:lnTo>
                          <a:pt x="200" y="359"/>
                        </a:lnTo>
                        <a:lnTo>
                          <a:pt x="203" y="357"/>
                        </a:lnTo>
                        <a:lnTo>
                          <a:pt x="206" y="356"/>
                        </a:lnTo>
                        <a:lnTo>
                          <a:pt x="209" y="355"/>
                        </a:lnTo>
                        <a:lnTo>
                          <a:pt x="210" y="354"/>
                        </a:lnTo>
                        <a:lnTo>
                          <a:pt x="210" y="349"/>
                        </a:lnTo>
                        <a:lnTo>
                          <a:pt x="210" y="346"/>
                        </a:lnTo>
                        <a:lnTo>
                          <a:pt x="210" y="345"/>
                        </a:lnTo>
                        <a:lnTo>
                          <a:pt x="210" y="343"/>
                        </a:lnTo>
                        <a:lnTo>
                          <a:pt x="213" y="341"/>
                        </a:lnTo>
                        <a:lnTo>
                          <a:pt x="216" y="339"/>
                        </a:lnTo>
                        <a:lnTo>
                          <a:pt x="220" y="338"/>
                        </a:lnTo>
                        <a:lnTo>
                          <a:pt x="223" y="337"/>
                        </a:lnTo>
                        <a:lnTo>
                          <a:pt x="223" y="334"/>
                        </a:lnTo>
                        <a:lnTo>
                          <a:pt x="224" y="332"/>
                        </a:lnTo>
                        <a:lnTo>
                          <a:pt x="224" y="330"/>
                        </a:lnTo>
                        <a:lnTo>
                          <a:pt x="223" y="327"/>
                        </a:lnTo>
                        <a:lnTo>
                          <a:pt x="233" y="327"/>
                        </a:lnTo>
                        <a:lnTo>
                          <a:pt x="237" y="327"/>
                        </a:lnTo>
                        <a:lnTo>
                          <a:pt x="239" y="327"/>
                        </a:lnTo>
                        <a:lnTo>
                          <a:pt x="241" y="325"/>
                        </a:lnTo>
                        <a:lnTo>
                          <a:pt x="245" y="323"/>
                        </a:lnTo>
                        <a:lnTo>
                          <a:pt x="255" y="323"/>
                        </a:lnTo>
                        <a:lnTo>
                          <a:pt x="257" y="323"/>
                        </a:lnTo>
                        <a:lnTo>
                          <a:pt x="258" y="322"/>
                        </a:lnTo>
                        <a:lnTo>
                          <a:pt x="260" y="321"/>
                        </a:lnTo>
                        <a:lnTo>
                          <a:pt x="262" y="320"/>
                        </a:lnTo>
                        <a:lnTo>
                          <a:pt x="264" y="320"/>
                        </a:lnTo>
                        <a:lnTo>
                          <a:pt x="267" y="320"/>
                        </a:lnTo>
                        <a:lnTo>
                          <a:pt x="270" y="320"/>
                        </a:lnTo>
                        <a:lnTo>
                          <a:pt x="271" y="320"/>
                        </a:lnTo>
                        <a:lnTo>
                          <a:pt x="271" y="322"/>
                        </a:lnTo>
                        <a:lnTo>
                          <a:pt x="273" y="323"/>
                        </a:lnTo>
                        <a:lnTo>
                          <a:pt x="278" y="323"/>
                        </a:lnTo>
                        <a:lnTo>
                          <a:pt x="280" y="325"/>
                        </a:lnTo>
                        <a:lnTo>
                          <a:pt x="283" y="327"/>
                        </a:lnTo>
                        <a:lnTo>
                          <a:pt x="285" y="328"/>
                        </a:lnTo>
                        <a:lnTo>
                          <a:pt x="288" y="330"/>
                        </a:lnTo>
                        <a:lnTo>
                          <a:pt x="290" y="330"/>
                        </a:lnTo>
                        <a:lnTo>
                          <a:pt x="293" y="330"/>
                        </a:lnTo>
                        <a:lnTo>
                          <a:pt x="296" y="330"/>
                        </a:lnTo>
                        <a:lnTo>
                          <a:pt x="297" y="330"/>
                        </a:lnTo>
                        <a:lnTo>
                          <a:pt x="298" y="334"/>
                        </a:lnTo>
                        <a:lnTo>
                          <a:pt x="302" y="335"/>
                        </a:lnTo>
                        <a:lnTo>
                          <a:pt x="307" y="337"/>
                        </a:lnTo>
                        <a:lnTo>
                          <a:pt x="310" y="340"/>
                        </a:lnTo>
                        <a:lnTo>
                          <a:pt x="311" y="340"/>
                        </a:lnTo>
                        <a:lnTo>
                          <a:pt x="312" y="339"/>
                        </a:lnTo>
                        <a:lnTo>
                          <a:pt x="313" y="337"/>
                        </a:lnTo>
                        <a:lnTo>
                          <a:pt x="316" y="337"/>
                        </a:lnTo>
                        <a:lnTo>
                          <a:pt x="319" y="339"/>
                        </a:lnTo>
                        <a:lnTo>
                          <a:pt x="322" y="342"/>
                        </a:lnTo>
                        <a:lnTo>
                          <a:pt x="325" y="343"/>
                        </a:lnTo>
                        <a:lnTo>
                          <a:pt x="326" y="343"/>
                        </a:lnTo>
                        <a:lnTo>
                          <a:pt x="327" y="345"/>
                        </a:lnTo>
                        <a:lnTo>
                          <a:pt x="328" y="348"/>
                        </a:lnTo>
                        <a:lnTo>
                          <a:pt x="328" y="351"/>
                        </a:lnTo>
                        <a:lnTo>
                          <a:pt x="329" y="354"/>
                        </a:lnTo>
                        <a:lnTo>
                          <a:pt x="338" y="354"/>
                        </a:lnTo>
                        <a:lnTo>
                          <a:pt x="341" y="354"/>
                        </a:lnTo>
                        <a:lnTo>
                          <a:pt x="343" y="354"/>
                        </a:lnTo>
                        <a:lnTo>
                          <a:pt x="345" y="352"/>
                        </a:lnTo>
                        <a:lnTo>
                          <a:pt x="345" y="354"/>
                        </a:lnTo>
                        <a:lnTo>
                          <a:pt x="348" y="354"/>
                        </a:lnTo>
                        <a:lnTo>
                          <a:pt x="349" y="356"/>
                        </a:lnTo>
                        <a:lnTo>
                          <a:pt x="350" y="358"/>
                        </a:lnTo>
                        <a:lnTo>
                          <a:pt x="349" y="360"/>
                        </a:lnTo>
                        <a:lnTo>
                          <a:pt x="348" y="364"/>
                        </a:lnTo>
                        <a:lnTo>
                          <a:pt x="348" y="367"/>
                        </a:lnTo>
                        <a:lnTo>
                          <a:pt x="348" y="369"/>
                        </a:lnTo>
                        <a:lnTo>
                          <a:pt x="348" y="372"/>
                        </a:lnTo>
                        <a:lnTo>
                          <a:pt x="348" y="378"/>
                        </a:lnTo>
                        <a:lnTo>
                          <a:pt x="348" y="382"/>
                        </a:lnTo>
                        <a:lnTo>
                          <a:pt x="348" y="385"/>
                        </a:lnTo>
                        <a:lnTo>
                          <a:pt x="350" y="387"/>
                        </a:lnTo>
                        <a:lnTo>
                          <a:pt x="351" y="388"/>
                        </a:lnTo>
                        <a:lnTo>
                          <a:pt x="355" y="389"/>
                        </a:lnTo>
                        <a:lnTo>
                          <a:pt x="357" y="389"/>
                        </a:lnTo>
                        <a:lnTo>
                          <a:pt x="358" y="390"/>
                        </a:lnTo>
                        <a:lnTo>
                          <a:pt x="358" y="392"/>
                        </a:lnTo>
                        <a:lnTo>
                          <a:pt x="359" y="392"/>
                        </a:lnTo>
                        <a:lnTo>
                          <a:pt x="360" y="392"/>
                        </a:lnTo>
                        <a:lnTo>
                          <a:pt x="364" y="392"/>
                        </a:lnTo>
                        <a:lnTo>
                          <a:pt x="371" y="389"/>
                        </a:lnTo>
                        <a:lnTo>
                          <a:pt x="373" y="390"/>
                        </a:lnTo>
                        <a:lnTo>
                          <a:pt x="374" y="391"/>
                        </a:lnTo>
                        <a:lnTo>
                          <a:pt x="374" y="392"/>
                        </a:lnTo>
                        <a:lnTo>
                          <a:pt x="374" y="394"/>
                        </a:lnTo>
                        <a:lnTo>
                          <a:pt x="373" y="395"/>
                        </a:lnTo>
                        <a:lnTo>
                          <a:pt x="371" y="395"/>
                        </a:lnTo>
                        <a:lnTo>
                          <a:pt x="369" y="398"/>
                        </a:lnTo>
                        <a:lnTo>
                          <a:pt x="368" y="400"/>
                        </a:lnTo>
                        <a:lnTo>
                          <a:pt x="368" y="401"/>
                        </a:lnTo>
                        <a:lnTo>
                          <a:pt x="368" y="402"/>
                        </a:lnTo>
                        <a:lnTo>
                          <a:pt x="370" y="404"/>
                        </a:lnTo>
                        <a:lnTo>
                          <a:pt x="372" y="404"/>
                        </a:lnTo>
                        <a:lnTo>
                          <a:pt x="374" y="406"/>
                        </a:lnTo>
                        <a:lnTo>
                          <a:pt x="374" y="408"/>
                        </a:lnTo>
                        <a:lnTo>
                          <a:pt x="373" y="410"/>
                        </a:lnTo>
                        <a:lnTo>
                          <a:pt x="371" y="412"/>
                        </a:lnTo>
                        <a:lnTo>
                          <a:pt x="371" y="414"/>
                        </a:lnTo>
                        <a:lnTo>
                          <a:pt x="375" y="415"/>
                        </a:lnTo>
                        <a:lnTo>
                          <a:pt x="377" y="416"/>
                        </a:lnTo>
                        <a:lnTo>
                          <a:pt x="378" y="418"/>
                        </a:lnTo>
                        <a:lnTo>
                          <a:pt x="379" y="420"/>
                        </a:lnTo>
                        <a:lnTo>
                          <a:pt x="379" y="423"/>
                        </a:lnTo>
                        <a:lnTo>
                          <a:pt x="379" y="425"/>
                        </a:lnTo>
                        <a:lnTo>
                          <a:pt x="381" y="428"/>
                        </a:lnTo>
                        <a:lnTo>
                          <a:pt x="382" y="429"/>
                        </a:lnTo>
                        <a:lnTo>
                          <a:pt x="383" y="430"/>
                        </a:lnTo>
                        <a:lnTo>
                          <a:pt x="384" y="431"/>
                        </a:lnTo>
                        <a:lnTo>
                          <a:pt x="387" y="433"/>
                        </a:lnTo>
                        <a:lnTo>
                          <a:pt x="387" y="444"/>
                        </a:lnTo>
                        <a:lnTo>
                          <a:pt x="389" y="446"/>
                        </a:lnTo>
                        <a:lnTo>
                          <a:pt x="391" y="447"/>
                        </a:lnTo>
                        <a:lnTo>
                          <a:pt x="393" y="448"/>
                        </a:lnTo>
                        <a:lnTo>
                          <a:pt x="393" y="450"/>
                        </a:lnTo>
                        <a:lnTo>
                          <a:pt x="398" y="452"/>
                        </a:lnTo>
                        <a:lnTo>
                          <a:pt x="402" y="454"/>
                        </a:lnTo>
                        <a:lnTo>
                          <a:pt x="404" y="457"/>
                        </a:lnTo>
                        <a:lnTo>
                          <a:pt x="403" y="459"/>
                        </a:lnTo>
                        <a:lnTo>
                          <a:pt x="401" y="461"/>
                        </a:lnTo>
                        <a:lnTo>
                          <a:pt x="398" y="461"/>
                        </a:lnTo>
                        <a:lnTo>
                          <a:pt x="396" y="460"/>
                        </a:lnTo>
                        <a:lnTo>
                          <a:pt x="393" y="459"/>
                        </a:lnTo>
                        <a:lnTo>
                          <a:pt x="391" y="459"/>
                        </a:lnTo>
                        <a:lnTo>
                          <a:pt x="390" y="460"/>
                        </a:lnTo>
                        <a:lnTo>
                          <a:pt x="389" y="461"/>
                        </a:lnTo>
                        <a:lnTo>
                          <a:pt x="387" y="463"/>
                        </a:lnTo>
                        <a:lnTo>
                          <a:pt x="385" y="463"/>
                        </a:lnTo>
                        <a:lnTo>
                          <a:pt x="384" y="464"/>
                        </a:lnTo>
                        <a:lnTo>
                          <a:pt x="383" y="465"/>
                        </a:lnTo>
                        <a:lnTo>
                          <a:pt x="381" y="466"/>
                        </a:lnTo>
                        <a:lnTo>
                          <a:pt x="379" y="464"/>
                        </a:lnTo>
                        <a:lnTo>
                          <a:pt x="379" y="461"/>
                        </a:lnTo>
                        <a:lnTo>
                          <a:pt x="379" y="460"/>
                        </a:lnTo>
                        <a:lnTo>
                          <a:pt x="378" y="459"/>
                        </a:lnTo>
                        <a:lnTo>
                          <a:pt x="377" y="460"/>
                        </a:lnTo>
                        <a:lnTo>
                          <a:pt x="376" y="461"/>
                        </a:lnTo>
                        <a:lnTo>
                          <a:pt x="374" y="463"/>
                        </a:lnTo>
                        <a:lnTo>
                          <a:pt x="372" y="463"/>
                        </a:lnTo>
                        <a:lnTo>
                          <a:pt x="371" y="462"/>
                        </a:lnTo>
                        <a:lnTo>
                          <a:pt x="370" y="461"/>
                        </a:lnTo>
                        <a:lnTo>
                          <a:pt x="368" y="459"/>
                        </a:lnTo>
                        <a:lnTo>
                          <a:pt x="366" y="459"/>
                        </a:lnTo>
                        <a:lnTo>
                          <a:pt x="365" y="458"/>
                        </a:lnTo>
                        <a:lnTo>
                          <a:pt x="364" y="456"/>
                        </a:lnTo>
                        <a:lnTo>
                          <a:pt x="362" y="456"/>
                        </a:lnTo>
                        <a:lnTo>
                          <a:pt x="361" y="458"/>
                        </a:lnTo>
                        <a:lnTo>
                          <a:pt x="361" y="459"/>
                        </a:lnTo>
                        <a:lnTo>
                          <a:pt x="360" y="460"/>
                        </a:lnTo>
                        <a:lnTo>
                          <a:pt x="358" y="459"/>
                        </a:lnTo>
                        <a:lnTo>
                          <a:pt x="357" y="457"/>
                        </a:lnTo>
                        <a:lnTo>
                          <a:pt x="355" y="456"/>
                        </a:lnTo>
                        <a:lnTo>
                          <a:pt x="353" y="458"/>
                        </a:lnTo>
                        <a:lnTo>
                          <a:pt x="352" y="459"/>
                        </a:lnTo>
                        <a:lnTo>
                          <a:pt x="352" y="461"/>
                        </a:lnTo>
                        <a:lnTo>
                          <a:pt x="352" y="463"/>
                        </a:lnTo>
                        <a:lnTo>
                          <a:pt x="350" y="465"/>
                        </a:lnTo>
                        <a:lnTo>
                          <a:pt x="351" y="466"/>
                        </a:lnTo>
                        <a:lnTo>
                          <a:pt x="351" y="467"/>
                        </a:lnTo>
                        <a:lnTo>
                          <a:pt x="352" y="469"/>
                        </a:lnTo>
                        <a:lnTo>
                          <a:pt x="351" y="474"/>
                        </a:lnTo>
                        <a:lnTo>
                          <a:pt x="350" y="476"/>
                        </a:lnTo>
                        <a:lnTo>
                          <a:pt x="348" y="478"/>
                        </a:lnTo>
                        <a:lnTo>
                          <a:pt x="348" y="480"/>
                        </a:lnTo>
                        <a:lnTo>
                          <a:pt x="346" y="481"/>
                        </a:lnTo>
                        <a:lnTo>
                          <a:pt x="342" y="482"/>
                        </a:lnTo>
                        <a:lnTo>
                          <a:pt x="341" y="484"/>
                        </a:lnTo>
                        <a:lnTo>
                          <a:pt x="340" y="485"/>
                        </a:lnTo>
                        <a:lnTo>
                          <a:pt x="337" y="486"/>
                        </a:lnTo>
                        <a:lnTo>
                          <a:pt x="336" y="488"/>
                        </a:lnTo>
                        <a:lnTo>
                          <a:pt x="336" y="489"/>
                        </a:lnTo>
                        <a:lnTo>
                          <a:pt x="337" y="489"/>
                        </a:lnTo>
                        <a:lnTo>
                          <a:pt x="338" y="490"/>
                        </a:lnTo>
                        <a:lnTo>
                          <a:pt x="338" y="492"/>
                        </a:lnTo>
                        <a:lnTo>
                          <a:pt x="337" y="494"/>
                        </a:lnTo>
                        <a:lnTo>
                          <a:pt x="336" y="495"/>
                        </a:lnTo>
                        <a:lnTo>
                          <a:pt x="334" y="497"/>
                        </a:lnTo>
                        <a:lnTo>
                          <a:pt x="333" y="498"/>
                        </a:lnTo>
                        <a:lnTo>
                          <a:pt x="331" y="500"/>
                        </a:lnTo>
                        <a:lnTo>
                          <a:pt x="331" y="501"/>
                        </a:lnTo>
                        <a:lnTo>
                          <a:pt x="332" y="502"/>
                        </a:lnTo>
                        <a:lnTo>
                          <a:pt x="333" y="504"/>
                        </a:lnTo>
                        <a:lnTo>
                          <a:pt x="331" y="507"/>
                        </a:lnTo>
                        <a:lnTo>
                          <a:pt x="330" y="509"/>
                        </a:lnTo>
                        <a:lnTo>
                          <a:pt x="329" y="514"/>
                        </a:lnTo>
                        <a:lnTo>
                          <a:pt x="328" y="520"/>
                        </a:lnTo>
                        <a:lnTo>
                          <a:pt x="330" y="526"/>
                        </a:lnTo>
                        <a:lnTo>
                          <a:pt x="332" y="531"/>
                        </a:lnTo>
                        <a:lnTo>
                          <a:pt x="332" y="533"/>
                        </a:lnTo>
                        <a:lnTo>
                          <a:pt x="333" y="533"/>
                        </a:lnTo>
                        <a:lnTo>
                          <a:pt x="330" y="533"/>
                        </a:lnTo>
                        <a:lnTo>
                          <a:pt x="328" y="532"/>
                        </a:lnTo>
                        <a:lnTo>
                          <a:pt x="325" y="532"/>
                        </a:lnTo>
                        <a:lnTo>
                          <a:pt x="323" y="533"/>
                        </a:lnTo>
                        <a:lnTo>
                          <a:pt x="320" y="534"/>
                        </a:lnTo>
                        <a:lnTo>
                          <a:pt x="318" y="535"/>
                        </a:lnTo>
                        <a:lnTo>
                          <a:pt x="315" y="536"/>
                        </a:lnTo>
                        <a:lnTo>
                          <a:pt x="312" y="537"/>
                        </a:lnTo>
                        <a:lnTo>
                          <a:pt x="314" y="539"/>
                        </a:lnTo>
                        <a:lnTo>
                          <a:pt x="316" y="542"/>
                        </a:lnTo>
                        <a:lnTo>
                          <a:pt x="317" y="544"/>
                        </a:lnTo>
                        <a:lnTo>
                          <a:pt x="319" y="547"/>
                        </a:lnTo>
                        <a:lnTo>
                          <a:pt x="321" y="547"/>
                        </a:lnTo>
                        <a:lnTo>
                          <a:pt x="323" y="548"/>
                        </a:lnTo>
                        <a:lnTo>
                          <a:pt x="324" y="550"/>
                        </a:lnTo>
                        <a:lnTo>
                          <a:pt x="326" y="552"/>
                        </a:lnTo>
                        <a:lnTo>
                          <a:pt x="336" y="552"/>
                        </a:lnTo>
                        <a:lnTo>
                          <a:pt x="338" y="553"/>
                        </a:lnTo>
                        <a:lnTo>
                          <a:pt x="342" y="555"/>
                        </a:lnTo>
                        <a:lnTo>
                          <a:pt x="345" y="555"/>
                        </a:lnTo>
                        <a:lnTo>
                          <a:pt x="347" y="554"/>
                        </a:lnTo>
                        <a:lnTo>
                          <a:pt x="348" y="552"/>
                        </a:lnTo>
                        <a:lnTo>
                          <a:pt x="347" y="551"/>
                        </a:lnTo>
                        <a:lnTo>
                          <a:pt x="347" y="550"/>
                        </a:lnTo>
                        <a:lnTo>
                          <a:pt x="348" y="549"/>
                        </a:lnTo>
                        <a:lnTo>
                          <a:pt x="349" y="548"/>
                        </a:lnTo>
                        <a:lnTo>
                          <a:pt x="351" y="550"/>
                        </a:lnTo>
                        <a:lnTo>
                          <a:pt x="353" y="551"/>
                        </a:lnTo>
                        <a:lnTo>
                          <a:pt x="355" y="552"/>
                        </a:lnTo>
                        <a:lnTo>
                          <a:pt x="355" y="550"/>
                        </a:lnTo>
                        <a:lnTo>
                          <a:pt x="355" y="549"/>
                        </a:lnTo>
                        <a:lnTo>
                          <a:pt x="355" y="548"/>
                        </a:lnTo>
                        <a:lnTo>
                          <a:pt x="355" y="547"/>
                        </a:lnTo>
                        <a:lnTo>
                          <a:pt x="360" y="542"/>
                        </a:lnTo>
                        <a:lnTo>
                          <a:pt x="362" y="541"/>
                        </a:lnTo>
                        <a:lnTo>
                          <a:pt x="364" y="540"/>
                        </a:lnTo>
                        <a:lnTo>
                          <a:pt x="367" y="539"/>
                        </a:lnTo>
                        <a:lnTo>
                          <a:pt x="369" y="539"/>
                        </a:lnTo>
                        <a:lnTo>
                          <a:pt x="372" y="540"/>
                        </a:lnTo>
                        <a:lnTo>
                          <a:pt x="374" y="540"/>
                        </a:lnTo>
                        <a:lnTo>
                          <a:pt x="384" y="540"/>
                        </a:lnTo>
                        <a:lnTo>
                          <a:pt x="388" y="542"/>
                        </a:lnTo>
                        <a:lnTo>
                          <a:pt x="391" y="543"/>
                        </a:lnTo>
                        <a:lnTo>
                          <a:pt x="394" y="545"/>
                        </a:lnTo>
                        <a:lnTo>
                          <a:pt x="397" y="547"/>
                        </a:lnTo>
                        <a:lnTo>
                          <a:pt x="397" y="546"/>
                        </a:lnTo>
                        <a:lnTo>
                          <a:pt x="397" y="544"/>
                        </a:lnTo>
                        <a:lnTo>
                          <a:pt x="397" y="540"/>
                        </a:lnTo>
                        <a:lnTo>
                          <a:pt x="396" y="538"/>
                        </a:lnTo>
                        <a:lnTo>
                          <a:pt x="394" y="536"/>
                        </a:lnTo>
                        <a:lnTo>
                          <a:pt x="392" y="534"/>
                        </a:lnTo>
                        <a:lnTo>
                          <a:pt x="393" y="530"/>
                        </a:lnTo>
                        <a:lnTo>
                          <a:pt x="394" y="528"/>
                        </a:lnTo>
                        <a:lnTo>
                          <a:pt x="395" y="527"/>
                        </a:lnTo>
                        <a:lnTo>
                          <a:pt x="398" y="525"/>
                        </a:lnTo>
                        <a:lnTo>
                          <a:pt x="400" y="524"/>
                        </a:lnTo>
                        <a:lnTo>
                          <a:pt x="401" y="519"/>
                        </a:lnTo>
                        <a:lnTo>
                          <a:pt x="402" y="517"/>
                        </a:lnTo>
                        <a:lnTo>
                          <a:pt x="403" y="514"/>
                        </a:lnTo>
                        <a:lnTo>
                          <a:pt x="405" y="514"/>
                        </a:lnTo>
                        <a:lnTo>
                          <a:pt x="407" y="512"/>
                        </a:lnTo>
                        <a:lnTo>
                          <a:pt x="408" y="510"/>
                        </a:lnTo>
                        <a:lnTo>
                          <a:pt x="409" y="508"/>
                        </a:lnTo>
                        <a:lnTo>
                          <a:pt x="411" y="506"/>
                        </a:lnTo>
                        <a:lnTo>
                          <a:pt x="413" y="503"/>
                        </a:lnTo>
                        <a:lnTo>
                          <a:pt x="419" y="496"/>
                        </a:lnTo>
                        <a:lnTo>
                          <a:pt x="424" y="487"/>
                        </a:lnTo>
                        <a:lnTo>
                          <a:pt x="425" y="482"/>
                        </a:lnTo>
                        <a:lnTo>
                          <a:pt x="426" y="478"/>
                        </a:lnTo>
                        <a:lnTo>
                          <a:pt x="422" y="475"/>
                        </a:lnTo>
                        <a:lnTo>
                          <a:pt x="416" y="471"/>
                        </a:lnTo>
                        <a:lnTo>
                          <a:pt x="411" y="469"/>
                        </a:lnTo>
                        <a:lnTo>
                          <a:pt x="410" y="467"/>
                        </a:lnTo>
                        <a:lnTo>
                          <a:pt x="409" y="466"/>
                        </a:lnTo>
                        <a:lnTo>
                          <a:pt x="409" y="465"/>
                        </a:lnTo>
                        <a:lnTo>
                          <a:pt x="409" y="464"/>
                        </a:lnTo>
                        <a:lnTo>
                          <a:pt x="409" y="459"/>
                        </a:lnTo>
                        <a:lnTo>
                          <a:pt x="410" y="459"/>
                        </a:lnTo>
                        <a:lnTo>
                          <a:pt x="411" y="459"/>
                        </a:lnTo>
                        <a:lnTo>
                          <a:pt x="412" y="459"/>
                        </a:lnTo>
                        <a:lnTo>
                          <a:pt x="412" y="461"/>
                        </a:lnTo>
                        <a:lnTo>
                          <a:pt x="412" y="463"/>
                        </a:lnTo>
                        <a:lnTo>
                          <a:pt x="412" y="464"/>
                        </a:lnTo>
                        <a:lnTo>
                          <a:pt x="412" y="466"/>
                        </a:lnTo>
                        <a:lnTo>
                          <a:pt x="415" y="467"/>
                        </a:lnTo>
                        <a:lnTo>
                          <a:pt x="418" y="468"/>
                        </a:lnTo>
                        <a:lnTo>
                          <a:pt x="423" y="473"/>
                        </a:lnTo>
                        <a:lnTo>
                          <a:pt x="426" y="473"/>
                        </a:lnTo>
                        <a:lnTo>
                          <a:pt x="427" y="473"/>
                        </a:lnTo>
                        <a:lnTo>
                          <a:pt x="429" y="473"/>
                        </a:lnTo>
                        <a:lnTo>
                          <a:pt x="432" y="469"/>
                        </a:lnTo>
                        <a:lnTo>
                          <a:pt x="435" y="464"/>
                        </a:lnTo>
                        <a:lnTo>
                          <a:pt x="437" y="458"/>
                        </a:lnTo>
                        <a:lnTo>
                          <a:pt x="438" y="453"/>
                        </a:lnTo>
                        <a:lnTo>
                          <a:pt x="440" y="451"/>
                        </a:lnTo>
                        <a:lnTo>
                          <a:pt x="440" y="449"/>
                        </a:lnTo>
                        <a:lnTo>
                          <a:pt x="440" y="446"/>
                        </a:lnTo>
                        <a:lnTo>
                          <a:pt x="442" y="444"/>
                        </a:lnTo>
                        <a:lnTo>
                          <a:pt x="443" y="440"/>
                        </a:lnTo>
                        <a:lnTo>
                          <a:pt x="446" y="439"/>
                        </a:lnTo>
                        <a:lnTo>
                          <a:pt x="450" y="438"/>
                        </a:lnTo>
                        <a:lnTo>
                          <a:pt x="455" y="437"/>
                        </a:lnTo>
                        <a:lnTo>
                          <a:pt x="457" y="436"/>
                        </a:lnTo>
                        <a:lnTo>
                          <a:pt x="459" y="435"/>
                        </a:lnTo>
                        <a:lnTo>
                          <a:pt x="462" y="434"/>
                        </a:lnTo>
                        <a:lnTo>
                          <a:pt x="464" y="433"/>
                        </a:lnTo>
                        <a:lnTo>
                          <a:pt x="465" y="433"/>
                        </a:lnTo>
                        <a:lnTo>
                          <a:pt x="466" y="433"/>
                        </a:lnTo>
                        <a:lnTo>
                          <a:pt x="467" y="433"/>
                        </a:lnTo>
                        <a:lnTo>
                          <a:pt x="468" y="433"/>
                        </a:lnTo>
                        <a:lnTo>
                          <a:pt x="469" y="431"/>
                        </a:lnTo>
                        <a:lnTo>
                          <a:pt x="469" y="428"/>
                        </a:lnTo>
                        <a:lnTo>
                          <a:pt x="469" y="427"/>
                        </a:lnTo>
                        <a:lnTo>
                          <a:pt x="471" y="424"/>
                        </a:lnTo>
                        <a:lnTo>
                          <a:pt x="473" y="421"/>
                        </a:lnTo>
                        <a:lnTo>
                          <a:pt x="476" y="418"/>
                        </a:lnTo>
                        <a:lnTo>
                          <a:pt x="477" y="414"/>
                        </a:lnTo>
                        <a:lnTo>
                          <a:pt x="478" y="411"/>
                        </a:lnTo>
                        <a:lnTo>
                          <a:pt x="477" y="416"/>
                        </a:lnTo>
                        <a:lnTo>
                          <a:pt x="476" y="419"/>
                        </a:lnTo>
                        <a:lnTo>
                          <a:pt x="474" y="421"/>
                        </a:lnTo>
                        <a:lnTo>
                          <a:pt x="474" y="430"/>
                        </a:lnTo>
                        <a:lnTo>
                          <a:pt x="471" y="430"/>
                        </a:lnTo>
                        <a:lnTo>
                          <a:pt x="474" y="433"/>
                        </a:lnTo>
                        <a:lnTo>
                          <a:pt x="478" y="433"/>
                        </a:lnTo>
                        <a:lnTo>
                          <a:pt x="482" y="432"/>
                        </a:lnTo>
                        <a:lnTo>
                          <a:pt x="487" y="431"/>
                        </a:lnTo>
                        <a:lnTo>
                          <a:pt x="490" y="430"/>
                        </a:lnTo>
                        <a:lnTo>
                          <a:pt x="490" y="428"/>
                        </a:lnTo>
                        <a:lnTo>
                          <a:pt x="490" y="426"/>
                        </a:lnTo>
                        <a:lnTo>
                          <a:pt x="490" y="424"/>
                        </a:lnTo>
                        <a:lnTo>
                          <a:pt x="487" y="424"/>
                        </a:lnTo>
                        <a:lnTo>
                          <a:pt x="487" y="419"/>
                        </a:lnTo>
                        <a:lnTo>
                          <a:pt x="488" y="413"/>
                        </a:lnTo>
                        <a:lnTo>
                          <a:pt x="488" y="408"/>
                        </a:lnTo>
                        <a:lnTo>
                          <a:pt x="487" y="404"/>
                        </a:lnTo>
                        <a:lnTo>
                          <a:pt x="490" y="402"/>
                        </a:lnTo>
                        <a:lnTo>
                          <a:pt x="490" y="404"/>
                        </a:lnTo>
                        <a:lnTo>
                          <a:pt x="491" y="404"/>
                        </a:lnTo>
                        <a:lnTo>
                          <a:pt x="492" y="404"/>
                        </a:lnTo>
                        <a:lnTo>
                          <a:pt x="493" y="404"/>
                        </a:lnTo>
                        <a:lnTo>
                          <a:pt x="493" y="407"/>
                        </a:lnTo>
                        <a:lnTo>
                          <a:pt x="493" y="411"/>
                        </a:lnTo>
                        <a:lnTo>
                          <a:pt x="493" y="421"/>
                        </a:lnTo>
                        <a:lnTo>
                          <a:pt x="494" y="422"/>
                        </a:lnTo>
                        <a:lnTo>
                          <a:pt x="495" y="423"/>
                        </a:lnTo>
                        <a:lnTo>
                          <a:pt x="496" y="424"/>
                        </a:lnTo>
                        <a:lnTo>
                          <a:pt x="497" y="424"/>
                        </a:lnTo>
                        <a:lnTo>
                          <a:pt x="496" y="426"/>
                        </a:lnTo>
                        <a:lnTo>
                          <a:pt x="495" y="427"/>
                        </a:lnTo>
                        <a:lnTo>
                          <a:pt x="494" y="428"/>
                        </a:lnTo>
                        <a:lnTo>
                          <a:pt x="493" y="428"/>
                        </a:lnTo>
                        <a:lnTo>
                          <a:pt x="496" y="428"/>
                        </a:lnTo>
                        <a:lnTo>
                          <a:pt x="498" y="428"/>
                        </a:lnTo>
                        <a:lnTo>
                          <a:pt x="501" y="430"/>
                        </a:lnTo>
                        <a:lnTo>
                          <a:pt x="503" y="430"/>
                        </a:lnTo>
                        <a:lnTo>
                          <a:pt x="504" y="432"/>
                        </a:lnTo>
                        <a:lnTo>
                          <a:pt x="504" y="431"/>
                        </a:lnTo>
                        <a:lnTo>
                          <a:pt x="505" y="431"/>
                        </a:lnTo>
                        <a:lnTo>
                          <a:pt x="506" y="430"/>
                        </a:lnTo>
                        <a:lnTo>
                          <a:pt x="506" y="431"/>
                        </a:lnTo>
                        <a:lnTo>
                          <a:pt x="508" y="432"/>
                        </a:lnTo>
                        <a:lnTo>
                          <a:pt x="510" y="433"/>
                        </a:lnTo>
                        <a:lnTo>
                          <a:pt x="513" y="433"/>
                        </a:lnTo>
                        <a:lnTo>
                          <a:pt x="515" y="433"/>
                        </a:lnTo>
                        <a:lnTo>
                          <a:pt x="517" y="432"/>
                        </a:lnTo>
                        <a:lnTo>
                          <a:pt x="519" y="430"/>
                        </a:lnTo>
                        <a:lnTo>
                          <a:pt x="515" y="435"/>
                        </a:lnTo>
                        <a:lnTo>
                          <a:pt x="513" y="436"/>
                        </a:lnTo>
                        <a:lnTo>
                          <a:pt x="513" y="437"/>
                        </a:lnTo>
                        <a:lnTo>
                          <a:pt x="474" y="437"/>
                        </a:lnTo>
                        <a:lnTo>
                          <a:pt x="475" y="437"/>
                        </a:lnTo>
                        <a:lnTo>
                          <a:pt x="476" y="439"/>
                        </a:lnTo>
                        <a:lnTo>
                          <a:pt x="477" y="441"/>
                        </a:lnTo>
                        <a:lnTo>
                          <a:pt x="478" y="444"/>
                        </a:lnTo>
                        <a:lnTo>
                          <a:pt x="479" y="444"/>
                        </a:lnTo>
                        <a:lnTo>
                          <a:pt x="480" y="444"/>
                        </a:lnTo>
                        <a:lnTo>
                          <a:pt x="481" y="444"/>
                        </a:lnTo>
                        <a:lnTo>
                          <a:pt x="480" y="444"/>
                        </a:lnTo>
                        <a:lnTo>
                          <a:pt x="482" y="443"/>
                        </a:lnTo>
                        <a:lnTo>
                          <a:pt x="483" y="442"/>
                        </a:lnTo>
                        <a:lnTo>
                          <a:pt x="485" y="441"/>
                        </a:lnTo>
                        <a:lnTo>
                          <a:pt x="487" y="440"/>
                        </a:lnTo>
                        <a:lnTo>
                          <a:pt x="489" y="441"/>
                        </a:lnTo>
                        <a:lnTo>
                          <a:pt x="491" y="442"/>
                        </a:lnTo>
                        <a:lnTo>
                          <a:pt x="493" y="443"/>
                        </a:lnTo>
                        <a:lnTo>
                          <a:pt x="493" y="444"/>
                        </a:lnTo>
                        <a:lnTo>
                          <a:pt x="503" y="444"/>
                        </a:lnTo>
                        <a:lnTo>
                          <a:pt x="503" y="447"/>
                        </a:lnTo>
                        <a:lnTo>
                          <a:pt x="502" y="447"/>
                        </a:lnTo>
                        <a:lnTo>
                          <a:pt x="500" y="447"/>
                        </a:lnTo>
                        <a:lnTo>
                          <a:pt x="500" y="449"/>
                        </a:lnTo>
                        <a:lnTo>
                          <a:pt x="500" y="450"/>
                        </a:lnTo>
                        <a:lnTo>
                          <a:pt x="498" y="450"/>
                        </a:lnTo>
                        <a:lnTo>
                          <a:pt x="497" y="450"/>
                        </a:lnTo>
                        <a:lnTo>
                          <a:pt x="496" y="451"/>
                        </a:lnTo>
                        <a:lnTo>
                          <a:pt x="495" y="452"/>
                        </a:lnTo>
                        <a:lnTo>
                          <a:pt x="494" y="452"/>
                        </a:lnTo>
                        <a:lnTo>
                          <a:pt x="493" y="453"/>
                        </a:lnTo>
                        <a:lnTo>
                          <a:pt x="492" y="453"/>
                        </a:lnTo>
                        <a:lnTo>
                          <a:pt x="491" y="453"/>
                        </a:lnTo>
                        <a:lnTo>
                          <a:pt x="490" y="453"/>
                        </a:lnTo>
                        <a:lnTo>
                          <a:pt x="491" y="454"/>
                        </a:lnTo>
                        <a:lnTo>
                          <a:pt x="492" y="455"/>
                        </a:lnTo>
                        <a:lnTo>
                          <a:pt x="493" y="456"/>
                        </a:lnTo>
                        <a:lnTo>
                          <a:pt x="496" y="455"/>
                        </a:lnTo>
                        <a:lnTo>
                          <a:pt x="499" y="454"/>
                        </a:lnTo>
                        <a:lnTo>
                          <a:pt x="502" y="453"/>
                        </a:lnTo>
                        <a:lnTo>
                          <a:pt x="506" y="453"/>
                        </a:lnTo>
                        <a:lnTo>
                          <a:pt x="507" y="455"/>
                        </a:lnTo>
                        <a:lnTo>
                          <a:pt x="510" y="456"/>
                        </a:lnTo>
                        <a:lnTo>
                          <a:pt x="513" y="456"/>
                        </a:lnTo>
                        <a:lnTo>
                          <a:pt x="516" y="456"/>
                        </a:lnTo>
                        <a:lnTo>
                          <a:pt x="516" y="458"/>
                        </a:lnTo>
                        <a:lnTo>
                          <a:pt x="516" y="459"/>
                        </a:lnTo>
                        <a:lnTo>
                          <a:pt x="516" y="461"/>
                        </a:lnTo>
                        <a:lnTo>
                          <a:pt x="516" y="463"/>
                        </a:lnTo>
                        <a:lnTo>
                          <a:pt x="526" y="465"/>
                        </a:lnTo>
                        <a:lnTo>
                          <a:pt x="535" y="466"/>
                        </a:lnTo>
                        <a:lnTo>
                          <a:pt x="554" y="466"/>
                        </a:lnTo>
                        <a:lnTo>
                          <a:pt x="545" y="466"/>
                        </a:lnTo>
                        <a:lnTo>
                          <a:pt x="543" y="465"/>
                        </a:lnTo>
                        <a:lnTo>
                          <a:pt x="542" y="465"/>
                        </a:lnTo>
                        <a:lnTo>
                          <a:pt x="540" y="465"/>
                        </a:lnTo>
                        <a:lnTo>
                          <a:pt x="538" y="466"/>
                        </a:lnTo>
                        <a:lnTo>
                          <a:pt x="538" y="463"/>
                        </a:lnTo>
                        <a:lnTo>
                          <a:pt x="538" y="462"/>
                        </a:lnTo>
                        <a:lnTo>
                          <a:pt x="538" y="461"/>
                        </a:lnTo>
                        <a:lnTo>
                          <a:pt x="538" y="460"/>
                        </a:lnTo>
                        <a:lnTo>
                          <a:pt x="538" y="459"/>
                        </a:lnTo>
                        <a:lnTo>
                          <a:pt x="543" y="457"/>
                        </a:lnTo>
                        <a:lnTo>
                          <a:pt x="548" y="456"/>
                        </a:lnTo>
                        <a:lnTo>
                          <a:pt x="557" y="456"/>
                        </a:lnTo>
                        <a:lnTo>
                          <a:pt x="559" y="455"/>
                        </a:lnTo>
                        <a:lnTo>
                          <a:pt x="561" y="454"/>
                        </a:lnTo>
                        <a:lnTo>
                          <a:pt x="562" y="452"/>
                        </a:lnTo>
                        <a:lnTo>
                          <a:pt x="564" y="450"/>
                        </a:lnTo>
                        <a:lnTo>
                          <a:pt x="565" y="452"/>
                        </a:lnTo>
                        <a:lnTo>
                          <a:pt x="566" y="454"/>
                        </a:lnTo>
                        <a:lnTo>
                          <a:pt x="568" y="455"/>
                        </a:lnTo>
                        <a:lnTo>
                          <a:pt x="571" y="456"/>
                        </a:lnTo>
                        <a:lnTo>
                          <a:pt x="580" y="456"/>
                        </a:lnTo>
                        <a:lnTo>
                          <a:pt x="580" y="455"/>
                        </a:lnTo>
                        <a:lnTo>
                          <a:pt x="580" y="454"/>
                        </a:lnTo>
                        <a:lnTo>
                          <a:pt x="581" y="453"/>
                        </a:lnTo>
                        <a:lnTo>
                          <a:pt x="583" y="453"/>
                        </a:lnTo>
                        <a:lnTo>
                          <a:pt x="584" y="453"/>
                        </a:lnTo>
                        <a:lnTo>
                          <a:pt x="585" y="453"/>
                        </a:lnTo>
                        <a:lnTo>
                          <a:pt x="587" y="453"/>
                        </a:lnTo>
                        <a:lnTo>
                          <a:pt x="586" y="453"/>
                        </a:lnTo>
                        <a:lnTo>
                          <a:pt x="585" y="453"/>
                        </a:lnTo>
                        <a:lnTo>
                          <a:pt x="584" y="453"/>
                        </a:lnTo>
                        <a:lnTo>
                          <a:pt x="583" y="453"/>
                        </a:lnTo>
                        <a:lnTo>
                          <a:pt x="585" y="455"/>
                        </a:lnTo>
                        <a:lnTo>
                          <a:pt x="586" y="456"/>
                        </a:lnTo>
                        <a:lnTo>
                          <a:pt x="587" y="456"/>
                        </a:lnTo>
                        <a:lnTo>
                          <a:pt x="587" y="466"/>
                        </a:lnTo>
                        <a:lnTo>
                          <a:pt x="588" y="466"/>
                        </a:lnTo>
                        <a:lnTo>
                          <a:pt x="590" y="466"/>
                        </a:lnTo>
                        <a:lnTo>
                          <a:pt x="591" y="466"/>
                        </a:lnTo>
                        <a:lnTo>
                          <a:pt x="592" y="466"/>
                        </a:lnTo>
                        <a:lnTo>
                          <a:pt x="593" y="466"/>
                        </a:lnTo>
                        <a:lnTo>
                          <a:pt x="593" y="468"/>
                        </a:lnTo>
                        <a:lnTo>
                          <a:pt x="593" y="469"/>
                        </a:lnTo>
                        <a:lnTo>
                          <a:pt x="593" y="471"/>
                        </a:lnTo>
                        <a:lnTo>
                          <a:pt x="593" y="472"/>
                        </a:lnTo>
                        <a:lnTo>
                          <a:pt x="593" y="473"/>
                        </a:lnTo>
                        <a:lnTo>
                          <a:pt x="591" y="474"/>
                        </a:lnTo>
                        <a:lnTo>
                          <a:pt x="590" y="474"/>
                        </a:lnTo>
                        <a:lnTo>
                          <a:pt x="589" y="473"/>
                        </a:lnTo>
                        <a:lnTo>
                          <a:pt x="587" y="473"/>
                        </a:lnTo>
                        <a:lnTo>
                          <a:pt x="585" y="474"/>
                        </a:lnTo>
                        <a:lnTo>
                          <a:pt x="581" y="477"/>
                        </a:lnTo>
                        <a:lnTo>
                          <a:pt x="577" y="482"/>
                        </a:lnTo>
                        <a:lnTo>
                          <a:pt x="574" y="485"/>
                        </a:lnTo>
                        <a:lnTo>
                          <a:pt x="564" y="485"/>
                        </a:lnTo>
                        <a:lnTo>
                          <a:pt x="564" y="486"/>
                        </a:lnTo>
                        <a:lnTo>
                          <a:pt x="564" y="487"/>
                        </a:lnTo>
                        <a:lnTo>
                          <a:pt x="564" y="492"/>
                        </a:lnTo>
                        <a:lnTo>
                          <a:pt x="562" y="492"/>
                        </a:lnTo>
                        <a:lnTo>
                          <a:pt x="560" y="494"/>
                        </a:lnTo>
                        <a:lnTo>
                          <a:pt x="558" y="496"/>
                        </a:lnTo>
                        <a:lnTo>
                          <a:pt x="557" y="498"/>
                        </a:lnTo>
                        <a:lnTo>
                          <a:pt x="557" y="499"/>
                        </a:lnTo>
                        <a:lnTo>
                          <a:pt x="556" y="500"/>
                        </a:lnTo>
                        <a:lnTo>
                          <a:pt x="555" y="500"/>
                        </a:lnTo>
                        <a:lnTo>
                          <a:pt x="554" y="501"/>
                        </a:lnTo>
                        <a:lnTo>
                          <a:pt x="553" y="501"/>
                        </a:lnTo>
                        <a:lnTo>
                          <a:pt x="553" y="503"/>
                        </a:lnTo>
                        <a:lnTo>
                          <a:pt x="552" y="504"/>
                        </a:lnTo>
                        <a:lnTo>
                          <a:pt x="551" y="504"/>
                        </a:lnTo>
                        <a:lnTo>
                          <a:pt x="547" y="509"/>
                        </a:lnTo>
                        <a:lnTo>
                          <a:pt x="544" y="510"/>
                        </a:lnTo>
                        <a:lnTo>
                          <a:pt x="542" y="511"/>
                        </a:lnTo>
                        <a:lnTo>
                          <a:pt x="542" y="514"/>
                        </a:lnTo>
                        <a:lnTo>
                          <a:pt x="540" y="514"/>
                        </a:lnTo>
                        <a:lnTo>
                          <a:pt x="539" y="514"/>
                        </a:lnTo>
                        <a:lnTo>
                          <a:pt x="538" y="514"/>
                        </a:lnTo>
                        <a:lnTo>
                          <a:pt x="538" y="516"/>
                        </a:lnTo>
                        <a:lnTo>
                          <a:pt x="538" y="518"/>
                        </a:lnTo>
                        <a:lnTo>
                          <a:pt x="538" y="519"/>
                        </a:lnTo>
                        <a:lnTo>
                          <a:pt x="538" y="521"/>
                        </a:lnTo>
                        <a:lnTo>
                          <a:pt x="539" y="521"/>
                        </a:lnTo>
                        <a:lnTo>
                          <a:pt x="542" y="523"/>
                        </a:lnTo>
                        <a:lnTo>
                          <a:pt x="545" y="524"/>
                        </a:lnTo>
                        <a:lnTo>
                          <a:pt x="548" y="524"/>
                        </a:lnTo>
                        <a:lnTo>
                          <a:pt x="549" y="523"/>
                        </a:lnTo>
                        <a:lnTo>
                          <a:pt x="551" y="521"/>
                        </a:lnTo>
                        <a:lnTo>
                          <a:pt x="552" y="519"/>
                        </a:lnTo>
                        <a:lnTo>
                          <a:pt x="554" y="518"/>
                        </a:lnTo>
                        <a:lnTo>
                          <a:pt x="559" y="519"/>
                        </a:lnTo>
                        <a:lnTo>
                          <a:pt x="564" y="521"/>
                        </a:lnTo>
                        <a:lnTo>
                          <a:pt x="568" y="524"/>
                        </a:lnTo>
                        <a:lnTo>
                          <a:pt x="571" y="527"/>
                        </a:lnTo>
                        <a:lnTo>
                          <a:pt x="571" y="530"/>
                        </a:lnTo>
                        <a:lnTo>
                          <a:pt x="575" y="529"/>
                        </a:lnTo>
                        <a:lnTo>
                          <a:pt x="578" y="528"/>
                        </a:lnTo>
                        <a:lnTo>
                          <a:pt x="582" y="527"/>
                        </a:lnTo>
                        <a:lnTo>
                          <a:pt x="587" y="527"/>
                        </a:lnTo>
                        <a:lnTo>
                          <a:pt x="590" y="530"/>
                        </a:lnTo>
                        <a:lnTo>
                          <a:pt x="596" y="533"/>
                        </a:lnTo>
                        <a:lnTo>
                          <a:pt x="600" y="538"/>
                        </a:lnTo>
                        <a:lnTo>
                          <a:pt x="602" y="543"/>
                        </a:lnTo>
                        <a:lnTo>
                          <a:pt x="602" y="548"/>
                        </a:lnTo>
                        <a:lnTo>
                          <a:pt x="601" y="555"/>
                        </a:lnTo>
                        <a:lnTo>
                          <a:pt x="599" y="561"/>
                        </a:lnTo>
                        <a:lnTo>
                          <a:pt x="593" y="572"/>
                        </a:lnTo>
                        <a:lnTo>
                          <a:pt x="594" y="572"/>
                        </a:lnTo>
                        <a:lnTo>
                          <a:pt x="595" y="572"/>
                        </a:lnTo>
                        <a:lnTo>
                          <a:pt x="596" y="573"/>
                        </a:lnTo>
                        <a:lnTo>
                          <a:pt x="597" y="575"/>
                        </a:lnTo>
                        <a:lnTo>
                          <a:pt x="599" y="575"/>
                        </a:lnTo>
                        <a:lnTo>
                          <a:pt x="599" y="577"/>
                        </a:lnTo>
                        <a:lnTo>
                          <a:pt x="599" y="578"/>
                        </a:lnTo>
                        <a:lnTo>
                          <a:pt x="601" y="580"/>
                        </a:lnTo>
                        <a:lnTo>
                          <a:pt x="602" y="580"/>
                        </a:lnTo>
                        <a:lnTo>
                          <a:pt x="604" y="579"/>
                        </a:lnTo>
                        <a:lnTo>
                          <a:pt x="606" y="578"/>
                        </a:lnTo>
                        <a:lnTo>
                          <a:pt x="607" y="579"/>
                        </a:lnTo>
                        <a:lnTo>
                          <a:pt x="609" y="580"/>
                        </a:lnTo>
                        <a:lnTo>
                          <a:pt x="612" y="581"/>
                        </a:lnTo>
                        <a:lnTo>
                          <a:pt x="613" y="582"/>
                        </a:lnTo>
                        <a:lnTo>
                          <a:pt x="614" y="582"/>
                        </a:lnTo>
                        <a:lnTo>
                          <a:pt x="615" y="582"/>
                        </a:lnTo>
                        <a:lnTo>
                          <a:pt x="616" y="582"/>
                        </a:lnTo>
                        <a:lnTo>
                          <a:pt x="618" y="581"/>
                        </a:lnTo>
                        <a:lnTo>
                          <a:pt x="621" y="580"/>
                        </a:lnTo>
                        <a:lnTo>
                          <a:pt x="622" y="579"/>
                        </a:lnTo>
                        <a:lnTo>
                          <a:pt x="623" y="578"/>
                        </a:lnTo>
                        <a:lnTo>
                          <a:pt x="624" y="579"/>
                        </a:lnTo>
                        <a:lnTo>
                          <a:pt x="625" y="580"/>
                        </a:lnTo>
                        <a:lnTo>
                          <a:pt x="626" y="580"/>
                        </a:lnTo>
                        <a:lnTo>
                          <a:pt x="628" y="578"/>
                        </a:lnTo>
                        <a:lnTo>
                          <a:pt x="630" y="577"/>
                        </a:lnTo>
                        <a:lnTo>
                          <a:pt x="630" y="575"/>
                        </a:lnTo>
                        <a:lnTo>
                          <a:pt x="630" y="572"/>
                        </a:lnTo>
                        <a:lnTo>
                          <a:pt x="632" y="569"/>
                        </a:lnTo>
                        <a:lnTo>
                          <a:pt x="633" y="569"/>
                        </a:lnTo>
                        <a:lnTo>
                          <a:pt x="637" y="567"/>
                        </a:lnTo>
                        <a:lnTo>
                          <a:pt x="642" y="565"/>
                        </a:lnTo>
                        <a:lnTo>
                          <a:pt x="645" y="563"/>
                        </a:lnTo>
                        <a:lnTo>
                          <a:pt x="645" y="562"/>
                        </a:lnTo>
                        <a:lnTo>
                          <a:pt x="646" y="560"/>
                        </a:lnTo>
                        <a:lnTo>
                          <a:pt x="647" y="556"/>
                        </a:lnTo>
                        <a:lnTo>
                          <a:pt x="650" y="551"/>
                        </a:lnTo>
                        <a:lnTo>
                          <a:pt x="651" y="550"/>
                        </a:lnTo>
                        <a:lnTo>
                          <a:pt x="651" y="549"/>
                        </a:lnTo>
                        <a:lnTo>
                          <a:pt x="651" y="548"/>
                        </a:lnTo>
                        <a:lnTo>
                          <a:pt x="651" y="547"/>
                        </a:lnTo>
                        <a:lnTo>
                          <a:pt x="651" y="545"/>
                        </a:lnTo>
                        <a:lnTo>
                          <a:pt x="651" y="543"/>
                        </a:lnTo>
                        <a:lnTo>
                          <a:pt x="655" y="540"/>
                        </a:lnTo>
                        <a:lnTo>
                          <a:pt x="661" y="539"/>
                        </a:lnTo>
                        <a:lnTo>
                          <a:pt x="668" y="538"/>
                        </a:lnTo>
                        <a:lnTo>
                          <a:pt x="673" y="537"/>
                        </a:lnTo>
                        <a:lnTo>
                          <a:pt x="675" y="536"/>
                        </a:lnTo>
                        <a:lnTo>
                          <a:pt x="677" y="533"/>
                        </a:lnTo>
                        <a:lnTo>
                          <a:pt x="678" y="531"/>
                        </a:lnTo>
                        <a:lnTo>
                          <a:pt x="680" y="530"/>
                        </a:lnTo>
                        <a:lnTo>
                          <a:pt x="682" y="528"/>
                        </a:lnTo>
                        <a:lnTo>
                          <a:pt x="683" y="525"/>
                        </a:lnTo>
                        <a:lnTo>
                          <a:pt x="683" y="521"/>
                        </a:lnTo>
                        <a:lnTo>
                          <a:pt x="684" y="521"/>
                        </a:lnTo>
                        <a:lnTo>
                          <a:pt x="685" y="521"/>
                        </a:lnTo>
                        <a:lnTo>
                          <a:pt x="686" y="521"/>
                        </a:lnTo>
                        <a:lnTo>
                          <a:pt x="687" y="521"/>
                        </a:lnTo>
                        <a:lnTo>
                          <a:pt x="688" y="516"/>
                        </a:lnTo>
                        <a:lnTo>
                          <a:pt x="687" y="511"/>
                        </a:lnTo>
                        <a:lnTo>
                          <a:pt x="687" y="507"/>
                        </a:lnTo>
                        <a:lnTo>
                          <a:pt x="688" y="506"/>
                        </a:lnTo>
                        <a:lnTo>
                          <a:pt x="690" y="504"/>
                        </a:lnTo>
                        <a:lnTo>
                          <a:pt x="694" y="504"/>
                        </a:lnTo>
                        <a:lnTo>
                          <a:pt x="696" y="504"/>
                        </a:lnTo>
                        <a:lnTo>
                          <a:pt x="701" y="506"/>
                        </a:lnTo>
                        <a:lnTo>
                          <a:pt x="706" y="509"/>
                        </a:lnTo>
                        <a:lnTo>
                          <a:pt x="713" y="511"/>
                        </a:lnTo>
                        <a:lnTo>
                          <a:pt x="713" y="510"/>
                        </a:lnTo>
                        <a:lnTo>
                          <a:pt x="714" y="509"/>
                        </a:lnTo>
                        <a:lnTo>
                          <a:pt x="715" y="508"/>
                        </a:lnTo>
                        <a:lnTo>
                          <a:pt x="716" y="508"/>
                        </a:lnTo>
                        <a:lnTo>
                          <a:pt x="725" y="508"/>
                        </a:lnTo>
                        <a:lnTo>
                          <a:pt x="726" y="505"/>
                        </a:lnTo>
                        <a:lnTo>
                          <a:pt x="729" y="501"/>
                        </a:lnTo>
                        <a:lnTo>
                          <a:pt x="732" y="500"/>
                        </a:lnTo>
                        <a:lnTo>
                          <a:pt x="735" y="498"/>
                        </a:lnTo>
                        <a:lnTo>
                          <a:pt x="735" y="496"/>
                        </a:lnTo>
                        <a:lnTo>
                          <a:pt x="733" y="494"/>
                        </a:lnTo>
                        <a:lnTo>
                          <a:pt x="732" y="491"/>
                        </a:lnTo>
                        <a:lnTo>
                          <a:pt x="732" y="488"/>
                        </a:lnTo>
                        <a:lnTo>
                          <a:pt x="733" y="488"/>
                        </a:lnTo>
                        <a:lnTo>
                          <a:pt x="735" y="488"/>
                        </a:lnTo>
                        <a:lnTo>
                          <a:pt x="737" y="486"/>
                        </a:lnTo>
                        <a:lnTo>
                          <a:pt x="736" y="485"/>
                        </a:lnTo>
                        <a:lnTo>
                          <a:pt x="736" y="484"/>
                        </a:lnTo>
                        <a:lnTo>
                          <a:pt x="735" y="482"/>
                        </a:lnTo>
                        <a:lnTo>
                          <a:pt x="736" y="479"/>
                        </a:lnTo>
                        <a:lnTo>
                          <a:pt x="737" y="477"/>
                        </a:lnTo>
                        <a:lnTo>
                          <a:pt x="738" y="475"/>
                        </a:lnTo>
                        <a:lnTo>
                          <a:pt x="738" y="473"/>
                        </a:lnTo>
                        <a:lnTo>
                          <a:pt x="733" y="472"/>
                        </a:lnTo>
                        <a:lnTo>
                          <a:pt x="729" y="471"/>
                        </a:lnTo>
                        <a:lnTo>
                          <a:pt x="725" y="471"/>
                        </a:lnTo>
                        <a:lnTo>
                          <a:pt x="722" y="473"/>
                        </a:lnTo>
                        <a:lnTo>
                          <a:pt x="720" y="473"/>
                        </a:lnTo>
                        <a:lnTo>
                          <a:pt x="719" y="474"/>
                        </a:lnTo>
                        <a:lnTo>
                          <a:pt x="719" y="476"/>
                        </a:lnTo>
                        <a:lnTo>
                          <a:pt x="718" y="476"/>
                        </a:lnTo>
                        <a:lnTo>
                          <a:pt x="716" y="476"/>
                        </a:lnTo>
                        <a:lnTo>
                          <a:pt x="714" y="477"/>
                        </a:lnTo>
                        <a:lnTo>
                          <a:pt x="714" y="478"/>
                        </a:lnTo>
                        <a:lnTo>
                          <a:pt x="713" y="478"/>
                        </a:lnTo>
                        <a:lnTo>
                          <a:pt x="710" y="482"/>
                        </a:lnTo>
                        <a:lnTo>
                          <a:pt x="707" y="482"/>
                        </a:lnTo>
                        <a:lnTo>
                          <a:pt x="704" y="481"/>
                        </a:lnTo>
                        <a:lnTo>
                          <a:pt x="699" y="478"/>
                        </a:lnTo>
                        <a:lnTo>
                          <a:pt x="698" y="483"/>
                        </a:lnTo>
                        <a:lnTo>
                          <a:pt x="695" y="488"/>
                        </a:lnTo>
                        <a:lnTo>
                          <a:pt x="692" y="491"/>
                        </a:lnTo>
                        <a:lnTo>
                          <a:pt x="687" y="492"/>
                        </a:lnTo>
                        <a:lnTo>
                          <a:pt x="685" y="491"/>
                        </a:lnTo>
                        <a:lnTo>
                          <a:pt x="683" y="490"/>
                        </a:lnTo>
                        <a:lnTo>
                          <a:pt x="682" y="488"/>
                        </a:lnTo>
                        <a:lnTo>
                          <a:pt x="680" y="485"/>
                        </a:lnTo>
                        <a:lnTo>
                          <a:pt x="675" y="485"/>
                        </a:lnTo>
                        <a:lnTo>
                          <a:pt x="672" y="484"/>
                        </a:lnTo>
                        <a:lnTo>
                          <a:pt x="671" y="482"/>
                        </a:lnTo>
                        <a:lnTo>
                          <a:pt x="670" y="481"/>
                        </a:lnTo>
                        <a:lnTo>
                          <a:pt x="668" y="479"/>
                        </a:lnTo>
                        <a:lnTo>
                          <a:pt x="663" y="474"/>
                        </a:lnTo>
                        <a:lnTo>
                          <a:pt x="657" y="469"/>
                        </a:lnTo>
                        <a:lnTo>
                          <a:pt x="655" y="467"/>
                        </a:lnTo>
                        <a:lnTo>
                          <a:pt x="654" y="466"/>
                        </a:lnTo>
                        <a:lnTo>
                          <a:pt x="654" y="464"/>
                        </a:lnTo>
                        <a:lnTo>
                          <a:pt x="654" y="463"/>
                        </a:lnTo>
                        <a:lnTo>
                          <a:pt x="653" y="460"/>
                        </a:lnTo>
                        <a:lnTo>
                          <a:pt x="651" y="458"/>
                        </a:lnTo>
                        <a:lnTo>
                          <a:pt x="649" y="455"/>
                        </a:lnTo>
                        <a:lnTo>
                          <a:pt x="647" y="453"/>
                        </a:lnTo>
                        <a:lnTo>
                          <a:pt x="647" y="449"/>
                        </a:lnTo>
                        <a:lnTo>
                          <a:pt x="647" y="447"/>
                        </a:lnTo>
                        <a:lnTo>
                          <a:pt x="647" y="444"/>
                        </a:lnTo>
                        <a:lnTo>
                          <a:pt x="647" y="442"/>
                        </a:lnTo>
                        <a:lnTo>
                          <a:pt x="646" y="441"/>
                        </a:lnTo>
                        <a:lnTo>
                          <a:pt x="645" y="440"/>
                        </a:lnTo>
                        <a:lnTo>
                          <a:pt x="644" y="439"/>
                        </a:lnTo>
                        <a:lnTo>
                          <a:pt x="644" y="437"/>
                        </a:lnTo>
                        <a:lnTo>
                          <a:pt x="645" y="437"/>
                        </a:lnTo>
                        <a:lnTo>
                          <a:pt x="645" y="436"/>
                        </a:lnTo>
                        <a:lnTo>
                          <a:pt x="645" y="435"/>
                        </a:lnTo>
                        <a:lnTo>
                          <a:pt x="645" y="430"/>
                        </a:lnTo>
                        <a:lnTo>
                          <a:pt x="646" y="430"/>
                        </a:lnTo>
                        <a:lnTo>
                          <a:pt x="647" y="428"/>
                        </a:lnTo>
                        <a:lnTo>
                          <a:pt x="648" y="428"/>
                        </a:lnTo>
                        <a:lnTo>
                          <a:pt x="651" y="428"/>
                        </a:lnTo>
                        <a:lnTo>
                          <a:pt x="651" y="423"/>
                        </a:lnTo>
                        <a:lnTo>
                          <a:pt x="652" y="420"/>
                        </a:lnTo>
                        <a:lnTo>
                          <a:pt x="654" y="418"/>
                        </a:lnTo>
                        <a:lnTo>
                          <a:pt x="654" y="413"/>
                        </a:lnTo>
                        <a:lnTo>
                          <a:pt x="654" y="412"/>
                        </a:lnTo>
                        <a:lnTo>
                          <a:pt x="654" y="411"/>
                        </a:lnTo>
                        <a:lnTo>
                          <a:pt x="655" y="409"/>
                        </a:lnTo>
                        <a:lnTo>
                          <a:pt x="656" y="406"/>
                        </a:lnTo>
                        <a:lnTo>
                          <a:pt x="657" y="405"/>
                        </a:lnTo>
                        <a:lnTo>
                          <a:pt x="658" y="404"/>
                        </a:lnTo>
                        <a:lnTo>
                          <a:pt x="659" y="410"/>
                        </a:lnTo>
                        <a:lnTo>
                          <a:pt x="660" y="414"/>
                        </a:lnTo>
                        <a:lnTo>
                          <a:pt x="659" y="418"/>
                        </a:lnTo>
                        <a:lnTo>
                          <a:pt x="658" y="424"/>
                        </a:lnTo>
                        <a:lnTo>
                          <a:pt x="657" y="428"/>
                        </a:lnTo>
                        <a:lnTo>
                          <a:pt x="656" y="430"/>
                        </a:lnTo>
                        <a:lnTo>
                          <a:pt x="654" y="430"/>
                        </a:lnTo>
                        <a:lnTo>
                          <a:pt x="654" y="432"/>
                        </a:lnTo>
                        <a:lnTo>
                          <a:pt x="653" y="433"/>
                        </a:lnTo>
                        <a:lnTo>
                          <a:pt x="651" y="433"/>
                        </a:lnTo>
                        <a:lnTo>
                          <a:pt x="651" y="435"/>
                        </a:lnTo>
                        <a:lnTo>
                          <a:pt x="651" y="437"/>
                        </a:lnTo>
                        <a:lnTo>
                          <a:pt x="651" y="438"/>
                        </a:lnTo>
                        <a:lnTo>
                          <a:pt x="651" y="440"/>
                        </a:lnTo>
                        <a:lnTo>
                          <a:pt x="651" y="439"/>
                        </a:lnTo>
                        <a:lnTo>
                          <a:pt x="653" y="439"/>
                        </a:lnTo>
                        <a:lnTo>
                          <a:pt x="654" y="438"/>
                        </a:lnTo>
                        <a:lnTo>
                          <a:pt x="654" y="437"/>
                        </a:lnTo>
                        <a:lnTo>
                          <a:pt x="658" y="435"/>
                        </a:lnTo>
                        <a:lnTo>
                          <a:pt x="660" y="431"/>
                        </a:lnTo>
                        <a:lnTo>
                          <a:pt x="662" y="427"/>
                        </a:lnTo>
                        <a:lnTo>
                          <a:pt x="664" y="421"/>
                        </a:lnTo>
                        <a:lnTo>
                          <a:pt x="665" y="419"/>
                        </a:lnTo>
                        <a:lnTo>
                          <a:pt x="668" y="418"/>
                        </a:lnTo>
                        <a:lnTo>
                          <a:pt x="671" y="416"/>
                        </a:lnTo>
                        <a:lnTo>
                          <a:pt x="673" y="414"/>
                        </a:lnTo>
                        <a:lnTo>
                          <a:pt x="673" y="412"/>
                        </a:lnTo>
                        <a:lnTo>
                          <a:pt x="673" y="411"/>
                        </a:lnTo>
                        <a:lnTo>
                          <a:pt x="673" y="410"/>
                        </a:lnTo>
                        <a:lnTo>
                          <a:pt x="673" y="408"/>
                        </a:lnTo>
                        <a:lnTo>
                          <a:pt x="674" y="407"/>
                        </a:lnTo>
                        <a:lnTo>
                          <a:pt x="675" y="406"/>
                        </a:lnTo>
                        <a:lnTo>
                          <a:pt x="678" y="405"/>
                        </a:lnTo>
                        <a:lnTo>
                          <a:pt x="680" y="404"/>
                        </a:lnTo>
                        <a:lnTo>
                          <a:pt x="680" y="403"/>
                        </a:lnTo>
                        <a:lnTo>
                          <a:pt x="680" y="402"/>
                        </a:lnTo>
                        <a:lnTo>
                          <a:pt x="680" y="399"/>
                        </a:lnTo>
                        <a:lnTo>
                          <a:pt x="682" y="397"/>
                        </a:lnTo>
                        <a:lnTo>
                          <a:pt x="683" y="396"/>
                        </a:lnTo>
                        <a:lnTo>
                          <a:pt x="683" y="395"/>
                        </a:lnTo>
                        <a:lnTo>
                          <a:pt x="687" y="395"/>
                        </a:lnTo>
                        <a:lnTo>
                          <a:pt x="696" y="385"/>
                        </a:lnTo>
                        <a:lnTo>
                          <a:pt x="698" y="383"/>
                        </a:lnTo>
                        <a:lnTo>
                          <a:pt x="701" y="382"/>
                        </a:lnTo>
                        <a:lnTo>
                          <a:pt x="706" y="382"/>
                        </a:lnTo>
                        <a:lnTo>
                          <a:pt x="704" y="382"/>
                        </a:lnTo>
                        <a:lnTo>
                          <a:pt x="702" y="382"/>
                        </a:lnTo>
                        <a:lnTo>
                          <a:pt x="702" y="392"/>
                        </a:lnTo>
                        <a:lnTo>
                          <a:pt x="701" y="394"/>
                        </a:lnTo>
                        <a:lnTo>
                          <a:pt x="700" y="396"/>
                        </a:lnTo>
                        <a:lnTo>
                          <a:pt x="699" y="399"/>
                        </a:lnTo>
                        <a:lnTo>
                          <a:pt x="702" y="397"/>
                        </a:lnTo>
                        <a:lnTo>
                          <a:pt x="705" y="394"/>
                        </a:lnTo>
                        <a:lnTo>
                          <a:pt x="708" y="390"/>
                        </a:lnTo>
                        <a:lnTo>
                          <a:pt x="709" y="389"/>
                        </a:lnTo>
                        <a:lnTo>
                          <a:pt x="709" y="387"/>
                        </a:lnTo>
                        <a:lnTo>
                          <a:pt x="709" y="386"/>
                        </a:lnTo>
                        <a:lnTo>
                          <a:pt x="709" y="385"/>
                        </a:lnTo>
                        <a:lnTo>
                          <a:pt x="710" y="383"/>
                        </a:lnTo>
                        <a:lnTo>
                          <a:pt x="711" y="382"/>
                        </a:lnTo>
                        <a:lnTo>
                          <a:pt x="712" y="380"/>
                        </a:lnTo>
                        <a:lnTo>
                          <a:pt x="713" y="378"/>
                        </a:lnTo>
                        <a:lnTo>
                          <a:pt x="713" y="377"/>
                        </a:lnTo>
                        <a:lnTo>
                          <a:pt x="713" y="375"/>
                        </a:lnTo>
                        <a:lnTo>
                          <a:pt x="715" y="374"/>
                        </a:lnTo>
                        <a:lnTo>
                          <a:pt x="716" y="372"/>
                        </a:lnTo>
                        <a:lnTo>
                          <a:pt x="717" y="372"/>
                        </a:lnTo>
                        <a:lnTo>
                          <a:pt x="719" y="372"/>
                        </a:lnTo>
                        <a:lnTo>
                          <a:pt x="719" y="371"/>
                        </a:lnTo>
                        <a:lnTo>
                          <a:pt x="720" y="369"/>
                        </a:lnTo>
                        <a:lnTo>
                          <a:pt x="722" y="369"/>
                        </a:lnTo>
                        <a:lnTo>
                          <a:pt x="727" y="369"/>
                        </a:lnTo>
                        <a:lnTo>
                          <a:pt x="729" y="368"/>
                        </a:lnTo>
                        <a:lnTo>
                          <a:pt x="732" y="366"/>
                        </a:lnTo>
                        <a:lnTo>
                          <a:pt x="736" y="365"/>
                        </a:lnTo>
                        <a:lnTo>
                          <a:pt x="738" y="362"/>
                        </a:lnTo>
                        <a:lnTo>
                          <a:pt x="741" y="359"/>
                        </a:lnTo>
                        <a:lnTo>
                          <a:pt x="744" y="356"/>
                        </a:lnTo>
                        <a:lnTo>
                          <a:pt x="744" y="354"/>
                        </a:lnTo>
                        <a:lnTo>
                          <a:pt x="745" y="354"/>
                        </a:lnTo>
                        <a:lnTo>
                          <a:pt x="746" y="354"/>
                        </a:lnTo>
                        <a:lnTo>
                          <a:pt x="747" y="354"/>
                        </a:lnTo>
                        <a:lnTo>
                          <a:pt x="747" y="352"/>
                        </a:lnTo>
                        <a:lnTo>
                          <a:pt x="747" y="349"/>
                        </a:lnTo>
                        <a:lnTo>
                          <a:pt x="747" y="348"/>
                        </a:lnTo>
                        <a:lnTo>
                          <a:pt x="747" y="346"/>
                        </a:lnTo>
                        <a:lnTo>
                          <a:pt x="751" y="346"/>
                        </a:lnTo>
                        <a:lnTo>
                          <a:pt x="752" y="349"/>
                        </a:lnTo>
                        <a:lnTo>
                          <a:pt x="751" y="354"/>
                        </a:lnTo>
                        <a:lnTo>
                          <a:pt x="750" y="358"/>
                        </a:lnTo>
                        <a:lnTo>
                          <a:pt x="751" y="359"/>
                        </a:lnTo>
                        <a:lnTo>
                          <a:pt x="752" y="358"/>
                        </a:lnTo>
                        <a:lnTo>
                          <a:pt x="754" y="356"/>
                        </a:lnTo>
                        <a:lnTo>
                          <a:pt x="757" y="354"/>
                        </a:lnTo>
                        <a:lnTo>
                          <a:pt x="758" y="354"/>
                        </a:lnTo>
                        <a:lnTo>
                          <a:pt x="759" y="351"/>
                        </a:lnTo>
                        <a:lnTo>
                          <a:pt x="759" y="348"/>
                        </a:lnTo>
                        <a:lnTo>
                          <a:pt x="761" y="346"/>
                        </a:lnTo>
                        <a:lnTo>
                          <a:pt x="761" y="345"/>
                        </a:lnTo>
                        <a:lnTo>
                          <a:pt x="763" y="345"/>
                        </a:lnTo>
                        <a:lnTo>
                          <a:pt x="764" y="345"/>
                        </a:lnTo>
                        <a:lnTo>
                          <a:pt x="764" y="343"/>
                        </a:lnTo>
                        <a:lnTo>
                          <a:pt x="764" y="342"/>
                        </a:lnTo>
                        <a:lnTo>
                          <a:pt x="764" y="341"/>
                        </a:lnTo>
                        <a:lnTo>
                          <a:pt x="764" y="340"/>
                        </a:lnTo>
                        <a:lnTo>
                          <a:pt x="765" y="339"/>
                        </a:lnTo>
                        <a:lnTo>
                          <a:pt x="766" y="336"/>
                        </a:lnTo>
                        <a:lnTo>
                          <a:pt x="767" y="333"/>
                        </a:lnTo>
                        <a:lnTo>
                          <a:pt x="770" y="330"/>
                        </a:lnTo>
                        <a:lnTo>
                          <a:pt x="770" y="331"/>
                        </a:lnTo>
                        <a:lnTo>
                          <a:pt x="770" y="332"/>
                        </a:lnTo>
                        <a:lnTo>
                          <a:pt x="770" y="330"/>
                        </a:lnTo>
                        <a:lnTo>
                          <a:pt x="773" y="330"/>
                        </a:lnTo>
                        <a:lnTo>
                          <a:pt x="774" y="328"/>
                        </a:lnTo>
                        <a:lnTo>
                          <a:pt x="777" y="327"/>
                        </a:lnTo>
                        <a:lnTo>
                          <a:pt x="779" y="327"/>
                        </a:lnTo>
                        <a:lnTo>
                          <a:pt x="780" y="327"/>
                        </a:lnTo>
                        <a:lnTo>
                          <a:pt x="782" y="327"/>
                        </a:lnTo>
                        <a:lnTo>
                          <a:pt x="783" y="327"/>
                        </a:lnTo>
                        <a:lnTo>
                          <a:pt x="785" y="327"/>
                        </a:lnTo>
                        <a:lnTo>
                          <a:pt x="787" y="327"/>
                        </a:lnTo>
                        <a:lnTo>
                          <a:pt x="786" y="327"/>
                        </a:lnTo>
                        <a:lnTo>
                          <a:pt x="785" y="323"/>
                        </a:lnTo>
                        <a:lnTo>
                          <a:pt x="784" y="320"/>
                        </a:lnTo>
                        <a:lnTo>
                          <a:pt x="783" y="318"/>
                        </a:lnTo>
                        <a:lnTo>
                          <a:pt x="787" y="314"/>
                        </a:lnTo>
                        <a:lnTo>
                          <a:pt x="791" y="311"/>
                        </a:lnTo>
                        <a:lnTo>
                          <a:pt x="794" y="307"/>
                        </a:lnTo>
                        <a:lnTo>
                          <a:pt x="796" y="301"/>
                        </a:lnTo>
                        <a:lnTo>
                          <a:pt x="795" y="297"/>
                        </a:lnTo>
                        <a:lnTo>
                          <a:pt x="795" y="294"/>
                        </a:lnTo>
                        <a:lnTo>
                          <a:pt x="796" y="291"/>
                        </a:lnTo>
                        <a:lnTo>
                          <a:pt x="799" y="289"/>
                        </a:lnTo>
                        <a:lnTo>
                          <a:pt x="801" y="287"/>
                        </a:lnTo>
                        <a:lnTo>
                          <a:pt x="803" y="286"/>
                        </a:lnTo>
                        <a:lnTo>
                          <a:pt x="804" y="284"/>
                        </a:lnTo>
                        <a:lnTo>
                          <a:pt x="805" y="282"/>
                        </a:lnTo>
                        <a:lnTo>
                          <a:pt x="806" y="279"/>
                        </a:lnTo>
                        <a:lnTo>
                          <a:pt x="808" y="272"/>
                        </a:lnTo>
                        <a:lnTo>
                          <a:pt x="810" y="269"/>
                        </a:lnTo>
                        <a:lnTo>
                          <a:pt x="812" y="267"/>
                        </a:lnTo>
                        <a:lnTo>
                          <a:pt x="815" y="266"/>
                        </a:lnTo>
                        <a:lnTo>
                          <a:pt x="820" y="265"/>
                        </a:lnTo>
                        <a:lnTo>
                          <a:pt x="825" y="265"/>
                        </a:lnTo>
                        <a:lnTo>
                          <a:pt x="830" y="264"/>
                        </a:lnTo>
                        <a:lnTo>
                          <a:pt x="835" y="263"/>
                        </a:lnTo>
                        <a:lnTo>
                          <a:pt x="839" y="263"/>
                        </a:lnTo>
                        <a:lnTo>
                          <a:pt x="842" y="262"/>
                        </a:lnTo>
                        <a:lnTo>
                          <a:pt x="847" y="260"/>
                        </a:lnTo>
                        <a:lnTo>
                          <a:pt x="851" y="256"/>
                        </a:lnTo>
                        <a:lnTo>
                          <a:pt x="851" y="251"/>
                        </a:lnTo>
                        <a:lnTo>
                          <a:pt x="853" y="245"/>
                        </a:lnTo>
                        <a:lnTo>
                          <a:pt x="857" y="238"/>
                        </a:lnTo>
                        <a:lnTo>
                          <a:pt x="861" y="230"/>
                        </a:lnTo>
                        <a:lnTo>
                          <a:pt x="863" y="228"/>
                        </a:lnTo>
                        <a:lnTo>
                          <a:pt x="863" y="226"/>
                        </a:lnTo>
                        <a:lnTo>
                          <a:pt x="863" y="224"/>
                        </a:lnTo>
                        <a:lnTo>
                          <a:pt x="861" y="223"/>
                        </a:lnTo>
                        <a:lnTo>
                          <a:pt x="858" y="218"/>
                        </a:lnTo>
                        <a:lnTo>
                          <a:pt x="854" y="21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8" name="Freeform 1489">
                    <a:extLst>
                      <a:ext uri="{FF2B5EF4-FFF2-40B4-BE49-F238E27FC236}">
                        <a16:creationId xmlns:a16="http://schemas.microsoft.com/office/drawing/2014/main" xmlns="" id="{71B80C45-43E3-45E7-AB68-A96376F78F45}"/>
                      </a:ext>
                    </a:extLst>
                  </p:cNvPr>
                  <p:cNvSpPr>
                    <a:spLocks/>
                  </p:cNvSpPr>
                  <p:nvPr/>
                </p:nvSpPr>
                <p:spPr bwMode="gray">
                  <a:xfrm>
                    <a:off x="5426548" y="3287497"/>
                    <a:ext cx="17799" cy="60070"/>
                  </a:xfrm>
                  <a:custGeom>
                    <a:avLst/>
                    <a:gdLst>
                      <a:gd name="T0" fmla="*/ 2147483647 w 16"/>
                      <a:gd name="T1" fmla="*/ 2147483647 h 54"/>
                      <a:gd name="T2" fmla="*/ 2147483647 w 16"/>
                      <a:gd name="T3" fmla="*/ 2147483647 h 54"/>
                      <a:gd name="T4" fmla="*/ 2147483647 w 16"/>
                      <a:gd name="T5" fmla="*/ 2147483647 h 54"/>
                      <a:gd name="T6" fmla="*/ 2147483647 w 16"/>
                      <a:gd name="T7" fmla="*/ 2147483647 h 54"/>
                      <a:gd name="T8" fmla="*/ 0 w 16"/>
                      <a:gd name="T9" fmla="*/ 0 h 54"/>
                      <a:gd name="T10" fmla="*/ 2147483647 w 16"/>
                      <a:gd name="T11" fmla="*/ 2147483647 h 54"/>
                      <a:gd name="T12" fmla="*/ 2147483647 w 16"/>
                      <a:gd name="T13" fmla="*/ 2147483647 h 54"/>
                      <a:gd name="T14" fmla="*/ 2147483647 w 16"/>
                      <a:gd name="T15" fmla="*/ 2147483647 h 54"/>
                      <a:gd name="T16" fmla="*/ 2147483647 w 16"/>
                      <a:gd name="T17" fmla="*/ 2147483647 h 54"/>
                      <a:gd name="T18" fmla="*/ 2147483647 w 16"/>
                      <a:gd name="T19" fmla="*/ 2147483647 h 54"/>
                      <a:gd name="T20" fmla="*/ 2147483647 w 16"/>
                      <a:gd name="T21" fmla="*/ 2147483647 h 54"/>
                      <a:gd name="T22" fmla="*/ 2147483647 w 16"/>
                      <a:gd name="T23" fmla="*/ 2147483647 h 54"/>
                      <a:gd name="T24" fmla="*/ 2147483647 w 16"/>
                      <a:gd name="T25" fmla="*/ 2147483647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54">
                        <a:moveTo>
                          <a:pt x="10" y="42"/>
                        </a:moveTo>
                        <a:lnTo>
                          <a:pt x="10" y="33"/>
                        </a:lnTo>
                        <a:lnTo>
                          <a:pt x="3" y="19"/>
                        </a:lnTo>
                        <a:lnTo>
                          <a:pt x="7" y="10"/>
                        </a:lnTo>
                        <a:lnTo>
                          <a:pt x="0" y="0"/>
                        </a:lnTo>
                        <a:lnTo>
                          <a:pt x="10" y="4"/>
                        </a:lnTo>
                        <a:lnTo>
                          <a:pt x="16" y="4"/>
                        </a:lnTo>
                        <a:lnTo>
                          <a:pt x="12" y="13"/>
                        </a:lnTo>
                        <a:lnTo>
                          <a:pt x="12" y="23"/>
                        </a:lnTo>
                        <a:lnTo>
                          <a:pt x="16" y="29"/>
                        </a:lnTo>
                        <a:lnTo>
                          <a:pt x="12" y="42"/>
                        </a:lnTo>
                        <a:lnTo>
                          <a:pt x="16" y="54"/>
                        </a:lnTo>
                        <a:lnTo>
                          <a:pt x="10" y="4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39" name="Freeform 1491">
                    <a:extLst>
                      <a:ext uri="{FF2B5EF4-FFF2-40B4-BE49-F238E27FC236}">
                        <a16:creationId xmlns:a16="http://schemas.microsoft.com/office/drawing/2014/main" xmlns="" id="{728704C4-C2EE-4D6D-ADB5-4307326AA426}"/>
                      </a:ext>
                    </a:extLst>
                  </p:cNvPr>
                  <p:cNvSpPr>
                    <a:spLocks/>
                  </p:cNvSpPr>
                  <p:nvPr/>
                </p:nvSpPr>
                <p:spPr bwMode="gray">
                  <a:xfrm>
                    <a:off x="5457697" y="3380940"/>
                    <a:ext cx="53398" cy="32260"/>
                  </a:xfrm>
                  <a:custGeom>
                    <a:avLst/>
                    <a:gdLst>
                      <a:gd name="T0" fmla="*/ 2147483647 w 48"/>
                      <a:gd name="T1" fmla="*/ 2147483647 h 29"/>
                      <a:gd name="T2" fmla="*/ 2147483647 w 48"/>
                      <a:gd name="T3" fmla="*/ 2147483647 h 29"/>
                      <a:gd name="T4" fmla="*/ 2147483647 w 48"/>
                      <a:gd name="T5" fmla="*/ 2147483647 h 29"/>
                      <a:gd name="T6" fmla="*/ 2147483647 w 48"/>
                      <a:gd name="T7" fmla="*/ 2147483647 h 29"/>
                      <a:gd name="T8" fmla="*/ 2147483647 w 48"/>
                      <a:gd name="T9" fmla="*/ 2147483647 h 29"/>
                      <a:gd name="T10" fmla="*/ 2147483647 w 48"/>
                      <a:gd name="T11" fmla="*/ 2147483647 h 29"/>
                      <a:gd name="T12" fmla="*/ 0 w 48"/>
                      <a:gd name="T13" fmla="*/ 0 h 29"/>
                      <a:gd name="T14" fmla="*/ 2147483647 w 48"/>
                      <a:gd name="T15" fmla="*/ 2147483647 h 29"/>
                      <a:gd name="T16" fmla="*/ 2147483647 w 48"/>
                      <a:gd name="T17" fmla="*/ 2147483647 h 29"/>
                      <a:gd name="T18" fmla="*/ 2147483647 w 48"/>
                      <a:gd name="T19" fmla="*/ 2147483647 h 29"/>
                      <a:gd name="T20" fmla="*/ 2147483647 w 48"/>
                      <a:gd name="T21" fmla="*/ 2147483647 h 29"/>
                      <a:gd name="T22" fmla="*/ 2147483647 w 48"/>
                      <a:gd name="T23" fmla="*/ 2147483647 h 29"/>
                      <a:gd name="T24" fmla="*/ 2147483647 w 48"/>
                      <a:gd name="T25" fmla="*/ 2147483647 h 29"/>
                      <a:gd name="T26" fmla="*/ 2147483647 w 48"/>
                      <a:gd name="T27" fmla="*/ 2147483647 h 29"/>
                      <a:gd name="T28" fmla="*/ 2147483647 w 48"/>
                      <a:gd name="T29" fmla="*/ 2147483647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9">
                        <a:moveTo>
                          <a:pt x="39" y="26"/>
                        </a:moveTo>
                        <a:lnTo>
                          <a:pt x="39" y="17"/>
                        </a:lnTo>
                        <a:lnTo>
                          <a:pt x="33" y="17"/>
                        </a:lnTo>
                        <a:lnTo>
                          <a:pt x="23" y="20"/>
                        </a:lnTo>
                        <a:lnTo>
                          <a:pt x="13" y="17"/>
                        </a:lnTo>
                        <a:lnTo>
                          <a:pt x="7" y="7"/>
                        </a:lnTo>
                        <a:lnTo>
                          <a:pt x="0" y="0"/>
                        </a:lnTo>
                        <a:lnTo>
                          <a:pt x="7" y="4"/>
                        </a:lnTo>
                        <a:lnTo>
                          <a:pt x="13" y="10"/>
                        </a:lnTo>
                        <a:lnTo>
                          <a:pt x="20" y="14"/>
                        </a:lnTo>
                        <a:lnTo>
                          <a:pt x="36" y="10"/>
                        </a:lnTo>
                        <a:lnTo>
                          <a:pt x="42" y="10"/>
                        </a:lnTo>
                        <a:lnTo>
                          <a:pt x="45" y="17"/>
                        </a:lnTo>
                        <a:lnTo>
                          <a:pt x="48" y="29"/>
                        </a:lnTo>
                        <a:lnTo>
                          <a:pt x="39" y="2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0" name="Freeform 1493">
                    <a:extLst>
                      <a:ext uri="{FF2B5EF4-FFF2-40B4-BE49-F238E27FC236}">
                        <a16:creationId xmlns:a16="http://schemas.microsoft.com/office/drawing/2014/main" xmlns="" id="{E17E7776-1C43-4D15-9C2B-9BA07BFE3E91}"/>
                      </a:ext>
                    </a:extLst>
                  </p:cNvPr>
                  <p:cNvSpPr>
                    <a:spLocks/>
                  </p:cNvSpPr>
                  <p:nvPr/>
                </p:nvSpPr>
                <p:spPr bwMode="gray">
                  <a:xfrm>
                    <a:off x="5602318" y="3663491"/>
                    <a:ext cx="3338" cy="2225"/>
                  </a:xfrm>
                  <a:custGeom>
                    <a:avLst/>
                    <a:gdLst>
                      <a:gd name="T0" fmla="*/ 0 w 3"/>
                      <a:gd name="T1" fmla="*/ 0 h 2"/>
                      <a:gd name="T2" fmla="*/ 2147483647 w 3"/>
                      <a:gd name="T3" fmla="*/ 0 h 2"/>
                      <a:gd name="T4" fmla="*/ 2147483647 w 3"/>
                      <a:gd name="T5" fmla="*/ 0 h 2"/>
                      <a:gd name="T6" fmla="*/ 2147483647 w 3"/>
                      <a:gd name="T7" fmla="*/ 0 h 2"/>
                      <a:gd name="T8" fmla="*/ 2147483647 w 3"/>
                      <a:gd name="T9" fmla="*/ 0 h 2"/>
                      <a:gd name="T10" fmla="*/ 2147483647 w 3"/>
                      <a:gd name="T11" fmla="*/ 2147483647 h 2"/>
                      <a:gd name="T12" fmla="*/ 2147483647 w 3"/>
                      <a:gd name="T13" fmla="*/ 2147483647 h 2"/>
                      <a:gd name="T14" fmla="*/ 2147483647 w 3"/>
                      <a:gd name="T15" fmla="*/ 2147483647 h 2"/>
                      <a:gd name="T16" fmla="*/ 0 w 3"/>
                      <a:gd name="T17" fmla="*/ 2147483647 h 2"/>
                      <a:gd name="T18" fmla="*/ 0 w 3"/>
                      <a:gd name="T19" fmla="*/ 0 h 2"/>
                      <a:gd name="T20" fmla="*/ 0 w 3"/>
                      <a:gd name="T21" fmla="*/ 0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 h="2">
                        <a:moveTo>
                          <a:pt x="0" y="0"/>
                        </a:moveTo>
                        <a:lnTo>
                          <a:pt x="1" y="0"/>
                        </a:lnTo>
                        <a:lnTo>
                          <a:pt x="2" y="0"/>
                        </a:lnTo>
                        <a:lnTo>
                          <a:pt x="3" y="0"/>
                        </a:lnTo>
                        <a:lnTo>
                          <a:pt x="3" y="1"/>
                        </a:lnTo>
                        <a:lnTo>
                          <a:pt x="3" y="2"/>
                        </a:lnTo>
                        <a:lnTo>
                          <a:pt x="1" y="1"/>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1" name="Freeform 1495">
                    <a:extLst>
                      <a:ext uri="{FF2B5EF4-FFF2-40B4-BE49-F238E27FC236}">
                        <a16:creationId xmlns:a16="http://schemas.microsoft.com/office/drawing/2014/main" xmlns="" id="{71976617-1A7A-48F8-9937-0AD101EAB3AD}"/>
                      </a:ext>
                    </a:extLst>
                  </p:cNvPr>
                  <p:cNvSpPr>
                    <a:spLocks/>
                  </p:cNvSpPr>
                  <p:nvPr/>
                </p:nvSpPr>
                <p:spPr bwMode="gray">
                  <a:xfrm>
                    <a:off x="5548919" y="3424323"/>
                    <a:ext cx="63411" cy="35597"/>
                  </a:xfrm>
                  <a:custGeom>
                    <a:avLst/>
                    <a:gdLst>
                      <a:gd name="T0" fmla="*/ 2147483647 w 57"/>
                      <a:gd name="T1" fmla="*/ 2147483647 h 32"/>
                      <a:gd name="T2" fmla="*/ 2147483647 w 57"/>
                      <a:gd name="T3" fmla="*/ 2147483647 h 32"/>
                      <a:gd name="T4" fmla="*/ 2147483647 w 57"/>
                      <a:gd name="T5" fmla="*/ 2147483647 h 32"/>
                      <a:gd name="T6" fmla="*/ 2147483647 w 57"/>
                      <a:gd name="T7" fmla="*/ 2147483647 h 32"/>
                      <a:gd name="T8" fmla="*/ 2147483647 w 57"/>
                      <a:gd name="T9" fmla="*/ 2147483647 h 32"/>
                      <a:gd name="T10" fmla="*/ 2147483647 w 57"/>
                      <a:gd name="T11" fmla="*/ 2147483647 h 32"/>
                      <a:gd name="T12" fmla="*/ 2147483647 w 57"/>
                      <a:gd name="T13" fmla="*/ 2147483647 h 32"/>
                      <a:gd name="T14" fmla="*/ 2147483647 w 57"/>
                      <a:gd name="T15" fmla="*/ 2147483647 h 32"/>
                      <a:gd name="T16" fmla="*/ 2147483647 w 57"/>
                      <a:gd name="T17" fmla="*/ 2147483647 h 32"/>
                      <a:gd name="T18" fmla="*/ 0 w 57"/>
                      <a:gd name="T19" fmla="*/ 2147483647 h 32"/>
                      <a:gd name="T20" fmla="*/ 2147483647 w 57"/>
                      <a:gd name="T21" fmla="*/ 2147483647 h 32"/>
                      <a:gd name="T22" fmla="*/ 2147483647 w 57"/>
                      <a:gd name="T23" fmla="*/ 2147483647 h 32"/>
                      <a:gd name="T24" fmla="*/ 2147483647 w 57"/>
                      <a:gd name="T25" fmla="*/ 2147483647 h 32"/>
                      <a:gd name="T26" fmla="*/ 2147483647 w 57"/>
                      <a:gd name="T27" fmla="*/ 2147483647 h 32"/>
                      <a:gd name="T28" fmla="*/ 2147483647 w 57"/>
                      <a:gd name="T29" fmla="*/ 2147483647 h 32"/>
                      <a:gd name="T30" fmla="*/ 2147483647 w 57"/>
                      <a:gd name="T31" fmla="*/ 2147483647 h 32"/>
                      <a:gd name="T32" fmla="*/ 2147483647 w 57"/>
                      <a:gd name="T33" fmla="*/ 2147483647 h 32"/>
                      <a:gd name="T34" fmla="*/ 2147483647 w 57"/>
                      <a:gd name="T35" fmla="*/ 2147483647 h 32"/>
                      <a:gd name="T36" fmla="*/ 2147483647 w 57"/>
                      <a:gd name="T37" fmla="*/ 0 h 32"/>
                      <a:gd name="T38" fmla="*/ 2147483647 w 57"/>
                      <a:gd name="T39" fmla="*/ 0 h 32"/>
                      <a:gd name="T40" fmla="*/ 2147483647 w 57"/>
                      <a:gd name="T41" fmla="*/ 2147483647 h 32"/>
                      <a:gd name="T42" fmla="*/ 2147483647 w 57"/>
                      <a:gd name="T43" fmla="*/ 2147483647 h 32"/>
                      <a:gd name="T44" fmla="*/ 2147483647 w 57"/>
                      <a:gd name="T45" fmla="*/ 2147483647 h 32"/>
                      <a:gd name="T46" fmla="*/ 2147483647 w 57"/>
                      <a:gd name="T47" fmla="*/ 2147483647 h 32"/>
                      <a:gd name="T48" fmla="*/ 2147483647 w 57"/>
                      <a:gd name="T49" fmla="*/ 2147483647 h 32"/>
                      <a:gd name="T50" fmla="*/ 2147483647 w 57"/>
                      <a:gd name="T51" fmla="*/ 2147483647 h 32"/>
                      <a:gd name="T52" fmla="*/ 2147483647 w 57"/>
                      <a:gd name="T53" fmla="*/ 2147483647 h 32"/>
                      <a:gd name="T54" fmla="*/ 2147483647 w 57"/>
                      <a:gd name="T55" fmla="*/ 2147483647 h 32"/>
                      <a:gd name="T56" fmla="*/ 2147483647 w 57"/>
                      <a:gd name="T57" fmla="*/ 2147483647 h 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7" h="32">
                        <a:moveTo>
                          <a:pt x="51" y="29"/>
                        </a:moveTo>
                        <a:lnTo>
                          <a:pt x="47" y="32"/>
                        </a:lnTo>
                        <a:lnTo>
                          <a:pt x="42" y="25"/>
                        </a:lnTo>
                        <a:lnTo>
                          <a:pt x="32" y="25"/>
                        </a:lnTo>
                        <a:lnTo>
                          <a:pt x="29" y="25"/>
                        </a:lnTo>
                        <a:lnTo>
                          <a:pt x="22" y="22"/>
                        </a:lnTo>
                        <a:lnTo>
                          <a:pt x="16" y="19"/>
                        </a:lnTo>
                        <a:lnTo>
                          <a:pt x="12" y="15"/>
                        </a:lnTo>
                        <a:lnTo>
                          <a:pt x="3" y="12"/>
                        </a:lnTo>
                        <a:lnTo>
                          <a:pt x="0" y="9"/>
                        </a:lnTo>
                        <a:lnTo>
                          <a:pt x="7" y="6"/>
                        </a:lnTo>
                        <a:lnTo>
                          <a:pt x="9" y="9"/>
                        </a:lnTo>
                        <a:lnTo>
                          <a:pt x="12" y="9"/>
                        </a:lnTo>
                        <a:lnTo>
                          <a:pt x="19" y="9"/>
                        </a:lnTo>
                        <a:lnTo>
                          <a:pt x="29" y="12"/>
                        </a:lnTo>
                        <a:lnTo>
                          <a:pt x="32" y="12"/>
                        </a:lnTo>
                        <a:lnTo>
                          <a:pt x="35" y="9"/>
                        </a:lnTo>
                        <a:lnTo>
                          <a:pt x="32" y="3"/>
                        </a:lnTo>
                        <a:lnTo>
                          <a:pt x="35" y="0"/>
                        </a:lnTo>
                        <a:lnTo>
                          <a:pt x="38" y="0"/>
                        </a:lnTo>
                        <a:lnTo>
                          <a:pt x="38" y="3"/>
                        </a:lnTo>
                        <a:lnTo>
                          <a:pt x="38" y="9"/>
                        </a:lnTo>
                        <a:lnTo>
                          <a:pt x="38" y="12"/>
                        </a:lnTo>
                        <a:lnTo>
                          <a:pt x="44" y="12"/>
                        </a:lnTo>
                        <a:lnTo>
                          <a:pt x="44" y="15"/>
                        </a:lnTo>
                        <a:lnTo>
                          <a:pt x="51" y="19"/>
                        </a:lnTo>
                        <a:lnTo>
                          <a:pt x="57" y="22"/>
                        </a:lnTo>
                        <a:lnTo>
                          <a:pt x="57" y="25"/>
                        </a:lnTo>
                        <a:lnTo>
                          <a:pt x="51" y="2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2" name="Freeform 1497">
                    <a:extLst>
                      <a:ext uri="{FF2B5EF4-FFF2-40B4-BE49-F238E27FC236}">
                        <a16:creationId xmlns:a16="http://schemas.microsoft.com/office/drawing/2014/main" xmlns="" id="{19D8B179-D97E-4E33-97F1-E6EA6E76E2DE}"/>
                      </a:ext>
                    </a:extLst>
                  </p:cNvPr>
                  <p:cNvSpPr>
                    <a:spLocks/>
                  </p:cNvSpPr>
                  <p:nvPr/>
                </p:nvSpPr>
                <p:spPr bwMode="gray">
                  <a:xfrm>
                    <a:off x="5828148" y="3732460"/>
                    <a:ext cx="5563" cy="7787"/>
                  </a:xfrm>
                  <a:custGeom>
                    <a:avLst/>
                    <a:gdLst>
                      <a:gd name="T0" fmla="*/ 2147483647 w 5"/>
                      <a:gd name="T1" fmla="*/ 0 h 7"/>
                      <a:gd name="T2" fmla="*/ 2147483647 w 5"/>
                      <a:gd name="T3" fmla="*/ 2147483647 h 7"/>
                      <a:gd name="T4" fmla="*/ 2147483647 w 5"/>
                      <a:gd name="T5" fmla="*/ 2147483647 h 7"/>
                      <a:gd name="T6" fmla="*/ 2147483647 w 5"/>
                      <a:gd name="T7" fmla="*/ 2147483647 h 7"/>
                      <a:gd name="T8" fmla="*/ 2147483647 w 5"/>
                      <a:gd name="T9" fmla="*/ 2147483647 h 7"/>
                      <a:gd name="T10" fmla="*/ 2147483647 w 5"/>
                      <a:gd name="T11" fmla="*/ 2147483647 h 7"/>
                      <a:gd name="T12" fmla="*/ 2147483647 w 5"/>
                      <a:gd name="T13" fmla="*/ 2147483647 h 7"/>
                      <a:gd name="T14" fmla="*/ 0 w 5"/>
                      <a:gd name="T15" fmla="*/ 2147483647 h 7"/>
                      <a:gd name="T16" fmla="*/ 2147483647 w 5"/>
                      <a:gd name="T17" fmla="*/ 2147483647 h 7"/>
                      <a:gd name="T18" fmla="*/ 2147483647 w 5"/>
                      <a:gd name="T19" fmla="*/ 2147483647 h 7"/>
                      <a:gd name="T20" fmla="*/ 2147483647 w 5"/>
                      <a:gd name="T21" fmla="*/ 0 h 7"/>
                      <a:gd name="T22" fmla="*/ 2147483647 w 5"/>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 h="7">
                        <a:moveTo>
                          <a:pt x="5" y="0"/>
                        </a:moveTo>
                        <a:lnTo>
                          <a:pt x="5" y="1"/>
                        </a:lnTo>
                        <a:lnTo>
                          <a:pt x="5" y="3"/>
                        </a:lnTo>
                        <a:lnTo>
                          <a:pt x="5" y="4"/>
                        </a:lnTo>
                        <a:lnTo>
                          <a:pt x="5" y="5"/>
                        </a:lnTo>
                        <a:lnTo>
                          <a:pt x="2" y="7"/>
                        </a:lnTo>
                        <a:lnTo>
                          <a:pt x="1" y="7"/>
                        </a:lnTo>
                        <a:lnTo>
                          <a:pt x="0" y="6"/>
                        </a:lnTo>
                        <a:lnTo>
                          <a:pt x="1" y="5"/>
                        </a:lnTo>
                        <a:lnTo>
                          <a:pt x="3" y="2"/>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3" name="Freeform 1499">
                    <a:extLst>
                      <a:ext uri="{FF2B5EF4-FFF2-40B4-BE49-F238E27FC236}">
                        <a16:creationId xmlns:a16="http://schemas.microsoft.com/office/drawing/2014/main" xmlns="" id="{51156517-F56D-44F2-BB88-61842C78E0F1}"/>
                      </a:ext>
                    </a:extLst>
                  </p:cNvPr>
                  <p:cNvSpPr>
                    <a:spLocks/>
                  </p:cNvSpPr>
                  <p:nvPr/>
                </p:nvSpPr>
                <p:spPr bwMode="gray">
                  <a:xfrm>
                    <a:off x="5681303" y="3671278"/>
                    <a:ext cx="13350" cy="23361"/>
                  </a:xfrm>
                  <a:custGeom>
                    <a:avLst/>
                    <a:gdLst>
                      <a:gd name="T0" fmla="*/ 2147483647 w 12"/>
                      <a:gd name="T1" fmla="*/ 2147483647 h 21"/>
                      <a:gd name="T2" fmla="*/ 2147483647 w 12"/>
                      <a:gd name="T3" fmla="*/ 2147483647 h 21"/>
                      <a:gd name="T4" fmla="*/ 2147483647 w 12"/>
                      <a:gd name="T5" fmla="*/ 2147483647 h 21"/>
                      <a:gd name="T6" fmla="*/ 2147483647 w 12"/>
                      <a:gd name="T7" fmla="*/ 2147483647 h 21"/>
                      <a:gd name="T8" fmla="*/ 2147483647 w 12"/>
                      <a:gd name="T9" fmla="*/ 2147483647 h 21"/>
                      <a:gd name="T10" fmla="*/ 2147483647 w 12"/>
                      <a:gd name="T11" fmla="*/ 2147483647 h 21"/>
                      <a:gd name="T12" fmla="*/ 2147483647 w 12"/>
                      <a:gd name="T13" fmla="*/ 2147483647 h 21"/>
                      <a:gd name="T14" fmla="*/ 2147483647 w 12"/>
                      <a:gd name="T15" fmla="*/ 2147483647 h 21"/>
                      <a:gd name="T16" fmla="*/ 2147483647 w 12"/>
                      <a:gd name="T17" fmla="*/ 2147483647 h 21"/>
                      <a:gd name="T18" fmla="*/ 2147483647 w 12"/>
                      <a:gd name="T19" fmla="*/ 2147483647 h 21"/>
                      <a:gd name="T20" fmla="*/ 2147483647 w 12"/>
                      <a:gd name="T21" fmla="*/ 2147483647 h 21"/>
                      <a:gd name="T22" fmla="*/ 2147483647 w 12"/>
                      <a:gd name="T23" fmla="*/ 2147483647 h 21"/>
                      <a:gd name="T24" fmla="*/ 2147483647 w 12"/>
                      <a:gd name="T25" fmla="*/ 2147483647 h 21"/>
                      <a:gd name="T26" fmla="*/ 2147483647 w 12"/>
                      <a:gd name="T27" fmla="*/ 2147483647 h 21"/>
                      <a:gd name="T28" fmla="*/ 2147483647 w 12"/>
                      <a:gd name="T29" fmla="*/ 2147483647 h 21"/>
                      <a:gd name="T30" fmla="*/ 2147483647 w 12"/>
                      <a:gd name="T31" fmla="*/ 2147483647 h 21"/>
                      <a:gd name="T32" fmla="*/ 2147483647 w 12"/>
                      <a:gd name="T33" fmla="*/ 2147483647 h 21"/>
                      <a:gd name="T34" fmla="*/ 2147483647 w 12"/>
                      <a:gd name="T35" fmla="*/ 2147483647 h 21"/>
                      <a:gd name="T36" fmla="*/ 2147483647 w 12"/>
                      <a:gd name="T37" fmla="*/ 2147483647 h 21"/>
                      <a:gd name="T38" fmla="*/ 2147483647 w 12"/>
                      <a:gd name="T39" fmla="*/ 2147483647 h 21"/>
                      <a:gd name="T40" fmla="*/ 2147483647 w 12"/>
                      <a:gd name="T41" fmla="*/ 2147483647 h 21"/>
                      <a:gd name="T42" fmla="*/ 0 w 12"/>
                      <a:gd name="T43" fmla="*/ 2147483647 h 21"/>
                      <a:gd name="T44" fmla="*/ 0 w 12"/>
                      <a:gd name="T45" fmla="*/ 2147483647 h 21"/>
                      <a:gd name="T46" fmla="*/ 0 w 12"/>
                      <a:gd name="T47" fmla="*/ 2147483647 h 21"/>
                      <a:gd name="T48" fmla="*/ 0 w 12"/>
                      <a:gd name="T49" fmla="*/ 2147483647 h 21"/>
                      <a:gd name="T50" fmla="*/ 0 w 12"/>
                      <a:gd name="T51" fmla="*/ 2147483647 h 21"/>
                      <a:gd name="T52" fmla="*/ 2147483647 w 12"/>
                      <a:gd name="T53" fmla="*/ 2147483647 h 21"/>
                      <a:gd name="T54" fmla="*/ 2147483647 w 12"/>
                      <a:gd name="T55" fmla="*/ 2147483647 h 21"/>
                      <a:gd name="T56" fmla="*/ 2147483647 w 12"/>
                      <a:gd name="T57" fmla="*/ 2147483647 h 21"/>
                      <a:gd name="T58" fmla="*/ 2147483647 w 12"/>
                      <a:gd name="T59" fmla="*/ 2147483647 h 21"/>
                      <a:gd name="T60" fmla="*/ 2147483647 w 12"/>
                      <a:gd name="T61" fmla="*/ 2147483647 h 21"/>
                      <a:gd name="T62" fmla="*/ 2147483647 w 12"/>
                      <a:gd name="T63" fmla="*/ 2147483647 h 21"/>
                      <a:gd name="T64" fmla="*/ 2147483647 w 12"/>
                      <a:gd name="T65" fmla="*/ 2147483647 h 21"/>
                      <a:gd name="T66" fmla="*/ 2147483647 w 12"/>
                      <a:gd name="T67" fmla="*/ 2147483647 h 21"/>
                      <a:gd name="T68" fmla="*/ 2147483647 w 12"/>
                      <a:gd name="T69" fmla="*/ 2147483647 h 21"/>
                      <a:gd name="T70" fmla="*/ 2147483647 w 12"/>
                      <a:gd name="T71" fmla="*/ 2147483647 h 21"/>
                      <a:gd name="T72" fmla="*/ 2147483647 w 12"/>
                      <a:gd name="T73" fmla="*/ 0 h 21"/>
                      <a:gd name="T74" fmla="*/ 2147483647 w 12"/>
                      <a:gd name="T75" fmla="*/ 2147483647 h 21"/>
                      <a:gd name="T76" fmla="*/ 2147483647 w 12"/>
                      <a:gd name="T77" fmla="*/ 2147483647 h 21"/>
                      <a:gd name="T78" fmla="*/ 2147483647 w 12"/>
                      <a:gd name="T79" fmla="*/ 2147483647 h 21"/>
                      <a:gd name="T80" fmla="*/ 2147483647 w 12"/>
                      <a:gd name="T81" fmla="*/ 2147483647 h 21"/>
                      <a:gd name="T82" fmla="*/ 2147483647 w 12"/>
                      <a:gd name="T83" fmla="*/ 2147483647 h 21"/>
                      <a:gd name="T84" fmla="*/ 2147483647 w 12"/>
                      <a:gd name="T85" fmla="*/ 2147483647 h 21"/>
                      <a:gd name="T86" fmla="*/ 2147483647 w 12"/>
                      <a:gd name="T87" fmla="*/ 2147483647 h 21"/>
                      <a:gd name="T88" fmla="*/ 2147483647 w 12"/>
                      <a:gd name="T89" fmla="*/ 2147483647 h 21"/>
                      <a:gd name="T90" fmla="*/ 2147483647 w 12"/>
                      <a:gd name="T91" fmla="*/ 2147483647 h 21"/>
                      <a:gd name="T92" fmla="*/ 2147483647 w 12"/>
                      <a:gd name="T93" fmla="*/ 2147483647 h 21"/>
                      <a:gd name="T94" fmla="*/ 2147483647 w 12"/>
                      <a:gd name="T95" fmla="*/ 2147483647 h 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2" h="21">
                        <a:moveTo>
                          <a:pt x="9" y="7"/>
                        </a:moveTo>
                        <a:lnTo>
                          <a:pt x="9" y="7"/>
                        </a:lnTo>
                        <a:lnTo>
                          <a:pt x="9" y="8"/>
                        </a:lnTo>
                        <a:lnTo>
                          <a:pt x="9" y="9"/>
                        </a:lnTo>
                        <a:lnTo>
                          <a:pt x="7" y="9"/>
                        </a:lnTo>
                        <a:lnTo>
                          <a:pt x="6" y="11"/>
                        </a:lnTo>
                        <a:lnTo>
                          <a:pt x="5" y="13"/>
                        </a:lnTo>
                        <a:lnTo>
                          <a:pt x="3" y="16"/>
                        </a:lnTo>
                        <a:lnTo>
                          <a:pt x="7" y="17"/>
                        </a:lnTo>
                        <a:lnTo>
                          <a:pt x="8" y="18"/>
                        </a:lnTo>
                        <a:lnTo>
                          <a:pt x="8" y="19"/>
                        </a:lnTo>
                        <a:lnTo>
                          <a:pt x="9" y="21"/>
                        </a:lnTo>
                        <a:lnTo>
                          <a:pt x="8" y="19"/>
                        </a:lnTo>
                        <a:lnTo>
                          <a:pt x="7" y="19"/>
                        </a:lnTo>
                        <a:lnTo>
                          <a:pt x="5" y="18"/>
                        </a:lnTo>
                        <a:lnTo>
                          <a:pt x="3" y="16"/>
                        </a:lnTo>
                        <a:lnTo>
                          <a:pt x="2" y="15"/>
                        </a:lnTo>
                        <a:lnTo>
                          <a:pt x="1" y="14"/>
                        </a:lnTo>
                        <a:lnTo>
                          <a:pt x="0" y="12"/>
                        </a:lnTo>
                        <a:lnTo>
                          <a:pt x="0" y="11"/>
                        </a:lnTo>
                        <a:lnTo>
                          <a:pt x="0" y="9"/>
                        </a:lnTo>
                        <a:lnTo>
                          <a:pt x="2" y="9"/>
                        </a:lnTo>
                        <a:lnTo>
                          <a:pt x="3" y="9"/>
                        </a:lnTo>
                        <a:lnTo>
                          <a:pt x="3" y="7"/>
                        </a:lnTo>
                        <a:lnTo>
                          <a:pt x="4" y="7"/>
                        </a:lnTo>
                        <a:lnTo>
                          <a:pt x="5" y="7"/>
                        </a:lnTo>
                        <a:lnTo>
                          <a:pt x="6" y="7"/>
                        </a:lnTo>
                        <a:lnTo>
                          <a:pt x="7" y="7"/>
                        </a:lnTo>
                        <a:lnTo>
                          <a:pt x="8" y="6"/>
                        </a:lnTo>
                        <a:lnTo>
                          <a:pt x="9" y="4"/>
                        </a:lnTo>
                        <a:lnTo>
                          <a:pt x="9" y="0"/>
                        </a:lnTo>
                        <a:lnTo>
                          <a:pt x="10" y="2"/>
                        </a:lnTo>
                        <a:lnTo>
                          <a:pt x="11" y="4"/>
                        </a:lnTo>
                        <a:lnTo>
                          <a:pt x="12" y="6"/>
                        </a:lnTo>
                        <a:lnTo>
                          <a:pt x="12" y="7"/>
                        </a:lnTo>
                        <a:lnTo>
                          <a:pt x="12" y="9"/>
                        </a:lnTo>
                        <a:lnTo>
                          <a:pt x="12" y="8"/>
                        </a:lnTo>
                        <a:lnTo>
                          <a:pt x="11" y="7"/>
                        </a:lnTo>
                        <a:lnTo>
                          <a:pt x="10" y="7"/>
                        </a:lnTo>
                        <a:lnTo>
                          <a:pt x="9" y="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4" name="Freeform 1501">
                    <a:extLst>
                      <a:ext uri="{FF2B5EF4-FFF2-40B4-BE49-F238E27FC236}">
                        <a16:creationId xmlns:a16="http://schemas.microsoft.com/office/drawing/2014/main" xmlns="" id="{E9770A95-8C1E-4C31-AC4C-449075BEA1A7}"/>
                      </a:ext>
                    </a:extLst>
                  </p:cNvPr>
                  <p:cNvSpPr>
                    <a:spLocks/>
                  </p:cNvSpPr>
                  <p:nvPr/>
                </p:nvSpPr>
                <p:spPr bwMode="gray">
                  <a:xfrm>
                    <a:off x="5694653" y="3679064"/>
                    <a:ext cx="3338" cy="5563"/>
                  </a:xfrm>
                  <a:custGeom>
                    <a:avLst/>
                    <a:gdLst>
                      <a:gd name="T0" fmla="*/ 0 w 3"/>
                      <a:gd name="T1" fmla="*/ 2147483647 h 5"/>
                      <a:gd name="T2" fmla="*/ 0 w 3"/>
                      <a:gd name="T3" fmla="*/ 2147483647 h 5"/>
                      <a:gd name="T4" fmla="*/ 0 w 3"/>
                      <a:gd name="T5" fmla="*/ 2147483647 h 5"/>
                      <a:gd name="T6" fmla="*/ 0 w 3"/>
                      <a:gd name="T7" fmla="*/ 2147483647 h 5"/>
                      <a:gd name="T8" fmla="*/ 2147483647 w 3"/>
                      <a:gd name="T9" fmla="*/ 0 h 5"/>
                      <a:gd name="T10" fmla="*/ 2147483647 w 3"/>
                      <a:gd name="T11" fmla="*/ 2147483647 h 5"/>
                      <a:gd name="T12" fmla="*/ 2147483647 w 3"/>
                      <a:gd name="T13" fmla="*/ 2147483647 h 5"/>
                      <a:gd name="T14" fmla="*/ 2147483647 w 3"/>
                      <a:gd name="T15" fmla="*/ 2147483647 h 5"/>
                      <a:gd name="T16" fmla="*/ 2147483647 w 3"/>
                      <a:gd name="T17" fmla="*/ 2147483647 h 5"/>
                      <a:gd name="T18" fmla="*/ 2147483647 w 3"/>
                      <a:gd name="T19" fmla="*/ 2147483647 h 5"/>
                      <a:gd name="T20" fmla="*/ 2147483647 w 3"/>
                      <a:gd name="T21" fmla="*/ 2147483647 h 5"/>
                      <a:gd name="T22" fmla="*/ 2147483647 w 3"/>
                      <a:gd name="T23" fmla="*/ 2147483647 h 5"/>
                      <a:gd name="T24" fmla="*/ 0 w 3"/>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 h="5">
                        <a:moveTo>
                          <a:pt x="0" y="5"/>
                        </a:moveTo>
                        <a:lnTo>
                          <a:pt x="0" y="5"/>
                        </a:lnTo>
                        <a:lnTo>
                          <a:pt x="0" y="3"/>
                        </a:lnTo>
                        <a:lnTo>
                          <a:pt x="0" y="2"/>
                        </a:lnTo>
                        <a:lnTo>
                          <a:pt x="3" y="0"/>
                        </a:lnTo>
                        <a:lnTo>
                          <a:pt x="2" y="1"/>
                        </a:lnTo>
                        <a:lnTo>
                          <a:pt x="2" y="2"/>
                        </a:lnTo>
                        <a:lnTo>
                          <a:pt x="2" y="4"/>
                        </a:lnTo>
                        <a:lnTo>
                          <a:pt x="3" y="5"/>
                        </a:lnTo>
                        <a:lnTo>
                          <a:pt x="2" y="5"/>
                        </a:lnTo>
                        <a:lnTo>
                          <a:pt x="1" y="5"/>
                        </a:lnTo>
                        <a:lnTo>
                          <a:pt x="0" y="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5" name="Freeform 1503">
                    <a:extLst>
                      <a:ext uri="{FF2B5EF4-FFF2-40B4-BE49-F238E27FC236}">
                        <a16:creationId xmlns:a16="http://schemas.microsoft.com/office/drawing/2014/main" xmlns="" id="{42B6BB60-5246-4E49-BDBE-C8E56F31089B}"/>
                      </a:ext>
                    </a:extLst>
                  </p:cNvPr>
                  <p:cNvSpPr>
                    <a:spLocks/>
                  </p:cNvSpPr>
                  <p:nvPr/>
                </p:nvSpPr>
                <p:spPr bwMode="gray">
                  <a:xfrm>
                    <a:off x="5700215" y="3689077"/>
                    <a:ext cx="3338" cy="3337"/>
                  </a:xfrm>
                  <a:custGeom>
                    <a:avLst/>
                    <a:gdLst>
                      <a:gd name="T0" fmla="*/ 2147483647 w 3"/>
                      <a:gd name="T1" fmla="*/ 2147483647 h 3"/>
                      <a:gd name="T2" fmla="*/ 2147483647 w 3"/>
                      <a:gd name="T3" fmla="*/ 2147483647 h 3"/>
                      <a:gd name="T4" fmla="*/ 0 w 3"/>
                      <a:gd name="T5" fmla="*/ 2147483647 h 3"/>
                      <a:gd name="T6" fmla="*/ 0 w 3"/>
                      <a:gd name="T7" fmla="*/ 0 h 3"/>
                      <a:gd name="T8" fmla="*/ 2147483647 w 3"/>
                      <a:gd name="T9" fmla="*/ 0 h 3"/>
                      <a:gd name="T10" fmla="*/ 2147483647 w 3"/>
                      <a:gd name="T11" fmla="*/ 2147483647 h 3"/>
                      <a:gd name="T12" fmla="*/ 2147483647 w 3"/>
                      <a:gd name="T13" fmla="*/ 2147483647 h 3"/>
                      <a:gd name="T14" fmla="*/ 2147483647 w 3"/>
                      <a:gd name="T15" fmla="*/ 2147483647 h 3"/>
                      <a:gd name="T16" fmla="*/ 2147483647 w 3"/>
                      <a:gd name="T17" fmla="*/ 2147483647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3">
                        <a:moveTo>
                          <a:pt x="1" y="3"/>
                        </a:moveTo>
                        <a:lnTo>
                          <a:pt x="1" y="2"/>
                        </a:lnTo>
                        <a:lnTo>
                          <a:pt x="0" y="1"/>
                        </a:lnTo>
                        <a:lnTo>
                          <a:pt x="0" y="0"/>
                        </a:lnTo>
                        <a:lnTo>
                          <a:pt x="1" y="0"/>
                        </a:lnTo>
                        <a:lnTo>
                          <a:pt x="2" y="1"/>
                        </a:lnTo>
                        <a:lnTo>
                          <a:pt x="2" y="3"/>
                        </a:lnTo>
                        <a:lnTo>
                          <a:pt x="3" y="3"/>
                        </a:lnTo>
                        <a:lnTo>
                          <a:pt x="1"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6" name="Freeform 1505">
                    <a:extLst>
                      <a:ext uri="{FF2B5EF4-FFF2-40B4-BE49-F238E27FC236}">
                        <a16:creationId xmlns:a16="http://schemas.microsoft.com/office/drawing/2014/main" xmlns="" id="{85B2A9AD-098A-43DE-8D37-E0313F6A7571}"/>
                      </a:ext>
                    </a:extLst>
                  </p:cNvPr>
                  <p:cNvSpPr>
                    <a:spLocks/>
                  </p:cNvSpPr>
                  <p:nvPr/>
                </p:nvSpPr>
                <p:spPr bwMode="gray">
                  <a:xfrm>
                    <a:off x="5697989" y="3671278"/>
                    <a:ext cx="3338" cy="5563"/>
                  </a:xfrm>
                  <a:custGeom>
                    <a:avLst/>
                    <a:gdLst>
                      <a:gd name="T0" fmla="*/ 0 w 3"/>
                      <a:gd name="T1" fmla="*/ 2147483647 h 5"/>
                      <a:gd name="T2" fmla="*/ 0 w 3"/>
                      <a:gd name="T3" fmla="*/ 2147483647 h 5"/>
                      <a:gd name="T4" fmla="*/ 2147483647 w 3"/>
                      <a:gd name="T5" fmla="*/ 0 h 5"/>
                      <a:gd name="T6" fmla="*/ 2147483647 w 3"/>
                      <a:gd name="T7" fmla="*/ 0 h 5"/>
                      <a:gd name="T8" fmla="*/ 2147483647 w 3"/>
                      <a:gd name="T9" fmla="*/ 0 h 5"/>
                      <a:gd name="T10" fmla="*/ 2147483647 w 3"/>
                      <a:gd name="T11" fmla="*/ 2147483647 h 5"/>
                      <a:gd name="T12" fmla="*/ 2147483647 w 3"/>
                      <a:gd name="T13" fmla="*/ 2147483647 h 5"/>
                      <a:gd name="T14" fmla="*/ 2147483647 w 3"/>
                      <a:gd name="T15" fmla="*/ 2147483647 h 5"/>
                      <a:gd name="T16" fmla="*/ 0 w 3"/>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5">
                        <a:moveTo>
                          <a:pt x="0" y="3"/>
                        </a:moveTo>
                        <a:lnTo>
                          <a:pt x="0" y="1"/>
                        </a:lnTo>
                        <a:lnTo>
                          <a:pt x="2" y="0"/>
                        </a:lnTo>
                        <a:lnTo>
                          <a:pt x="3" y="0"/>
                        </a:lnTo>
                        <a:lnTo>
                          <a:pt x="3" y="4"/>
                        </a:lnTo>
                        <a:lnTo>
                          <a:pt x="3" y="5"/>
                        </a:lnTo>
                        <a:lnTo>
                          <a:pt x="2" y="5"/>
                        </a:lnTo>
                        <a:lnTo>
                          <a:pt x="0" y="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7" name="Freeform 1507">
                    <a:extLst>
                      <a:ext uri="{FF2B5EF4-FFF2-40B4-BE49-F238E27FC236}">
                        <a16:creationId xmlns:a16="http://schemas.microsoft.com/office/drawing/2014/main" xmlns="" id="{5FC37776-CBE5-42C0-B6F7-A244435DB5F9}"/>
                      </a:ext>
                    </a:extLst>
                  </p:cNvPr>
                  <p:cNvSpPr>
                    <a:spLocks/>
                  </p:cNvSpPr>
                  <p:nvPr/>
                </p:nvSpPr>
                <p:spPr bwMode="gray">
                  <a:xfrm>
                    <a:off x="5700215" y="3663491"/>
                    <a:ext cx="6675" cy="12237"/>
                  </a:xfrm>
                  <a:custGeom>
                    <a:avLst/>
                    <a:gdLst>
                      <a:gd name="T0" fmla="*/ 2147483647 w 6"/>
                      <a:gd name="T1" fmla="*/ 2147483647 h 11"/>
                      <a:gd name="T2" fmla="*/ 2147483647 w 6"/>
                      <a:gd name="T3" fmla="*/ 2147483647 h 11"/>
                      <a:gd name="T4" fmla="*/ 2147483647 w 6"/>
                      <a:gd name="T5" fmla="*/ 2147483647 h 11"/>
                      <a:gd name="T6" fmla="*/ 2147483647 w 6"/>
                      <a:gd name="T7" fmla="*/ 2147483647 h 11"/>
                      <a:gd name="T8" fmla="*/ 0 w 6"/>
                      <a:gd name="T9" fmla="*/ 0 h 11"/>
                      <a:gd name="T10" fmla="*/ 0 w 6"/>
                      <a:gd name="T11" fmla="*/ 0 h 11"/>
                      <a:gd name="T12" fmla="*/ 2147483647 w 6"/>
                      <a:gd name="T13" fmla="*/ 0 h 11"/>
                      <a:gd name="T14" fmla="*/ 2147483647 w 6"/>
                      <a:gd name="T15" fmla="*/ 2147483647 h 11"/>
                      <a:gd name="T16" fmla="*/ 2147483647 w 6"/>
                      <a:gd name="T17" fmla="*/ 2147483647 h 11"/>
                      <a:gd name="T18" fmla="*/ 2147483647 w 6"/>
                      <a:gd name="T19" fmla="*/ 2147483647 h 11"/>
                      <a:gd name="T20" fmla="*/ 2147483647 w 6"/>
                      <a:gd name="T21" fmla="*/ 2147483647 h 11"/>
                      <a:gd name="T22" fmla="*/ 2147483647 w 6"/>
                      <a:gd name="T23" fmla="*/ 2147483647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11">
                        <a:moveTo>
                          <a:pt x="6" y="10"/>
                        </a:moveTo>
                        <a:lnTo>
                          <a:pt x="5" y="10"/>
                        </a:lnTo>
                        <a:lnTo>
                          <a:pt x="5" y="8"/>
                        </a:lnTo>
                        <a:lnTo>
                          <a:pt x="3" y="4"/>
                        </a:lnTo>
                        <a:lnTo>
                          <a:pt x="0" y="0"/>
                        </a:lnTo>
                        <a:lnTo>
                          <a:pt x="2" y="0"/>
                        </a:lnTo>
                        <a:lnTo>
                          <a:pt x="3" y="4"/>
                        </a:lnTo>
                        <a:lnTo>
                          <a:pt x="5" y="8"/>
                        </a:lnTo>
                        <a:lnTo>
                          <a:pt x="6" y="11"/>
                        </a:lnTo>
                        <a:lnTo>
                          <a:pt x="6" y="1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8" name="Freeform 1509">
                    <a:extLst>
                      <a:ext uri="{FF2B5EF4-FFF2-40B4-BE49-F238E27FC236}">
                        <a16:creationId xmlns:a16="http://schemas.microsoft.com/office/drawing/2014/main" xmlns="" id="{F004CA8A-4213-485D-AF2D-9F67121B2F7E}"/>
                      </a:ext>
                    </a:extLst>
                  </p:cNvPr>
                  <p:cNvSpPr>
                    <a:spLocks/>
                  </p:cNvSpPr>
                  <p:nvPr/>
                </p:nvSpPr>
                <p:spPr bwMode="gray">
                  <a:xfrm>
                    <a:off x="5710228" y="3681290"/>
                    <a:ext cx="4450" cy="7787"/>
                  </a:xfrm>
                  <a:custGeom>
                    <a:avLst/>
                    <a:gdLst>
                      <a:gd name="T0" fmla="*/ 2147483647 w 4"/>
                      <a:gd name="T1" fmla="*/ 2147483647 h 7"/>
                      <a:gd name="T2" fmla="*/ 2147483647 w 4"/>
                      <a:gd name="T3" fmla="*/ 2147483647 h 7"/>
                      <a:gd name="T4" fmla="*/ 2147483647 w 4"/>
                      <a:gd name="T5" fmla="*/ 2147483647 h 7"/>
                      <a:gd name="T6" fmla="*/ 0 w 4"/>
                      <a:gd name="T7" fmla="*/ 2147483647 h 7"/>
                      <a:gd name="T8" fmla="*/ 2147483647 w 4"/>
                      <a:gd name="T9" fmla="*/ 2147483647 h 7"/>
                      <a:gd name="T10" fmla="*/ 2147483647 w 4"/>
                      <a:gd name="T11" fmla="*/ 0 h 7"/>
                      <a:gd name="T12" fmla="*/ 2147483647 w 4"/>
                      <a:gd name="T13" fmla="*/ 0 h 7"/>
                      <a:gd name="T14" fmla="*/ 2147483647 w 4"/>
                      <a:gd name="T15" fmla="*/ 2147483647 h 7"/>
                      <a:gd name="T16" fmla="*/ 2147483647 w 4"/>
                      <a:gd name="T17" fmla="*/ 2147483647 h 7"/>
                      <a:gd name="T18" fmla="*/ 2147483647 w 4"/>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7">
                        <a:moveTo>
                          <a:pt x="2" y="7"/>
                        </a:moveTo>
                        <a:lnTo>
                          <a:pt x="2" y="5"/>
                        </a:lnTo>
                        <a:lnTo>
                          <a:pt x="1" y="3"/>
                        </a:lnTo>
                        <a:lnTo>
                          <a:pt x="0" y="2"/>
                        </a:lnTo>
                        <a:lnTo>
                          <a:pt x="1" y="1"/>
                        </a:lnTo>
                        <a:lnTo>
                          <a:pt x="2" y="0"/>
                        </a:lnTo>
                        <a:lnTo>
                          <a:pt x="4" y="0"/>
                        </a:lnTo>
                        <a:lnTo>
                          <a:pt x="3" y="2"/>
                        </a:lnTo>
                        <a:lnTo>
                          <a:pt x="3" y="4"/>
                        </a:lnTo>
                        <a:lnTo>
                          <a:pt x="2" y="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49" name="Freeform 1511">
                    <a:extLst>
                      <a:ext uri="{FF2B5EF4-FFF2-40B4-BE49-F238E27FC236}">
                        <a16:creationId xmlns:a16="http://schemas.microsoft.com/office/drawing/2014/main" xmlns="" id="{8B45CFFA-A653-4F34-AB38-48D3E4837374}"/>
                      </a:ext>
                    </a:extLst>
                  </p:cNvPr>
                  <p:cNvSpPr>
                    <a:spLocks/>
                  </p:cNvSpPr>
                  <p:nvPr/>
                </p:nvSpPr>
                <p:spPr bwMode="gray">
                  <a:xfrm>
                    <a:off x="5716903" y="3684627"/>
                    <a:ext cx="3338" cy="7787"/>
                  </a:xfrm>
                  <a:custGeom>
                    <a:avLst/>
                    <a:gdLst>
                      <a:gd name="T0" fmla="*/ 0 w 3"/>
                      <a:gd name="T1" fmla="*/ 2147483647 h 7"/>
                      <a:gd name="T2" fmla="*/ 0 w 3"/>
                      <a:gd name="T3" fmla="*/ 2147483647 h 7"/>
                      <a:gd name="T4" fmla="*/ 0 w 3"/>
                      <a:gd name="T5" fmla="*/ 2147483647 h 7"/>
                      <a:gd name="T6" fmla="*/ 0 w 3"/>
                      <a:gd name="T7" fmla="*/ 2147483647 h 7"/>
                      <a:gd name="T8" fmla="*/ 0 w 3"/>
                      <a:gd name="T9" fmla="*/ 0 h 7"/>
                      <a:gd name="T10" fmla="*/ 2147483647 w 3"/>
                      <a:gd name="T11" fmla="*/ 2147483647 h 7"/>
                      <a:gd name="T12" fmla="*/ 2147483647 w 3"/>
                      <a:gd name="T13" fmla="*/ 2147483647 h 7"/>
                      <a:gd name="T14" fmla="*/ 2147483647 w 3"/>
                      <a:gd name="T15" fmla="*/ 2147483647 h 7"/>
                      <a:gd name="T16" fmla="*/ 2147483647 w 3"/>
                      <a:gd name="T17" fmla="*/ 2147483647 h 7"/>
                      <a:gd name="T18" fmla="*/ 2147483647 w 3"/>
                      <a:gd name="T19" fmla="*/ 2147483647 h 7"/>
                      <a:gd name="T20" fmla="*/ 0 w 3"/>
                      <a:gd name="T21" fmla="*/ 2147483647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 h="7">
                        <a:moveTo>
                          <a:pt x="0" y="7"/>
                        </a:moveTo>
                        <a:lnTo>
                          <a:pt x="0" y="6"/>
                        </a:lnTo>
                        <a:lnTo>
                          <a:pt x="0" y="4"/>
                        </a:lnTo>
                        <a:lnTo>
                          <a:pt x="0" y="1"/>
                        </a:lnTo>
                        <a:lnTo>
                          <a:pt x="0" y="0"/>
                        </a:lnTo>
                        <a:lnTo>
                          <a:pt x="2" y="1"/>
                        </a:lnTo>
                        <a:lnTo>
                          <a:pt x="3" y="2"/>
                        </a:lnTo>
                        <a:lnTo>
                          <a:pt x="3" y="7"/>
                        </a:lnTo>
                        <a:lnTo>
                          <a:pt x="2" y="7"/>
                        </a:lnTo>
                        <a:lnTo>
                          <a:pt x="0" y="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0" name="Freeform 1513">
                    <a:extLst>
                      <a:ext uri="{FF2B5EF4-FFF2-40B4-BE49-F238E27FC236}">
                        <a16:creationId xmlns:a16="http://schemas.microsoft.com/office/drawing/2014/main" xmlns="" id="{1E5CCF9F-2C56-4308-A2DA-D50EF2BAD356}"/>
                      </a:ext>
                    </a:extLst>
                  </p:cNvPr>
                  <p:cNvSpPr>
                    <a:spLocks/>
                  </p:cNvSpPr>
                  <p:nvPr/>
                </p:nvSpPr>
                <p:spPr bwMode="gray">
                  <a:xfrm>
                    <a:off x="5706889" y="3665717"/>
                    <a:ext cx="76761" cy="72307"/>
                  </a:xfrm>
                  <a:custGeom>
                    <a:avLst/>
                    <a:gdLst>
                      <a:gd name="T0" fmla="*/ 2147483647 w 69"/>
                      <a:gd name="T1" fmla="*/ 2147483647 h 65"/>
                      <a:gd name="T2" fmla="*/ 2147483647 w 69"/>
                      <a:gd name="T3" fmla="*/ 2147483647 h 65"/>
                      <a:gd name="T4" fmla="*/ 2147483647 w 69"/>
                      <a:gd name="T5" fmla="*/ 2147483647 h 65"/>
                      <a:gd name="T6" fmla="*/ 2147483647 w 69"/>
                      <a:gd name="T7" fmla="*/ 2147483647 h 65"/>
                      <a:gd name="T8" fmla="*/ 2147483647 w 69"/>
                      <a:gd name="T9" fmla="*/ 2147483647 h 65"/>
                      <a:gd name="T10" fmla="*/ 2147483647 w 69"/>
                      <a:gd name="T11" fmla="*/ 2147483647 h 65"/>
                      <a:gd name="T12" fmla="*/ 2147483647 w 69"/>
                      <a:gd name="T13" fmla="*/ 2147483647 h 65"/>
                      <a:gd name="T14" fmla="*/ 2147483647 w 69"/>
                      <a:gd name="T15" fmla="*/ 2147483647 h 65"/>
                      <a:gd name="T16" fmla="*/ 2147483647 w 69"/>
                      <a:gd name="T17" fmla="*/ 2147483647 h 65"/>
                      <a:gd name="T18" fmla="*/ 2147483647 w 69"/>
                      <a:gd name="T19" fmla="*/ 2147483647 h 65"/>
                      <a:gd name="T20" fmla="*/ 2147483647 w 69"/>
                      <a:gd name="T21" fmla="*/ 2147483647 h 65"/>
                      <a:gd name="T22" fmla="*/ 2147483647 w 69"/>
                      <a:gd name="T23" fmla="*/ 2147483647 h 65"/>
                      <a:gd name="T24" fmla="*/ 2147483647 w 69"/>
                      <a:gd name="T25" fmla="*/ 2147483647 h 65"/>
                      <a:gd name="T26" fmla="*/ 2147483647 w 69"/>
                      <a:gd name="T27" fmla="*/ 2147483647 h 65"/>
                      <a:gd name="T28" fmla="*/ 2147483647 w 69"/>
                      <a:gd name="T29" fmla="*/ 2147483647 h 65"/>
                      <a:gd name="T30" fmla="*/ 2147483647 w 69"/>
                      <a:gd name="T31" fmla="*/ 2147483647 h 65"/>
                      <a:gd name="T32" fmla="*/ 2147483647 w 69"/>
                      <a:gd name="T33" fmla="*/ 2147483647 h 65"/>
                      <a:gd name="T34" fmla="*/ 2147483647 w 69"/>
                      <a:gd name="T35" fmla="*/ 2147483647 h 65"/>
                      <a:gd name="T36" fmla="*/ 2147483647 w 69"/>
                      <a:gd name="T37" fmla="*/ 2147483647 h 65"/>
                      <a:gd name="T38" fmla="*/ 2147483647 w 69"/>
                      <a:gd name="T39" fmla="*/ 2147483647 h 65"/>
                      <a:gd name="T40" fmla="*/ 2147483647 w 69"/>
                      <a:gd name="T41" fmla="*/ 2147483647 h 65"/>
                      <a:gd name="T42" fmla="*/ 2147483647 w 69"/>
                      <a:gd name="T43" fmla="*/ 2147483647 h 65"/>
                      <a:gd name="T44" fmla="*/ 2147483647 w 69"/>
                      <a:gd name="T45" fmla="*/ 2147483647 h 65"/>
                      <a:gd name="T46" fmla="*/ 2147483647 w 69"/>
                      <a:gd name="T47" fmla="*/ 2147483647 h 65"/>
                      <a:gd name="T48" fmla="*/ 2147483647 w 69"/>
                      <a:gd name="T49" fmla="*/ 2147483647 h 65"/>
                      <a:gd name="T50" fmla="*/ 2147483647 w 69"/>
                      <a:gd name="T51" fmla="*/ 2147483647 h 65"/>
                      <a:gd name="T52" fmla="*/ 2147483647 w 69"/>
                      <a:gd name="T53" fmla="*/ 2147483647 h 65"/>
                      <a:gd name="T54" fmla="*/ 2147483647 w 69"/>
                      <a:gd name="T55" fmla="*/ 2147483647 h 65"/>
                      <a:gd name="T56" fmla="*/ 2147483647 w 69"/>
                      <a:gd name="T57" fmla="*/ 2147483647 h 65"/>
                      <a:gd name="T58" fmla="*/ 2147483647 w 69"/>
                      <a:gd name="T59" fmla="*/ 2147483647 h 65"/>
                      <a:gd name="T60" fmla="*/ 2147483647 w 69"/>
                      <a:gd name="T61" fmla="*/ 2147483647 h 65"/>
                      <a:gd name="T62" fmla="*/ 2147483647 w 69"/>
                      <a:gd name="T63" fmla="*/ 2147483647 h 65"/>
                      <a:gd name="T64" fmla="*/ 2147483647 w 69"/>
                      <a:gd name="T65" fmla="*/ 2147483647 h 65"/>
                      <a:gd name="T66" fmla="*/ 2147483647 w 69"/>
                      <a:gd name="T67" fmla="*/ 2147483647 h 65"/>
                      <a:gd name="T68" fmla="*/ 2147483647 w 69"/>
                      <a:gd name="T69" fmla="*/ 2147483647 h 65"/>
                      <a:gd name="T70" fmla="*/ 2147483647 w 69"/>
                      <a:gd name="T71" fmla="*/ 2147483647 h 65"/>
                      <a:gd name="T72" fmla="*/ 2147483647 w 69"/>
                      <a:gd name="T73" fmla="*/ 2147483647 h 65"/>
                      <a:gd name="T74" fmla="*/ 2147483647 w 69"/>
                      <a:gd name="T75" fmla="*/ 2147483647 h 65"/>
                      <a:gd name="T76" fmla="*/ 2147483647 w 69"/>
                      <a:gd name="T77" fmla="*/ 2147483647 h 65"/>
                      <a:gd name="T78" fmla="*/ 2147483647 w 69"/>
                      <a:gd name="T79" fmla="*/ 2147483647 h 65"/>
                      <a:gd name="T80" fmla="*/ 2147483647 w 69"/>
                      <a:gd name="T81" fmla="*/ 2147483647 h 65"/>
                      <a:gd name="T82" fmla="*/ 2147483647 w 69"/>
                      <a:gd name="T83" fmla="*/ 2147483647 h 65"/>
                      <a:gd name="T84" fmla="*/ 2147483647 w 69"/>
                      <a:gd name="T85" fmla="*/ 2147483647 h 65"/>
                      <a:gd name="T86" fmla="*/ 2147483647 w 69"/>
                      <a:gd name="T87" fmla="*/ 2147483647 h 65"/>
                      <a:gd name="T88" fmla="*/ 2147483647 w 69"/>
                      <a:gd name="T89" fmla="*/ 2147483647 h 65"/>
                      <a:gd name="T90" fmla="*/ 2147483647 w 69"/>
                      <a:gd name="T91" fmla="*/ 0 h 65"/>
                      <a:gd name="T92" fmla="*/ 2147483647 w 69"/>
                      <a:gd name="T93" fmla="*/ 0 h 65"/>
                      <a:gd name="T94" fmla="*/ 2147483647 w 69"/>
                      <a:gd name="T95" fmla="*/ 2147483647 h 65"/>
                      <a:gd name="T96" fmla="*/ 2147483647 w 69"/>
                      <a:gd name="T97" fmla="*/ 2147483647 h 65"/>
                      <a:gd name="T98" fmla="*/ 2147483647 w 69"/>
                      <a:gd name="T99" fmla="*/ 2147483647 h 65"/>
                      <a:gd name="T100" fmla="*/ 2147483647 w 69"/>
                      <a:gd name="T101" fmla="*/ 2147483647 h 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9" h="65">
                        <a:moveTo>
                          <a:pt x="32" y="7"/>
                        </a:moveTo>
                        <a:lnTo>
                          <a:pt x="30" y="8"/>
                        </a:lnTo>
                        <a:lnTo>
                          <a:pt x="28" y="9"/>
                        </a:lnTo>
                        <a:lnTo>
                          <a:pt x="26" y="10"/>
                        </a:lnTo>
                        <a:lnTo>
                          <a:pt x="25" y="11"/>
                        </a:lnTo>
                        <a:lnTo>
                          <a:pt x="24" y="12"/>
                        </a:lnTo>
                        <a:lnTo>
                          <a:pt x="24" y="13"/>
                        </a:lnTo>
                        <a:lnTo>
                          <a:pt x="25" y="14"/>
                        </a:lnTo>
                        <a:lnTo>
                          <a:pt x="25" y="16"/>
                        </a:lnTo>
                        <a:lnTo>
                          <a:pt x="25" y="17"/>
                        </a:lnTo>
                        <a:lnTo>
                          <a:pt x="26" y="17"/>
                        </a:lnTo>
                        <a:lnTo>
                          <a:pt x="27" y="16"/>
                        </a:lnTo>
                        <a:lnTo>
                          <a:pt x="28" y="14"/>
                        </a:lnTo>
                        <a:lnTo>
                          <a:pt x="29" y="14"/>
                        </a:lnTo>
                        <a:lnTo>
                          <a:pt x="29" y="17"/>
                        </a:lnTo>
                        <a:lnTo>
                          <a:pt x="30" y="17"/>
                        </a:lnTo>
                        <a:lnTo>
                          <a:pt x="32" y="17"/>
                        </a:lnTo>
                        <a:lnTo>
                          <a:pt x="32" y="27"/>
                        </a:lnTo>
                        <a:lnTo>
                          <a:pt x="33" y="27"/>
                        </a:lnTo>
                        <a:lnTo>
                          <a:pt x="34" y="27"/>
                        </a:lnTo>
                        <a:lnTo>
                          <a:pt x="40" y="36"/>
                        </a:lnTo>
                        <a:lnTo>
                          <a:pt x="43" y="40"/>
                        </a:lnTo>
                        <a:lnTo>
                          <a:pt x="47" y="43"/>
                        </a:lnTo>
                        <a:lnTo>
                          <a:pt x="47" y="47"/>
                        </a:lnTo>
                        <a:lnTo>
                          <a:pt x="48" y="48"/>
                        </a:lnTo>
                        <a:lnTo>
                          <a:pt x="50" y="49"/>
                        </a:lnTo>
                        <a:lnTo>
                          <a:pt x="51" y="51"/>
                        </a:lnTo>
                        <a:lnTo>
                          <a:pt x="54" y="52"/>
                        </a:lnTo>
                        <a:lnTo>
                          <a:pt x="56" y="52"/>
                        </a:lnTo>
                        <a:lnTo>
                          <a:pt x="57" y="52"/>
                        </a:lnTo>
                        <a:lnTo>
                          <a:pt x="59" y="55"/>
                        </a:lnTo>
                        <a:lnTo>
                          <a:pt x="61" y="58"/>
                        </a:lnTo>
                        <a:lnTo>
                          <a:pt x="64" y="61"/>
                        </a:lnTo>
                        <a:lnTo>
                          <a:pt x="66" y="62"/>
                        </a:lnTo>
                        <a:lnTo>
                          <a:pt x="67" y="62"/>
                        </a:lnTo>
                        <a:lnTo>
                          <a:pt x="69" y="62"/>
                        </a:lnTo>
                        <a:lnTo>
                          <a:pt x="69" y="63"/>
                        </a:lnTo>
                        <a:lnTo>
                          <a:pt x="69" y="64"/>
                        </a:lnTo>
                        <a:lnTo>
                          <a:pt x="69" y="65"/>
                        </a:lnTo>
                        <a:lnTo>
                          <a:pt x="67" y="65"/>
                        </a:lnTo>
                        <a:lnTo>
                          <a:pt x="66" y="64"/>
                        </a:lnTo>
                        <a:lnTo>
                          <a:pt x="65" y="63"/>
                        </a:lnTo>
                        <a:lnTo>
                          <a:pt x="63" y="62"/>
                        </a:lnTo>
                        <a:lnTo>
                          <a:pt x="59" y="62"/>
                        </a:lnTo>
                        <a:lnTo>
                          <a:pt x="56" y="62"/>
                        </a:lnTo>
                        <a:lnTo>
                          <a:pt x="53" y="61"/>
                        </a:lnTo>
                        <a:lnTo>
                          <a:pt x="50" y="59"/>
                        </a:lnTo>
                        <a:lnTo>
                          <a:pt x="48" y="56"/>
                        </a:lnTo>
                        <a:lnTo>
                          <a:pt x="47" y="54"/>
                        </a:lnTo>
                        <a:lnTo>
                          <a:pt x="47" y="49"/>
                        </a:lnTo>
                        <a:lnTo>
                          <a:pt x="41" y="40"/>
                        </a:lnTo>
                        <a:lnTo>
                          <a:pt x="39" y="40"/>
                        </a:lnTo>
                        <a:lnTo>
                          <a:pt x="38" y="40"/>
                        </a:lnTo>
                        <a:lnTo>
                          <a:pt x="36" y="40"/>
                        </a:lnTo>
                        <a:lnTo>
                          <a:pt x="34" y="40"/>
                        </a:lnTo>
                        <a:lnTo>
                          <a:pt x="35" y="38"/>
                        </a:lnTo>
                        <a:lnTo>
                          <a:pt x="36" y="38"/>
                        </a:lnTo>
                        <a:lnTo>
                          <a:pt x="34" y="36"/>
                        </a:lnTo>
                        <a:lnTo>
                          <a:pt x="33" y="37"/>
                        </a:lnTo>
                        <a:lnTo>
                          <a:pt x="32" y="38"/>
                        </a:lnTo>
                        <a:lnTo>
                          <a:pt x="31" y="38"/>
                        </a:lnTo>
                        <a:lnTo>
                          <a:pt x="29" y="36"/>
                        </a:lnTo>
                        <a:lnTo>
                          <a:pt x="28" y="36"/>
                        </a:lnTo>
                        <a:lnTo>
                          <a:pt x="27" y="35"/>
                        </a:lnTo>
                        <a:lnTo>
                          <a:pt x="25" y="33"/>
                        </a:lnTo>
                        <a:lnTo>
                          <a:pt x="26" y="35"/>
                        </a:lnTo>
                        <a:lnTo>
                          <a:pt x="27" y="36"/>
                        </a:lnTo>
                        <a:lnTo>
                          <a:pt x="25" y="36"/>
                        </a:lnTo>
                        <a:lnTo>
                          <a:pt x="25" y="35"/>
                        </a:lnTo>
                        <a:lnTo>
                          <a:pt x="25" y="31"/>
                        </a:lnTo>
                        <a:lnTo>
                          <a:pt x="25" y="28"/>
                        </a:lnTo>
                        <a:lnTo>
                          <a:pt x="25" y="27"/>
                        </a:lnTo>
                        <a:lnTo>
                          <a:pt x="24" y="27"/>
                        </a:lnTo>
                        <a:lnTo>
                          <a:pt x="23" y="27"/>
                        </a:lnTo>
                        <a:lnTo>
                          <a:pt x="22" y="27"/>
                        </a:lnTo>
                        <a:lnTo>
                          <a:pt x="21" y="27"/>
                        </a:lnTo>
                        <a:lnTo>
                          <a:pt x="20" y="25"/>
                        </a:lnTo>
                        <a:lnTo>
                          <a:pt x="20" y="24"/>
                        </a:lnTo>
                        <a:lnTo>
                          <a:pt x="19" y="24"/>
                        </a:lnTo>
                        <a:lnTo>
                          <a:pt x="19" y="25"/>
                        </a:lnTo>
                        <a:lnTo>
                          <a:pt x="19" y="27"/>
                        </a:lnTo>
                        <a:lnTo>
                          <a:pt x="19" y="21"/>
                        </a:lnTo>
                        <a:lnTo>
                          <a:pt x="20" y="18"/>
                        </a:lnTo>
                        <a:lnTo>
                          <a:pt x="22" y="14"/>
                        </a:lnTo>
                        <a:lnTo>
                          <a:pt x="22" y="11"/>
                        </a:lnTo>
                        <a:lnTo>
                          <a:pt x="12" y="11"/>
                        </a:lnTo>
                        <a:lnTo>
                          <a:pt x="12" y="10"/>
                        </a:lnTo>
                        <a:lnTo>
                          <a:pt x="12" y="9"/>
                        </a:lnTo>
                        <a:lnTo>
                          <a:pt x="12" y="8"/>
                        </a:lnTo>
                        <a:lnTo>
                          <a:pt x="12" y="7"/>
                        </a:lnTo>
                        <a:lnTo>
                          <a:pt x="10" y="7"/>
                        </a:lnTo>
                        <a:lnTo>
                          <a:pt x="9" y="6"/>
                        </a:lnTo>
                        <a:lnTo>
                          <a:pt x="8" y="6"/>
                        </a:lnTo>
                        <a:lnTo>
                          <a:pt x="7" y="7"/>
                        </a:lnTo>
                        <a:lnTo>
                          <a:pt x="6" y="7"/>
                        </a:lnTo>
                        <a:lnTo>
                          <a:pt x="6" y="8"/>
                        </a:lnTo>
                        <a:lnTo>
                          <a:pt x="6" y="9"/>
                        </a:lnTo>
                        <a:lnTo>
                          <a:pt x="6" y="10"/>
                        </a:lnTo>
                        <a:lnTo>
                          <a:pt x="6" y="11"/>
                        </a:lnTo>
                        <a:lnTo>
                          <a:pt x="2" y="11"/>
                        </a:lnTo>
                        <a:lnTo>
                          <a:pt x="0" y="11"/>
                        </a:lnTo>
                        <a:lnTo>
                          <a:pt x="3" y="11"/>
                        </a:lnTo>
                        <a:lnTo>
                          <a:pt x="3" y="10"/>
                        </a:lnTo>
                        <a:lnTo>
                          <a:pt x="3" y="9"/>
                        </a:lnTo>
                        <a:lnTo>
                          <a:pt x="3" y="8"/>
                        </a:lnTo>
                        <a:lnTo>
                          <a:pt x="3" y="7"/>
                        </a:lnTo>
                        <a:lnTo>
                          <a:pt x="3" y="6"/>
                        </a:lnTo>
                        <a:lnTo>
                          <a:pt x="3" y="5"/>
                        </a:lnTo>
                        <a:lnTo>
                          <a:pt x="3" y="3"/>
                        </a:lnTo>
                        <a:lnTo>
                          <a:pt x="5" y="3"/>
                        </a:lnTo>
                        <a:lnTo>
                          <a:pt x="6" y="2"/>
                        </a:lnTo>
                        <a:lnTo>
                          <a:pt x="6" y="0"/>
                        </a:lnTo>
                        <a:lnTo>
                          <a:pt x="8" y="2"/>
                        </a:lnTo>
                        <a:lnTo>
                          <a:pt x="10" y="3"/>
                        </a:lnTo>
                        <a:lnTo>
                          <a:pt x="12" y="5"/>
                        </a:lnTo>
                        <a:lnTo>
                          <a:pt x="12" y="0"/>
                        </a:lnTo>
                        <a:lnTo>
                          <a:pt x="14" y="0"/>
                        </a:lnTo>
                        <a:lnTo>
                          <a:pt x="15" y="0"/>
                        </a:lnTo>
                        <a:lnTo>
                          <a:pt x="16" y="0"/>
                        </a:lnTo>
                        <a:lnTo>
                          <a:pt x="17" y="0"/>
                        </a:lnTo>
                        <a:lnTo>
                          <a:pt x="22" y="0"/>
                        </a:lnTo>
                        <a:lnTo>
                          <a:pt x="22" y="5"/>
                        </a:lnTo>
                        <a:lnTo>
                          <a:pt x="23" y="5"/>
                        </a:lnTo>
                        <a:lnTo>
                          <a:pt x="24" y="5"/>
                        </a:lnTo>
                        <a:lnTo>
                          <a:pt x="25" y="5"/>
                        </a:lnTo>
                        <a:lnTo>
                          <a:pt x="25" y="6"/>
                        </a:lnTo>
                        <a:lnTo>
                          <a:pt x="25" y="7"/>
                        </a:lnTo>
                        <a:lnTo>
                          <a:pt x="27" y="7"/>
                        </a:lnTo>
                        <a:lnTo>
                          <a:pt x="29" y="7"/>
                        </a:lnTo>
                        <a:lnTo>
                          <a:pt x="30" y="7"/>
                        </a:lnTo>
                        <a:lnTo>
                          <a:pt x="32" y="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1" name="Freeform 1515">
                    <a:extLst>
                      <a:ext uri="{FF2B5EF4-FFF2-40B4-BE49-F238E27FC236}">
                        <a16:creationId xmlns:a16="http://schemas.microsoft.com/office/drawing/2014/main" xmlns="" id="{2AB06B28-071F-469B-9DE4-21E362096D13}"/>
                      </a:ext>
                    </a:extLst>
                  </p:cNvPr>
                  <p:cNvSpPr>
                    <a:spLocks/>
                  </p:cNvSpPr>
                  <p:nvPr/>
                </p:nvSpPr>
                <p:spPr bwMode="gray">
                  <a:xfrm>
                    <a:off x="5659054" y="3538901"/>
                    <a:ext cx="82323" cy="95667"/>
                  </a:xfrm>
                  <a:custGeom>
                    <a:avLst/>
                    <a:gdLst>
                      <a:gd name="T0" fmla="*/ 2147483647 w 74"/>
                      <a:gd name="T1" fmla="*/ 2147483647 h 86"/>
                      <a:gd name="T2" fmla="*/ 2147483647 w 74"/>
                      <a:gd name="T3" fmla="*/ 2147483647 h 86"/>
                      <a:gd name="T4" fmla="*/ 2147483647 w 74"/>
                      <a:gd name="T5" fmla="*/ 2147483647 h 86"/>
                      <a:gd name="T6" fmla="*/ 2147483647 w 74"/>
                      <a:gd name="T7" fmla="*/ 2147483647 h 86"/>
                      <a:gd name="T8" fmla="*/ 2147483647 w 74"/>
                      <a:gd name="T9" fmla="*/ 2147483647 h 86"/>
                      <a:gd name="T10" fmla="*/ 2147483647 w 74"/>
                      <a:gd name="T11" fmla="*/ 2147483647 h 86"/>
                      <a:gd name="T12" fmla="*/ 2147483647 w 74"/>
                      <a:gd name="T13" fmla="*/ 2147483647 h 86"/>
                      <a:gd name="T14" fmla="*/ 2147483647 w 74"/>
                      <a:gd name="T15" fmla="*/ 2147483647 h 86"/>
                      <a:gd name="T16" fmla="*/ 2147483647 w 74"/>
                      <a:gd name="T17" fmla="*/ 2147483647 h 86"/>
                      <a:gd name="T18" fmla="*/ 2147483647 w 74"/>
                      <a:gd name="T19" fmla="*/ 2147483647 h 86"/>
                      <a:gd name="T20" fmla="*/ 2147483647 w 74"/>
                      <a:gd name="T21" fmla="*/ 2147483647 h 86"/>
                      <a:gd name="T22" fmla="*/ 2147483647 w 74"/>
                      <a:gd name="T23" fmla="*/ 2147483647 h 86"/>
                      <a:gd name="T24" fmla="*/ 2147483647 w 74"/>
                      <a:gd name="T25" fmla="*/ 2147483647 h 86"/>
                      <a:gd name="T26" fmla="*/ 2147483647 w 74"/>
                      <a:gd name="T27" fmla="*/ 2147483647 h 86"/>
                      <a:gd name="T28" fmla="*/ 2147483647 w 74"/>
                      <a:gd name="T29" fmla="*/ 2147483647 h 86"/>
                      <a:gd name="T30" fmla="*/ 2147483647 w 74"/>
                      <a:gd name="T31" fmla="*/ 2147483647 h 86"/>
                      <a:gd name="T32" fmla="*/ 2147483647 w 74"/>
                      <a:gd name="T33" fmla="*/ 2147483647 h 86"/>
                      <a:gd name="T34" fmla="*/ 2147483647 w 74"/>
                      <a:gd name="T35" fmla="*/ 2147483647 h 86"/>
                      <a:gd name="T36" fmla="*/ 2147483647 w 74"/>
                      <a:gd name="T37" fmla="*/ 2147483647 h 86"/>
                      <a:gd name="T38" fmla="*/ 2147483647 w 74"/>
                      <a:gd name="T39" fmla="*/ 2147483647 h 86"/>
                      <a:gd name="T40" fmla="*/ 0 w 74"/>
                      <a:gd name="T41" fmla="*/ 2147483647 h 86"/>
                      <a:gd name="T42" fmla="*/ 2147483647 w 74"/>
                      <a:gd name="T43" fmla="*/ 2147483647 h 86"/>
                      <a:gd name="T44" fmla="*/ 2147483647 w 74"/>
                      <a:gd name="T45" fmla="*/ 2147483647 h 86"/>
                      <a:gd name="T46" fmla="*/ 2147483647 w 74"/>
                      <a:gd name="T47" fmla="*/ 2147483647 h 86"/>
                      <a:gd name="T48" fmla="*/ 2147483647 w 74"/>
                      <a:gd name="T49" fmla="*/ 2147483647 h 86"/>
                      <a:gd name="T50" fmla="*/ 2147483647 w 74"/>
                      <a:gd name="T51" fmla="*/ 2147483647 h 86"/>
                      <a:gd name="T52" fmla="*/ 2147483647 w 74"/>
                      <a:gd name="T53" fmla="*/ 2147483647 h 86"/>
                      <a:gd name="T54" fmla="*/ 2147483647 w 74"/>
                      <a:gd name="T55" fmla="*/ 2147483647 h 86"/>
                      <a:gd name="T56" fmla="*/ 2147483647 w 74"/>
                      <a:gd name="T57" fmla="*/ 2147483647 h 86"/>
                      <a:gd name="T58" fmla="*/ 2147483647 w 74"/>
                      <a:gd name="T59" fmla="*/ 2147483647 h 86"/>
                      <a:gd name="T60" fmla="*/ 2147483647 w 74"/>
                      <a:gd name="T61" fmla="*/ 2147483647 h 86"/>
                      <a:gd name="T62" fmla="*/ 2147483647 w 74"/>
                      <a:gd name="T63" fmla="*/ 2147483647 h 86"/>
                      <a:gd name="T64" fmla="*/ 2147483647 w 74"/>
                      <a:gd name="T65" fmla="*/ 2147483647 h 86"/>
                      <a:gd name="T66" fmla="*/ 2147483647 w 74"/>
                      <a:gd name="T67" fmla="*/ 2147483647 h 86"/>
                      <a:gd name="T68" fmla="*/ 2147483647 w 74"/>
                      <a:gd name="T69" fmla="*/ 2147483647 h 86"/>
                      <a:gd name="T70" fmla="*/ 2147483647 w 74"/>
                      <a:gd name="T71" fmla="*/ 2147483647 h 86"/>
                      <a:gd name="T72" fmla="*/ 2147483647 w 74"/>
                      <a:gd name="T73" fmla="*/ 0 h 86"/>
                      <a:gd name="T74" fmla="*/ 2147483647 w 74"/>
                      <a:gd name="T75" fmla="*/ 2147483647 h 86"/>
                      <a:gd name="T76" fmla="*/ 2147483647 w 74"/>
                      <a:gd name="T77" fmla="*/ 2147483647 h 86"/>
                      <a:gd name="T78" fmla="*/ 2147483647 w 74"/>
                      <a:gd name="T79" fmla="*/ 2147483647 h 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4" h="86">
                        <a:moveTo>
                          <a:pt x="71" y="19"/>
                        </a:moveTo>
                        <a:lnTo>
                          <a:pt x="64" y="19"/>
                        </a:lnTo>
                        <a:lnTo>
                          <a:pt x="57" y="22"/>
                        </a:lnTo>
                        <a:lnTo>
                          <a:pt x="52" y="19"/>
                        </a:lnTo>
                        <a:lnTo>
                          <a:pt x="42" y="19"/>
                        </a:lnTo>
                        <a:lnTo>
                          <a:pt x="35" y="22"/>
                        </a:lnTo>
                        <a:lnTo>
                          <a:pt x="31" y="29"/>
                        </a:lnTo>
                        <a:lnTo>
                          <a:pt x="26" y="32"/>
                        </a:lnTo>
                        <a:lnTo>
                          <a:pt x="19" y="36"/>
                        </a:lnTo>
                        <a:lnTo>
                          <a:pt x="26" y="38"/>
                        </a:lnTo>
                        <a:lnTo>
                          <a:pt x="22" y="41"/>
                        </a:lnTo>
                        <a:lnTo>
                          <a:pt x="22" y="45"/>
                        </a:lnTo>
                        <a:lnTo>
                          <a:pt x="19" y="51"/>
                        </a:lnTo>
                        <a:lnTo>
                          <a:pt x="19" y="57"/>
                        </a:lnTo>
                        <a:lnTo>
                          <a:pt x="16" y="64"/>
                        </a:lnTo>
                        <a:lnTo>
                          <a:pt x="13" y="64"/>
                        </a:lnTo>
                        <a:lnTo>
                          <a:pt x="16" y="71"/>
                        </a:lnTo>
                        <a:lnTo>
                          <a:pt x="13" y="80"/>
                        </a:lnTo>
                        <a:lnTo>
                          <a:pt x="7" y="80"/>
                        </a:lnTo>
                        <a:lnTo>
                          <a:pt x="3" y="86"/>
                        </a:lnTo>
                        <a:lnTo>
                          <a:pt x="0" y="83"/>
                        </a:lnTo>
                        <a:lnTo>
                          <a:pt x="3" y="76"/>
                        </a:lnTo>
                        <a:lnTo>
                          <a:pt x="7" y="71"/>
                        </a:lnTo>
                        <a:lnTo>
                          <a:pt x="10" y="64"/>
                        </a:lnTo>
                        <a:lnTo>
                          <a:pt x="10" y="57"/>
                        </a:lnTo>
                        <a:lnTo>
                          <a:pt x="13" y="54"/>
                        </a:lnTo>
                        <a:lnTo>
                          <a:pt x="13" y="45"/>
                        </a:lnTo>
                        <a:lnTo>
                          <a:pt x="13" y="36"/>
                        </a:lnTo>
                        <a:lnTo>
                          <a:pt x="13" y="29"/>
                        </a:lnTo>
                        <a:lnTo>
                          <a:pt x="22" y="22"/>
                        </a:lnTo>
                        <a:lnTo>
                          <a:pt x="28" y="19"/>
                        </a:lnTo>
                        <a:lnTo>
                          <a:pt x="31" y="19"/>
                        </a:lnTo>
                        <a:lnTo>
                          <a:pt x="35" y="13"/>
                        </a:lnTo>
                        <a:lnTo>
                          <a:pt x="45" y="13"/>
                        </a:lnTo>
                        <a:lnTo>
                          <a:pt x="48" y="13"/>
                        </a:lnTo>
                        <a:lnTo>
                          <a:pt x="57" y="10"/>
                        </a:lnTo>
                        <a:lnTo>
                          <a:pt x="61" y="0"/>
                        </a:lnTo>
                        <a:lnTo>
                          <a:pt x="71" y="3"/>
                        </a:lnTo>
                        <a:lnTo>
                          <a:pt x="74" y="13"/>
                        </a:lnTo>
                        <a:lnTo>
                          <a:pt x="71" y="1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2" name="Freeform 1517">
                    <a:extLst>
                      <a:ext uri="{FF2B5EF4-FFF2-40B4-BE49-F238E27FC236}">
                        <a16:creationId xmlns:a16="http://schemas.microsoft.com/office/drawing/2014/main" xmlns="" id="{D84D82D0-355A-4FC2-AE7C-E1A9E6D37692}"/>
                      </a:ext>
                    </a:extLst>
                  </p:cNvPr>
                  <p:cNvSpPr>
                    <a:spLocks/>
                  </p:cNvSpPr>
                  <p:nvPr/>
                </p:nvSpPr>
                <p:spPr bwMode="gray">
                  <a:xfrm>
                    <a:off x="5760287" y="3617883"/>
                    <a:ext cx="6675" cy="21136"/>
                  </a:xfrm>
                  <a:custGeom>
                    <a:avLst/>
                    <a:gdLst>
                      <a:gd name="T0" fmla="*/ 2147483647 w 6"/>
                      <a:gd name="T1" fmla="*/ 2147483647 h 19"/>
                      <a:gd name="T2" fmla="*/ 2147483647 w 6"/>
                      <a:gd name="T3" fmla="*/ 2147483647 h 19"/>
                      <a:gd name="T4" fmla="*/ 2147483647 w 6"/>
                      <a:gd name="T5" fmla="*/ 2147483647 h 19"/>
                      <a:gd name="T6" fmla="*/ 2147483647 w 6"/>
                      <a:gd name="T7" fmla="*/ 2147483647 h 19"/>
                      <a:gd name="T8" fmla="*/ 0 w 6"/>
                      <a:gd name="T9" fmla="*/ 2147483647 h 19"/>
                      <a:gd name="T10" fmla="*/ 2147483647 w 6"/>
                      <a:gd name="T11" fmla="*/ 0 h 19"/>
                      <a:gd name="T12" fmla="*/ 2147483647 w 6"/>
                      <a:gd name="T13" fmla="*/ 2147483647 h 19"/>
                      <a:gd name="T14" fmla="*/ 2147483647 w 6"/>
                      <a:gd name="T15" fmla="*/ 2147483647 h 19"/>
                      <a:gd name="T16" fmla="*/ 2147483647 w 6"/>
                      <a:gd name="T17" fmla="*/ 2147483647 h 19"/>
                      <a:gd name="T18" fmla="*/ 2147483647 w 6"/>
                      <a:gd name="T19" fmla="*/ 2147483647 h 19"/>
                      <a:gd name="T20" fmla="*/ 2147483647 w 6"/>
                      <a:gd name="T21" fmla="*/ 2147483647 h 19"/>
                      <a:gd name="T22" fmla="*/ 2147483647 w 6"/>
                      <a:gd name="T23" fmla="*/ 2147483647 h 19"/>
                      <a:gd name="T24" fmla="*/ 2147483647 w 6"/>
                      <a:gd name="T25" fmla="*/ 2147483647 h 19"/>
                      <a:gd name="T26" fmla="*/ 2147483647 w 6"/>
                      <a:gd name="T27" fmla="*/ 2147483647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19">
                        <a:moveTo>
                          <a:pt x="3" y="15"/>
                        </a:moveTo>
                        <a:lnTo>
                          <a:pt x="3" y="11"/>
                        </a:lnTo>
                        <a:lnTo>
                          <a:pt x="3" y="7"/>
                        </a:lnTo>
                        <a:lnTo>
                          <a:pt x="2" y="5"/>
                        </a:lnTo>
                        <a:lnTo>
                          <a:pt x="0" y="3"/>
                        </a:lnTo>
                        <a:lnTo>
                          <a:pt x="3" y="0"/>
                        </a:lnTo>
                        <a:lnTo>
                          <a:pt x="3" y="4"/>
                        </a:lnTo>
                        <a:lnTo>
                          <a:pt x="4" y="7"/>
                        </a:lnTo>
                        <a:lnTo>
                          <a:pt x="5" y="12"/>
                        </a:lnTo>
                        <a:lnTo>
                          <a:pt x="6" y="19"/>
                        </a:lnTo>
                        <a:lnTo>
                          <a:pt x="5" y="18"/>
                        </a:lnTo>
                        <a:lnTo>
                          <a:pt x="4" y="17"/>
                        </a:lnTo>
                        <a:lnTo>
                          <a:pt x="3" y="16"/>
                        </a:lnTo>
                        <a:lnTo>
                          <a:pt x="3" y="1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3" name="Freeform 1519">
                    <a:extLst>
                      <a:ext uri="{FF2B5EF4-FFF2-40B4-BE49-F238E27FC236}">
                        <a16:creationId xmlns:a16="http://schemas.microsoft.com/office/drawing/2014/main" xmlns="" id="{77AA2F44-E7D6-4764-BE80-DDBF36C2AF19}"/>
                      </a:ext>
                    </a:extLst>
                  </p:cNvPr>
                  <p:cNvSpPr>
                    <a:spLocks/>
                  </p:cNvSpPr>
                  <p:nvPr/>
                </p:nvSpPr>
                <p:spPr bwMode="gray">
                  <a:xfrm>
                    <a:off x="4117173" y="3587847"/>
                    <a:ext cx="261430" cy="162411"/>
                  </a:xfrm>
                  <a:custGeom>
                    <a:avLst/>
                    <a:gdLst>
                      <a:gd name="T0" fmla="*/ 2147483647 w 235"/>
                      <a:gd name="T1" fmla="*/ 2147483647 h 146"/>
                      <a:gd name="T2" fmla="*/ 2147483647 w 235"/>
                      <a:gd name="T3" fmla="*/ 2147483647 h 146"/>
                      <a:gd name="T4" fmla="*/ 2147483647 w 235"/>
                      <a:gd name="T5" fmla="*/ 2147483647 h 146"/>
                      <a:gd name="T6" fmla="*/ 2147483647 w 235"/>
                      <a:gd name="T7" fmla="*/ 2147483647 h 146"/>
                      <a:gd name="T8" fmla="*/ 2147483647 w 235"/>
                      <a:gd name="T9" fmla="*/ 2147483647 h 146"/>
                      <a:gd name="T10" fmla="*/ 2147483647 w 235"/>
                      <a:gd name="T11" fmla="*/ 2147483647 h 146"/>
                      <a:gd name="T12" fmla="*/ 2147483647 w 235"/>
                      <a:gd name="T13" fmla="*/ 2147483647 h 146"/>
                      <a:gd name="T14" fmla="*/ 2147483647 w 235"/>
                      <a:gd name="T15" fmla="*/ 2147483647 h 146"/>
                      <a:gd name="T16" fmla="*/ 2147483647 w 235"/>
                      <a:gd name="T17" fmla="*/ 2147483647 h 146"/>
                      <a:gd name="T18" fmla="*/ 2147483647 w 235"/>
                      <a:gd name="T19" fmla="*/ 2147483647 h 146"/>
                      <a:gd name="T20" fmla="*/ 2147483647 w 235"/>
                      <a:gd name="T21" fmla="*/ 2147483647 h 146"/>
                      <a:gd name="T22" fmla="*/ 2147483647 w 235"/>
                      <a:gd name="T23" fmla="*/ 2147483647 h 146"/>
                      <a:gd name="T24" fmla="*/ 2147483647 w 235"/>
                      <a:gd name="T25" fmla="*/ 2147483647 h 146"/>
                      <a:gd name="T26" fmla="*/ 2147483647 w 235"/>
                      <a:gd name="T27" fmla="*/ 2147483647 h 146"/>
                      <a:gd name="T28" fmla="*/ 2147483647 w 235"/>
                      <a:gd name="T29" fmla="*/ 2147483647 h 146"/>
                      <a:gd name="T30" fmla="*/ 2147483647 w 235"/>
                      <a:gd name="T31" fmla="*/ 2147483647 h 146"/>
                      <a:gd name="T32" fmla="*/ 2147483647 w 235"/>
                      <a:gd name="T33" fmla="*/ 2147483647 h 146"/>
                      <a:gd name="T34" fmla="*/ 2147483647 w 235"/>
                      <a:gd name="T35" fmla="*/ 2147483647 h 146"/>
                      <a:gd name="T36" fmla="*/ 2147483647 w 235"/>
                      <a:gd name="T37" fmla="*/ 2147483647 h 146"/>
                      <a:gd name="T38" fmla="*/ 2147483647 w 235"/>
                      <a:gd name="T39" fmla="*/ 2147483647 h 146"/>
                      <a:gd name="T40" fmla="*/ 2147483647 w 235"/>
                      <a:gd name="T41" fmla="*/ 2147483647 h 146"/>
                      <a:gd name="T42" fmla="*/ 2147483647 w 235"/>
                      <a:gd name="T43" fmla="*/ 2147483647 h 146"/>
                      <a:gd name="T44" fmla="*/ 2147483647 w 235"/>
                      <a:gd name="T45" fmla="*/ 2147483647 h 146"/>
                      <a:gd name="T46" fmla="*/ 2147483647 w 235"/>
                      <a:gd name="T47" fmla="*/ 2147483647 h 146"/>
                      <a:gd name="T48" fmla="*/ 2147483647 w 235"/>
                      <a:gd name="T49" fmla="*/ 2147483647 h 146"/>
                      <a:gd name="T50" fmla="*/ 2147483647 w 235"/>
                      <a:gd name="T51" fmla="*/ 2147483647 h 146"/>
                      <a:gd name="T52" fmla="*/ 2147483647 w 235"/>
                      <a:gd name="T53" fmla="*/ 2147483647 h 146"/>
                      <a:gd name="T54" fmla="*/ 2147483647 w 235"/>
                      <a:gd name="T55" fmla="*/ 2147483647 h 146"/>
                      <a:gd name="T56" fmla="*/ 2147483647 w 235"/>
                      <a:gd name="T57" fmla="*/ 2147483647 h 146"/>
                      <a:gd name="T58" fmla="*/ 2147483647 w 235"/>
                      <a:gd name="T59" fmla="*/ 2147483647 h 146"/>
                      <a:gd name="T60" fmla="*/ 2147483647 w 235"/>
                      <a:gd name="T61" fmla="*/ 2147483647 h 146"/>
                      <a:gd name="T62" fmla="*/ 2147483647 w 235"/>
                      <a:gd name="T63" fmla="*/ 2147483647 h 146"/>
                      <a:gd name="T64" fmla="*/ 2147483647 w 235"/>
                      <a:gd name="T65" fmla="*/ 2147483647 h 146"/>
                      <a:gd name="T66" fmla="*/ 2147483647 w 235"/>
                      <a:gd name="T67" fmla="*/ 2147483647 h 146"/>
                      <a:gd name="T68" fmla="*/ 2147483647 w 235"/>
                      <a:gd name="T69" fmla="*/ 2147483647 h 146"/>
                      <a:gd name="T70" fmla="*/ 2147483647 w 235"/>
                      <a:gd name="T71" fmla="*/ 2147483647 h 146"/>
                      <a:gd name="T72" fmla="*/ 2147483647 w 235"/>
                      <a:gd name="T73" fmla="*/ 2147483647 h 146"/>
                      <a:gd name="T74" fmla="*/ 2147483647 w 235"/>
                      <a:gd name="T75" fmla="*/ 2147483647 h 146"/>
                      <a:gd name="T76" fmla="*/ 2147483647 w 235"/>
                      <a:gd name="T77" fmla="*/ 2147483647 h 146"/>
                      <a:gd name="T78" fmla="*/ 2147483647 w 235"/>
                      <a:gd name="T79" fmla="*/ 2147483647 h 146"/>
                      <a:gd name="T80" fmla="*/ 2147483647 w 235"/>
                      <a:gd name="T81" fmla="*/ 2147483647 h 146"/>
                      <a:gd name="T82" fmla="*/ 2147483647 w 235"/>
                      <a:gd name="T83" fmla="*/ 2147483647 h 146"/>
                      <a:gd name="T84" fmla="*/ 2147483647 w 235"/>
                      <a:gd name="T85" fmla="*/ 2147483647 h 146"/>
                      <a:gd name="T86" fmla="*/ 2147483647 w 235"/>
                      <a:gd name="T87" fmla="*/ 2147483647 h 146"/>
                      <a:gd name="T88" fmla="*/ 2147483647 w 235"/>
                      <a:gd name="T89" fmla="*/ 2147483647 h 146"/>
                      <a:gd name="T90" fmla="*/ 2147483647 w 235"/>
                      <a:gd name="T91" fmla="*/ 2147483647 h 146"/>
                      <a:gd name="T92" fmla="*/ 2147483647 w 235"/>
                      <a:gd name="T93" fmla="*/ 2147483647 h 146"/>
                      <a:gd name="T94" fmla="*/ 2147483647 w 235"/>
                      <a:gd name="T95" fmla="*/ 2147483647 h 146"/>
                      <a:gd name="T96" fmla="*/ 2147483647 w 235"/>
                      <a:gd name="T97" fmla="*/ 2147483647 h 146"/>
                      <a:gd name="T98" fmla="*/ 2147483647 w 235"/>
                      <a:gd name="T99" fmla="*/ 2147483647 h 146"/>
                      <a:gd name="T100" fmla="*/ 2147483647 w 235"/>
                      <a:gd name="T101" fmla="*/ 2147483647 h 146"/>
                      <a:gd name="T102" fmla="*/ 2147483647 w 235"/>
                      <a:gd name="T103" fmla="*/ 2147483647 h 146"/>
                      <a:gd name="T104" fmla="*/ 2147483647 w 235"/>
                      <a:gd name="T105" fmla="*/ 2147483647 h 146"/>
                      <a:gd name="T106" fmla="*/ 2147483647 w 235"/>
                      <a:gd name="T107" fmla="*/ 2147483647 h 146"/>
                      <a:gd name="T108" fmla="*/ 2147483647 w 235"/>
                      <a:gd name="T109" fmla="*/ 2147483647 h 146"/>
                      <a:gd name="T110" fmla="*/ 2147483647 w 235"/>
                      <a:gd name="T111" fmla="*/ 2147483647 h 146"/>
                      <a:gd name="T112" fmla="*/ 2147483647 w 235"/>
                      <a:gd name="T113" fmla="*/ 2147483647 h 146"/>
                      <a:gd name="T114" fmla="*/ 2147483647 w 235"/>
                      <a:gd name="T115" fmla="*/ 2147483647 h 146"/>
                      <a:gd name="T116" fmla="*/ 2147483647 w 235"/>
                      <a:gd name="T117" fmla="*/ 0 h 146"/>
                      <a:gd name="T118" fmla="*/ 2147483647 w 235"/>
                      <a:gd name="T119" fmla="*/ 2147483647 h 146"/>
                      <a:gd name="T120" fmla="*/ 2147483647 w 235"/>
                      <a:gd name="T121" fmla="*/ 2147483647 h 146"/>
                      <a:gd name="T122" fmla="*/ 2147483647 w 235"/>
                      <a:gd name="T123" fmla="*/ 2147483647 h 14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35" h="146">
                        <a:moveTo>
                          <a:pt x="186" y="49"/>
                        </a:moveTo>
                        <a:lnTo>
                          <a:pt x="186" y="50"/>
                        </a:lnTo>
                        <a:lnTo>
                          <a:pt x="185" y="51"/>
                        </a:lnTo>
                        <a:lnTo>
                          <a:pt x="183" y="53"/>
                        </a:lnTo>
                        <a:lnTo>
                          <a:pt x="183" y="55"/>
                        </a:lnTo>
                        <a:lnTo>
                          <a:pt x="183" y="56"/>
                        </a:lnTo>
                        <a:lnTo>
                          <a:pt x="183" y="58"/>
                        </a:lnTo>
                        <a:lnTo>
                          <a:pt x="182" y="60"/>
                        </a:lnTo>
                        <a:lnTo>
                          <a:pt x="181" y="61"/>
                        </a:lnTo>
                        <a:lnTo>
                          <a:pt x="180" y="61"/>
                        </a:lnTo>
                        <a:lnTo>
                          <a:pt x="180" y="63"/>
                        </a:lnTo>
                        <a:lnTo>
                          <a:pt x="182" y="63"/>
                        </a:lnTo>
                        <a:lnTo>
                          <a:pt x="184" y="63"/>
                        </a:lnTo>
                        <a:lnTo>
                          <a:pt x="186" y="65"/>
                        </a:lnTo>
                        <a:lnTo>
                          <a:pt x="187" y="65"/>
                        </a:lnTo>
                        <a:lnTo>
                          <a:pt x="188" y="65"/>
                        </a:lnTo>
                        <a:lnTo>
                          <a:pt x="190" y="65"/>
                        </a:lnTo>
                        <a:lnTo>
                          <a:pt x="190" y="67"/>
                        </a:lnTo>
                        <a:lnTo>
                          <a:pt x="191" y="69"/>
                        </a:lnTo>
                        <a:lnTo>
                          <a:pt x="191" y="71"/>
                        </a:lnTo>
                        <a:lnTo>
                          <a:pt x="193" y="71"/>
                        </a:lnTo>
                        <a:lnTo>
                          <a:pt x="196" y="70"/>
                        </a:lnTo>
                        <a:lnTo>
                          <a:pt x="200" y="68"/>
                        </a:lnTo>
                        <a:lnTo>
                          <a:pt x="203" y="66"/>
                        </a:lnTo>
                        <a:lnTo>
                          <a:pt x="205" y="65"/>
                        </a:lnTo>
                        <a:lnTo>
                          <a:pt x="207" y="67"/>
                        </a:lnTo>
                        <a:lnTo>
                          <a:pt x="209" y="68"/>
                        </a:lnTo>
                        <a:lnTo>
                          <a:pt x="211" y="68"/>
                        </a:lnTo>
                        <a:lnTo>
                          <a:pt x="212" y="68"/>
                        </a:lnTo>
                        <a:lnTo>
                          <a:pt x="212" y="73"/>
                        </a:lnTo>
                        <a:lnTo>
                          <a:pt x="212" y="74"/>
                        </a:lnTo>
                        <a:lnTo>
                          <a:pt x="212" y="75"/>
                        </a:lnTo>
                        <a:lnTo>
                          <a:pt x="212" y="77"/>
                        </a:lnTo>
                        <a:lnTo>
                          <a:pt x="213" y="77"/>
                        </a:lnTo>
                        <a:lnTo>
                          <a:pt x="214" y="77"/>
                        </a:lnTo>
                        <a:lnTo>
                          <a:pt x="215" y="77"/>
                        </a:lnTo>
                        <a:lnTo>
                          <a:pt x="215" y="79"/>
                        </a:lnTo>
                        <a:lnTo>
                          <a:pt x="216" y="80"/>
                        </a:lnTo>
                        <a:lnTo>
                          <a:pt x="218" y="82"/>
                        </a:lnTo>
                        <a:lnTo>
                          <a:pt x="221" y="80"/>
                        </a:lnTo>
                        <a:lnTo>
                          <a:pt x="221" y="79"/>
                        </a:lnTo>
                        <a:lnTo>
                          <a:pt x="221" y="78"/>
                        </a:lnTo>
                        <a:lnTo>
                          <a:pt x="221" y="77"/>
                        </a:lnTo>
                        <a:lnTo>
                          <a:pt x="224" y="77"/>
                        </a:lnTo>
                        <a:lnTo>
                          <a:pt x="225" y="78"/>
                        </a:lnTo>
                        <a:lnTo>
                          <a:pt x="227" y="79"/>
                        </a:lnTo>
                        <a:lnTo>
                          <a:pt x="228" y="82"/>
                        </a:lnTo>
                        <a:lnTo>
                          <a:pt x="228" y="83"/>
                        </a:lnTo>
                        <a:lnTo>
                          <a:pt x="228" y="85"/>
                        </a:lnTo>
                        <a:lnTo>
                          <a:pt x="229" y="85"/>
                        </a:lnTo>
                        <a:lnTo>
                          <a:pt x="229" y="86"/>
                        </a:lnTo>
                        <a:lnTo>
                          <a:pt x="228" y="88"/>
                        </a:lnTo>
                        <a:lnTo>
                          <a:pt x="228" y="91"/>
                        </a:lnTo>
                        <a:lnTo>
                          <a:pt x="228" y="88"/>
                        </a:lnTo>
                        <a:lnTo>
                          <a:pt x="228" y="90"/>
                        </a:lnTo>
                        <a:lnTo>
                          <a:pt x="228" y="91"/>
                        </a:lnTo>
                        <a:lnTo>
                          <a:pt x="228" y="92"/>
                        </a:lnTo>
                        <a:lnTo>
                          <a:pt x="228" y="93"/>
                        </a:lnTo>
                        <a:lnTo>
                          <a:pt x="228" y="94"/>
                        </a:lnTo>
                        <a:lnTo>
                          <a:pt x="229" y="94"/>
                        </a:lnTo>
                        <a:lnTo>
                          <a:pt x="231" y="96"/>
                        </a:lnTo>
                        <a:lnTo>
                          <a:pt x="232" y="97"/>
                        </a:lnTo>
                        <a:lnTo>
                          <a:pt x="231" y="97"/>
                        </a:lnTo>
                        <a:lnTo>
                          <a:pt x="232" y="99"/>
                        </a:lnTo>
                        <a:lnTo>
                          <a:pt x="233" y="101"/>
                        </a:lnTo>
                        <a:lnTo>
                          <a:pt x="234" y="102"/>
                        </a:lnTo>
                        <a:lnTo>
                          <a:pt x="235" y="104"/>
                        </a:lnTo>
                        <a:lnTo>
                          <a:pt x="232" y="105"/>
                        </a:lnTo>
                        <a:lnTo>
                          <a:pt x="228" y="104"/>
                        </a:lnTo>
                        <a:lnTo>
                          <a:pt x="224" y="102"/>
                        </a:lnTo>
                        <a:lnTo>
                          <a:pt x="221" y="101"/>
                        </a:lnTo>
                        <a:lnTo>
                          <a:pt x="221" y="99"/>
                        </a:lnTo>
                        <a:lnTo>
                          <a:pt x="218" y="100"/>
                        </a:lnTo>
                        <a:lnTo>
                          <a:pt x="218" y="101"/>
                        </a:lnTo>
                        <a:lnTo>
                          <a:pt x="218" y="99"/>
                        </a:lnTo>
                        <a:lnTo>
                          <a:pt x="216" y="97"/>
                        </a:lnTo>
                        <a:lnTo>
                          <a:pt x="215" y="96"/>
                        </a:lnTo>
                        <a:lnTo>
                          <a:pt x="215" y="94"/>
                        </a:lnTo>
                        <a:lnTo>
                          <a:pt x="213" y="94"/>
                        </a:lnTo>
                        <a:lnTo>
                          <a:pt x="209" y="94"/>
                        </a:lnTo>
                        <a:lnTo>
                          <a:pt x="209" y="96"/>
                        </a:lnTo>
                        <a:lnTo>
                          <a:pt x="209" y="97"/>
                        </a:lnTo>
                        <a:lnTo>
                          <a:pt x="207" y="97"/>
                        </a:lnTo>
                        <a:lnTo>
                          <a:pt x="206" y="98"/>
                        </a:lnTo>
                        <a:lnTo>
                          <a:pt x="206" y="99"/>
                        </a:lnTo>
                        <a:lnTo>
                          <a:pt x="205" y="101"/>
                        </a:lnTo>
                        <a:lnTo>
                          <a:pt x="207" y="101"/>
                        </a:lnTo>
                        <a:lnTo>
                          <a:pt x="209" y="101"/>
                        </a:lnTo>
                        <a:lnTo>
                          <a:pt x="211" y="102"/>
                        </a:lnTo>
                        <a:lnTo>
                          <a:pt x="212" y="104"/>
                        </a:lnTo>
                        <a:lnTo>
                          <a:pt x="212" y="106"/>
                        </a:lnTo>
                        <a:lnTo>
                          <a:pt x="211" y="107"/>
                        </a:lnTo>
                        <a:lnTo>
                          <a:pt x="209" y="107"/>
                        </a:lnTo>
                        <a:lnTo>
                          <a:pt x="208" y="109"/>
                        </a:lnTo>
                        <a:lnTo>
                          <a:pt x="207" y="111"/>
                        </a:lnTo>
                        <a:lnTo>
                          <a:pt x="206" y="112"/>
                        </a:lnTo>
                        <a:lnTo>
                          <a:pt x="205" y="114"/>
                        </a:lnTo>
                        <a:lnTo>
                          <a:pt x="206" y="114"/>
                        </a:lnTo>
                        <a:lnTo>
                          <a:pt x="207" y="114"/>
                        </a:lnTo>
                        <a:lnTo>
                          <a:pt x="208" y="115"/>
                        </a:lnTo>
                        <a:lnTo>
                          <a:pt x="209" y="116"/>
                        </a:lnTo>
                        <a:lnTo>
                          <a:pt x="208" y="117"/>
                        </a:lnTo>
                        <a:lnTo>
                          <a:pt x="207" y="118"/>
                        </a:lnTo>
                        <a:lnTo>
                          <a:pt x="206" y="118"/>
                        </a:lnTo>
                        <a:lnTo>
                          <a:pt x="205" y="116"/>
                        </a:lnTo>
                        <a:lnTo>
                          <a:pt x="204" y="117"/>
                        </a:lnTo>
                        <a:lnTo>
                          <a:pt x="203" y="118"/>
                        </a:lnTo>
                        <a:lnTo>
                          <a:pt x="203" y="116"/>
                        </a:lnTo>
                        <a:lnTo>
                          <a:pt x="200" y="116"/>
                        </a:lnTo>
                        <a:lnTo>
                          <a:pt x="200" y="115"/>
                        </a:lnTo>
                        <a:lnTo>
                          <a:pt x="200" y="114"/>
                        </a:lnTo>
                        <a:lnTo>
                          <a:pt x="200" y="113"/>
                        </a:lnTo>
                        <a:lnTo>
                          <a:pt x="200" y="111"/>
                        </a:lnTo>
                        <a:lnTo>
                          <a:pt x="200" y="110"/>
                        </a:lnTo>
                        <a:lnTo>
                          <a:pt x="200" y="109"/>
                        </a:lnTo>
                        <a:lnTo>
                          <a:pt x="200" y="108"/>
                        </a:lnTo>
                        <a:lnTo>
                          <a:pt x="200" y="107"/>
                        </a:lnTo>
                        <a:lnTo>
                          <a:pt x="197" y="108"/>
                        </a:lnTo>
                        <a:lnTo>
                          <a:pt x="194" y="109"/>
                        </a:lnTo>
                        <a:lnTo>
                          <a:pt x="194" y="110"/>
                        </a:lnTo>
                        <a:lnTo>
                          <a:pt x="193" y="111"/>
                        </a:lnTo>
                        <a:lnTo>
                          <a:pt x="191" y="111"/>
                        </a:lnTo>
                        <a:lnTo>
                          <a:pt x="188" y="112"/>
                        </a:lnTo>
                        <a:lnTo>
                          <a:pt x="185" y="114"/>
                        </a:lnTo>
                        <a:lnTo>
                          <a:pt x="183" y="114"/>
                        </a:lnTo>
                        <a:lnTo>
                          <a:pt x="179" y="114"/>
                        </a:lnTo>
                        <a:lnTo>
                          <a:pt x="178" y="114"/>
                        </a:lnTo>
                        <a:lnTo>
                          <a:pt x="177" y="114"/>
                        </a:lnTo>
                        <a:lnTo>
                          <a:pt x="175" y="114"/>
                        </a:lnTo>
                        <a:lnTo>
                          <a:pt x="174" y="113"/>
                        </a:lnTo>
                        <a:lnTo>
                          <a:pt x="174" y="110"/>
                        </a:lnTo>
                        <a:lnTo>
                          <a:pt x="174" y="107"/>
                        </a:lnTo>
                        <a:lnTo>
                          <a:pt x="174" y="106"/>
                        </a:lnTo>
                        <a:lnTo>
                          <a:pt x="174" y="104"/>
                        </a:lnTo>
                        <a:lnTo>
                          <a:pt x="174" y="102"/>
                        </a:lnTo>
                        <a:lnTo>
                          <a:pt x="174" y="101"/>
                        </a:lnTo>
                        <a:lnTo>
                          <a:pt x="174" y="96"/>
                        </a:lnTo>
                        <a:lnTo>
                          <a:pt x="174" y="95"/>
                        </a:lnTo>
                        <a:lnTo>
                          <a:pt x="174" y="94"/>
                        </a:lnTo>
                        <a:lnTo>
                          <a:pt x="172" y="94"/>
                        </a:lnTo>
                        <a:lnTo>
                          <a:pt x="170" y="94"/>
                        </a:lnTo>
                        <a:lnTo>
                          <a:pt x="169" y="94"/>
                        </a:lnTo>
                        <a:lnTo>
                          <a:pt x="167" y="94"/>
                        </a:lnTo>
                        <a:lnTo>
                          <a:pt x="166" y="94"/>
                        </a:lnTo>
                        <a:lnTo>
                          <a:pt x="164" y="94"/>
                        </a:lnTo>
                        <a:lnTo>
                          <a:pt x="164" y="96"/>
                        </a:lnTo>
                        <a:lnTo>
                          <a:pt x="164" y="97"/>
                        </a:lnTo>
                        <a:lnTo>
                          <a:pt x="164" y="99"/>
                        </a:lnTo>
                        <a:lnTo>
                          <a:pt x="164" y="101"/>
                        </a:lnTo>
                        <a:lnTo>
                          <a:pt x="164" y="102"/>
                        </a:lnTo>
                        <a:lnTo>
                          <a:pt x="164" y="104"/>
                        </a:lnTo>
                        <a:lnTo>
                          <a:pt x="164" y="105"/>
                        </a:lnTo>
                        <a:lnTo>
                          <a:pt x="164" y="107"/>
                        </a:lnTo>
                        <a:lnTo>
                          <a:pt x="162" y="109"/>
                        </a:lnTo>
                        <a:lnTo>
                          <a:pt x="161" y="109"/>
                        </a:lnTo>
                        <a:lnTo>
                          <a:pt x="160" y="111"/>
                        </a:lnTo>
                        <a:lnTo>
                          <a:pt x="158" y="111"/>
                        </a:lnTo>
                        <a:lnTo>
                          <a:pt x="156" y="112"/>
                        </a:lnTo>
                        <a:lnTo>
                          <a:pt x="155" y="114"/>
                        </a:lnTo>
                        <a:lnTo>
                          <a:pt x="152" y="116"/>
                        </a:lnTo>
                        <a:lnTo>
                          <a:pt x="150" y="120"/>
                        </a:lnTo>
                        <a:lnTo>
                          <a:pt x="147" y="123"/>
                        </a:lnTo>
                        <a:lnTo>
                          <a:pt x="145" y="126"/>
                        </a:lnTo>
                        <a:lnTo>
                          <a:pt x="145" y="128"/>
                        </a:lnTo>
                        <a:lnTo>
                          <a:pt x="145" y="130"/>
                        </a:lnTo>
                        <a:lnTo>
                          <a:pt x="145" y="131"/>
                        </a:lnTo>
                        <a:lnTo>
                          <a:pt x="145" y="133"/>
                        </a:lnTo>
                        <a:lnTo>
                          <a:pt x="146" y="134"/>
                        </a:lnTo>
                        <a:lnTo>
                          <a:pt x="148" y="135"/>
                        </a:lnTo>
                        <a:lnTo>
                          <a:pt x="148" y="137"/>
                        </a:lnTo>
                        <a:lnTo>
                          <a:pt x="148" y="138"/>
                        </a:lnTo>
                        <a:lnTo>
                          <a:pt x="146" y="139"/>
                        </a:lnTo>
                        <a:lnTo>
                          <a:pt x="145" y="139"/>
                        </a:lnTo>
                        <a:lnTo>
                          <a:pt x="143" y="141"/>
                        </a:lnTo>
                        <a:lnTo>
                          <a:pt x="142" y="144"/>
                        </a:lnTo>
                        <a:lnTo>
                          <a:pt x="141" y="145"/>
                        </a:lnTo>
                        <a:lnTo>
                          <a:pt x="141" y="146"/>
                        </a:lnTo>
                        <a:lnTo>
                          <a:pt x="139" y="146"/>
                        </a:lnTo>
                        <a:lnTo>
                          <a:pt x="138" y="145"/>
                        </a:lnTo>
                        <a:lnTo>
                          <a:pt x="137" y="144"/>
                        </a:lnTo>
                        <a:lnTo>
                          <a:pt x="135" y="142"/>
                        </a:lnTo>
                        <a:lnTo>
                          <a:pt x="132" y="143"/>
                        </a:lnTo>
                        <a:lnTo>
                          <a:pt x="131" y="144"/>
                        </a:lnTo>
                        <a:lnTo>
                          <a:pt x="129" y="144"/>
                        </a:lnTo>
                        <a:lnTo>
                          <a:pt x="129" y="142"/>
                        </a:lnTo>
                        <a:lnTo>
                          <a:pt x="129" y="140"/>
                        </a:lnTo>
                        <a:lnTo>
                          <a:pt x="131" y="139"/>
                        </a:lnTo>
                        <a:lnTo>
                          <a:pt x="131" y="138"/>
                        </a:lnTo>
                        <a:lnTo>
                          <a:pt x="131" y="137"/>
                        </a:lnTo>
                        <a:lnTo>
                          <a:pt x="132" y="137"/>
                        </a:lnTo>
                        <a:lnTo>
                          <a:pt x="132" y="136"/>
                        </a:lnTo>
                        <a:lnTo>
                          <a:pt x="133" y="135"/>
                        </a:lnTo>
                        <a:lnTo>
                          <a:pt x="131" y="133"/>
                        </a:lnTo>
                        <a:lnTo>
                          <a:pt x="132" y="133"/>
                        </a:lnTo>
                        <a:lnTo>
                          <a:pt x="134" y="133"/>
                        </a:lnTo>
                        <a:lnTo>
                          <a:pt x="135" y="132"/>
                        </a:lnTo>
                        <a:lnTo>
                          <a:pt x="135" y="130"/>
                        </a:lnTo>
                        <a:lnTo>
                          <a:pt x="133" y="128"/>
                        </a:lnTo>
                        <a:lnTo>
                          <a:pt x="131" y="127"/>
                        </a:lnTo>
                        <a:lnTo>
                          <a:pt x="129" y="126"/>
                        </a:lnTo>
                        <a:lnTo>
                          <a:pt x="128" y="126"/>
                        </a:lnTo>
                        <a:lnTo>
                          <a:pt x="127" y="125"/>
                        </a:lnTo>
                        <a:lnTo>
                          <a:pt x="126" y="123"/>
                        </a:lnTo>
                        <a:lnTo>
                          <a:pt x="127" y="123"/>
                        </a:lnTo>
                        <a:lnTo>
                          <a:pt x="129" y="123"/>
                        </a:lnTo>
                        <a:lnTo>
                          <a:pt x="131" y="122"/>
                        </a:lnTo>
                        <a:lnTo>
                          <a:pt x="131" y="120"/>
                        </a:lnTo>
                        <a:lnTo>
                          <a:pt x="130" y="120"/>
                        </a:lnTo>
                        <a:lnTo>
                          <a:pt x="126" y="120"/>
                        </a:lnTo>
                        <a:lnTo>
                          <a:pt x="129" y="116"/>
                        </a:lnTo>
                        <a:lnTo>
                          <a:pt x="131" y="114"/>
                        </a:lnTo>
                        <a:lnTo>
                          <a:pt x="135" y="114"/>
                        </a:lnTo>
                        <a:lnTo>
                          <a:pt x="131" y="111"/>
                        </a:lnTo>
                        <a:lnTo>
                          <a:pt x="129" y="114"/>
                        </a:lnTo>
                        <a:lnTo>
                          <a:pt x="126" y="114"/>
                        </a:lnTo>
                        <a:lnTo>
                          <a:pt x="126" y="116"/>
                        </a:lnTo>
                        <a:lnTo>
                          <a:pt x="122" y="116"/>
                        </a:lnTo>
                        <a:lnTo>
                          <a:pt x="118" y="116"/>
                        </a:lnTo>
                        <a:lnTo>
                          <a:pt x="116" y="116"/>
                        </a:lnTo>
                        <a:lnTo>
                          <a:pt x="115" y="116"/>
                        </a:lnTo>
                        <a:lnTo>
                          <a:pt x="112" y="115"/>
                        </a:lnTo>
                        <a:lnTo>
                          <a:pt x="111" y="115"/>
                        </a:lnTo>
                        <a:lnTo>
                          <a:pt x="110" y="116"/>
                        </a:lnTo>
                        <a:lnTo>
                          <a:pt x="109" y="116"/>
                        </a:lnTo>
                        <a:lnTo>
                          <a:pt x="108" y="114"/>
                        </a:lnTo>
                        <a:lnTo>
                          <a:pt x="107" y="114"/>
                        </a:lnTo>
                        <a:lnTo>
                          <a:pt x="107" y="113"/>
                        </a:lnTo>
                        <a:lnTo>
                          <a:pt x="106" y="111"/>
                        </a:lnTo>
                        <a:lnTo>
                          <a:pt x="106" y="110"/>
                        </a:lnTo>
                        <a:lnTo>
                          <a:pt x="106" y="109"/>
                        </a:lnTo>
                        <a:lnTo>
                          <a:pt x="106" y="107"/>
                        </a:lnTo>
                        <a:lnTo>
                          <a:pt x="106" y="105"/>
                        </a:lnTo>
                        <a:lnTo>
                          <a:pt x="106" y="104"/>
                        </a:lnTo>
                        <a:lnTo>
                          <a:pt x="106" y="103"/>
                        </a:lnTo>
                        <a:lnTo>
                          <a:pt x="106" y="101"/>
                        </a:lnTo>
                        <a:lnTo>
                          <a:pt x="107" y="100"/>
                        </a:lnTo>
                        <a:lnTo>
                          <a:pt x="107" y="99"/>
                        </a:lnTo>
                        <a:lnTo>
                          <a:pt x="108" y="98"/>
                        </a:lnTo>
                        <a:lnTo>
                          <a:pt x="109" y="97"/>
                        </a:lnTo>
                        <a:lnTo>
                          <a:pt x="108" y="97"/>
                        </a:lnTo>
                        <a:lnTo>
                          <a:pt x="107" y="96"/>
                        </a:lnTo>
                        <a:lnTo>
                          <a:pt x="107" y="94"/>
                        </a:lnTo>
                        <a:lnTo>
                          <a:pt x="106" y="94"/>
                        </a:lnTo>
                        <a:lnTo>
                          <a:pt x="104" y="94"/>
                        </a:lnTo>
                        <a:lnTo>
                          <a:pt x="102" y="95"/>
                        </a:lnTo>
                        <a:lnTo>
                          <a:pt x="100" y="97"/>
                        </a:lnTo>
                        <a:lnTo>
                          <a:pt x="98" y="99"/>
                        </a:lnTo>
                        <a:lnTo>
                          <a:pt x="96" y="100"/>
                        </a:lnTo>
                        <a:lnTo>
                          <a:pt x="95" y="101"/>
                        </a:lnTo>
                        <a:lnTo>
                          <a:pt x="93" y="101"/>
                        </a:lnTo>
                        <a:lnTo>
                          <a:pt x="93" y="102"/>
                        </a:lnTo>
                        <a:lnTo>
                          <a:pt x="93" y="104"/>
                        </a:lnTo>
                        <a:lnTo>
                          <a:pt x="90" y="103"/>
                        </a:lnTo>
                        <a:lnTo>
                          <a:pt x="88" y="102"/>
                        </a:lnTo>
                        <a:lnTo>
                          <a:pt x="87" y="101"/>
                        </a:lnTo>
                        <a:lnTo>
                          <a:pt x="86" y="101"/>
                        </a:lnTo>
                        <a:lnTo>
                          <a:pt x="86" y="103"/>
                        </a:lnTo>
                        <a:lnTo>
                          <a:pt x="86" y="104"/>
                        </a:lnTo>
                        <a:lnTo>
                          <a:pt x="86" y="105"/>
                        </a:lnTo>
                        <a:lnTo>
                          <a:pt x="86" y="107"/>
                        </a:lnTo>
                        <a:lnTo>
                          <a:pt x="84" y="107"/>
                        </a:lnTo>
                        <a:lnTo>
                          <a:pt x="83" y="106"/>
                        </a:lnTo>
                        <a:lnTo>
                          <a:pt x="83" y="104"/>
                        </a:lnTo>
                        <a:lnTo>
                          <a:pt x="81" y="105"/>
                        </a:lnTo>
                        <a:lnTo>
                          <a:pt x="79" y="105"/>
                        </a:lnTo>
                        <a:lnTo>
                          <a:pt x="76" y="104"/>
                        </a:lnTo>
                        <a:lnTo>
                          <a:pt x="74" y="104"/>
                        </a:lnTo>
                        <a:lnTo>
                          <a:pt x="74" y="105"/>
                        </a:lnTo>
                        <a:lnTo>
                          <a:pt x="73" y="106"/>
                        </a:lnTo>
                        <a:lnTo>
                          <a:pt x="72" y="108"/>
                        </a:lnTo>
                        <a:lnTo>
                          <a:pt x="70" y="111"/>
                        </a:lnTo>
                        <a:lnTo>
                          <a:pt x="70" y="112"/>
                        </a:lnTo>
                        <a:lnTo>
                          <a:pt x="70" y="114"/>
                        </a:lnTo>
                        <a:lnTo>
                          <a:pt x="70" y="115"/>
                        </a:lnTo>
                        <a:lnTo>
                          <a:pt x="69" y="116"/>
                        </a:lnTo>
                        <a:lnTo>
                          <a:pt x="68" y="116"/>
                        </a:lnTo>
                        <a:lnTo>
                          <a:pt x="67" y="116"/>
                        </a:lnTo>
                        <a:lnTo>
                          <a:pt x="67" y="118"/>
                        </a:lnTo>
                        <a:lnTo>
                          <a:pt x="65" y="118"/>
                        </a:lnTo>
                        <a:lnTo>
                          <a:pt x="63" y="117"/>
                        </a:lnTo>
                        <a:lnTo>
                          <a:pt x="60" y="116"/>
                        </a:lnTo>
                        <a:lnTo>
                          <a:pt x="59" y="117"/>
                        </a:lnTo>
                        <a:lnTo>
                          <a:pt x="58" y="118"/>
                        </a:lnTo>
                        <a:lnTo>
                          <a:pt x="57" y="119"/>
                        </a:lnTo>
                        <a:lnTo>
                          <a:pt x="55" y="120"/>
                        </a:lnTo>
                        <a:lnTo>
                          <a:pt x="54" y="119"/>
                        </a:lnTo>
                        <a:lnTo>
                          <a:pt x="53" y="118"/>
                        </a:lnTo>
                        <a:lnTo>
                          <a:pt x="52" y="117"/>
                        </a:lnTo>
                        <a:lnTo>
                          <a:pt x="51" y="116"/>
                        </a:lnTo>
                        <a:lnTo>
                          <a:pt x="47" y="116"/>
                        </a:lnTo>
                        <a:lnTo>
                          <a:pt x="45" y="116"/>
                        </a:lnTo>
                        <a:lnTo>
                          <a:pt x="43" y="118"/>
                        </a:lnTo>
                        <a:lnTo>
                          <a:pt x="41" y="119"/>
                        </a:lnTo>
                        <a:lnTo>
                          <a:pt x="40" y="120"/>
                        </a:lnTo>
                        <a:lnTo>
                          <a:pt x="38" y="120"/>
                        </a:lnTo>
                        <a:lnTo>
                          <a:pt x="36" y="117"/>
                        </a:lnTo>
                        <a:lnTo>
                          <a:pt x="36" y="115"/>
                        </a:lnTo>
                        <a:lnTo>
                          <a:pt x="36" y="113"/>
                        </a:lnTo>
                        <a:lnTo>
                          <a:pt x="35" y="111"/>
                        </a:lnTo>
                        <a:lnTo>
                          <a:pt x="35" y="109"/>
                        </a:lnTo>
                        <a:lnTo>
                          <a:pt x="35" y="107"/>
                        </a:lnTo>
                        <a:lnTo>
                          <a:pt x="34" y="106"/>
                        </a:lnTo>
                        <a:lnTo>
                          <a:pt x="32" y="104"/>
                        </a:lnTo>
                        <a:lnTo>
                          <a:pt x="31" y="103"/>
                        </a:lnTo>
                        <a:lnTo>
                          <a:pt x="29" y="101"/>
                        </a:lnTo>
                        <a:lnTo>
                          <a:pt x="29" y="100"/>
                        </a:lnTo>
                        <a:lnTo>
                          <a:pt x="30" y="99"/>
                        </a:lnTo>
                        <a:lnTo>
                          <a:pt x="30" y="98"/>
                        </a:lnTo>
                        <a:lnTo>
                          <a:pt x="29" y="97"/>
                        </a:lnTo>
                        <a:lnTo>
                          <a:pt x="28" y="96"/>
                        </a:lnTo>
                        <a:lnTo>
                          <a:pt x="27" y="96"/>
                        </a:lnTo>
                        <a:lnTo>
                          <a:pt x="26" y="95"/>
                        </a:lnTo>
                        <a:lnTo>
                          <a:pt x="25" y="94"/>
                        </a:lnTo>
                        <a:lnTo>
                          <a:pt x="26" y="94"/>
                        </a:lnTo>
                        <a:lnTo>
                          <a:pt x="27" y="93"/>
                        </a:lnTo>
                        <a:lnTo>
                          <a:pt x="29" y="91"/>
                        </a:lnTo>
                        <a:lnTo>
                          <a:pt x="29" y="90"/>
                        </a:lnTo>
                        <a:lnTo>
                          <a:pt x="29" y="88"/>
                        </a:lnTo>
                        <a:lnTo>
                          <a:pt x="29" y="85"/>
                        </a:lnTo>
                        <a:lnTo>
                          <a:pt x="28" y="85"/>
                        </a:lnTo>
                        <a:lnTo>
                          <a:pt x="27" y="85"/>
                        </a:lnTo>
                        <a:lnTo>
                          <a:pt x="25" y="85"/>
                        </a:lnTo>
                        <a:lnTo>
                          <a:pt x="23" y="82"/>
                        </a:lnTo>
                        <a:lnTo>
                          <a:pt x="22" y="82"/>
                        </a:lnTo>
                        <a:lnTo>
                          <a:pt x="21" y="82"/>
                        </a:lnTo>
                        <a:lnTo>
                          <a:pt x="19" y="82"/>
                        </a:lnTo>
                        <a:lnTo>
                          <a:pt x="17" y="82"/>
                        </a:lnTo>
                        <a:lnTo>
                          <a:pt x="16" y="82"/>
                        </a:lnTo>
                        <a:lnTo>
                          <a:pt x="16" y="83"/>
                        </a:lnTo>
                        <a:lnTo>
                          <a:pt x="15" y="85"/>
                        </a:lnTo>
                        <a:lnTo>
                          <a:pt x="13" y="85"/>
                        </a:lnTo>
                        <a:lnTo>
                          <a:pt x="10" y="85"/>
                        </a:lnTo>
                        <a:lnTo>
                          <a:pt x="3" y="91"/>
                        </a:lnTo>
                        <a:lnTo>
                          <a:pt x="3" y="94"/>
                        </a:lnTo>
                        <a:lnTo>
                          <a:pt x="5" y="92"/>
                        </a:lnTo>
                        <a:lnTo>
                          <a:pt x="6" y="92"/>
                        </a:lnTo>
                        <a:lnTo>
                          <a:pt x="8" y="92"/>
                        </a:lnTo>
                        <a:lnTo>
                          <a:pt x="10" y="91"/>
                        </a:lnTo>
                        <a:lnTo>
                          <a:pt x="11" y="91"/>
                        </a:lnTo>
                        <a:lnTo>
                          <a:pt x="12" y="91"/>
                        </a:lnTo>
                        <a:lnTo>
                          <a:pt x="11" y="92"/>
                        </a:lnTo>
                        <a:lnTo>
                          <a:pt x="10" y="94"/>
                        </a:lnTo>
                        <a:lnTo>
                          <a:pt x="9" y="94"/>
                        </a:lnTo>
                        <a:lnTo>
                          <a:pt x="8" y="94"/>
                        </a:lnTo>
                        <a:lnTo>
                          <a:pt x="7" y="94"/>
                        </a:lnTo>
                        <a:lnTo>
                          <a:pt x="6" y="94"/>
                        </a:lnTo>
                        <a:lnTo>
                          <a:pt x="4" y="94"/>
                        </a:lnTo>
                        <a:lnTo>
                          <a:pt x="3" y="96"/>
                        </a:lnTo>
                        <a:lnTo>
                          <a:pt x="3" y="97"/>
                        </a:lnTo>
                        <a:lnTo>
                          <a:pt x="1" y="95"/>
                        </a:lnTo>
                        <a:lnTo>
                          <a:pt x="0" y="94"/>
                        </a:lnTo>
                        <a:lnTo>
                          <a:pt x="0" y="92"/>
                        </a:lnTo>
                        <a:lnTo>
                          <a:pt x="1" y="91"/>
                        </a:lnTo>
                        <a:lnTo>
                          <a:pt x="2" y="90"/>
                        </a:lnTo>
                        <a:lnTo>
                          <a:pt x="3" y="88"/>
                        </a:lnTo>
                        <a:lnTo>
                          <a:pt x="5" y="88"/>
                        </a:lnTo>
                        <a:lnTo>
                          <a:pt x="6" y="86"/>
                        </a:lnTo>
                        <a:lnTo>
                          <a:pt x="6" y="85"/>
                        </a:lnTo>
                        <a:lnTo>
                          <a:pt x="6" y="83"/>
                        </a:lnTo>
                        <a:lnTo>
                          <a:pt x="6" y="82"/>
                        </a:lnTo>
                        <a:lnTo>
                          <a:pt x="6" y="79"/>
                        </a:lnTo>
                        <a:lnTo>
                          <a:pt x="5" y="77"/>
                        </a:lnTo>
                        <a:lnTo>
                          <a:pt x="6" y="75"/>
                        </a:lnTo>
                        <a:lnTo>
                          <a:pt x="6" y="74"/>
                        </a:lnTo>
                        <a:lnTo>
                          <a:pt x="6" y="73"/>
                        </a:lnTo>
                        <a:lnTo>
                          <a:pt x="6" y="72"/>
                        </a:lnTo>
                        <a:lnTo>
                          <a:pt x="6" y="71"/>
                        </a:lnTo>
                        <a:lnTo>
                          <a:pt x="8" y="69"/>
                        </a:lnTo>
                        <a:lnTo>
                          <a:pt x="10" y="68"/>
                        </a:lnTo>
                        <a:lnTo>
                          <a:pt x="11" y="67"/>
                        </a:lnTo>
                        <a:lnTo>
                          <a:pt x="12" y="65"/>
                        </a:lnTo>
                        <a:lnTo>
                          <a:pt x="12" y="64"/>
                        </a:lnTo>
                        <a:lnTo>
                          <a:pt x="12" y="63"/>
                        </a:lnTo>
                        <a:lnTo>
                          <a:pt x="12" y="61"/>
                        </a:lnTo>
                        <a:lnTo>
                          <a:pt x="14" y="61"/>
                        </a:lnTo>
                        <a:lnTo>
                          <a:pt x="13" y="61"/>
                        </a:lnTo>
                        <a:lnTo>
                          <a:pt x="13" y="60"/>
                        </a:lnTo>
                        <a:lnTo>
                          <a:pt x="12" y="58"/>
                        </a:lnTo>
                        <a:lnTo>
                          <a:pt x="14" y="58"/>
                        </a:lnTo>
                        <a:lnTo>
                          <a:pt x="15" y="58"/>
                        </a:lnTo>
                        <a:lnTo>
                          <a:pt x="15" y="57"/>
                        </a:lnTo>
                        <a:lnTo>
                          <a:pt x="15" y="55"/>
                        </a:lnTo>
                        <a:lnTo>
                          <a:pt x="17" y="55"/>
                        </a:lnTo>
                        <a:lnTo>
                          <a:pt x="19" y="55"/>
                        </a:lnTo>
                        <a:lnTo>
                          <a:pt x="20" y="55"/>
                        </a:lnTo>
                        <a:lnTo>
                          <a:pt x="22" y="55"/>
                        </a:lnTo>
                        <a:lnTo>
                          <a:pt x="22" y="51"/>
                        </a:lnTo>
                        <a:lnTo>
                          <a:pt x="22" y="50"/>
                        </a:lnTo>
                        <a:lnTo>
                          <a:pt x="22" y="49"/>
                        </a:lnTo>
                        <a:lnTo>
                          <a:pt x="24" y="48"/>
                        </a:lnTo>
                        <a:lnTo>
                          <a:pt x="25" y="47"/>
                        </a:lnTo>
                        <a:lnTo>
                          <a:pt x="25" y="46"/>
                        </a:lnTo>
                        <a:lnTo>
                          <a:pt x="26" y="44"/>
                        </a:lnTo>
                        <a:lnTo>
                          <a:pt x="26" y="43"/>
                        </a:lnTo>
                        <a:lnTo>
                          <a:pt x="27" y="42"/>
                        </a:lnTo>
                        <a:lnTo>
                          <a:pt x="29" y="42"/>
                        </a:lnTo>
                        <a:lnTo>
                          <a:pt x="31" y="42"/>
                        </a:lnTo>
                        <a:lnTo>
                          <a:pt x="32" y="42"/>
                        </a:lnTo>
                        <a:lnTo>
                          <a:pt x="35" y="42"/>
                        </a:lnTo>
                        <a:lnTo>
                          <a:pt x="36" y="41"/>
                        </a:lnTo>
                        <a:lnTo>
                          <a:pt x="39" y="39"/>
                        </a:lnTo>
                        <a:lnTo>
                          <a:pt x="41" y="39"/>
                        </a:lnTo>
                        <a:lnTo>
                          <a:pt x="41" y="37"/>
                        </a:lnTo>
                        <a:lnTo>
                          <a:pt x="42" y="36"/>
                        </a:lnTo>
                        <a:lnTo>
                          <a:pt x="43" y="36"/>
                        </a:lnTo>
                        <a:lnTo>
                          <a:pt x="45" y="36"/>
                        </a:lnTo>
                        <a:lnTo>
                          <a:pt x="45" y="34"/>
                        </a:lnTo>
                        <a:lnTo>
                          <a:pt x="46" y="33"/>
                        </a:lnTo>
                        <a:lnTo>
                          <a:pt x="47" y="32"/>
                        </a:lnTo>
                        <a:lnTo>
                          <a:pt x="48" y="32"/>
                        </a:lnTo>
                        <a:lnTo>
                          <a:pt x="50" y="30"/>
                        </a:lnTo>
                        <a:lnTo>
                          <a:pt x="53" y="29"/>
                        </a:lnTo>
                        <a:lnTo>
                          <a:pt x="54" y="29"/>
                        </a:lnTo>
                        <a:lnTo>
                          <a:pt x="55" y="29"/>
                        </a:lnTo>
                        <a:lnTo>
                          <a:pt x="57" y="29"/>
                        </a:lnTo>
                        <a:lnTo>
                          <a:pt x="59" y="28"/>
                        </a:lnTo>
                        <a:lnTo>
                          <a:pt x="60" y="27"/>
                        </a:lnTo>
                        <a:lnTo>
                          <a:pt x="60" y="26"/>
                        </a:lnTo>
                        <a:lnTo>
                          <a:pt x="65" y="26"/>
                        </a:lnTo>
                        <a:lnTo>
                          <a:pt x="67" y="25"/>
                        </a:lnTo>
                        <a:lnTo>
                          <a:pt x="67" y="23"/>
                        </a:lnTo>
                        <a:lnTo>
                          <a:pt x="67" y="21"/>
                        </a:lnTo>
                        <a:lnTo>
                          <a:pt x="67" y="20"/>
                        </a:lnTo>
                        <a:lnTo>
                          <a:pt x="66" y="20"/>
                        </a:lnTo>
                        <a:lnTo>
                          <a:pt x="64" y="20"/>
                        </a:lnTo>
                        <a:lnTo>
                          <a:pt x="63" y="20"/>
                        </a:lnTo>
                        <a:lnTo>
                          <a:pt x="62" y="20"/>
                        </a:lnTo>
                        <a:lnTo>
                          <a:pt x="61" y="20"/>
                        </a:lnTo>
                        <a:lnTo>
                          <a:pt x="60" y="20"/>
                        </a:lnTo>
                        <a:lnTo>
                          <a:pt x="62" y="18"/>
                        </a:lnTo>
                        <a:lnTo>
                          <a:pt x="63" y="17"/>
                        </a:lnTo>
                        <a:lnTo>
                          <a:pt x="64" y="16"/>
                        </a:lnTo>
                        <a:lnTo>
                          <a:pt x="64" y="14"/>
                        </a:lnTo>
                        <a:lnTo>
                          <a:pt x="64" y="13"/>
                        </a:lnTo>
                        <a:lnTo>
                          <a:pt x="65" y="12"/>
                        </a:lnTo>
                        <a:lnTo>
                          <a:pt x="67" y="10"/>
                        </a:lnTo>
                        <a:lnTo>
                          <a:pt x="69" y="10"/>
                        </a:lnTo>
                        <a:lnTo>
                          <a:pt x="70" y="11"/>
                        </a:lnTo>
                        <a:lnTo>
                          <a:pt x="70" y="13"/>
                        </a:lnTo>
                        <a:lnTo>
                          <a:pt x="75" y="13"/>
                        </a:lnTo>
                        <a:lnTo>
                          <a:pt x="77" y="13"/>
                        </a:lnTo>
                        <a:lnTo>
                          <a:pt x="77" y="14"/>
                        </a:lnTo>
                        <a:lnTo>
                          <a:pt x="77" y="15"/>
                        </a:lnTo>
                        <a:lnTo>
                          <a:pt x="77" y="16"/>
                        </a:lnTo>
                        <a:lnTo>
                          <a:pt x="76" y="17"/>
                        </a:lnTo>
                        <a:lnTo>
                          <a:pt x="76" y="18"/>
                        </a:lnTo>
                        <a:lnTo>
                          <a:pt x="77" y="19"/>
                        </a:lnTo>
                        <a:lnTo>
                          <a:pt x="77" y="20"/>
                        </a:lnTo>
                        <a:lnTo>
                          <a:pt x="79" y="19"/>
                        </a:lnTo>
                        <a:lnTo>
                          <a:pt x="81" y="19"/>
                        </a:lnTo>
                        <a:lnTo>
                          <a:pt x="82" y="18"/>
                        </a:lnTo>
                        <a:lnTo>
                          <a:pt x="83" y="20"/>
                        </a:lnTo>
                        <a:lnTo>
                          <a:pt x="85" y="20"/>
                        </a:lnTo>
                        <a:lnTo>
                          <a:pt x="86" y="20"/>
                        </a:lnTo>
                        <a:lnTo>
                          <a:pt x="89" y="18"/>
                        </a:lnTo>
                        <a:lnTo>
                          <a:pt x="91" y="16"/>
                        </a:lnTo>
                        <a:lnTo>
                          <a:pt x="92" y="15"/>
                        </a:lnTo>
                        <a:lnTo>
                          <a:pt x="93" y="13"/>
                        </a:lnTo>
                        <a:lnTo>
                          <a:pt x="95" y="13"/>
                        </a:lnTo>
                        <a:lnTo>
                          <a:pt x="96" y="13"/>
                        </a:lnTo>
                        <a:lnTo>
                          <a:pt x="96" y="12"/>
                        </a:lnTo>
                        <a:lnTo>
                          <a:pt x="96" y="10"/>
                        </a:lnTo>
                        <a:lnTo>
                          <a:pt x="97" y="10"/>
                        </a:lnTo>
                        <a:lnTo>
                          <a:pt x="98" y="11"/>
                        </a:lnTo>
                        <a:lnTo>
                          <a:pt x="101" y="13"/>
                        </a:lnTo>
                        <a:lnTo>
                          <a:pt x="103" y="13"/>
                        </a:lnTo>
                        <a:lnTo>
                          <a:pt x="105" y="13"/>
                        </a:lnTo>
                        <a:lnTo>
                          <a:pt x="106" y="13"/>
                        </a:lnTo>
                        <a:lnTo>
                          <a:pt x="107" y="13"/>
                        </a:lnTo>
                        <a:lnTo>
                          <a:pt x="109" y="13"/>
                        </a:lnTo>
                        <a:lnTo>
                          <a:pt x="110" y="12"/>
                        </a:lnTo>
                        <a:lnTo>
                          <a:pt x="112" y="12"/>
                        </a:lnTo>
                        <a:lnTo>
                          <a:pt x="112" y="13"/>
                        </a:lnTo>
                        <a:lnTo>
                          <a:pt x="113" y="13"/>
                        </a:lnTo>
                        <a:lnTo>
                          <a:pt x="114" y="13"/>
                        </a:lnTo>
                        <a:lnTo>
                          <a:pt x="115" y="13"/>
                        </a:lnTo>
                        <a:lnTo>
                          <a:pt x="116" y="14"/>
                        </a:lnTo>
                        <a:lnTo>
                          <a:pt x="117" y="14"/>
                        </a:lnTo>
                        <a:lnTo>
                          <a:pt x="118" y="15"/>
                        </a:lnTo>
                        <a:lnTo>
                          <a:pt x="119" y="13"/>
                        </a:lnTo>
                        <a:lnTo>
                          <a:pt x="121" y="13"/>
                        </a:lnTo>
                        <a:lnTo>
                          <a:pt x="122" y="13"/>
                        </a:lnTo>
                        <a:lnTo>
                          <a:pt x="124" y="13"/>
                        </a:lnTo>
                        <a:lnTo>
                          <a:pt x="126" y="13"/>
                        </a:lnTo>
                        <a:lnTo>
                          <a:pt x="127" y="13"/>
                        </a:lnTo>
                        <a:lnTo>
                          <a:pt x="128" y="12"/>
                        </a:lnTo>
                        <a:lnTo>
                          <a:pt x="129" y="10"/>
                        </a:lnTo>
                        <a:lnTo>
                          <a:pt x="131" y="10"/>
                        </a:lnTo>
                        <a:lnTo>
                          <a:pt x="133" y="12"/>
                        </a:lnTo>
                        <a:lnTo>
                          <a:pt x="134" y="13"/>
                        </a:lnTo>
                        <a:lnTo>
                          <a:pt x="135" y="13"/>
                        </a:lnTo>
                        <a:lnTo>
                          <a:pt x="137" y="15"/>
                        </a:lnTo>
                        <a:lnTo>
                          <a:pt x="140" y="15"/>
                        </a:lnTo>
                        <a:lnTo>
                          <a:pt x="142" y="15"/>
                        </a:lnTo>
                        <a:lnTo>
                          <a:pt x="145" y="16"/>
                        </a:lnTo>
                        <a:lnTo>
                          <a:pt x="145" y="15"/>
                        </a:lnTo>
                        <a:lnTo>
                          <a:pt x="146" y="15"/>
                        </a:lnTo>
                        <a:lnTo>
                          <a:pt x="148" y="16"/>
                        </a:lnTo>
                        <a:lnTo>
                          <a:pt x="148" y="15"/>
                        </a:lnTo>
                        <a:lnTo>
                          <a:pt x="148" y="13"/>
                        </a:lnTo>
                        <a:lnTo>
                          <a:pt x="149" y="13"/>
                        </a:lnTo>
                        <a:lnTo>
                          <a:pt x="149" y="11"/>
                        </a:lnTo>
                        <a:lnTo>
                          <a:pt x="149" y="10"/>
                        </a:lnTo>
                        <a:lnTo>
                          <a:pt x="148" y="10"/>
                        </a:lnTo>
                        <a:lnTo>
                          <a:pt x="149" y="9"/>
                        </a:lnTo>
                        <a:lnTo>
                          <a:pt x="150" y="8"/>
                        </a:lnTo>
                        <a:lnTo>
                          <a:pt x="151" y="7"/>
                        </a:lnTo>
                        <a:lnTo>
                          <a:pt x="151" y="6"/>
                        </a:lnTo>
                        <a:lnTo>
                          <a:pt x="148" y="7"/>
                        </a:lnTo>
                        <a:lnTo>
                          <a:pt x="145" y="8"/>
                        </a:lnTo>
                        <a:lnTo>
                          <a:pt x="142" y="9"/>
                        </a:lnTo>
                        <a:lnTo>
                          <a:pt x="141" y="10"/>
                        </a:lnTo>
                        <a:lnTo>
                          <a:pt x="141" y="8"/>
                        </a:lnTo>
                        <a:lnTo>
                          <a:pt x="141" y="7"/>
                        </a:lnTo>
                        <a:lnTo>
                          <a:pt x="141" y="6"/>
                        </a:lnTo>
                        <a:lnTo>
                          <a:pt x="142" y="4"/>
                        </a:lnTo>
                        <a:lnTo>
                          <a:pt x="143" y="4"/>
                        </a:lnTo>
                        <a:lnTo>
                          <a:pt x="144" y="4"/>
                        </a:lnTo>
                        <a:lnTo>
                          <a:pt x="145" y="4"/>
                        </a:lnTo>
                        <a:lnTo>
                          <a:pt x="147" y="1"/>
                        </a:lnTo>
                        <a:lnTo>
                          <a:pt x="148" y="1"/>
                        </a:lnTo>
                        <a:lnTo>
                          <a:pt x="148" y="0"/>
                        </a:lnTo>
                        <a:lnTo>
                          <a:pt x="150" y="0"/>
                        </a:lnTo>
                        <a:lnTo>
                          <a:pt x="151" y="0"/>
                        </a:lnTo>
                        <a:lnTo>
                          <a:pt x="153" y="0"/>
                        </a:lnTo>
                        <a:lnTo>
                          <a:pt x="154" y="0"/>
                        </a:lnTo>
                        <a:lnTo>
                          <a:pt x="155" y="1"/>
                        </a:lnTo>
                        <a:lnTo>
                          <a:pt x="155" y="4"/>
                        </a:lnTo>
                        <a:lnTo>
                          <a:pt x="155" y="5"/>
                        </a:lnTo>
                        <a:lnTo>
                          <a:pt x="155" y="7"/>
                        </a:lnTo>
                        <a:lnTo>
                          <a:pt x="155" y="10"/>
                        </a:lnTo>
                        <a:lnTo>
                          <a:pt x="156" y="12"/>
                        </a:lnTo>
                        <a:lnTo>
                          <a:pt x="157" y="13"/>
                        </a:lnTo>
                        <a:lnTo>
                          <a:pt x="159" y="15"/>
                        </a:lnTo>
                        <a:lnTo>
                          <a:pt x="160" y="16"/>
                        </a:lnTo>
                        <a:lnTo>
                          <a:pt x="161" y="16"/>
                        </a:lnTo>
                        <a:lnTo>
                          <a:pt x="163" y="16"/>
                        </a:lnTo>
                        <a:lnTo>
                          <a:pt x="167" y="16"/>
                        </a:lnTo>
                        <a:lnTo>
                          <a:pt x="170" y="16"/>
                        </a:lnTo>
                        <a:lnTo>
                          <a:pt x="171" y="17"/>
                        </a:lnTo>
                        <a:lnTo>
                          <a:pt x="171" y="18"/>
                        </a:lnTo>
                        <a:lnTo>
                          <a:pt x="172" y="19"/>
                        </a:lnTo>
                        <a:lnTo>
                          <a:pt x="174" y="20"/>
                        </a:lnTo>
                        <a:lnTo>
                          <a:pt x="177" y="23"/>
                        </a:lnTo>
                        <a:lnTo>
                          <a:pt x="180" y="26"/>
                        </a:lnTo>
                        <a:lnTo>
                          <a:pt x="180" y="29"/>
                        </a:lnTo>
                        <a:lnTo>
                          <a:pt x="181" y="30"/>
                        </a:lnTo>
                        <a:lnTo>
                          <a:pt x="183" y="34"/>
                        </a:lnTo>
                        <a:lnTo>
                          <a:pt x="187" y="39"/>
                        </a:lnTo>
                        <a:lnTo>
                          <a:pt x="190" y="42"/>
                        </a:lnTo>
                        <a:lnTo>
                          <a:pt x="188" y="42"/>
                        </a:lnTo>
                        <a:lnTo>
                          <a:pt x="187" y="43"/>
                        </a:lnTo>
                        <a:lnTo>
                          <a:pt x="186" y="44"/>
                        </a:lnTo>
                        <a:lnTo>
                          <a:pt x="186" y="46"/>
                        </a:lnTo>
                        <a:lnTo>
                          <a:pt x="186" y="47"/>
                        </a:lnTo>
                        <a:lnTo>
                          <a:pt x="186" y="49"/>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4" name="Freeform 1521">
                    <a:extLst>
                      <a:ext uri="{FF2B5EF4-FFF2-40B4-BE49-F238E27FC236}">
                        <a16:creationId xmlns:a16="http://schemas.microsoft.com/office/drawing/2014/main" xmlns="" id="{410FE5CF-94AD-4C0D-A091-66F537900FC2}"/>
                      </a:ext>
                    </a:extLst>
                  </p:cNvPr>
                  <p:cNvSpPr>
                    <a:spLocks/>
                  </p:cNvSpPr>
                  <p:nvPr/>
                </p:nvSpPr>
                <p:spPr bwMode="gray">
                  <a:xfrm>
                    <a:off x="4526562" y="3707987"/>
                    <a:ext cx="182444" cy="115690"/>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2147483647 w 164"/>
                      <a:gd name="T35" fmla="*/ 2147483647 h 104"/>
                      <a:gd name="T36" fmla="*/ 2147483647 w 164"/>
                      <a:gd name="T37" fmla="*/ 2147483647 h 104"/>
                      <a:gd name="T38" fmla="*/ 2147483647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0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2147483647 h 104"/>
                      <a:gd name="T82" fmla="*/ 2147483647 w 164"/>
                      <a:gd name="T83" fmla="*/ 2147483647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0 w 164"/>
                      <a:gd name="T103" fmla="*/ 2147483647 h 104"/>
                      <a:gd name="T104" fmla="*/ 2147483647 w 164"/>
                      <a:gd name="T105" fmla="*/ 2147483647 h 104"/>
                      <a:gd name="T106" fmla="*/ 2147483647 w 164"/>
                      <a:gd name="T107" fmla="*/ 2147483647 h 104"/>
                      <a:gd name="T108" fmla="*/ 2147483647 w 164"/>
                      <a:gd name="T109" fmla="*/ 2147483647 h 104"/>
                      <a:gd name="T110" fmla="*/ 2147483647 w 164"/>
                      <a:gd name="T111" fmla="*/ 2147483647 h 104"/>
                      <a:gd name="T112" fmla="*/ 2147483647 w 164"/>
                      <a:gd name="T113" fmla="*/ 2147483647 h 104"/>
                      <a:gd name="T114" fmla="*/ 2147483647 w 164"/>
                      <a:gd name="T115" fmla="*/ 2147483647 h 104"/>
                      <a:gd name="T116" fmla="*/ 2147483647 w 164"/>
                      <a:gd name="T117" fmla="*/ 2147483647 h 104"/>
                      <a:gd name="T118" fmla="*/ 2147483647 w 164"/>
                      <a:gd name="T119" fmla="*/ 2147483647 h 1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4" h="104">
                        <a:moveTo>
                          <a:pt x="13" y="83"/>
                        </a:moveTo>
                        <a:lnTo>
                          <a:pt x="12" y="86"/>
                        </a:lnTo>
                        <a:lnTo>
                          <a:pt x="11" y="88"/>
                        </a:lnTo>
                        <a:lnTo>
                          <a:pt x="9" y="89"/>
                        </a:lnTo>
                        <a:lnTo>
                          <a:pt x="6" y="89"/>
                        </a:lnTo>
                        <a:lnTo>
                          <a:pt x="9" y="91"/>
                        </a:lnTo>
                        <a:lnTo>
                          <a:pt x="11" y="92"/>
                        </a:lnTo>
                        <a:lnTo>
                          <a:pt x="12" y="92"/>
                        </a:lnTo>
                        <a:lnTo>
                          <a:pt x="13" y="92"/>
                        </a:lnTo>
                        <a:lnTo>
                          <a:pt x="15" y="93"/>
                        </a:lnTo>
                        <a:lnTo>
                          <a:pt x="15" y="94"/>
                        </a:lnTo>
                        <a:lnTo>
                          <a:pt x="15" y="95"/>
                        </a:lnTo>
                        <a:lnTo>
                          <a:pt x="15" y="96"/>
                        </a:lnTo>
                        <a:lnTo>
                          <a:pt x="17" y="96"/>
                        </a:lnTo>
                        <a:lnTo>
                          <a:pt x="18" y="96"/>
                        </a:lnTo>
                        <a:lnTo>
                          <a:pt x="19" y="96"/>
                        </a:lnTo>
                        <a:lnTo>
                          <a:pt x="21" y="94"/>
                        </a:lnTo>
                        <a:lnTo>
                          <a:pt x="22" y="93"/>
                        </a:lnTo>
                        <a:lnTo>
                          <a:pt x="22" y="92"/>
                        </a:lnTo>
                        <a:lnTo>
                          <a:pt x="24" y="91"/>
                        </a:lnTo>
                        <a:lnTo>
                          <a:pt x="25" y="91"/>
                        </a:lnTo>
                        <a:lnTo>
                          <a:pt x="27" y="93"/>
                        </a:lnTo>
                        <a:lnTo>
                          <a:pt x="29" y="96"/>
                        </a:lnTo>
                        <a:lnTo>
                          <a:pt x="29" y="95"/>
                        </a:lnTo>
                        <a:lnTo>
                          <a:pt x="31" y="94"/>
                        </a:lnTo>
                        <a:lnTo>
                          <a:pt x="33" y="93"/>
                        </a:lnTo>
                        <a:lnTo>
                          <a:pt x="35" y="92"/>
                        </a:lnTo>
                        <a:lnTo>
                          <a:pt x="36" y="92"/>
                        </a:lnTo>
                        <a:lnTo>
                          <a:pt x="37" y="92"/>
                        </a:lnTo>
                        <a:lnTo>
                          <a:pt x="39" y="92"/>
                        </a:lnTo>
                        <a:lnTo>
                          <a:pt x="40" y="93"/>
                        </a:lnTo>
                        <a:lnTo>
                          <a:pt x="42" y="94"/>
                        </a:lnTo>
                        <a:lnTo>
                          <a:pt x="42" y="95"/>
                        </a:lnTo>
                        <a:lnTo>
                          <a:pt x="45" y="96"/>
                        </a:lnTo>
                        <a:lnTo>
                          <a:pt x="45" y="94"/>
                        </a:lnTo>
                        <a:lnTo>
                          <a:pt x="45" y="93"/>
                        </a:lnTo>
                        <a:lnTo>
                          <a:pt x="46" y="92"/>
                        </a:lnTo>
                        <a:lnTo>
                          <a:pt x="48" y="92"/>
                        </a:lnTo>
                        <a:lnTo>
                          <a:pt x="48" y="89"/>
                        </a:lnTo>
                        <a:lnTo>
                          <a:pt x="48" y="87"/>
                        </a:lnTo>
                        <a:lnTo>
                          <a:pt x="51" y="86"/>
                        </a:lnTo>
                        <a:lnTo>
                          <a:pt x="51" y="83"/>
                        </a:lnTo>
                        <a:lnTo>
                          <a:pt x="52" y="81"/>
                        </a:lnTo>
                        <a:lnTo>
                          <a:pt x="54" y="80"/>
                        </a:lnTo>
                        <a:lnTo>
                          <a:pt x="54" y="82"/>
                        </a:lnTo>
                        <a:lnTo>
                          <a:pt x="54" y="83"/>
                        </a:lnTo>
                        <a:lnTo>
                          <a:pt x="54" y="85"/>
                        </a:lnTo>
                        <a:lnTo>
                          <a:pt x="54" y="87"/>
                        </a:lnTo>
                        <a:lnTo>
                          <a:pt x="55" y="87"/>
                        </a:lnTo>
                        <a:lnTo>
                          <a:pt x="56" y="87"/>
                        </a:lnTo>
                        <a:lnTo>
                          <a:pt x="58" y="87"/>
                        </a:lnTo>
                        <a:lnTo>
                          <a:pt x="57" y="89"/>
                        </a:lnTo>
                        <a:lnTo>
                          <a:pt x="56" y="89"/>
                        </a:lnTo>
                        <a:lnTo>
                          <a:pt x="56" y="90"/>
                        </a:lnTo>
                        <a:lnTo>
                          <a:pt x="58" y="92"/>
                        </a:lnTo>
                        <a:lnTo>
                          <a:pt x="58" y="94"/>
                        </a:lnTo>
                        <a:lnTo>
                          <a:pt x="58" y="95"/>
                        </a:lnTo>
                        <a:lnTo>
                          <a:pt x="59" y="96"/>
                        </a:lnTo>
                        <a:lnTo>
                          <a:pt x="61" y="96"/>
                        </a:lnTo>
                        <a:lnTo>
                          <a:pt x="62" y="97"/>
                        </a:lnTo>
                        <a:lnTo>
                          <a:pt x="63" y="99"/>
                        </a:lnTo>
                        <a:lnTo>
                          <a:pt x="64" y="99"/>
                        </a:lnTo>
                        <a:lnTo>
                          <a:pt x="66" y="99"/>
                        </a:lnTo>
                        <a:lnTo>
                          <a:pt x="67" y="99"/>
                        </a:lnTo>
                        <a:lnTo>
                          <a:pt x="69" y="99"/>
                        </a:lnTo>
                        <a:lnTo>
                          <a:pt x="71" y="99"/>
                        </a:lnTo>
                        <a:lnTo>
                          <a:pt x="71" y="97"/>
                        </a:lnTo>
                        <a:lnTo>
                          <a:pt x="71" y="96"/>
                        </a:lnTo>
                        <a:lnTo>
                          <a:pt x="72" y="96"/>
                        </a:lnTo>
                        <a:lnTo>
                          <a:pt x="74" y="96"/>
                        </a:lnTo>
                        <a:lnTo>
                          <a:pt x="75" y="96"/>
                        </a:lnTo>
                        <a:lnTo>
                          <a:pt x="77" y="96"/>
                        </a:lnTo>
                        <a:lnTo>
                          <a:pt x="78" y="97"/>
                        </a:lnTo>
                        <a:lnTo>
                          <a:pt x="78" y="99"/>
                        </a:lnTo>
                        <a:lnTo>
                          <a:pt x="78" y="101"/>
                        </a:lnTo>
                        <a:lnTo>
                          <a:pt x="80" y="102"/>
                        </a:lnTo>
                        <a:lnTo>
                          <a:pt x="82" y="104"/>
                        </a:lnTo>
                        <a:lnTo>
                          <a:pt x="85" y="104"/>
                        </a:lnTo>
                        <a:lnTo>
                          <a:pt x="86" y="103"/>
                        </a:lnTo>
                        <a:lnTo>
                          <a:pt x="87" y="102"/>
                        </a:lnTo>
                        <a:lnTo>
                          <a:pt x="89" y="102"/>
                        </a:lnTo>
                        <a:lnTo>
                          <a:pt x="90" y="102"/>
                        </a:lnTo>
                        <a:lnTo>
                          <a:pt x="93" y="102"/>
                        </a:lnTo>
                        <a:lnTo>
                          <a:pt x="93" y="100"/>
                        </a:lnTo>
                        <a:lnTo>
                          <a:pt x="92" y="99"/>
                        </a:lnTo>
                        <a:lnTo>
                          <a:pt x="90" y="98"/>
                        </a:lnTo>
                        <a:lnTo>
                          <a:pt x="90" y="96"/>
                        </a:lnTo>
                        <a:lnTo>
                          <a:pt x="90" y="94"/>
                        </a:lnTo>
                        <a:lnTo>
                          <a:pt x="90" y="93"/>
                        </a:lnTo>
                        <a:lnTo>
                          <a:pt x="90" y="92"/>
                        </a:lnTo>
                        <a:lnTo>
                          <a:pt x="90" y="91"/>
                        </a:lnTo>
                        <a:lnTo>
                          <a:pt x="90" y="89"/>
                        </a:lnTo>
                        <a:lnTo>
                          <a:pt x="90" y="88"/>
                        </a:lnTo>
                        <a:lnTo>
                          <a:pt x="90" y="87"/>
                        </a:lnTo>
                        <a:lnTo>
                          <a:pt x="87" y="86"/>
                        </a:lnTo>
                        <a:lnTo>
                          <a:pt x="87" y="85"/>
                        </a:lnTo>
                        <a:lnTo>
                          <a:pt x="87" y="84"/>
                        </a:lnTo>
                        <a:lnTo>
                          <a:pt x="87" y="83"/>
                        </a:lnTo>
                        <a:lnTo>
                          <a:pt x="89" y="83"/>
                        </a:lnTo>
                        <a:lnTo>
                          <a:pt x="90" y="83"/>
                        </a:lnTo>
                        <a:lnTo>
                          <a:pt x="90" y="81"/>
                        </a:lnTo>
                        <a:lnTo>
                          <a:pt x="92" y="80"/>
                        </a:lnTo>
                        <a:lnTo>
                          <a:pt x="93" y="80"/>
                        </a:lnTo>
                        <a:lnTo>
                          <a:pt x="93" y="78"/>
                        </a:lnTo>
                        <a:lnTo>
                          <a:pt x="95" y="77"/>
                        </a:lnTo>
                        <a:lnTo>
                          <a:pt x="96" y="77"/>
                        </a:lnTo>
                        <a:lnTo>
                          <a:pt x="99" y="77"/>
                        </a:lnTo>
                        <a:lnTo>
                          <a:pt x="99" y="76"/>
                        </a:lnTo>
                        <a:lnTo>
                          <a:pt x="99" y="75"/>
                        </a:lnTo>
                        <a:lnTo>
                          <a:pt x="99" y="73"/>
                        </a:lnTo>
                        <a:lnTo>
                          <a:pt x="101" y="73"/>
                        </a:lnTo>
                        <a:lnTo>
                          <a:pt x="102" y="73"/>
                        </a:lnTo>
                        <a:lnTo>
                          <a:pt x="104" y="73"/>
                        </a:lnTo>
                        <a:lnTo>
                          <a:pt x="106" y="73"/>
                        </a:lnTo>
                        <a:lnTo>
                          <a:pt x="106" y="74"/>
                        </a:lnTo>
                        <a:lnTo>
                          <a:pt x="106" y="75"/>
                        </a:lnTo>
                        <a:lnTo>
                          <a:pt x="107" y="76"/>
                        </a:lnTo>
                        <a:lnTo>
                          <a:pt x="109" y="77"/>
                        </a:lnTo>
                        <a:lnTo>
                          <a:pt x="111" y="74"/>
                        </a:lnTo>
                        <a:lnTo>
                          <a:pt x="112" y="72"/>
                        </a:lnTo>
                        <a:lnTo>
                          <a:pt x="112" y="67"/>
                        </a:lnTo>
                        <a:lnTo>
                          <a:pt x="112" y="65"/>
                        </a:lnTo>
                        <a:lnTo>
                          <a:pt x="112" y="64"/>
                        </a:lnTo>
                        <a:lnTo>
                          <a:pt x="113" y="64"/>
                        </a:lnTo>
                        <a:lnTo>
                          <a:pt x="114" y="63"/>
                        </a:lnTo>
                        <a:lnTo>
                          <a:pt x="115" y="61"/>
                        </a:lnTo>
                        <a:lnTo>
                          <a:pt x="116" y="61"/>
                        </a:lnTo>
                        <a:lnTo>
                          <a:pt x="115" y="59"/>
                        </a:lnTo>
                        <a:lnTo>
                          <a:pt x="114" y="58"/>
                        </a:lnTo>
                        <a:lnTo>
                          <a:pt x="113" y="58"/>
                        </a:lnTo>
                        <a:lnTo>
                          <a:pt x="112" y="58"/>
                        </a:lnTo>
                        <a:lnTo>
                          <a:pt x="110" y="56"/>
                        </a:lnTo>
                        <a:lnTo>
                          <a:pt x="109" y="54"/>
                        </a:lnTo>
                        <a:lnTo>
                          <a:pt x="109" y="53"/>
                        </a:lnTo>
                        <a:lnTo>
                          <a:pt x="109" y="51"/>
                        </a:lnTo>
                        <a:lnTo>
                          <a:pt x="109" y="49"/>
                        </a:lnTo>
                        <a:lnTo>
                          <a:pt x="111" y="48"/>
                        </a:lnTo>
                        <a:lnTo>
                          <a:pt x="112" y="48"/>
                        </a:lnTo>
                        <a:lnTo>
                          <a:pt x="112" y="46"/>
                        </a:lnTo>
                        <a:lnTo>
                          <a:pt x="113" y="45"/>
                        </a:lnTo>
                        <a:lnTo>
                          <a:pt x="114" y="44"/>
                        </a:lnTo>
                        <a:lnTo>
                          <a:pt x="116" y="44"/>
                        </a:lnTo>
                        <a:lnTo>
                          <a:pt x="117" y="44"/>
                        </a:lnTo>
                        <a:lnTo>
                          <a:pt x="118" y="44"/>
                        </a:lnTo>
                        <a:lnTo>
                          <a:pt x="119" y="44"/>
                        </a:lnTo>
                        <a:lnTo>
                          <a:pt x="121" y="44"/>
                        </a:lnTo>
                        <a:lnTo>
                          <a:pt x="122" y="44"/>
                        </a:lnTo>
                        <a:lnTo>
                          <a:pt x="122" y="43"/>
                        </a:lnTo>
                        <a:lnTo>
                          <a:pt x="122" y="41"/>
                        </a:lnTo>
                        <a:lnTo>
                          <a:pt x="123" y="41"/>
                        </a:lnTo>
                        <a:lnTo>
                          <a:pt x="125" y="41"/>
                        </a:lnTo>
                        <a:lnTo>
                          <a:pt x="126" y="40"/>
                        </a:lnTo>
                        <a:lnTo>
                          <a:pt x="128" y="40"/>
                        </a:lnTo>
                        <a:lnTo>
                          <a:pt x="132" y="40"/>
                        </a:lnTo>
                        <a:lnTo>
                          <a:pt x="135" y="39"/>
                        </a:lnTo>
                        <a:lnTo>
                          <a:pt x="136" y="38"/>
                        </a:lnTo>
                        <a:lnTo>
                          <a:pt x="136" y="37"/>
                        </a:lnTo>
                        <a:lnTo>
                          <a:pt x="135" y="36"/>
                        </a:lnTo>
                        <a:lnTo>
                          <a:pt x="135" y="34"/>
                        </a:lnTo>
                        <a:lnTo>
                          <a:pt x="137" y="34"/>
                        </a:lnTo>
                        <a:lnTo>
                          <a:pt x="138" y="34"/>
                        </a:lnTo>
                        <a:lnTo>
                          <a:pt x="140" y="34"/>
                        </a:lnTo>
                        <a:lnTo>
                          <a:pt x="141" y="34"/>
                        </a:lnTo>
                        <a:lnTo>
                          <a:pt x="143" y="34"/>
                        </a:lnTo>
                        <a:lnTo>
                          <a:pt x="144" y="34"/>
                        </a:lnTo>
                        <a:lnTo>
                          <a:pt x="145" y="34"/>
                        </a:lnTo>
                        <a:lnTo>
                          <a:pt x="146" y="34"/>
                        </a:lnTo>
                        <a:lnTo>
                          <a:pt x="147" y="34"/>
                        </a:lnTo>
                        <a:lnTo>
                          <a:pt x="148" y="31"/>
                        </a:lnTo>
                        <a:lnTo>
                          <a:pt x="147" y="27"/>
                        </a:lnTo>
                        <a:lnTo>
                          <a:pt x="147" y="24"/>
                        </a:lnTo>
                        <a:lnTo>
                          <a:pt x="147" y="22"/>
                        </a:lnTo>
                        <a:lnTo>
                          <a:pt x="149" y="22"/>
                        </a:lnTo>
                        <a:lnTo>
                          <a:pt x="150" y="22"/>
                        </a:lnTo>
                        <a:lnTo>
                          <a:pt x="151" y="22"/>
                        </a:lnTo>
                        <a:lnTo>
                          <a:pt x="152" y="22"/>
                        </a:lnTo>
                        <a:lnTo>
                          <a:pt x="153" y="22"/>
                        </a:lnTo>
                        <a:lnTo>
                          <a:pt x="154" y="22"/>
                        </a:lnTo>
                        <a:lnTo>
                          <a:pt x="156" y="22"/>
                        </a:lnTo>
                        <a:lnTo>
                          <a:pt x="157" y="24"/>
                        </a:lnTo>
                        <a:lnTo>
                          <a:pt x="157" y="25"/>
                        </a:lnTo>
                        <a:lnTo>
                          <a:pt x="159" y="26"/>
                        </a:lnTo>
                        <a:lnTo>
                          <a:pt x="160" y="27"/>
                        </a:lnTo>
                        <a:lnTo>
                          <a:pt x="162" y="28"/>
                        </a:lnTo>
                        <a:lnTo>
                          <a:pt x="164" y="29"/>
                        </a:lnTo>
                        <a:lnTo>
                          <a:pt x="162" y="28"/>
                        </a:lnTo>
                        <a:lnTo>
                          <a:pt x="162" y="27"/>
                        </a:lnTo>
                        <a:lnTo>
                          <a:pt x="162" y="24"/>
                        </a:lnTo>
                        <a:lnTo>
                          <a:pt x="160" y="22"/>
                        </a:lnTo>
                        <a:lnTo>
                          <a:pt x="160" y="21"/>
                        </a:lnTo>
                        <a:lnTo>
                          <a:pt x="159" y="20"/>
                        </a:lnTo>
                        <a:lnTo>
                          <a:pt x="157" y="19"/>
                        </a:lnTo>
                        <a:lnTo>
                          <a:pt x="157" y="15"/>
                        </a:lnTo>
                        <a:lnTo>
                          <a:pt x="157" y="13"/>
                        </a:lnTo>
                        <a:lnTo>
                          <a:pt x="156" y="10"/>
                        </a:lnTo>
                        <a:lnTo>
                          <a:pt x="155" y="10"/>
                        </a:lnTo>
                        <a:lnTo>
                          <a:pt x="154" y="10"/>
                        </a:lnTo>
                        <a:lnTo>
                          <a:pt x="153" y="7"/>
                        </a:lnTo>
                        <a:lnTo>
                          <a:pt x="154" y="3"/>
                        </a:lnTo>
                        <a:lnTo>
                          <a:pt x="156" y="1"/>
                        </a:lnTo>
                        <a:lnTo>
                          <a:pt x="157" y="0"/>
                        </a:lnTo>
                        <a:lnTo>
                          <a:pt x="156" y="0"/>
                        </a:lnTo>
                        <a:lnTo>
                          <a:pt x="155" y="0"/>
                        </a:lnTo>
                        <a:lnTo>
                          <a:pt x="150" y="0"/>
                        </a:lnTo>
                        <a:lnTo>
                          <a:pt x="148" y="0"/>
                        </a:lnTo>
                        <a:lnTo>
                          <a:pt x="147" y="0"/>
                        </a:lnTo>
                        <a:lnTo>
                          <a:pt x="145" y="0"/>
                        </a:lnTo>
                        <a:lnTo>
                          <a:pt x="144" y="0"/>
                        </a:lnTo>
                        <a:lnTo>
                          <a:pt x="143" y="0"/>
                        </a:lnTo>
                        <a:lnTo>
                          <a:pt x="140" y="1"/>
                        </a:lnTo>
                        <a:lnTo>
                          <a:pt x="138" y="3"/>
                        </a:lnTo>
                        <a:lnTo>
                          <a:pt x="136" y="4"/>
                        </a:lnTo>
                        <a:lnTo>
                          <a:pt x="135" y="5"/>
                        </a:lnTo>
                        <a:lnTo>
                          <a:pt x="135" y="10"/>
                        </a:lnTo>
                        <a:lnTo>
                          <a:pt x="137" y="10"/>
                        </a:lnTo>
                        <a:lnTo>
                          <a:pt x="139" y="10"/>
                        </a:lnTo>
                        <a:lnTo>
                          <a:pt x="139" y="11"/>
                        </a:lnTo>
                        <a:lnTo>
                          <a:pt x="138" y="13"/>
                        </a:lnTo>
                        <a:lnTo>
                          <a:pt x="137" y="13"/>
                        </a:lnTo>
                        <a:lnTo>
                          <a:pt x="136" y="13"/>
                        </a:lnTo>
                        <a:lnTo>
                          <a:pt x="134" y="11"/>
                        </a:lnTo>
                        <a:lnTo>
                          <a:pt x="131" y="10"/>
                        </a:lnTo>
                        <a:lnTo>
                          <a:pt x="129" y="10"/>
                        </a:lnTo>
                        <a:lnTo>
                          <a:pt x="128" y="10"/>
                        </a:lnTo>
                        <a:lnTo>
                          <a:pt x="127" y="10"/>
                        </a:lnTo>
                        <a:lnTo>
                          <a:pt x="125" y="10"/>
                        </a:lnTo>
                        <a:lnTo>
                          <a:pt x="123" y="10"/>
                        </a:lnTo>
                        <a:lnTo>
                          <a:pt x="122" y="10"/>
                        </a:lnTo>
                        <a:lnTo>
                          <a:pt x="121" y="10"/>
                        </a:lnTo>
                        <a:lnTo>
                          <a:pt x="119" y="13"/>
                        </a:lnTo>
                        <a:lnTo>
                          <a:pt x="119" y="15"/>
                        </a:lnTo>
                        <a:lnTo>
                          <a:pt x="118" y="16"/>
                        </a:lnTo>
                        <a:lnTo>
                          <a:pt x="116" y="16"/>
                        </a:lnTo>
                        <a:lnTo>
                          <a:pt x="114" y="16"/>
                        </a:lnTo>
                        <a:lnTo>
                          <a:pt x="112" y="16"/>
                        </a:lnTo>
                        <a:lnTo>
                          <a:pt x="111" y="13"/>
                        </a:lnTo>
                        <a:lnTo>
                          <a:pt x="109" y="13"/>
                        </a:lnTo>
                        <a:lnTo>
                          <a:pt x="108" y="13"/>
                        </a:lnTo>
                        <a:lnTo>
                          <a:pt x="107" y="13"/>
                        </a:lnTo>
                        <a:lnTo>
                          <a:pt x="106" y="13"/>
                        </a:lnTo>
                        <a:lnTo>
                          <a:pt x="101" y="13"/>
                        </a:lnTo>
                        <a:lnTo>
                          <a:pt x="100" y="13"/>
                        </a:lnTo>
                        <a:lnTo>
                          <a:pt x="99" y="13"/>
                        </a:lnTo>
                        <a:lnTo>
                          <a:pt x="99" y="15"/>
                        </a:lnTo>
                        <a:lnTo>
                          <a:pt x="99" y="17"/>
                        </a:lnTo>
                        <a:lnTo>
                          <a:pt x="99" y="19"/>
                        </a:lnTo>
                        <a:lnTo>
                          <a:pt x="99" y="22"/>
                        </a:lnTo>
                        <a:lnTo>
                          <a:pt x="98" y="21"/>
                        </a:lnTo>
                        <a:lnTo>
                          <a:pt x="96" y="19"/>
                        </a:lnTo>
                        <a:lnTo>
                          <a:pt x="95" y="18"/>
                        </a:lnTo>
                        <a:lnTo>
                          <a:pt x="93" y="19"/>
                        </a:lnTo>
                        <a:lnTo>
                          <a:pt x="90" y="19"/>
                        </a:lnTo>
                        <a:lnTo>
                          <a:pt x="90" y="20"/>
                        </a:lnTo>
                        <a:lnTo>
                          <a:pt x="90" y="22"/>
                        </a:lnTo>
                        <a:lnTo>
                          <a:pt x="90" y="24"/>
                        </a:lnTo>
                        <a:lnTo>
                          <a:pt x="89" y="25"/>
                        </a:lnTo>
                        <a:lnTo>
                          <a:pt x="87" y="25"/>
                        </a:lnTo>
                        <a:lnTo>
                          <a:pt x="86" y="26"/>
                        </a:lnTo>
                        <a:lnTo>
                          <a:pt x="85" y="25"/>
                        </a:lnTo>
                        <a:lnTo>
                          <a:pt x="82" y="24"/>
                        </a:lnTo>
                        <a:lnTo>
                          <a:pt x="80" y="25"/>
                        </a:lnTo>
                        <a:lnTo>
                          <a:pt x="79" y="25"/>
                        </a:lnTo>
                        <a:lnTo>
                          <a:pt x="78" y="25"/>
                        </a:lnTo>
                        <a:lnTo>
                          <a:pt x="74" y="25"/>
                        </a:lnTo>
                        <a:lnTo>
                          <a:pt x="74" y="26"/>
                        </a:lnTo>
                        <a:lnTo>
                          <a:pt x="74" y="27"/>
                        </a:lnTo>
                        <a:lnTo>
                          <a:pt x="72" y="28"/>
                        </a:lnTo>
                        <a:lnTo>
                          <a:pt x="71" y="29"/>
                        </a:lnTo>
                        <a:lnTo>
                          <a:pt x="69" y="29"/>
                        </a:lnTo>
                        <a:lnTo>
                          <a:pt x="67" y="29"/>
                        </a:lnTo>
                        <a:lnTo>
                          <a:pt x="67" y="31"/>
                        </a:lnTo>
                        <a:lnTo>
                          <a:pt x="66" y="31"/>
                        </a:lnTo>
                        <a:lnTo>
                          <a:pt x="63" y="31"/>
                        </a:lnTo>
                        <a:lnTo>
                          <a:pt x="63" y="30"/>
                        </a:lnTo>
                        <a:lnTo>
                          <a:pt x="63" y="29"/>
                        </a:lnTo>
                        <a:lnTo>
                          <a:pt x="61" y="29"/>
                        </a:lnTo>
                        <a:lnTo>
                          <a:pt x="59" y="29"/>
                        </a:lnTo>
                        <a:lnTo>
                          <a:pt x="58" y="29"/>
                        </a:lnTo>
                        <a:lnTo>
                          <a:pt x="56" y="29"/>
                        </a:lnTo>
                        <a:lnTo>
                          <a:pt x="54" y="29"/>
                        </a:lnTo>
                        <a:lnTo>
                          <a:pt x="54" y="28"/>
                        </a:lnTo>
                        <a:lnTo>
                          <a:pt x="53" y="27"/>
                        </a:lnTo>
                        <a:lnTo>
                          <a:pt x="51" y="26"/>
                        </a:lnTo>
                        <a:lnTo>
                          <a:pt x="51" y="25"/>
                        </a:lnTo>
                        <a:lnTo>
                          <a:pt x="48" y="25"/>
                        </a:lnTo>
                        <a:lnTo>
                          <a:pt x="46" y="24"/>
                        </a:lnTo>
                        <a:lnTo>
                          <a:pt x="43" y="22"/>
                        </a:lnTo>
                        <a:lnTo>
                          <a:pt x="42" y="22"/>
                        </a:lnTo>
                        <a:lnTo>
                          <a:pt x="39" y="21"/>
                        </a:lnTo>
                        <a:lnTo>
                          <a:pt x="39" y="20"/>
                        </a:lnTo>
                        <a:lnTo>
                          <a:pt x="37" y="19"/>
                        </a:lnTo>
                        <a:lnTo>
                          <a:pt x="35" y="19"/>
                        </a:lnTo>
                        <a:lnTo>
                          <a:pt x="34" y="19"/>
                        </a:lnTo>
                        <a:lnTo>
                          <a:pt x="32" y="19"/>
                        </a:lnTo>
                        <a:lnTo>
                          <a:pt x="31" y="19"/>
                        </a:lnTo>
                        <a:lnTo>
                          <a:pt x="29" y="19"/>
                        </a:lnTo>
                        <a:lnTo>
                          <a:pt x="27" y="19"/>
                        </a:lnTo>
                        <a:lnTo>
                          <a:pt x="25" y="19"/>
                        </a:lnTo>
                        <a:lnTo>
                          <a:pt x="24" y="19"/>
                        </a:lnTo>
                        <a:lnTo>
                          <a:pt x="22" y="19"/>
                        </a:lnTo>
                        <a:lnTo>
                          <a:pt x="20" y="19"/>
                        </a:lnTo>
                        <a:lnTo>
                          <a:pt x="19" y="19"/>
                        </a:lnTo>
                        <a:lnTo>
                          <a:pt x="17" y="19"/>
                        </a:lnTo>
                        <a:lnTo>
                          <a:pt x="15" y="19"/>
                        </a:lnTo>
                        <a:lnTo>
                          <a:pt x="15" y="21"/>
                        </a:lnTo>
                        <a:lnTo>
                          <a:pt x="15" y="25"/>
                        </a:lnTo>
                        <a:lnTo>
                          <a:pt x="15" y="26"/>
                        </a:lnTo>
                        <a:lnTo>
                          <a:pt x="13" y="27"/>
                        </a:lnTo>
                        <a:lnTo>
                          <a:pt x="13" y="29"/>
                        </a:lnTo>
                        <a:lnTo>
                          <a:pt x="11" y="29"/>
                        </a:lnTo>
                        <a:lnTo>
                          <a:pt x="10" y="29"/>
                        </a:lnTo>
                        <a:lnTo>
                          <a:pt x="8" y="30"/>
                        </a:lnTo>
                        <a:lnTo>
                          <a:pt x="6" y="31"/>
                        </a:lnTo>
                        <a:lnTo>
                          <a:pt x="4" y="31"/>
                        </a:lnTo>
                        <a:lnTo>
                          <a:pt x="3" y="31"/>
                        </a:lnTo>
                        <a:lnTo>
                          <a:pt x="3" y="33"/>
                        </a:lnTo>
                        <a:lnTo>
                          <a:pt x="3" y="34"/>
                        </a:lnTo>
                        <a:lnTo>
                          <a:pt x="1" y="34"/>
                        </a:lnTo>
                        <a:lnTo>
                          <a:pt x="1" y="36"/>
                        </a:lnTo>
                        <a:lnTo>
                          <a:pt x="1" y="37"/>
                        </a:lnTo>
                        <a:lnTo>
                          <a:pt x="0" y="39"/>
                        </a:lnTo>
                        <a:lnTo>
                          <a:pt x="0" y="41"/>
                        </a:lnTo>
                        <a:lnTo>
                          <a:pt x="0" y="43"/>
                        </a:lnTo>
                        <a:lnTo>
                          <a:pt x="0" y="44"/>
                        </a:lnTo>
                        <a:lnTo>
                          <a:pt x="1" y="44"/>
                        </a:lnTo>
                        <a:lnTo>
                          <a:pt x="3" y="44"/>
                        </a:lnTo>
                        <a:lnTo>
                          <a:pt x="3" y="43"/>
                        </a:lnTo>
                        <a:lnTo>
                          <a:pt x="4" y="43"/>
                        </a:lnTo>
                        <a:lnTo>
                          <a:pt x="6" y="44"/>
                        </a:lnTo>
                        <a:lnTo>
                          <a:pt x="6" y="45"/>
                        </a:lnTo>
                        <a:lnTo>
                          <a:pt x="6" y="46"/>
                        </a:lnTo>
                        <a:lnTo>
                          <a:pt x="6" y="48"/>
                        </a:lnTo>
                        <a:lnTo>
                          <a:pt x="7" y="48"/>
                        </a:lnTo>
                        <a:lnTo>
                          <a:pt x="8" y="48"/>
                        </a:lnTo>
                        <a:lnTo>
                          <a:pt x="9" y="48"/>
                        </a:lnTo>
                        <a:lnTo>
                          <a:pt x="10" y="48"/>
                        </a:lnTo>
                        <a:lnTo>
                          <a:pt x="9" y="50"/>
                        </a:lnTo>
                        <a:lnTo>
                          <a:pt x="8" y="51"/>
                        </a:lnTo>
                        <a:lnTo>
                          <a:pt x="7" y="51"/>
                        </a:lnTo>
                        <a:lnTo>
                          <a:pt x="6" y="51"/>
                        </a:lnTo>
                        <a:lnTo>
                          <a:pt x="6" y="53"/>
                        </a:lnTo>
                        <a:lnTo>
                          <a:pt x="6" y="54"/>
                        </a:lnTo>
                        <a:lnTo>
                          <a:pt x="5" y="56"/>
                        </a:lnTo>
                        <a:lnTo>
                          <a:pt x="3" y="58"/>
                        </a:lnTo>
                        <a:lnTo>
                          <a:pt x="3" y="60"/>
                        </a:lnTo>
                        <a:lnTo>
                          <a:pt x="3" y="61"/>
                        </a:lnTo>
                        <a:lnTo>
                          <a:pt x="5" y="60"/>
                        </a:lnTo>
                        <a:lnTo>
                          <a:pt x="6" y="59"/>
                        </a:lnTo>
                        <a:lnTo>
                          <a:pt x="8" y="58"/>
                        </a:lnTo>
                        <a:lnTo>
                          <a:pt x="10" y="58"/>
                        </a:lnTo>
                        <a:lnTo>
                          <a:pt x="11" y="59"/>
                        </a:lnTo>
                        <a:lnTo>
                          <a:pt x="11" y="61"/>
                        </a:lnTo>
                        <a:lnTo>
                          <a:pt x="10" y="65"/>
                        </a:lnTo>
                        <a:lnTo>
                          <a:pt x="10" y="67"/>
                        </a:lnTo>
                        <a:lnTo>
                          <a:pt x="10" y="68"/>
                        </a:lnTo>
                        <a:lnTo>
                          <a:pt x="10" y="70"/>
                        </a:lnTo>
                        <a:lnTo>
                          <a:pt x="12" y="70"/>
                        </a:lnTo>
                        <a:lnTo>
                          <a:pt x="13" y="70"/>
                        </a:lnTo>
                        <a:lnTo>
                          <a:pt x="15" y="71"/>
                        </a:lnTo>
                        <a:lnTo>
                          <a:pt x="15" y="72"/>
                        </a:lnTo>
                        <a:lnTo>
                          <a:pt x="15" y="77"/>
                        </a:lnTo>
                        <a:lnTo>
                          <a:pt x="17" y="76"/>
                        </a:lnTo>
                        <a:lnTo>
                          <a:pt x="19" y="75"/>
                        </a:lnTo>
                        <a:lnTo>
                          <a:pt x="20" y="75"/>
                        </a:lnTo>
                        <a:lnTo>
                          <a:pt x="22" y="77"/>
                        </a:lnTo>
                        <a:lnTo>
                          <a:pt x="24" y="78"/>
                        </a:lnTo>
                        <a:lnTo>
                          <a:pt x="25" y="80"/>
                        </a:lnTo>
                        <a:lnTo>
                          <a:pt x="24" y="82"/>
                        </a:lnTo>
                        <a:lnTo>
                          <a:pt x="22" y="83"/>
                        </a:lnTo>
                        <a:lnTo>
                          <a:pt x="22" y="85"/>
                        </a:lnTo>
                        <a:lnTo>
                          <a:pt x="22" y="86"/>
                        </a:lnTo>
                        <a:lnTo>
                          <a:pt x="21" y="87"/>
                        </a:lnTo>
                        <a:lnTo>
                          <a:pt x="19" y="87"/>
                        </a:lnTo>
                        <a:lnTo>
                          <a:pt x="17" y="87"/>
                        </a:lnTo>
                        <a:lnTo>
                          <a:pt x="15" y="86"/>
                        </a:lnTo>
                        <a:lnTo>
                          <a:pt x="15" y="85"/>
                        </a:lnTo>
                        <a:lnTo>
                          <a:pt x="13" y="83"/>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5" name="Freeform 1523">
                    <a:extLst>
                      <a:ext uri="{FF2B5EF4-FFF2-40B4-BE49-F238E27FC236}">
                        <a16:creationId xmlns:a16="http://schemas.microsoft.com/office/drawing/2014/main" xmlns="" id="{C55F7EF8-D0F4-42FE-95E6-AB3D8C547DEB}"/>
                      </a:ext>
                    </a:extLst>
                  </p:cNvPr>
                  <p:cNvSpPr>
                    <a:spLocks/>
                  </p:cNvSpPr>
                  <p:nvPr/>
                </p:nvSpPr>
                <p:spPr bwMode="gray">
                  <a:xfrm>
                    <a:off x="4737931" y="3465482"/>
                    <a:ext cx="294804" cy="171310"/>
                  </a:xfrm>
                  <a:custGeom>
                    <a:avLst/>
                    <a:gdLst>
                      <a:gd name="T0" fmla="*/ 0 w 265"/>
                      <a:gd name="T1" fmla="*/ 2147483647 h 154"/>
                      <a:gd name="T2" fmla="*/ 0 w 265"/>
                      <a:gd name="T3" fmla="*/ 2147483647 h 154"/>
                      <a:gd name="T4" fmla="*/ 2147483647 w 265"/>
                      <a:gd name="T5" fmla="*/ 2147483647 h 154"/>
                      <a:gd name="T6" fmla="*/ 2147483647 w 265"/>
                      <a:gd name="T7" fmla="*/ 2147483647 h 154"/>
                      <a:gd name="T8" fmla="*/ 2147483647 w 265"/>
                      <a:gd name="T9" fmla="*/ 2147483647 h 154"/>
                      <a:gd name="T10" fmla="*/ 2147483647 w 265"/>
                      <a:gd name="T11" fmla="*/ 2147483647 h 154"/>
                      <a:gd name="T12" fmla="*/ 2147483647 w 265"/>
                      <a:gd name="T13" fmla="*/ 2147483647 h 154"/>
                      <a:gd name="T14" fmla="*/ 2147483647 w 265"/>
                      <a:gd name="T15" fmla="*/ 2147483647 h 154"/>
                      <a:gd name="T16" fmla="*/ 2147483647 w 265"/>
                      <a:gd name="T17" fmla="*/ 2147483647 h 154"/>
                      <a:gd name="T18" fmla="*/ 2147483647 w 265"/>
                      <a:gd name="T19" fmla="*/ 2147483647 h 154"/>
                      <a:gd name="T20" fmla="*/ 2147483647 w 265"/>
                      <a:gd name="T21" fmla="*/ 2147483647 h 154"/>
                      <a:gd name="T22" fmla="*/ 2147483647 w 265"/>
                      <a:gd name="T23" fmla="*/ 2147483647 h 154"/>
                      <a:gd name="T24" fmla="*/ 2147483647 w 265"/>
                      <a:gd name="T25" fmla="*/ 2147483647 h 154"/>
                      <a:gd name="T26" fmla="*/ 2147483647 w 265"/>
                      <a:gd name="T27" fmla="*/ 2147483647 h 154"/>
                      <a:gd name="T28" fmla="*/ 2147483647 w 265"/>
                      <a:gd name="T29" fmla="*/ 2147483647 h 154"/>
                      <a:gd name="T30" fmla="*/ 2147483647 w 265"/>
                      <a:gd name="T31" fmla="*/ 2147483647 h 154"/>
                      <a:gd name="T32" fmla="*/ 2147483647 w 265"/>
                      <a:gd name="T33" fmla="*/ 2147483647 h 154"/>
                      <a:gd name="T34" fmla="*/ 2147483647 w 265"/>
                      <a:gd name="T35" fmla="*/ 2147483647 h 154"/>
                      <a:gd name="T36" fmla="*/ 2147483647 w 265"/>
                      <a:gd name="T37" fmla="*/ 2147483647 h 154"/>
                      <a:gd name="T38" fmla="*/ 2147483647 w 265"/>
                      <a:gd name="T39" fmla="*/ 2147483647 h 154"/>
                      <a:gd name="T40" fmla="*/ 2147483647 w 265"/>
                      <a:gd name="T41" fmla="*/ 2147483647 h 154"/>
                      <a:gd name="T42" fmla="*/ 2147483647 w 265"/>
                      <a:gd name="T43" fmla="*/ 2147483647 h 154"/>
                      <a:gd name="T44" fmla="*/ 2147483647 w 265"/>
                      <a:gd name="T45" fmla="*/ 2147483647 h 154"/>
                      <a:gd name="T46" fmla="*/ 2147483647 w 265"/>
                      <a:gd name="T47" fmla="*/ 2147483647 h 154"/>
                      <a:gd name="T48" fmla="*/ 2147483647 w 265"/>
                      <a:gd name="T49" fmla="*/ 2147483647 h 154"/>
                      <a:gd name="T50" fmla="*/ 2147483647 w 265"/>
                      <a:gd name="T51" fmla="*/ 2147483647 h 154"/>
                      <a:gd name="T52" fmla="*/ 2147483647 w 265"/>
                      <a:gd name="T53" fmla="*/ 2147483647 h 154"/>
                      <a:gd name="T54" fmla="*/ 2147483647 w 265"/>
                      <a:gd name="T55" fmla="*/ 2147483647 h 154"/>
                      <a:gd name="T56" fmla="*/ 2147483647 w 265"/>
                      <a:gd name="T57" fmla="*/ 2147483647 h 154"/>
                      <a:gd name="T58" fmla="*/ 2147483647 w 265"/>
                      <a:gd name="T59" fmla="*/ 2147483647 h 154"/>
                      <a:gd name="T60" fmla="*/ 2147483647 w 265"/>
                      <a:gd name="T61" fmla="*/ 2147483647 h 154"/>
                      <a:gd name="T62" fmla="*/ 2147483647 w 265"/>
                      <a:gd name="T63" fmla="*/ 2147483647 h 154"/>
                      <a:gd name="T64" fmla="*/ 2147483647 w 265"/>
                      <a:gd name="T65" fmla="*/ 2147483647 h 154"/>
                      <a:gd name="T66" fmla="*/ 2147483647 w 265"/>
                      <a:gd name="T67" fmla="*/ 2147483647 h 154"/>
                      <a:gd name="T68" fmla="*/ 2147483647 w 265"/>
                      <a:gd name="T69" fmla="*/ 2147483647 h 154"/>
                      <a:gd name="T70" fmla="*/ 2147483647 w 265"/>
                      <a:gd name="T71" fmla="*/ 2147483647 h 154"/>
                      <a:gd name="T72" fmla="*/ 2147483647 w 265"/>
                      <a:gd name="T73" fmla="*/ 2147483647 h 154"/>
                      <a:gd name="T74" fmla="*/ 2147483647 w 265"/>
                      <a:gd name="T75" fmla="*/ 2147483647 h 154"/>
                      <a:gd name="T76" fmla="*/ 2147483647 w 265"/>
                      <a:gd name="T77" fmla="*/ 2147483647 h 154"/>
                      <a:gd name="T78" fmla="*/ 2147483647 w 265"/>
                      <a:gd name="T79" fmla="*/ 2147483647 h 154"/>
                      <a:gd name="T80" fmla="*/ 2147483647 w 265"/>
                      <a:gd name="T81" fmla="*/ 2147483647 h 154"/>
                      <a:gd name="T82" fmla="*/ 2147483647 w 265"/>
                      <a:gd name="T83" fmla="*/ 2147483647 h 154"/>
                      <a:gd name="T84" fmla="*/ 2147483647 w 265"/>
                      <a:gd name="T85" fmla="*/ 2147483647 h 154"/>
                      <a:gd name="T86" fmla="*/ 2147483647 w 265"/>
                      <a:gd name="T87" fmla="*/ 2147483647 h 154"/>
                      <a:gd name="T88" fmla="*/ 2147483647 w 265"/>
                      <a:gd name="T89" fmla="*/ 2147483647 h 154"/>
                      <a:gd name="T90" fmla="*/ 2147483647 w 265"/>
                      <a:gd name="T91" fmla="*/ 2147483647 h 154"/>
                      <a:gd name="T92" fmla="*/ 2147483647 w 265"/>
                      <a:gd name="T93" fmla="*/ 2147483647 h 154"/>
                      <a:gd name="T94" fmla="*/ 2147483647 w 265"/>
                      <a:gd name="T95" fmla="*/ 2147483647 h 154"/>
                      <a:gd name="T96" fmla="*/ 2147483647 w 265"/>
                      <a:gd name="T97" fmla="*/ 2147483647 h 154"/>
                      <a:gd name="T98" fmla="*/ 2147483647 w 265"/>
                      <a:gd name="T99" fmla="*/ 2147483647 h 154"/>
                      <a:gd name="T100" fmla="*/ 2147483647 w 265"/>
                      <a:gd name="T101" fmla="*/ 2147483647 h 154"/>
                      <a:gd name="T102" fmla="*/ 2147483647 w 265"/>
                      <a:gd name="T103" fmla="*/ 2147483647 h 154"/>
                      <a:gd name="T104" fmla="*/ 2147483647 w 265"/>
                      <a:gd name="T105" fmla="*/ 2147483647 h 154"/>
                      <a:gd name="T106" fmla="*/ 2147483647 w 265"/>
                      <a:gd name="T107" fmla="*/ 2147483647 h 1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65" h="154">
                        <a:moveTo>
                          <a:pt x="0" y="85"/>
                        </a:moveTo>
                        <a:lnTo>
                          <a:pt x="0" y="85"/>
                        </a:lnTo>
                        <a:lnTo>
                          <a:pt x="0" y="86"/>
                        </a:lnTo>
                        <a:lnTo>
                          <a:pt x="0" y="88"/>
                        </a:lnTo>
                        <a:lnTo>
                          <a:pt x="0" y="90"/>
                        </a:lnTo>
                        <a:lnTo>
                          <a:pt x="0" y="91"/>
                        </a:lnTo>
                        <a:lnTo>
                          <a:pt x="0" y="92"/>
                        </a:lnTo>
                        <a:lnTo>
                          <a:pt x="0" y="94"/>
                        </a:lnTo>
                        <a:lnTo>
                          <a:pt x="0" y="95"/>
                        </a:lnTo>
                        <a:lnTo>
                          <a:pt x="0" y="97"/>
                        </a:lnTo>
                        <a:lnTo>
                          <a:pt x="0" y="98"/>
                        </a:lnTo>
                        <a:lnTo>
                          <a:pt x="0" y="99"/>
                        </a:lnTo>
                        <a:lnTo>
                          <a:pt x="0" y="100"/>
                        </a:lnTo>
                        <a:lnTo>
                          <a:pt x="0" y="102"/>
                        </a:lnTo>
                        <a:lnTo>
                          <a:pt x="0" y="104"/>
                        </a:lnTo>
                        <a:lnTo>
                          <a:pt x="1" y="105"/>
                        </a:lnTo>
                        <a:lnTo>
                          <a:pt x="3" y="107"/>
                        </a:lnTo>
                        <a:lnTo>
                          <a:pt x="3" y="109"/>
                        </a:lnTo>
                        <a:lnTo>
                          <a:pt x="3" y="111"/>
                        </a:lnTo>
                        <a:lnTo>
                          <a:pt x="3" y="112"/>
                        </a:lnTo>
                        <a:lnTo>
                          <a:pt x="3" y="114"/>
                        </a:lnTo>
                        <a:lnTo>
                          <a:pt x="2" y="114"/>
                        </a:lnTo>
                        <a:lnTo>
                          <a:pt x="1" y="115"/>
                        </a:lnTo>
                        <a:lnTo>
                          <a:pt x="0" y="116"/>
                        </a:lnTo>
                        <a:lnTo>
                          <a:pt x="0" y="118"/>
                        </a:lnTo>
                        <a:lnTo>
                          <a:pt x="0" y="120"/>
                        </a:lnTo>
                        <a:lnTo>
                          <a:pt x="1" y="121"/>
                        </a:lnTo>
                        <a:lnTo>
                          <a:pt x="3" y="123"/>
                        </a:lnTo>
                        <a:lnTo>
                          <a:pt x="5" y="123"/>
                        </a:lnTo>
                        <a:lnTo>
                          <a:pt x="6" y="123"/>
                        </a:lnTo>
                        <a:lnTo>
                          <a:pt x="10" y="126"/>
                        </a:lnTo>
                        <a:lnTo>
                          <a:pt x="10" y="128"/>
                        </a:lnTo>
                        <a:lnTo>
                          <a:pt x="10" y="130"/>
                        </a:lnTo>
                        <a:lnTo>
                          <a:pt x="10" y="131"/>
                        </a:lnTo>
                        <a:lnTo>
                          <a:pt x="10" y="133"/>
                        </a:lnTo>
                        <a:lnTo>
                          <a:pt x="13" y="132"/>
                        </a:lnTo>
                        <a:lnTo>
                          <a:pt x="14" y="131"/>
                        </a:lnTo>
                        <a:lnTo>
                          <a:pt x="15" y="130"/>
                        </a:lnTo>
                        <a:lnTo>
                          <a:pt x="15" y="131"/>
                        </a:lnTo>
                        <a:lnTo>
                          <a:pt x="16" y="133"/>
                        </a:lnTo>
                        <a:lnTo>
                          <a:pt x="18" y="135"/>
                        </a:lnTo>
                        <a:lnTo>
                          <a:pt x="20" y="136"/>
                        </a:lnTo>
                        <a:lnTo>
                          <a:pt x="25" y="136"/>
                        </a:lnTo>
                        <a:lnTo>
                          <a:pt x="26" y="139"/>
                        </a:lnTo>
                        <a:lnTo>
                          <a:pt x="27" y="140"/>
                        </a:lnTo>
                        <a:lnTo>
                          <a:pt x="32" y="145"/>
                        </a:lnTo>
                        <a:lnTo>
                          <a:pt x="35" y="147"/>
                        </a:lnTo>
                        <a:lnTo>
                          <a:pt x="37" y="148"/>
                        </a:lnTo>
                        <a:lnTo>
                          <a:pt x="41" y="149"/>
                        </a:lnTo>
                        <a:lnTo>
                          <a:pt x="43" y="151"/>
                        </a:lnTo>
                        <a:lnTo>
                          <a:pt x="44" y="152"/>
                        </a:lnTo>
                        <a:lnTo>
                          <a:pt x="46" y="152"/>
                        </a:lnTo>
                        <a:lnTo>
                          <a:pt x="48" y="152"/>
                        </a:lnTo>
                        <a:lnTo>
                          <a:pt x="51" y="152"/>
                        </a:lnTo>
                        <a:lnTo>
                          <a:pt x="53" y="152"/>
                        </a:lnTo>
                        <a:lnTo>
                          <a:pt x="55" y="152"/>
                        </a:lnTo>
                        <a:lnTo>
                          <a:pt x="56" y="152"/>
                        </a:lnTo>
                        <a:lnTo>
                          <a:pt x="58" y="152"/>
                        </a:lnTo>
                        <a:lnTo>
                          <a:pt x="60" y="153"/>
                        </a:lnTo>
                        <a:lnTo>
                          <a:pt x="63" y="153"/>
                        </a:lnTo>
                        <a:lnTo>
                          <a:pt x="65" y="154"/>
                        </a:lnTo>
                        <a:lnTo>
                          <a:pt x="67" y="152"/>
                        </a:lnTo>
                        <a:lnTo>
                          <a:pt x="77" y="152"/>
                        </a:lnTo>
                        <a:lnTo>
                          <a:pt x="79" y="152"/>
                        </a:lnTo>
                        <a:lnTo>
                          <a:pt x="80" y="151"/>
                        </a:lnTo>
                        <a:lnTo>
                          <a:pt x="82" y="149"/>
                        </a:lnTo>
                        <a:lnTo>
                          <a:pt x="84" y="149"/>
                        </a:lnTo>
                        <a:lnTo>
                          <a:pt x="93" y="149"/>
                        </a:lnTo>
                        <a:lnTo>
                          <a:pt x="92" y="149"/>
                        </a:lnTo>
                        <a:lnTo>
                          <a:pt x="91" y="148"/>
                        </a:lnTo>
                        <a:lnTo>
                          <a:pt x="89" y="147"/>
                        </a:lnTo>
                        <a:lnTo>
                          <a:pt x="87" y="145"/>
                        </a:lnTo>
                        <a:lnTo>
                          <a:pt x="87" y="143"/>
                        </a:lnTo>
                        <a:lnTo>
                          <a:pt x="89" y="142"/>
                        </a:lnTo>
                        <a:lnTo>
                          <a:pt x="89" y="139"/>
                        </a:lnTo>
                        <a:lnTo>
                          <a:pt x="89" y="136"/>
                        </a:lnTo>
                        <a:lnTo>
                          <a:pt x="89" y="134"/>
                        </a:lnTo>
                        <a:lnTo>
                          <a:pt x="89" y="133"/>
                        </a:lnTo>
                        <a:lnTo>
                          <a:pt x="89" y="132"/>
                        </a:lnTo>
                        <a:lnTo>
                          <a:pt x="89" y="130"/>
                        </a:lnTo>
                        <a:lnTo>
                          <a:pt x="91" y="128"/>
                        </a:lnTo>
                        <a:lnTo>
                          <a:pt x="93" y="127"/>
                        </a:lnTo>
                        <a:lnTo>
                          <a:pt x="94" y="126"/>
                        </a:lnTo>
                        <a:lnTo>
                          <a:pt x="96" y="126"/>
                        </a:lnTo>
                        <a:lnTo>
                          <a:pt x="99" y="126"/>
                        </a:lnTo>
                        <a:lnTo>
                          <a:pt x="101" y="125"/>
                        </a:lnTo>
                        <a:lnTo>
                          <a:pt x="102" y="123"/>
                        </a:lnTo>
                        <a:lnTo>
                          <a:pt x="103" y="123"/>
                        </a:lnTo>
                        <a:lnTo>
                          <a:pt x="105" y="122"/>
                        </a:lnTo>
                        <a:lnTo>
                          <a:pt x="107" y="122"/>
                        </a:lnTo>
                        <a:lnTo>
                          <a:pt x="109" y="122"/>
                        </a:lnTo>
                        <a:lnTo>
                          <a:pt x="109" y="123"/>
                        </a:lnTo>
                        <a:lnTo>
                          <a:pt x="111" y="124"/>
                        </a:lnTo>
                        <a:lnTo>
                          <a:pt x="112" y="124"/>
                        </a:lnTo>
                        <a:lnTo>
                          <a:pt x="113" y="122"/>
                        </a:lnTo>
                        <a:lnTo>
                          <a:pt x="115" y="120"/>
                        </a:lnTo>
                        <a:lnTo>
                          <a:pt x="117" y="119"/>
                        </a:lnTo>
                        <a:lnTo>
                          <a:pt x="117" y="117"/>
                        </a:lnTo>
                        <a:lnTo>
                          <a:pt x="117" y="115"/>
                        </a:lnTo>
                        <a:lnTo>
                          <a:pt x="118" y="114"/>
                        </a:lnTo>
                        <a:lnTo>
                          <a:pt x="121" y="113"/>
                        </a:lnTo>
                        <a:lnTo>
                          <a:pt x="124" y="112"/>
                        </a:lnTo>
                        <a:lnTo>
                          <a:pt x="126" y="111"/>
                        </a:lnTo>
                        <a:lnTo>
                          <a:pt x="129" y="111"/>
                        </a:lnTo>
                        <a:lnTo>
                          <a:pt x="131" y="110"/>
                        </a:lnTo>
                        <a:lnTo>
                          <a:pt x="133" y="110"/>
                        </a:lnTo>
                        <a:lnTo>
                          <a:pt x="136" y="113"/>
                        </a:lnTo>
                        <a:lnTo>
                          <a:pt x="138" y="115"/>
                        </a:lnTo>
                        <a:lnTo>
                          <a:pt x="141" y="116"/>
                        </a:lnTo>
                        <a:lnTo>
                          <a:pt x="143" y="115"/>
                        </a:lnTo>
                        <a:lnTo>
                          <a:pt x="144" y="115"/>
                        </a:lnTo>
                        <a:lnTo>
                          <a:pt x="145" y="115"/>
                        </a:lnTo>
                        <a:lnTo>
                          <a:pt x="146" y="114"/>
                        </a:lnTo>
                        <a:lnTo>
                          <a:pt x="148" y="113"/>
                        </a:lnTo>
                        <a:lnTo>
                          <a:pt x="151" y="111"/>
                        </a:lnTo>
                        <a:lnTo>
                          <a:pt x="153" y="108"/>
                        </a:lnTo>
                        <a:lnTo>
                          <a:pt x="154" y="106"/>
                        </a:lnTo>
                        <a:lnTo>
                          <a:pt x="156" y="104"/>
                        </a:lnTo>
                        <a:lnTo>
                          <a:pt x="158" y="104"/>
                        </a:lnTo>
                        <a:lnTo>
                          <a:pt x="160" y="102"/>
                        </a:lnTo>
                        <a:lnTo>
                          <a:pt x="161" y="100"/>
                        </a:lnTo>
                        <a:lnTo>
                          <a:pt x="161" y="99"/>
                        </a:lnTo>
                        <a:lnTo>
                          <a:pt x="161" y="97"/>
                        </a:lnTo>
                        <a:lnTo>
                          <a:pt x="163" y="96"/>
                        </a:lnTo>
                        <a:lnTo>
                          <a:pt x="165" y="95"/>
                        </a:lnTo>
                        <a:lnTo>
                          <a:pt x="166" y="95"/>
                        </a:lnTo>
                        <a:lnTo>
                          <a:pt x="167" y="94"/>
                        </a:lnTo>
                        <a:lnTo>
                          <a:pt x="169" y="91"/>
                        </a:lnTo>
                        <a:lnTo>
                          <a:pt x="172" y="87"/>
                        </a:lnTo>
                        <a:lnTo>
                          <a:pt x="174" y="83"/>
                        </a:lnTo>
                        <a:lnTo>
                          <a:pt x="177" y="81"/>
                        </a:lnTo>
                        <a:lnTo>
                          <a:pt x="179" y="79"/>
                        </a:lnTo>
                        <a:lnTo>
                          <a:pt x="182" y="78"/>
                        </a:lnTo>
                        <a:lnTo>
                          <a:pt x="184" y="78"/>
                        </a:lnTo>
                        <a:lnTo>
                          <a:pt x="186" y="79"/>
                        </a:lnTo>
                        <a:lnTo>
                          <a:pt x="196" y="79"/>
                        </a:lnTo>
                        <a:lnTo>
                          <a:pt x="196" y="80"/>
                        </a:lnTo>
                        <a:lnTo>
                          <a:pt x="198" y="82"/>
                        </a:lnTo>
                        <a:lnTo>
                          <a:pt x="200" y="83"/>
                        </a:lnTo>
                        <a:lnTo>
                          <a:pt x="203" y="81"/>
                        </a:lnTo>
                        <a:lnTo>
                          <a:pt x="205" y="82"/>
                        </a:lnTo>
                        <a:lnTo>
                          <a:pt x="208" y="83"/>
                        </a:lnTo>
                        <a:lnTo>
                          <a:pt x="209" y="83"/>
                        </a:lnTo>
                        <a:lnTo>
                          <a:pt x="212" y="81"/>
                        </a:lnTo>
                        <a:lnTo>
                          <a:pt x="214" y="81"/>
                        </a:lnTo>
                        <a:lnTo>
                          <a:pt x="216" y="80"/>
                        </a:lnTo>
                        <a:lnTo>
                          <a:pt x="219" y="79"/>
                        </a:lnTo>
                        <a:lnTo>
                          <a:pt x="225" y="79"/>
                        </a:lnTo>
                        <a:lnTo>
                          <a:pt x="228" y="80"/>
                        </a:lnTo>
                        <a:lnTo>
                          <a:pt x="229" y="83"/>
                        </a:lnTo>
                        <a:lnTo>
                          <a:pt x="229" y="86"/>
                        </a:lnTo>
                        <a:lnTo>
                          <a:pt x="228" y="88"/>
                        </a:lnTo>
                        <a:lnTo>
                          <a:pt x="229" y="91"/>
                        </a:lnTo>
                        <a:lnTo>
                          <a:pt x="230" y="92"/>
                        </a:lnTo>
                        <a:lnTo>
                          <a:pt x="232" y="94"/>
                        </a:lnTo>
                        <a:lnTo>
                          <a:pt x="233" y="94"/>
                        </a:lnTo>
                        <a:lnTo>
                          <a:pt x="237" y="94"/>
                        </a:lnTo>
                        <a:lnTo>
                          <a:pt x="240" y="95"/>
                        </a:lnTo>
                        <a:lnTo>
                          <a:pt x="242" y="95"/>
                        </a:lnTo>
                        <a:lnTo>
                          <a:pt x="243" y="95"/>
                        </a:lnTo>
                        <a:lnTo>
                          <a:pt x="243" y="94"/>
                        </a:lnTo>
                        <a:lnTo>
                          <a:pt x="244" y="94"/>
                        </a:lnTo>
                        <a:lnTo>
                          <a:pt x="245" y="94"/>
                        </a:lnTo>
                        <a:lnTo>
                          <a:pt x="246" y="94"/>
                        </a:lnTo>
                        <a:lnTo>
                          <a:pt x="251" y="94"/>
                        </a:lnTo>
                        <a:lnTo>
                          <a:pt x="251" y="93"/>
                        </a:lnTo>
                        <a:lnTo>
                          <a:pt x="253" y="92"/>
                        </a:lnTo>
                        <a:lnTo>
                          <a:pt x="255" y="91"/>
                        </a:lnTo>
                        <a:lnTo>
                          <a:pt x="257" y="91"/>
                        </a:lnTo>
                        <a:lnTo>
                          <a:pt x="257" y="81"/>
                        </a:lnTo>
                        <a:lnTo>
                          <a:pt x="258" y="78"/>
                        </a:lnTo>
                        <a:lnTo>
                          <a:pt x="258" y="76"/>
                        </a:lnTo>
                        <a:lnTo>
                          <a:pt x="260" y="76"/>
                        </a:lnTo>
                        <a:lnTo>
                          <a:pt x="261" y="73"/>
                        </a:lnTo>
                        <a:lnTo>
                          <a:pt x="262" y="71"/>
                        </a:lnTo>
                        <a:lnTo>
                          <a:pt x="262" y="68"/>
                        </a:lnTo>
                        <a:lnTo>
                          <a:pt x="263" y="65"/>
                        </a:lnTo>
                        <a:lnTo>
                          <a:pt x="264" y="64"/>
                        </a:lnTo>
                        <a:lnTo>
                          <a:pt x="265" y="61"/>
                        </a:lnTo>
                        <a:lnTo>
                          <a:pt x="264" y="55"/>
                        </a:lnTo>
                        <a:lnTo>
                          <a:pt x="264" y="49"/>
                        </a:lnTo>
                        <a:lnTo>
                          <a:pt x="263" y="47"/>
                        </a:lnTo>
                        <a:lnTo>
                          <a:pt x="263" y="46"/>
                        </a:lnTo>
                        <a:lnTo>
                          <a:pt x="257" y="45"/>
                        </a:lnTo>
                        <a:lnTo>
                          <a:pt x="253" y="43"/>
                        </a:lnTo>
                        <a:lnTo>
                          <a:pt x="249" y="39"/>
                        </a:lnTo>
                        <a:lnTo>
                          <a:pt x="244" y="36"/>
                        </a:lnTo>
                        <a:lnTo>
                          <a:pt x="240" y="35"/>
                        </a:lnTo>
                        <a:lnTo>
                          <a:pt x="236" y="35"/>
                        </a:lnTo>
                        <a:lnTo>
                          <a:pt x="233" y="34"/>
                        </a:lnTo>
                        <a:lnTo>
                          <a:pt x="232" y="33"/>
                        </a:lnTo>
                        <a:lnTo>
                          <a:pt x="229" y="30"/>
                        </a:lnTo>
                        <a:lnTo>
                          <a:pt x="225" y="28"/>
                        </a:lnTo>
                        <a:lnTo>
                          <a:pt x="221" y="26"/>
                        </a:lnTo>
                        <a:lnTo>
                          <a:pt x="218" y="24"/>
                        </a:lnTo>
                        <a:lnTo>
                          <a:pt x="215" y="24"/>
                        </a:lnTo>
                        <a:lnTo>
                          <a:pt x="211" y="24"/>
                        </a:lnTo>
                        <a:lnTo>
                          <a:pt x="203" y="24"/>
                        </a:lnTo>
                        <a:lnTo>
                          <a:pt x="201" y="24"/>
                        </a:lnTo>
                        <a:lnTo>
                          <a:pt x="199" y="26"/>
                        </a:lnTo>
                        <a:lnTo>
                          <a:pt x="198" y="28"/>
                        </a:lnTo>
                        <a:lnTo>
                          <a:pt x="196" y="31"/>
                        </a:lnTo>
                        <a:lnTo>
                          <a:pt x="190" y="29"/>
                        </a:lnTo>
                        <a:lnTo>
                          <a:pt x="187" y="27"/>
                        </a:lnTo>
                        <a:lnTo>
                          <a:pt x="185" y="25"/>
                        </a:lnTo>
                        <a:lnTo>
                          <a:pt x="183" y="24"/>
                        </a:lnTo>
                        <a:lnTo>
                          <a:pt x="182" y="24"/>
                        </a:lnTo>
                        <a:lnTo>
                          <a:pt x="179" y="23"/>
                        </a:lnTo>
                        <a:lnTo>
                          <a:pt x="172" y="21"/>
                        </a:lnTo>
                        <a:lnTo>
                          <a:pt x="165" y="21"/>
                        </a:lnTo>
                        <a:lnTo>
                          <a:pt x="162" y="22"/>
                        </a:lnTo>
                        <a:lnTo>
                          <a:pt x="161" y="24"/>
                        </a:lnTo>
                        <a:lnTo>
                          <a:pt x="160" y="27"/>
                        </a:lnTo>
                        <a:lnTo>
                          <a:pt x="159" y="28"/>
                        </a:lnTo>
                        <a:lnTo>
                          <a:pt x="159" y="29"/>
                        </a:lnTo>
                        <a:lnTo>
                          <a:pt x="158" y="31"/>
                        </a:lnTo>
                        <a:lnTo>
                          <a:pt x="156" y="33"/>
                        </a:lnTo>
                        <a:lnTo>
                          <a:pt x="154" y="35"/>
                        </a:lnTo>
                        <a:lnTo>
                          <a:pt x="153" y="35"/>
                        </a:lnTo>
                        <a:lnTo>
                          <a:pt x="151" y="33"/>
                        </a:lnTo>
                        <a:lnTo>
                          <a:pt x="150" y="32"/>
                        </a:lnTo>
                        <a:lnTo>
                          <a:pt x="149" y="31"/>
                        </a:lnTo>
                        <a:lnTo>
                          <a:pt x="147" y="31"/>
                        </a:lnTo>
                        <a:lnTo>
                          <a:pt x="144" y="31"/>
                        </a:lnTo>
                        <a:lnTo>
                          <a:pt x="142" y="31"/>
                        </a:lnTo>
                        <a:lnTo>
                          <a:pt x="141" y="31"/>
                        </a:lnTo>
                        <a:lnTo>
                          <a:pt x="140" y="32"/>
                        </a:lnTo>
                        <a:lnTo>
                          <a:pt x="138" y="33"/>
                        </a:lnTo>
                        <a:lnTo>
                          <a:pt x="137" y="35"/>
                        </a:lnTo>
                        <a:lnTo>
                          <a:pt x="136" y="35"/>
                        </a:lnTo>
                        <a:lnTo>
                          <a:pt x="135" y="35"/>
                        </a:lnTo>
                        <a:lnTo>
                          <a:pt x="136" y="33"/>
                        </a:lnTo>
                        <a:lnTo>
                          <a:pt x="136" y="31"/>
                        </a:lnTo>
                        <a:lnTo>
                          <a:pt x="135" y="27"/>
                        </a:lnTo>
                        <a:lnTo>
                          <a:pt x="135" y="23"/>
                        </a:lnTo>
                        <a:lnTo>
                          <a:pt x="135" y="18"/>
                        </a:lnTo>
                        <a:lnTo>
                          <a:pt x="134" y="16"/>
                        </a:lnTo>
                        <a:lnTo>
                          <a:pt x="134" y="15"/>
                        </a:lnTo>
                        <a:lnTo>
                          <a:pt x="133" y="15"/>
                        </a:lnTo>
                        <a:lnTo>
                          <a:pt x="132" y="17"/>
                        </a:lnTo>
                        <a:lnTo>
                          <a:pt x="130" y="19"/>
                        </a:lnTo>
                        <a:lnTo>
                          <a:pt x="129" y="18"/>
                        </a:lnTo>
                        <a:lnTo>
                          <a:pt x="129" y="17"/>
                        </a:lnTo>
                        <a:lnTo>
                          <a:pt x="125" y="14"/>
                        </a:lnTo>
                        <a:lnTo>
                          <a:pt x="122" y="9"/>
                        </a:lnTo>
                        <a:lnTo>
                          <a:pt x="121" y="5"/>
                        </a:lnTo>
                        <a:lnTo>
                          <a:pt x="118" y="1"/>
                        </a:lnTo>
                        <a:lnTo>
                          <a:pt x="116" y="0"/>
                        </a:lnTo>
                        <a:lnTo>
                          <a:pt x="114" y="1"/>
                        </a:lnTo>
                        <a:lnTo>
                          <a:pt x="113" y="4"/>
                        </a:lnTo>
                        <a:lnTo>
                          <a:pt x="112" y="7"/>
                        </a:lnTo>
                        <a:lnTo>
                          <a:pt x="109" y="10"/>
                        </a:lnTo>
                        <a:lnTo>
                          <a:pt x="106" y="14"/>
                        </a:lnTo>
                        <a:lnTo>
                          <a:pt x="102" y="16"/>
                        </a:lnTo>
                        <a:lnTo>
                          <a:pt x="96" y="17"/>
                        </a:lnTo>
                        <a:lnTo>
                          <a:pt x="94" y="16"/>
                        </a:lnTo>
                        <a:lnTo>
                          <a:pt x="93" y="15"/>
                        </a:lnTo>
                        <a:lnTo>
                          <a:pt x="92" y="10"/>
                        </a:lnTo>
                        <a:lnTo>
                          <a:pt x="92" y="7"/>
                        </a:lnTo>
                        <a:lnTo>
                          <a:pt x="91" y="7"/>
                        </a:lnTo>
                        <a:lnTo>
                          <a:pt x="89" y="7"/>
                        </a:lnTo>
                        <a:lnTo>
                          <a:pt x="87" y="7"/>
                        </a:lnTo>
                        <a:lnTo>
                          <a:pt x="85" y="8"/>
                        </a:lnTo>
                        <a:lnTo>
                          <a:pt x="81" y="9"/>
                        </a:lnTo>
                        <a:lnTo>
                          <a:pt x="76" y="10"/>
                        </a:lnTo>
                        <a:lnTo>
                          <a:pt x="70" y="10"/>
                        </a:lnTo>
                        <a:lnTo>
                          <a:pt x="66" y="11"/>
                        </a:lnTo>
                        <a:lnTo>
                          <a:pt x="64" y="14"/>
                        </a:lnTo>
                        <a:lnTo>
                          <a:pt x="62" y="17"/>
                        </a:lnTo>
                        <a:lnTo>
                          <a:pt x="61" y="20"/>
                        </a:lnTo>
                        <a:lnTo>
                          <a:pt x="60" y="21"/>
                        </a:lnTo>
                        <a:lnTo>
                          <a:pt x="60" y="23"/>
                        </a:lnTo>
                        <a:lnTo>
                          <a:pt x="59" y="25"/>
                        </a:lnTo>
                        <a:lnTo>
                          <a:pt x="58" y="27"/>
                        </a:lnTo>
                        <a:lnTo>
                          <a:pt x="56" y="30"/>
                        </a:lnTo>
                        <a:lnTo>
                          <a:pt x="56" y="31"/>
                        </a:lnTo>
                        <a:lnTo>
                          <a:pt x="56" y="32"/>
                        </a:lnTo>
                        <a:lnTo>
                          <a:pt x="55" y="33"/>
                        </a:lnTo>
                        <a:lnTo>
                          <a:pt x="54" y="33"/>
                        </a:lnTo>
                        <a:lnTo>
                          <a:pt x="52" y="35"/>
                        </a:lnTo>
                        <a:lnTo>
                          <a:pt x="50" y="36"/>
                        </a:lnTo>
                        <a:lnTo>
                          <a:pt x="48" y="36"/>
                        </a:lnTo>
                        <a:lnTo>
                          <a:pt x="43" y="41"/>
                        </a:lnTo>
                        <a:lnTo>
                          <a:pt x="42" y="44"/>
                        </a:lnTo>
                        <a:lnTo>
                          <a:pt x="41" y="46"/>
                        </a:lnTo>
                        <a:lnTo>
                          <a:pt x="42" y="49"/>
                        </a:lnTo>
                        <a:lnTo>
                          <a:pt x="43" y="51"/>
                        </a:lnTo>
                        <a:lnTo>
                          <a:pt x="44" y="54"/>
                        </a:lnTo>
                        <a:lnTo>
                          <a:pt x="44" y="55"/>
                        </a:lnTo>
                        <a:lnTo>
                          <a:pt x="44" y="57"/>
                        </a:lnTo>
                        <a:lnTo>
                          <a:pt x="42" y="57"/>
                        </a:lnTo>
                        <a:lnTo>
                          <a:pt x="41" y="57"/>
                        </a:lnTo>
                        <a:lnTo>
                          <a:pt x="39" y="59"/>
                        </a:lnTo>
                        <a:lnTo>
                          <a:pt x="39" y="65"/>
                        </a:lnTo>
                        <a:lnTo>
                          <a:pt x="37" y="67"/>
                        </a:lnTo>
                        <a:lnTo>
                          <a:pt x="36" y="69"/>
                        </a:lnTo>
                        <a:lnTo>
                          <a:pt x="35" y="70"/>
                        </a:lnTo>
                        <a:lnTo>
                          <a:pt x="35" y="72"/>
                        </a:lnTo>
                        <a:lnTo>
                          <a:pt x="33" y="73"/>
                        </a:lnTo>
                        <a:lnTo>
                          <a:pt x="31" y="74"/>
                        </a:lnTo>
                        <a:lnTo>
                          <a:pt x="29" y="76"/>
                        </a:lnTo>
                        <a:lnTo>
                          <a:pt x="29" y="79"/>
                        </a:lnTo>
                        <a:lnTo>
                          <a:pt x="26" y="79"/>
                        </a:lnTo>
                        <a:lnTo>
                          <a:pt x="22" y="79"/>
                        </a:lnTo>
                        <a:lnTo>
                          <a:pt x="18" y="78"/>
                        </a:lnTo>
                        <a:lnTo>
                          <a:pt x="16" y="76"/>
                        </a:lnTo>
                        <a:lnTo>
                          <a:pt x="16" y="75"/>
                        </a:lnTo>
                        <a:lnTo>
                          <a:pt x="15" y="75"/>
                        </a:lnTo>
                        <a:lnTo>
                          <a:pt x="13" y="78"/>
                        </a:lnTo>
                        <a:lnTo>
                          <a:pt x="11" y="80"/>
                        </a:lnTo>
                        <a:lnTo>
                          <a:pt x="10" y="81"/>
                        </a:lnTo>
                        <a:lnTo>
                          <a:pt x="8" y="81"/>
                        </a:lnTo>
                        <a:lnTo>
                          <a:pt x="8" y="79"/>
                        </a:lnTo>
                        <a:lnTo>
                          <a:pt x="6" y="76"/>
                        </a:lnTo>
                        <a:lnTo>
                          <a:pt x="5" y="72"/>
                        </a:lnTo>
                        <a:lnTo>
                          <a:pt x="4" y="72"/>
                        </a:lnTo>
                        <a:lnTo>
                          <a:pt x="3" y="72"/>
                        </a:lnTo>
                        <a:lnTo>
                          <a:pt x="1" y="76"/>
                        </a:lnTo>
                        <a:lnTo>
                          <a:pt x="0" y="79"/>
                        </a:lnTo>
                        <a:lnTo>
                          <a:pt x="0" y="83"/>
                        </a:lnTo>
                        <a:lnTo>
                          <a:pt x="0" y="8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6" name="Freeform 1525">
                    <a:extLst>
                      <a:ext uri="{FF2B5EF4-FFF2-40B4-BE49-F238E27FC236}">
                        <a16:creationId xmlns:a16="http://schemas.microsoft.com/office/drawing/2014/main" xmlns="" id="{EFF34ED6-664A-403C-919A-0EA737FAEA2E}"/>
                      </a:ext>
                    </a:extLst>
                  </p:cNvPr>
                  <p:cNvSpPr>
                    <a:spLocks/>
                  </p:cNvSpPr>
                  <p:nvPr/>
                </p:nvSpPr>
                <p:spPr bwMode="gray">
                  <a:xfrm>
                    <a:off x="4443126" y="3928244"/>
                    <a:ext cx="12237" cy="14462"/>
                  </a:xfrm>
                  <a:custGeom>
                    <a:avLst/>
                    <a:gdLst>
                      <a:gd name="T0" fmla="*/ 2147483647 w 11"/>
                      <a:gd name="T1" fmla="*/ 2147483647 h 13"/>
                      <a:gd name="T2" fmla="*/ 2147483647 w 11"/>
                      <a:gd name="T3" fmla="*/ 2147483647 h 13"/>
                      <a:gd name="T4" fmla="*/ 2147483647 w 11"/>
                      <a:gd name="T5" fmla="*/ 0 h 13"/>
                      <a:gd name="T6" fmla="*/ 2147483647 w 11"/>
                      <a:gd name="T7" fmla="*/ 0 h 13"/>
                      <a:gd name="T8" fmla="*/ 2147483647 w 11"/>
                      <a:gd name="T9" fmla="*/ 0 h 13"/>
                      <a:gd name="T10" fmla="*/ 2147483647 w 11"/>
                      <a:gd name="T11" fmla="*/ 2147483647 h 13"/>
                      <a:gd name="T12" fmla="*/ 0 w 11"/>
                      <a:gd name="T13" fmla="*/ 2147483647 h 13"/>
                      <a:gd name="T14" fmla="*/ 0 w 11"/>
                      <a:gd name="T15" fmla="*/ 2147483647 h 13"/>
                      <a:gd name="T16" fmla="*/ 2147483647 w 11"/>
                      <a:gd name="T17" fmla="*/ 2147483647 h 13"/>
                      <a:gd name="T18" fmla="*/ 2147483647 w 11"/>
                      <a:gd name="T19" fmla="*/ 2147483647 h 13"/>
                      <a:gd name="T20" fmla="*/ 2147483647 w 11"/>
                      <a:gd name="T21" fmla="*/ 2147483647 h 13"/>
                      <a:gd name="T22" fmla="*/ 2147483647 w 11"/>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3">
                        <a:moveTo>
                          <a:pt x="10" y="5"/>
                        </a:moveTo>
                        <a:lnTo>
                          <a:pt x="11" y="2"/>
                        </a:lnTo>
                        <a:lnTo>
                          <a:pt x="10" y="0"/>
                        </a:lnTo>
                        <a:lnTo>
                          <a:pt x="9" y="0"/>
                        </a:lnTo>
                        <a:lnTo>
                          <a:pt x="7" y="0"/>
                        </a:lnTo>
                        <a:lnTo>
                          <a:pt x="3" y="3"/>
                        </a:lnTo>
                        <a:lnTo>
                          <a:pt x="0" y="6"/>
                        </a:lnTo>
                        <a:lnTo>
                          <a:pt x="0" y="8"/>
                        </a:lnTo>
                        <a:lnTo>
                          <a:pt x="2" y="13"/>
                        </a:lnTo>
                        <a:lnTo>
                          <a:pt x="4" y="13"/>
                        </a:lnTo>
                        <a:lnTo>
                          <a:pt x="7" y="10"/>
                        </a:lnTo>
                        <a:lnTo>
                          <a:pt x="10" y="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7" name="Freeform 1527">
                    <a:extLst>
                      <a:ext uri="{FF2B5EF4-FFF2-40B4-BE49-F238E27FC236}">
                        <a16:creationId xmlns:a16="http://schemas.microsoft.com/office/drawing/2014/main" xmlns="" id="{58E76FBB-062C-4D64-A31F-AD171E9139EE}"/>
                      </a:ext>
                    </a:extLst>
                  </p:cNvPr>
                  <p:cNvSpPr>
                    <a:spLocks/>
                  </p:cNvSpPr>
                  <p:nvPr/>
                </p:nvSpPr>
                <p:spPr bwMode="gray">
                  <a:xfrm>
                    <a:off x="4917038" y="3556700"/>
                    <a:ext cx="549559" cy="401579"/>
                  </a:xfrm>
                  <a:custGeom>
                    <a:avLst/>
                    <a:gdLst>
                      <a:gd name="T0" fmla="*/ 2147483647 w 494"/>
                      <a:gd name="T1" fmla="*/ 2147483647 h 361"/>
                      <a:gd name="T2" fmla="*/ 2147483647 w 494"/>
                      <a:gd name="T3" fmla="*/ 2147483647 h 361"/>
                      <a:gd name="T4" fmla="*/ 2147483647 w 494"/>
                      <a:gd name="T5" fmla="*/ 2147483647 h 361"/>
                      <a:gd name="T6" fmla="*/ 2147483647 w 494"/>
                      <a:gd name="T7" fmla="*/ 2147483647 h 361"/>
                      <a:gd name="T8" fmla="*/ 2147483647 w 494"/>
                      <a:gd name="T9" fmla="*/ 2147483647 h 361"/>
                      <a:gd name="T10" fmla="*/ 2147483647 w 494"/>
                      <a:gd name="T11" fmla="*/ 2147483647 h 361"/>
                      <a:gd name="T12" fmla="*/ 2147483647 w 494"/>
                      <a:gd name="T13" fmla="*/ 2147483647 h 361"/>
                      <a:gd name="T14" fmla="*/ 2147483647 w 494"/>
                      <a:gd name="T15" fmla="*/ 2147483647 h 361"/>
                      <a:gd name="T16" fmla="*/ 2147483647 w 494"/>
                      <a:gd name="T17" fmla="*/ 2147483647 h 361"/>
                      <a:gd name="T18" fmla="*/ 2147483647 w 494"/>
                      <a:gd name="T19" fmla="*/ 2147483647 h 361"/>
                      <a:gd name="T20" fmla="*/ 2147483647 w 494"/>
                      <a:gd name="T21" fmla="*/ 2147483647 h 361"/>
                      <a:gd name="T22" fmla="*/ 2147483647 w 494"/>
                      <a:gd name="T23" fmla="*/ 2147483647 h 361"/>
                      <a:gd name="T24" fmla="*/ 2147483647 w 494"/>
                      <a:gd name="T25" fmla="*/ 2147483647 h 361"/>
                      <a:gd name="T26" fmla="*/ 2147483647 w 494"/>
                      <a:gd name="T27" fmla="*/ 2147483647 h 361"/>
                      <a:gd name="T28" fmla="*/ 2147483647 w 494"/>
                      <a:gd name="T29" fmla="*/ 2147483647 h 361"/>
                      <a:gd name="T30" fmla="*/ 2147483647 w 494"/>
                      <a:gd name="T31" fmla="*/ 2147483647 h 361"/>
                      <a:gd name="T32" fmla="*/ 2147483647 w 494"/>
                      <a:gd name="T33" fmla="*/ 2147483647 h 361"/>
                      <a:gd name="T34" fmla="*/ 2147483647 w 494"/>
                      <a:gd name="T35" fmla="*/ 2147483647 h 361"/>
                      <a:gd name="T36" fmla="*/ 2147483647 w 494"/>
                      <a:gd name="T37" fmla="*/ 2147483647 h 361"/>
                      <a:gd name="T38" fmla="*/ 2147483647 w 494"/>
                      <a:gd name="T39" fmla="*/ 2147483647 h 361"/>
                      <a:gd name="T40" fmla="*/ 2147483647 w 494"/>
                      <a:gd name="T41" fmla="*/ 2147483647 h 361"/>
                      <a:gd name="T42" fmla="*/ 2147483647 w 494"/>
                      <a:gd name="T43" fmla="*/ 2147483647 h 361"/>
                      <a:gd name="T44" fmla="*/ 2147483647 w 494"/>
                      <a:gd name="T45" fmla="*/ 2147483647 h 361"/>
                      <a:gd name="T46" fmla="*/ 2147483647 w 494"/>
                      <a:gd name="T47" fmla="*/ 2147483647 h 361"/>
                      <a:gd name="T48" fmla="*/ 2147483647 w 494"/>
                      <a:gd name="T49" fmla="*/ 2147483647 h 361"/>
                      <a:gd name="T50" fmla="*/ 2147483647 w 494"/>
                      <a:gd name="T51" fmla="*/ 2147483647 h 361"/>
                      <a:gd name="T52" fmla="*/ 2147483647 w 494"/>
                      <a:gd name="T53" fmla="*/ 2147483647 h 361"/>
                      <a:gd name="T54" fmla="*/ 2147483647 w 494"/>
                      <a:gd name="T55" fmla="*/ 2147483647 h 361"/>
                      <a:gd name="T56" fmla="*/ 2147483647 w 494"/>
                      <a:gd name="T57" fmla="*/ 2147483647 h 361"/>
                      <a:gd name="T58" fmla="*/ 2147483647 w 494"/>
                      <a:gd name="T59" fmla="*/ 2147483647 h 361"/>
                      <a:gd name="T60" fmla="*/ 2147483647 w 494"/>
                      <a:gd name="T61" fmla="*/ 2147483647 h 361"/>
                      <a:gd name="T62" fmla="*/ 2147483647 w 494"/>
                      <a:gd name="T63" fmla="*/ 2147483647 h 361"/>
                      <a:gd name="T64" fmla="*/ 2147483647 w 494"/>
                      <a:gd name="T65" fmla="*/ 2147483647 h 361"/>
                      <a:gd name="T66" fmla="*/ 2147483647 w 494"/>
                      <a:gd name="T67" fmla="*/ 2147483647 h 361"/>
                      <a:gd name="T68" fmla="*/ 2147483647 w 494"/>
                      <a:gd name="T69" fmla="*/ 2147483647 h 361"/>
                      <a:gd name="T70" fmla="*/ 2147483647 w 494"/>
                      <a:gd name="T71" fmla="*/ 2147483647 h 361"/>
                      <a:gd name="T72" fmla="*/ 2147483647 w 494"/>
                      <a:gd name="T73" fmla="*/ 2147483647 h 361"/>
                      <a:gd name="T74" fmla="*/ 2147483647 w 494"/>
                      <a:gd name="T75" fmla="*/ 2147483647 h 361"/>
                      <a:gd name="T76" fmla="*/ 2147483647 w 494"/>
                      <a:gd name="T77" fmla="*/ 2147483647 h 361"/>
                      <a:gd name="T78" fmla="*/ 2147483647 w 494"/>
                      <a:gd name="T79" fmla="*/ 2147483647 h 361"/>
                      <a:gd name="T80" fmla="*/ 2147483647 w 494"/>
                      <a:gd name="T81" fmla="*/ 2147483647 h 361"/>
                      <a:gd name="T82" fmla="*/ 2147483647 w 494"/>
                      <a:gd name="T83" fmla="*/ 2147483647 h 361"/>
                      <a:gd name="T84" fmla="*/ 2147483647 w 494"/>
                      <a:gd name="T85" fmla="*/ 2147483647 h 361"/>
                      <a:gd name="T86" fmla="*/ 2147483647 w 494"/>
                      <a:gd name="T87" fmla="*/ 2147483647 h 361"/>
                      <a:gd name="T88" fmla="*/ 2147483647 w 494"/>
                      <a:gd name="T89" fmla="*/ 2147483647 h 361"/>
                      <a:gd name="T90" fmla="*/ 2147483647 w 494"/>
                      <a:gd name="T91" fmla="*/ 2147483647 h 361"/>
                      <a:gd name="T92" fmla="*/ 2147483647 w 494"/>
                      <a:gd name="T93" fmla="*/ 2147483647 h 361"/>
                      <a:gd name="T94" fmla="*/ 2147483647 w 494"/>
                      <a:gd name="T95" fmla="*/ 2147483647 h 361"/>
                      <a:gd name="T96" fmla="*/ 2147483647 w 494"/>
                      <a:gd name="T97" fmla="*/ 2147483647 h 361"/>
                      <a:gd name="T98" fmla="*/ 2147483647 w 494"/>
                      <a:gd name="T99" fmla="*/ 2147483647 h 361"/>
                      <a:gd name="T100" fmla="*/ 2147483647 w 494"/>
                      <a:gd name="T101" fmla="*/ 2147483647 h 361"/>
                      <a:gd name="T102" fmla="*/ 2147483647 w 494"/>
                      <a:gd name="T103" fmla="*/ 2147483647 h 361"/>
                      <a:gd name="T104" fmla="*/ 2147483647 w 494"/>
                      <a:gd name="T105" fmla="*/ 2147483647 h 361"/>
                      <a:gd name="T106" fmla="*/ 2147483647 w 494"/>
                      <a:gd name="T107" fmla="*/ 2147483647 h 361"/>
                      <a:gd name="T108" fmla="*/ 2147483647 w 494"/>
                      <a:gd name="T109" fmla="*/ 2147483647 h 361"/>
                      <a:gd name="T110" fmla="*/ 2147483647 w 494"/>
                      <a:gd name="T111" fmla="*/ 2147483647 h 361"/>
                      <a:gd name="T112" fmla="*/ 2147483647 w 494"/>
                      <a:gd name="T113" fmla="*/ 2147483647 h 361"/>
                      <a:gd name="T114" fmla="*/ 2147483647 w 494"/>
                      <a:gd name="T115" fmla="*/ 2147483647 h 3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94" h="361">
                        <a:moveTo>
                          <a:pt x="135" y="41"/>
                        </a:moveTo>
                        <a:lnTo>
                          <a:pt x="132" y="45"/>
                        </a:lnTo>
                        <a:lnTo>
                          <a:pt x="131" y="48"/>
                        </a:lnTo>
                        <a:lnTo>
                          <a:pt x="128" y="49"/>
                        </a:lnTo>
                        <a:lnTo>
                          <a:pt x="126" y="51"/>
                        </a:lnTo>
                        <a:lnTo>
                          <a:pt x="125" y="54"/>
                        </a:lnTo>
                        <a:lnTo>
                          <a:pt x="125" y="56"/>
                        </a:lnTo>
                        <a:lnTo>
                          <a:pt x="124" y="58"/>
                        </a:lnTo>
                        <a:lnTo>
                          <a:pt x="122" y="59"/>
                        </a:lnTo>
                        <a:lnTo>
                          <a:pt x="119" y="60"/>
                        </a:lnTo>
                        <a:lnTo>
                          <a:pt x="112" y="57"/>
                        </a:lnTo>
                        <a:lnTo>
                          <a:pt x="112" y="60"/>
                        </a:lnTo>
                        <a:lnTo>
                          <a:pt x="109" y="64"/>
                        </a:lnTo>
                        <a:lnTo>
                          <a:pt x="106" y="67"/>
                        </a:lnTo>
                        <a:lnTo>
                          <a:pt x="100" y="70"/>
                        </a:lnTo>
                        <a:lnTo>
                          <a:pt x="97" y="74"/>
                        </a:lnTo>
                        <a:lnTo>
                          <a:pt x="93" y="77"/>
                        </a:lnTo>
                        <a:lnTo>
                          <a:pt x="89" y="81"/>
                        </a:lnTo>
                        <a:lnTo>
                          <a:pt x="86" y="83"/>
                        </a:lnTo>
                        <a:lnTo>
                          <a:pt x="85" y="85"/>
                        </a:lnTo>
                        <a:lnTo>
                          <a:pt x="86" y="86"/>
                        </a:lnTo>
                        <a:lnTo>
                          <a:pt x="87" y="88"/>
                        </a:lnTo>
                        <a:lnTo>
                          <a:pt x="86" y="90"/>
                        </a:lnTo>
                        <a:lnTo>
                          <a:pt x="84" y="91"/>
                        </a:lnTo>
                        <a:lnTo>
                          <a:pt x="82" y="91"/>
                        </a:lnTo>
                        <a:lnTo>
                          <a:pt x="80" y="91"/>
                        </a:lnTo>
                        <a:lnTo>
                          <a:pt x="77" y="93"/>
                        </a:lnTo>
                        <a:lnTo>
                          <a:pt x="74" y="103"/>
                        </a:lnTo>
                        <a:lnTo>
                          <a:pt x="72" y="105"/>
                        </a:lnTo>
                        <a:lnTo>
                          <a:pt x="71" y="105"/>
                        </a:lnTo>
                        <a:lnTo>
                          <a:pt x="71" y="107"/>
                        </a:lnTo>
                        <a:lnTo>
                          <a:pt x="71" y="109"/>
                        </a:lnTo>
                        <a:lnTo>
                          <a:pt x="68" y="112"/>
                        </a:lnTo>
                        <a:lnTo>
                          <a:pt x="64" y="115"/>
                        </a:lnTo>
                        <a:lnTo>
                          <a:pt x="62" y="119"/>
                        </a:lnTo>
                        <a:lnTo>
                          <a:pt x="60" y="122"/>
                        </a:lnTo>
                        <a:lnTo>
                          <a:pt x="61" y="124"/>
                        </a:lnTo>
                        <a:lnTo>
                          <a:pt x="60" y="125"/>
                        </a:lnTo>
                        <a:lnTo>
                          <a:pt x="57" y="127"/>
                        </a:lnTo>
                        <a:lnTo>
                          <a:pt x="54" y="129"/>
                        </a:lnTo>
                        <a:lnTo>
                          <a:pt x="53" y="129"/>
                        </a:lnTo>
                        <a:lnTo>
                          <a:pt x="50" y="130"/>
                        </a:lnTo>
                        <a:lnTo>
                          <a:pt x="48" y="131"/>
                        </a:lnTo>
                        <a:lnTo>
                          <a:pt x="48" y="134"/>
                        </a:lnTo>
                        <a:lnTo>
                          <a:pt x="48" y="139"/>
                        </a:lnTo>
                        <a:lnTo>
                          <a:pt x="48" y="141"/>
                        </a:lnTo>
                        <a:lnTo>
                          <a:pt x="48" y="143"/>
                        </a:lnTo>
                        <a:lnTo>
                          <a:pt x="50" y="145"/>
                        </a:lnTo>
                        <a:lnTo>
                          <a:pt x="53" y="146"/>
                        </a:lnTo>
                        <a:lnTo>
                          <a:pt x="54" y="148"/>
                        </a:lnTo>
                        <a:lnTo>
                          <a:pt x="51" y="151"/>
                        </a:lnTo>
                        <a:lnTo>
                          <a:pt x="49" y="152"/>
                        </a:lnTo>
                        <a:lnTo>
                          <a:pt x="48" y="152"/>
                        </a:lnTo>
                        <a:lnTo>
                          <a:pt x="48" y="151"/>
                        </a:lnTo>
                        <a:lnTo>
                          <a:pt x="48" y="153"/>
                        </a:lnTo>
                        <a:lnTo>
                          <a:pt x="46" y="155"/>
                        </a:lnTo>
                        <a:lnTo>
                          <a:pt x="45" y="156"/>
                        </a:lnTo>
                        <a:lnTo>
                          <a:pt x="45" y="157"/>
                        </a:lnTo>
                        <a:lnTo>
                          <a:pt x="42" y="159"/>
                        </a:lnTo>
                        <a:lnTo>
                          <a:pt x="40" y="160"/>
                        </a:lnTo>
                        <a:lnTo>
                          <a:pt x="37" y="160"/>
                        </a:lnTo>
                        <a:lnTo>
                          <a:pt x="34" y="161"/>
                        </a:lnTo>
                        <a:lnTo>
                          <a:pt x="32" y="162"/>
                        </a:lnTo>
                        <a:lnTo>
                          <a:pt x="31" y="164"/>
                        </a:lnTo>
                        <a:lnTo>
                          <a:pt x="28" y="170"/>
                        </a:lnTo>
                        <a:lnTo>
                          <a:pt x="24" y="177"/>
                        </a:lnTo>
                        <a:lnTo>
                          <a:pt x="23" y="177"/>
                        </a:lnTo>
                        <a:lnTo>
                          <a:pt x="19" y="175"/>
                        </a:lnTo>
                        <a:lnTo>
                          <a:pt x="17" y="174"/>
                        </a:lnTo>
                        <a:lnTo>
                          <a:pt x="15" y="174"/>
                        </a:lnTo>
                        <a:lnTo>
                          <a:pt x="13" y="175"/>
                        </a:lnTo>
                        <a:lnTo>
                          <a:pt x="10" y="177"/>
                        </a:lnTo>
                        <a:lnTo>
                          <a:pt x="8" y="178"/>
                        </a:lnTo>
                        <a:lnTo>
                          <a:pt x="5" y="179"/>
                        </a:lnTo>
                        <a:lnTo>
                          <a:pt x="0" y="177"/>
                        </a:lnTo>
                        <a:lnTo>
                          <a:pt x="1" y="181"/>
                        </a:lnTo>
                        <a:lnTo>
                          <a:pt x="3" y="186"/>
                        </a:lnTo>
                        <a:lnTo>
                          <a:pt x="5" y="193"/>
                        </a:lnTo>
                        <a:lnTo>
                          <a:pt x="6" y="193"/>
                        </a:lnTo>
                        <a:lnTo>
                          <a:pt x="9" y="195"/>
                        </a:lnTo>
                        <a:lnTo>
                          <a:pt x="12" y="197"/>
                        </a:lnTo>
                        <a:lnTo>
                          <a:pt x="15" y="200"/>
                        </a:lnTo>
                        <a:lnTo>
                          <a:pt x="17" y="203"/>
                        </a:lnTo>
                        <a:lnTo>
                          <a:pt x="19" y="207"/>
                        </a:lnTo>
                        <a:lnTo>
                          <a:pt x="20" y="209"/>
                        </a:lnTo>
                        <a:lnTo>
                          <a:pt x="22" y="209"/>
                        </a:lnTo>
                        <a:lnTo>
                          <a:pt x="24" y="207"/>
                        </a:lnTo>
                        <a:lnTo>
                          <a:pt x="24" y="206"/>
                        </a:lnTo>
                        <a:lnTo>
                          <a:pt x="24" y="205"/>
                        </a:lnTo>
                        <a:lnTo>
                          <a:pt x="26" y="208"/>
                        </a:lnTo>
                        <a:lnTo>
                          <a:pt x="27" y="211"/>
                        </a:lnTo>
                        <a:lnTo>
                          <a:pt x="28" y="214"/>
                        </a:lnTo>
                        <a:lnTo>
                          <a:pt x="28" y="219"/>
                        </a:lnTo>
                        <a:lnTo>
                          <a:pt x="28" y="222"/>
                        </a:lnTo>
                        <a:lnTo>
                          <a:pt x="29" y="225"/>
                        </a:lnTo>
                        <a:lnTo>
                          <a:pt x="31" y="228"/>
                        </a:lnTo>
                        <a:lnTo>
                          <a:pt x="35" y="231"/>
                        </a:lnTo>
                        <a:lnTo>
                          <a:pt x="37" y="234"/>
                        </a:lnTo>
                        <a:lnTo>
                          <a:pt x="38" y="236"/>
                        </a:lnTo>
                        <a:lnTo>
                          <a:pt x="39" y="239"/>
                        </a:lnTo>
                        <a:lnTo>
                          <a:pt x="41" y="241"/>
                        </a:lnTo>
                        <a:lnTo>
                          <a:pt x="44" y="243"/>
                        </a:lnTo>
                        <a:lnTo>
                          <a:pt x="46" y="245"/>
                        </a:lnTo>
                        <a:lnTo>
                          <a:pt x="48" y="247"/>
                        </a:lnTo>
                        <a:lnTo>
                          <a:pt x="50" y="250"/>
                        </a:lnTo>
                        <a:lnTo>
                          <a:pt x="51" y="251"/>
                        </a:lnTo>
                        <a:lnTo>
                          <a:pt x="54" y="254"/>
                        </a:lnTo>
                        <a:lnTo>
                          <a:pt x="57" y="256"/>
                        </a:lnTo>
                        <a:lnTo>
                          <a:pt x="60" y="257"/>
                        </a:lnTo>
                        <a:lnTo>
                          <a:pt x="62" y="256"/>
                        </a:lnTo>
                        <a:lnTo>
                          <a:pt x="63" y="258"/>
                        </a:lnTo>
                        <a:lnTo>
                          <a:pt x="64" y="261"/>
                        </a:lnTo>
                        <a:lnTo>
                          <a:pt x="64" y="264"/>
                        </a:lnTo>
                        <a:lnTo>
                          <a:pt x="65" y="264"/>
                        </a:lnTo>
                        <a:lnTo>
                          <a:pt x="67" y="266"/>
                        </a:lnTo>
                        <a:lnTo>
                          <a:pt x="70" y="268"/>
                        </a:lnTo>
                        <a:lnTo>
                          <a:pt x="71" y="270"/>
                        </a:lnTo>
                        <a:lnTo>
                          <a:pt x="70" y="271"/>
                        </a:lnTo>
                        <a:lnTo>
                          <a:pt x="67" y="272"/>
                        </a:lnTo>
                        <a:lnTo>
                          <a:pt x="64" y="274"/>
                        </a:lnTo>
                        <a:lnTo>
                          <a:pt x="63" y="275"/>
                        </a:lnTo>
                        <a:lnTo>
                          <a:pt x="64" y="276"/>
                        </a:lnTo>
                        <a:lnTo>
                          <a:pt x="65" y="278"/>
                        </a:lnTo>
                        <a:lnTo>
                          <a:pt x="69" y="278"/>
                        </a:lnTo>
                        <a:lnTo>
                          <a:pt x="72" y="278"/>
                        </a:lnTo>
                        <a:lnTo>
                          <a:pt x="74" y="279"/>
                        </a:lnTo>
                        <a:lnTo>
                          <a:pt x="72" y="281"/>
                        </a:lnTo>
                        <a:lnTo>
                          <a:pt x="69" y="283"/>
                        </a:lnTo>
                        <a:lnTo>
                          <a:pt x="65" y="284"/>
                        </a:lnTo>
                        <a:lnTo>
                          <a:pt x="64" y="286"/>
                        </a:lnTo>
                        <a:lnTo>
                          <a:pt x="64" y="288"/>
                        </a:lnTo>
                        <a:lnTo>
                          <a:pt x="64" y="289"/>
                        </a:lnTo>
                        <a:lnTo>
                          <a:pt x="65" y="291"/>
                        </a:lnTo>
                        <a:lnTo>
                          <a:pt x="67" y="293"/>
                        </a:lnTo>
                        <a:lnTo>
                          <a:pt x="69" y="293"/>
                        </a:lnTo>
                        <a:lnTo>
                          <a:pt x="71" y="293"/>
                        </a:lnTo>
                        <a:lnTo>
                          <a:pt x="72" y="293"/>
                        </a:lnTo>
                        <a:lnTo>
                          <a:pt x="74" y="293"/>
                        </a:lnTo>
                        <a:lnTo>
                          <a:pt x="75" y="293"/>
                        </a:lnTo>
                        <a:lnTo>
                          <a:pt x="77" y="295"/>
                        </a:lnTo>
                        <a:lnTo>
                          <a:pt x="78" y="297"/>
                        </a:lnTo>
                        <a:lnTo>
                          <a:pt x="80" y="299"/>
                        </a:lnTo>
                        <a:lnTo>
                          <a:pt x="83" y="300"/>
                        </a:lnTo>
                        <a:lnTo>
                          <a:pt x="85" y="300"/>
                        </a:lnTo>
                        <a:lnTo>
                          <a:pt x="86" y="300"/>
                        </a:lnTo>
                        <a:lnTo>
                          <a:pt x="90" y="302"/>
                        </a:lnTo>
                        <a:lnTo>
                          <a:pt x="92" y="304"/>
                        </a:lnTo>
                        <a:lnTo>
                          <a:pt x="93" y="305"/>
                        </a:lnTo>
                        <a:lnTo>
                          <a:pt x="92" y="304"/>
                        </a:lnTo>
                        <a:lnTo>
                          <a:pt x="92" y="305"/>
                        </a:lnTo>
                        <a:lnTo>
                          <a:pt x="93" y="309"/>
                        </a:lnTo>
                        <a:lnTo>
                          <a:pt x="95" y="313"/>
                        </a:lnTo>
                        <a:lnTo>
                          <a:pt x="95" y="316"/>
                        </a:lnTo>
                        <a:lnTo>
                          <a:pt x="95" y="317"/>
                        </a:lnTo>
                        <a:lnTo>
                          <a:pt x="96" y="315"/>
                        </a:lnTo>
                        <a:lnTo>
                          <a:pt x="98" y="313"/>
                        </a:lnTo>
                        <a:lnTo>
                          <a:pt x="98" y="310"/>
                        </a:lnTo>
                        <a:lnTo>
                          <a:pt x="98" y="306"/>
                        </a:lnTo>
                        <a:lnTo>
                          <a:pt x="100" y="302"/>
                        </a:lnTo>
                        <a:lnTo>
                          <a:pt x="102" y="301"/>
                        </a:lnTo>
                        <a:lnTo>
                          <a:pt x="105" y="298"/>
                        </a:lnTo>
                        <a:lnTo>
                          <a:pt x="108" y="296"/>
                        </a:lnTo>
                        <a:lnTo>
                          <a:pt x="112" y="293"/>
                        </a:lnTo>
                        <a:lnTo>
                          <a:pt x="115" y="294"/>
                        </a:lnTo>
                        <a:lnTo>
                          <a:pt x="117" y="297"/>
                        </a:lnTo>
                        <a:lnTo>
                          <a:pt x="118" y="300"/>
                        </a:lnTo>
                        <a:lnTo>
                          <a:pt x="119" y="302"/>
                        </a:lnTo>
                        <a:lnTo>
                          <a:pt x="121" y="306"/>
                        </a:lnTo>
                        <a:lnTo>
                          <a:pt x="124" y="308"/>
                        </a:lnTo>
                        <a:lnTo>
                          <a:pt x="125" y="310"/>
                        </a:lnTo>
                        <a:lnTo>
                          <a:pt x="126" y="312"/>
                        </a:lnTo>
                        <a:lnTo>
                          <a:pt x="125" y="313"/>
                        </a:lnTo>
                        <a:lnTo>
                          <a:pt x="122" y="312"/>
                        </a:lnTo>
                        <a:lnTo>
                          <a:pt x="120" y="312"/>
                        </a:lnTo>
                        <a:lnTo>
                          <a:pt x="119" y="313"/>
                        </a:lnTo>
                        <a:lnTo>
                          <a:pt x="119" y="315"/>
                        </a:lnTo>
                        <a:lnTo>
                          <a:pt x="118" y="319"/>
                        </a:lnTo>
                        <a:lnTo>
                          <a:pt x="120" y="321"/>
                        </a:lnTo>
                        <a:lnTo>
                          <a:pt x="123" y="322"/>
                        </a:lnTo>
                        <a:lnTo>
                          <a:pt x="126" y="322"/>
                        </a:lnTo>
                        <a:lnTo>
                          <a:pt x="127" y="323"/>
                        </a:lnTo>
                        <a:lnTo>
                          <a:pt x="128" y="324"/>
                        </a:lnTo>
                        <a:lnTo>
                          <a:pt x="129" y="324"/>
                        </a:lnTo>
                        <a:lnTo>
                          <a:pt x="132" y="324"/>
                        </a:lnTo>
                        <a:lnTo>
                          <a:pt x="133" y="324"/>
                        </a:lnTo>
                        <a:lnTo>
                          <a:pt x="134" y="327"/>
                        </a:lnTo>
                        <a:lnTo>
                          <a:pt x="135" y="330"/>
                        </a:lnTo>
                        <a:lnTo>
                          <a:pt x="135" y="331"/>
                        </a:lnTo>
                        <a:lnTo>
                          <a:pt x="132" y="331"/>
                        </a:lnTo>
                        <a:lnTo>
                          <a:pt x="135" y="334"/>
                        </a:lnTo>
                        <a:lnTo>
                          <a:pt x="140" y="337"/>
                        </a:lnTo>
                        <a:lnTo>
                          <a:pt x="146" y="340"/>
                        </a:lnTo>
                        <a:lnTo>
                          <a:pt x="152" y="341"/>
                        </a:lnTo>
                        <a:lnTo>
                          <a:pt x="155" y="341"/>
                        </a:lnTo>
                        <a:lnTo>
                          <a:pt x="156" y="342"/>
                        </a:lnTo>
                        <a:lnTo>
                          <a:pt x="156" y="343"/>
                        </a:lnTo>
                        <a:lnTo>
                          <a:pt x="153" y="345"/>
                        </a:lnTo>
                        <a:lnTo>
                          <a:pt x="148" y="347"/>
                        </a:lnTo>
                        <a:lnTo>
                          <a:pt x="147" y="349"/>
                        </a:lnTo>
                        <a:lnTo>
                          <a:pt x="147" y="351"/>
                        </a:lnTo>
                        <a:lnTo>
                          <a:pt x="148" y="353"/>
                        </a:lnTo>
                        <a:lnTo>
                          <a:pt x="148" y="357"/>
                        </a:lnTo>
                        <a:lnTo>
                          <a:pt x="149" y="359"/>
                        </a:lnTo>
                        <a:lnTo>
                          <a:pt x="150" y="360"/>
                        </a:lnTo>
                        <a:lnTo>
                          <a:pt x="154" y="359"/>
                        </a:lnTo>
                        <a:lnTo>
                          <a:pt x="159" y="358"/>
                        </a:lnTo>
                        <a:lnTo>
                          <a:pt x="164" y="357"/>
                        </a:lnTo>
                        <a:lnTo>
                          <a:pt x="169" y="355"/>
                        </a:lnTo>
                        <a:lnTo>
                          <a:pt x="172" y="354"/>
                        </a:lnTo>
                        <a:lnTo>
                          <a:pt x="176" y="354"/>
                        </a:lnTo>
                        <a:lnTo>
                          <a:pt x="180" y="354"/>
                        </a:lnTo>
                        <a:lnTo>
                          <a:pt x="184" y="354"/>
                        </a:lnTo>
                        <a:lnTo>
                          <a:pt x="187" y="354"/>
                        </a:lnTo>
                        <a:lnTo>
                          <a:pt x="191" y="355"/>
                        </a:lnTo>
                        <a:lnTo>
                          <a:pt x="193" y="356"/>
                        </a:lnTo>
                        <a:lnTo>
                          <a:pt x="197" y="357"/>
                        </a:lnTo>
                        <a:lnTo>
                          <a:pt x="201" y="356"/>
                        </a:lnTo>
                        <a:lnTo>
                          <a:pt x="203" y="356"/>
                        </a:lnTo>
                        <a:lnTo>
                          <a:pt x="205" y="356"/>
                        </a:lnTo>
                        <a:lnTo>
                          <a:pt x="209" y="357"/>
                        </a:lnTo>
                        <a:lnTo>
                          <a:pt x="212" y="359"/>
                        </a:lnTo>
                        <a:lnTo>
                          <a:pt x="216" y="360"/>
                        </a:lnTo>
                        <a:lnTo>
                          <a:pt x="219" y="360"/>
                        </a:lnTo>
                        <a:lnTo>
                          <a:pt x="222" y="360"/>
                        </a:lnTo>
                        <a:lnTo>
                          <a:pt x="228" y="361"/>
                        </a:lnTo>
                        <a:lnTo>
                          <a:pt x="232" y="360"/>
                        </a:lnTo>
                        <a:lnTo>
                          <a:pt x="237" y="358"/>
                        </a:lnTo>
                        <a:lnTo>
                          <a:pt x="242" y="357"/>
                        </a:lnTo>
                        <a:lnTo>
                          <a:pt x="245" y="357"/>
                        </a:lnTo>
                        <a:lnTo>
                          <a:pt x="247" y="359"/>
                        </a:lnTo>
                        <a:lnTo>
                          <a:pt x="248" y="360"/>
                        </a:lnTo>
                        <a:lnTo>
                          <a:pt x="252" y="360"/>
                        </a:lnTo>
                        <a:lnTo>
                          <a:pt x="256" y="360"/>
                        </a:lnTo>
                        <a:lnTo>
                          <a:pt x="257" y="359"/>
                        </a:lnTo>
                        <a:lnTo>
                          <a:pt x="260" y="357"/>
                        </a:lnTo>
                        <a:lnTo>
                          <a:pt x="265" y="357"/>
                        </a:lnTo>
                        <a:lnTo>
                          <a:pt x="267" y="358"/>
                        </a:lnTo>
                        <a:lnTo>
                          <a:pt x="271" y="357"/>
                        </a:lnTo>
                        <a:lnTo>
                          <a:pt x="276" y="355"/>
                        </a:lnTo>
                        <a:lnTo>
                          <a:pt x="281" y="354"/>
                        </a:lnTo>
                        <a:lnTo>
                          <a:pt x="286" y="354"/>
                        </a:lnTo>
                        <a:lnTo>
                          <a:pt x="289" y="354"/>
                        </a:lnTo>
                        <a:lnTo>
                          <a:pt x="293" y="354"/>
                        </a:lnTo>
                        <a:lnTo>
                          <a:pt x="297" y="353"/>
                        </a:lnTo>
                        <a:lnTo>
                          <a:pt x="300" y="352"/>
                        </a:lnTo>
                        <a:lnTo>
                          <a:pt x="301" y="351"/>
                        </a:lnTo>
                        <a:lnTo>
                          <a:pt x="303" y="350"/>
                        </a:lnTo>
                        <a:lnTo>
                          <a:pt x="308" y="348"/>
                        </a:lnTo>
                        <a:lnTo>
                          <a:pt x="311" y="346"/>
                        </a:lnTo>
                        <a:lnTo>
                          <a:pt x="311" y="345"/>
                        </a:lnTo>
                        <a:lnTo>
                          <a:pt x="310" y="341"/>
                        </a:lnTo>
                        <a:lnTo>
                          <a:pt x="310" y="339"/>
                        </a:lnTo>
                        <a:lnTo>
                          <a:pt x="310" y="337"/>
                        </a:lnTo>
                        <a:lnTo>
                          <a:pt x="313" y="335"/>
                        </a:lnTo>
                        <a:lnTo>
                          <a:pt x="316" y="333"/>
                        </a:lnTo>
                        <a:lnTo>
                          <a:pt x="319" y="331"/>
                        </a:lnTo>
                        <a:lnTo>
                          <a:pt x="325" y="326"/>
                        </a:lnTo>
                        <a:lnTo>
                          <a:pt x="328" y="324"/>
                        </a:lnTo>
                        <a:lnTo>
                          <a:pt x="333" y="322"/>
                        </a:lnTo>
                        <a:lnTo>
                          <a:pt x="336" y="319"/>
                        </a:lnTo>
                        <a:lnTo>
                          <a:pt x="338" y="316"/>
                        </a:lnTo>
                        <a:lnTo>
                          <a:pt x="342" y="313"/>
                        </a:lnTo>
                        <a:lnTo>
                          <a:pt x="345" y="312"/>
                        </a:lnTo>
                        <a:lnTo>
                          <a:pt x="354" y="309"/>
                        </a:lnTo>
                        <a:lnTo>
                          <a:pt x="362" y="306"/>
                        </a:lnTo>
                        <a:lnTo>
                          <a:pt x="371" y="304"/>
                        </a:lnTo>
                        <a:lnTo>
                          <a:pt x="378" y="305"/>
                        </a:lnTo>
                        <a:lnTo>
                          <a:pt x="381" y="308"/>
                        </a:lnTo>
                        <a:lnTo>
                          <a:pt x="385" y="312"/>
                        </a:lnTo>
                        <a:lnTo>
                          <a:pt x="390" y="314"/>
                        </a:lnTo>
                        <a:lnTo>
                          <a:pt x="397" y="315"/>
                        </a:lnTo>
                        <a:lnTo>
                          <a:pt x="401" y="314"/>
                        </a:lnTo>
                        <a:lnTo>
                          <a:pt x="403" y="312"/>
                        </a:lnTo>
                        <a:lnTo>
                          <a:pt x="404" y="311"/>
                        </a:lnTo>
                        <a:lnTo>
                          <a:pt x="405" y="311"/>
                        </a:lnTo>
                        <a:lnTo>
                          <a:pt x="406" y="312"/>
                        </a:lnTo>
                        <a:lnTo>
                          <a:pt x="407" y="315"/>
                        </a:lnTo>
                        <a:lnTo>
                          <a:pt x="408" y="318"/>
                        </a:lnTo>
                        <a:lnTo>
                          <a:pt x="409" y="318"/>
                        </a:lnTo>
                        <a:lnTo>
                          <a:pt x="410" y="317"/>
                        </a:lnTo>
                        <a:lnTo>
                          <a:pt x="411" y="314"/>
                        </a:lnTo>
                        <a:lnTo>
                          <a:pt x="414" y="310"/>
                        </a:lnTo>
                        <a:lnTo>
                          <a:pt x="415" y="308"/>
                        </a:lnTo>
                        <a:lnTo>
                          <a:pt x="416" y="309"/>
                        </a:lnTo>
                        <a:lnTo>
                          <a:pt x="419" y="314"/>
                        </a:lnTo>
                        <a:lnTo>
                          <a:pt x="422" y="320"/>
                        </a:lnTo>
                        <a:lnTo>
                          <a:pt x="426" y="323"/>
                        </a:lnTo>
                        <a:lnTo>
                          <a:pt x="433" y="324"/>
                        </a:lnTo>
                        <a:lnTo>
                          <a:pt x="436" y="324"/>
                        </a:lnTo>
                        <a:lnTo>
                          <a:pt x="437" y="324"/>
                        </a:lnTo>
                        <a:lnTo>
                          <a:pt x="439" y="324"/>
                        </a:lnTo>
                        <a:lnTo>
                          <a:pt x="439" y="322"/>
                        </a:lnTo>
                        <a:lnTo>
                          <a:pt x="440" y="319"/>
                        </a:lnTo>
                        <a:lnTo>
                          <a:pt x="443" y="319"/>
                        </a:lnTo>
                        <a:lnTo>
                          <a:pt x="445" y="319"/>
                        </a:lnTo>
                        <a:lnTo>
                          <a:pt x="447" y="319"/>
                        </a:lnTo>
                        <a:lnTo>
                          <a:pt x="449" y="319"/>
                        </a:lnTo>
                        <a:lnTo>
                          <a:pt x="449" y="316"/>
                        </a:lnTo>
                        <a:lnTo>
                          <a:pt x="450" y="314"/>
                        </a:lnTo>
                        <a:lnTo>
                          <a:pt x="451" y="311"/>
                        </a:lnTo>
                        <a:lnTo>
                          <a:pt x="452" y="309"/>
                        </a:lnTo>
                        <a:lnTo>
                          <a:pt x="451" y="304"/>
                        </a:lnTo>
                        <a:lnTo>
                          <a:pt x="450" y="300"/>
                        </a:lnTo>
                        <a:lnTo>
                          <a:pt x="449" y="296"/>
                        </a:lnTo>
                        <a:lnTo>
                          <a:pt x="449" y="289"/>
                        </a:lnTo>
                        <a:lnTo>
                          <a:pt x="453" y="285"/>
                        </a:lnTo>
                        <a:lnTo>
                          <a:pt x="455" y="282"/>
                        </a:lnTo>
                        <a:lnTo>
                          <a:pt x="455" y="279"/>
                        </a:lnTo>
                        <a:lnTo>
                          <a:pt x="457" y="277"/>
                        </a:lnTo>
                        <a:lnTo>
                          <a:pt x="459" y="274"/>
                        </a:lnTo>
                        <a:lnTo>
                          <a:pt x="460" y="272"/>
                        </a:lnTo>
                        <a:lnTo>
                          <a:pt x="462" y="267"/>
                        </a:lnTo>
                        <a:lnTo>
                          <a:pt x="460" y="267"/>
                        </a:lnTo>
                        <a:lnTo>
                          <a:pt x="459" y="267"/>
                        </a:lnTo>
                        <a:lnTo>
                          <a:pt x="459" y="264"/>
                        </a:lnTo>
                        <a:lnTo>
                          <a:pt x="460" y="264"/>
                        </a:lnTo>
                        <a:lnTo>
                          <a:pt x="462" y="264"/>
                        </a:lnTo>
                        <a:lnTo>
                          <a:pt x="460" y="264"/>
                        </a:lnTo>
                        <a:lnTo>
                          <a:pt x="459" y="264"/>
                        </a:lnTo>
                        <a:lnTo>
                          <a:pt x="457" y="264"/>
                        </a:lnTo>
                        <a:lnTo>
                          <a:pt x="457" y="265"/>
                        </a:lnTo>
                        <a:lnTo>
                          <a:pt x="455" y="267"/>
                        </a:lnTo>
                        <a:lnTo>
                          <a:pt x="455" y="265"/>
                        </a:lnTo>
                        <a:lnTo>
                          <a:pt x="455" y="264"/>
                        </a:lnTo>
                        <a:lnTo>
                          <a:pt x="455" y="262"/>
                        </a:lnTo>
                        <a:lnTo>
                          <a:pt x="455" y="260"/>
                        </a:lnTo>
                        <a:lnTo>
                          <a:pt x="456" y="260"/>
                        </a:lnTo>
                        <a:lnTo>
                          <a:pt x="457" y="260"/>
                        </a:lnTo>
                        <a:lnTo>
                          <a:pt x="458" y="257"/>
                        </a:lnTo>
                        <a:lnTo>
                          <a:pt x="459" y="254"/>
                        </a:lnTo>
                        <a:lnTo>
                          <a:pt x="455" y="250"/>
                        </a:lnTo>
                        <a:lnTo>
                          <a:pt x="455" y="246"/>
                        </a:lnTo>
                        <a:lnTo>
                          <a:pt x="455" y="242"/>
                        </a:lnTo>
                        <a:lnTo>
                          <a:pt x="455" y="238"/>
                        </a:lnTo>
                        <a:lnTo>
                          <a:pt x="462" y="238"/>
                        </a:lnTo>
                        <a:lnTo>
                          <a:pt x="463" y="244"/>
                        </a:lnTo>
                        <a:lnTo>
                          <a:pt x="463" y="249"/>
                        </a:lnTo>
                        <a:lnTo>
                          <a:pt x="464" y="252"/>
                        </a:lnTo>
                        <a:lnTo>
                          <a:pt x="462" y="257"/>
                        </a:lnTo>
                        <a:lnTo>
                          <a:pt x="465" y="256"/>
                        </a:lnTo>
                        <a:lnTo>
                          <a:pt x="469" y="254"/>
                        </a:lnTo>
                        <a:lnTo>
                          <a:pt x="471" y="251"/>
                        </a:lnTo>
                        <a:lnTo>
                          <a:pt x="474" y="250"/>
                        </a:lnTo>
                        <a:lnTo>
                          <a:pt x="475" y="250"/>
                        </a:lnTo>
                        <a:lnTo>
                          <a:pt x="477" y="250"/>
                        </a:lnTo>
                        <a:lnTo>
                          <a:pt x="481" y="250"/>
                        </a:lnTo>
                        <a:lnTo>
                          <a:pt x="481" y="248"/>
                        </a:lnTo>
                        <a:lnTo>
                          <a:pt x="486" y="248"/>
                        </a:lnTo>
                        <a:lnTo>
                          <a:pt x="489" y="247"/>
                        </a:lnTo>
                        <a:lnTo>
                          <a:pt x="491" y="245"/>
                        </a:lnTo>
                        <a:lnTo>
                          <a:pt x="492" y="245"/>
                        </a:lnTo>
                        <a:lnTo>
                          <a:pt x="493" y="245"/>
                        </a:lnTo>
                        <a:lnTo>
                          <a:pt x="494" y="245"/>
                        </a:lnTo>
                        <a:lnTo>
                          <a:pt x="494" y="240"/>
                        </a:lnTo>
                        <a:lnTo>
                          <a:pt x="494" y="237"/>
                        </a:lnTo>
                        <a:lnTo>
                          <a:pt x="494" y="231"/>
                        </a:lnTo>
                        <a:lnTo>
                          <a:pt x="494" y="229"/>
                        </a:lnTo>
                        <a:lnTo>
                          <a:pt x="493" y="228"/>
                        </a:lnTo>
                        <a:lnTo>
                          <a:pt x="493" y="226"/>
                        </a:lnTo>
                        <a:lnTo>
                          <a:pt x="491" y="225"/>
                        </a:lnTo>
                        <a:lnTo>
                          <a:pt x="491" y="224"/>
                        </a:lnTo>
                        <a:lnTo>
                          <a:pt x="491" y="223"/>
                        </a:lnTo>
                        <a:lnTo>
                          <a:pt x="491" y="222"/>
                        </a:lnTo>
                        <a:lnTo>
                          <a:pt x="491" y="220"/>
                        </a:lnTo>
                        <a:lnTo>
                          <a:pt x="491" y="219"/>
                        </a:lnTo>
                        <a:lnTo>
                          <a:pt x="491" y="217"/>
                        </a:lnTo>
                        <a:lnTo>
                          <a:pt x="491" y="215"/>
                        </a:lnTo>
                        <a:lnTo>
                          <a:pt x="492" y="215"/>
                        </a:lnTo>
                        <a:lnTo>
                          <a:pt x="493" y="214"/>
                        </a:lnTo>
                        <a:lnTo>
                          <a:pt x="493" y="212"/>
                        </a:lnTo>
                        <a:lnTo>
                          <a:pt x="494" y="212"/>
                        </a:lnTo>
                        <a:lnTo>
                          <a:pt x="492" y="210"/>
                        </a:lnTo>
                        <a:lnTo>
                          <a:pt x="489" y="209"/>
                        </a:lnTo>
                        <a:lnTo>
                          <a:pt x="486" y="207"/>
                        </a:lnTo>
                        <a:lnTo>
                          <a:pt x="481" y="205"/>
                        </a:lnTo>
                        <a:lnTo>
                          <a:pt x="471" y="205"/>
                        </a:lnTo>
                        <a:lnTo>
                          <a:pt x="469" y="205"/>
                        </a:lnTo>
                        <a:lnTo>
                          <a:pt x="467" y="204"/>
                        </a:lnTo>
                        <a:lnTo>
                          <a:pt x="465" y="204"/>
                        </a:lnTo>
                        <a:lnTo>
                          <a:pt x="462" y="205"/>
                        </a:lnTo>
                        <a:lnTo>
                          <a:pt x="460" y="206"/>
                        </a:lnTo>
                        <a:lnTo>
                          <a:pt x="457" y="207"/>
                        </a:lnTo>
                        <a:lnTo>
                          <a:pt x="452" y="212"/>
                        </a:lnTo>
                        <a:lnTo>
                          <a:pt x="452" y="214"/>
                        </a:lnTo>
                        <a:lnTo>
                          <a:pt x="452" y="215"/>
                        </a:lnTo>
                        <a:lnTo>
                          <a:pt x="452" y="217"/>
                        </a:lnTo>
                        <a:lnTo>
                          <a:pt x="452" y="219"/>
                        </a:lnTo>
                        <a:lnTo>
                          <a:pt x="449" y="218"/>
                        </a:lnTo>
                        <a:lnTo>
                          <a:pt x="447" y="216"/>
                        </a:lnTo>
                        <a:lnTo>
                          <a:pt x="446" y="214"/>
                        </a:lnTo>
                        <a:lnTo>
                          <a:pt x="445" y="215"/>
                        </a:lnTo>
                        <a:lnTo>
                          <a:pt x="445" y="216"/>
                        </a:lnTo>
                        <a:lnTo>
                          <a:pt x="445" y="217"/>
                        </a:lnTo>
                        <a:lnTo>
                          <a:pt x="445" y="218"/>
                        </a:lnTo>
                        <a:lnTo>
                          <a:pt x="445" y="219"/>
                        </a:lnTo>
                        <a:lnTo>
                          <a:pt x="445" y="221"/>
                        </a:lnTo>
                        <a:lnTo>
                          <a:pt x="443" y="222"/>
                        </a:lnTo>
                        <a:lnTo>
                          <a:pt x="440" y="221"/>
                        </a:lnTo>
                        <a:lnTo>
                          <a:pt x="436" y="220"/>
                        </a:lnTo>
                        <a:lnTo>
                          <a:pt x="433" y="219"/>
                        </a:lnTo>
                        <a:lnTo>
                          <a:pt x="423" y="219"/>
                        </a:lnTo>
                        <a:lnTo>
                          <a:pt x="421" y="216"/>
                        </a:lnTo>
                        <a:lnTo>
                          <a:pt x="419" y="214"/>
                        </a:lnTo>
                        <a:lnTo>
                          <a:pt x="419" y="213"/>
                        </a:lnTo>
                        <a:lnTo>
                          <a:pt x="416" y="212"/>
                        </a:lnTo>
                        <a:lnTo>
                          <a:pt x="414" y="210"/>
                        </a:lnTo>
                        <a:lnTo>
                          <a:pt x="413" y="207"/>
                        </a:lnTo>
                        <a:lnTo>
                          <a:pt x="411" y="204"/>
                        </a:lnTo>
                        <a:lnTo>
                          <a:pt x="409" y="202"/>
                        </a:lnTo>
                        <a:lnTo>
                          <a:pt x="409" y="198"/>
                        </a:lnTo>
                        <a:lnTo>
                          <a:pt x="409" y="194"/>
                        </a:lnTo>
                        <a:lnTo>
                          <a:pt x="407" y="191"/>
                        </a:lnTo>
                        <a:lnTo>
                          <a:pt x="407" y="190"/>
                        </a:lnTo>
                        <a:lnTo>
                          <a:pt x="407" y="189"/>
                        </a:lnTo>
                        <a:lnTo>
                          <a:pt x="409" y="189"/>
                        </a:lnTo>
                        <a:lnTo>
                          <a:pt x="409" y="188"/>
                        </a:lnTo>
                        <a:lnTo>
                          <a:pt x="409" y="186"/>
                        </a:lnTo>
                        <a:lnTo>
                          <a:pt x="409" y="183"/>
                        </a:lnTo>
                        <a:lnTo>
                          <a:pt x="409" y="179"/>
                        </a:lnTo>
                        <a:lnTo>
                          <a:pt x="409" y="177"/>
                        </a:lnTo>
                        <a:lnTo>
                          <a:pt x="409" y="174"/>
                        </a:lnTo>
                        <a:lnTo>
                          <a:pt x="409" y="170"/>
                        </a:lnTo>
                        <a:lnTo>
                          <a:pt x="409" y="165"/>
                        </a:lnTo>
                        <a:lnTo>
                          <a:pt x="409" y="161"/>
                        </a:lnTo>
                        <a:lnTo>
                          <a:pt x="409" y="157"/>
                        </a:lnTo>
                        <a:lnTo>
                          <a:pt x="409" y="154"/>
                        </a:lnTo>
                        <a:lnTo>
                          <a:pt x="409" y="153"/>
                        </a:lnTo>
                        <a:lnTo>
                          <a:pt x="409" y="149"/>
                        </a:lnTo>
                        <a:lnTo>
                          <a:pt x="409" y="145"/>
                        </a:lnTo>
                        <a:lnTo>
                          <a:pt x="409" y="142"/>
                        </a:lnTo>
                        <a:lnTo>
                          <a:pt x="409" y="138"/>
                        </a:lnTo>
                        <a:lnTo>
                          <a:pt x="409" y="136"/>
                        </a:lnTo>
                        <a:lnTo>
                          <a:pt x="409" y="134"/>
                        </a:lnTo>
                        <a:lnTo>
                          <a:pt x="409" y="131"/>
                        </a:lnTo>
                        <a:lnTo>
                          <a:pt x="408" y="129"/>
                        </a:lnTo>
                        <a:lnTo>
                          <a:pt x="407" y="128"/>
                        </a:lnTo>
                        <a:lnTo>
                          <a:pt x="407" y="126"/>
                        </a:lnTo>
                        <a:lnTo>
                          <a:pt x="407" y="122"/>
                        </a:lnTo>
                        <a:lnTo>
                          <a:pt x="406" y="120"/>
                        </a:lnTo>
                        <a:lnTo>
                          <a:pt x="404" y="119"/>
                        </a:lnTo>
                        <a:lnTo>
                          <a:pt x="402" y="118"/>
                        </a:lnTo>
                        <a:lnTo>
                          <a:pt x="401" y="117"/>
                        </a:lnTo>
                        <a:lnTo>
                          <a:pt x="400" y="115"/>
                        </a:lnTo>
                        <a:lnTo>
                          <a:pt x="400" y="112"/>
                        </a:lnTo>
                        <a:lnTo>
                          <a:pt x="400" y="109"/>
                        </a:lnTo>
                        <a:lnTo>
                          <a:pt x="400" y="107"/>
                        </a:lnTo>
                        <a:lnTo>
                          <a:pt x="400" y="105"/>
                        </a:lnTo>
                        <a:lnTo>
                          <a:pt x="400" y="103"/>
                        </a:lnTo>
                        <a:lnTo>
                          <a:pt x="400" y="100"/>
                        </a:lnTo>
                        <a:lnTo>
                          <a:pt x="400" y="97"/>
                        </a:lnTo>
                        <a:lnTo>
                          <a:pt x="398" y="93"/>
                        </a:lnTo>
                        <a:lnTo>
                          <a:pt x="395" y="89"/>
                        </a:lnTo>
                        <a:lnTo>
                          <a:pt x="390" y="86"/>
                        </a:lnTo>
                        <a:lnTo>
                          <a:pt x="386" y="84"/>
                        </a:lnTo>
                        <a:lnTo>
                          <a:pt x="383" y="82"/>
                        </a:lnTo>
                        <a:lnTo>
                          <a:pt x="379" y="81"/>
                        </a:lnTo>
                        <a:lnTo>
                          <a:pt x="374" y="80"/>
                        </a:lnTo>
                        <a:lnTo>
                          <a:pt x="370" y="78"/>
                        </a:lnTo>
                        <a:lnTo>
                          <a:pt x="368" y="77"/>
                        </a:lnTo>
                        <a:lnTo>
                          <a:pt x="365" y="74"/>
                        </a:lnTo>
                        <a:lnTo>
                          <a:pt x="361" y="70"/>
                        </a:lnTo>
                        <a:lnTo>
                          <a:pt x="360" y="67"/>
                        </a:lnTo>
                        <a:lnTo>
                          <a:pt x="359" y="63"/>
                        </a:lnTo>
                        <a:lnTo>
                          <a:pt x="357" y="59"/>
                        </a:lnTo>
                        <a:lnTo>
                          <a:pt x="355" y="55"/>
                        </a:lnTo>
                        <a:lnTo>
                          <a:pt x="352" y="51"/>
                        </a:lnTo>
                        <a:lnTo>
                          <a:pt x="349" y="49"/>
                        </a:lnTo>
                        <a:lnTo>
                          <a:pt x="346" y="47"/>
                        </a:lnTo>
                        <a:lnTo>
                          <a:pt x="345" y="44"/>
                        </a:lnTo>
                        <a:lnTo>
                          <a:pt x="345" y="41"/>
                        </a:lnTo>
                        <a:lnTo>
                          <a:pt x="345" y="38"/>
                        </a:lnTo>
                        <a:lnTo>
                          <a:pt x="344" y="36"/>
                        </a:lnTo>
                        <a:lnTo>
                          <a:pt x="342" y="33"/>
                        </a:lnTo>
                        <a:lnTo>
                          <a:pt x="339" y="31"/>
                        </a:lnTo>
                        <a:lnTo>
                          <a:pt x="339" y="29"/>
                        </a:lnTo>
                        <a:lnTo>
                          <a:pt x="338" y="25"/>
                        </a:lnTo>
                        <a:lnTo>
                          <a:pt x="338" y="22"/>
                        </a:lnTo>
                        <a:lnTo>
                          <a:pt x="337" y="20"/>
                        </a:lnTo>
                        <a:lnTo>
                          <a:pt x="333" y="17"/>
                        </a:lnTo>
                        <a:lnTo>
                          <a:pt x="329" y="14"/>
                        </a:lnTo>
                        <a:lnTo>
                          <a:pt x="329" y="12"/>
                        </a:lnTo>
                        <a:lnTo>
                          <a:pt x="329" y="9"/>
                        </a:lnTo>
                        <a:lnTo>
                          <a:pt x="328" y="4"/>
                        </a:lnTo>
                        <a:lnTo>
                          <a:pt x="326" y="1"/>
                        </a:lnTo>
                        <a:lnTo>
                          <a:pt x="322" y="0"/>
                        </a:lnTo>
                        <a:lnTo>
                          <a:pt x="319" y="0"/>
                        </a:lnTo>
                        <a:lnTo>
                          <a:pt x="319" y="3"/>
                        </a:lnTo>
                        <a:lnTo>
                          <a:pt x="316" y="4"/>
                        </a:lnTo>
                        <a:lnTo>
                          <a:pt x="313" y="5"/>
                        </a:lnTo>
                        <a:lnTo>
                          <a:pt x="310" y="7"/>
                        </a:lnTo>
                        <a:lnTo>
                          <a:pt x="307" y="9"/>
                        </a:lnTo>
                        <a:lnTo>
                          <a:pt x="307" y="11"/>
                        </a:lnTo>
                        <a:lnTo>
                          <a:pt x="307" y="13"/>
                        </a:lnTo>
                        <a:lnTo>
                          <a:pt x="307" y="15"/>
                        </a:lnTo>
                        <a:lnTo>
                          <a:pt x="307" y="19"/>
                        </a:lnTo>
                        <a:lnTo>
                          <a:pt x="306" y="21"/>
                        </a:lnTo>
                        <a:lnTo>
                          <a:pt x="303" y="22"/>
                        </a:lnTo>
                        <a:lnTo>
                          <a:pt x="300" y="23"/>
                        </a:lnTo>
                        <a:lnTo>
                          <a:pt x="297" y="25"/>
                        </a:lnTo>
                        <a:lnTo>
                          <a:pt x="294" y="27"/>
                        </a:lnTo>
                        <a:lnTo>
                          <a:pt x="290" y="29"/>
                        </a:lnTo>
                        <a:lnTo>
                          <a:pt x="289" y="30"/>
                        </a:lnTo>
                        <a:lnTo>
                          <a:pt x="288" y="32"/>
                        </a:lnTo>
                        <a:lnTo>
                          <a:pt x="283" y="33"/>
                        </a:lnTo>
                        <a:lnTo>
                          <a:pt x="279" y="34"/>
                        </a:lnTo>
                        <a:lnTo>
                          <a:pt x="275" y="35"/>
                        </a:lnTo>
                        <a:lnTo>
                          <a:pt x="271" y="35"/>
                        </a:lnTo>
                        <a:lnTo>
                          <a:pt x="271" y="37"/>
                        </a:lnTo>
                        <a:lnTo>
                          <a:pt x="270" y="41"/>
                        </a:lnTo>
                        <a:lnTo>
                          <a:pt x="268" y="46"/>
                        </a:lnTo>
                        <a:lnTo>
                          <a:pt x="266" y="47"/>
                        </a:lnTo>
                        <a:lnTo>
                          <a:pt x="265" y="48"/>
                        </a:lnTo>
                        <a:lnTo>
                          <a:pt x="263" y="50"/>
                        </a:lnTo>
                        <a:lnTo>
                          <a:pt x="260" y="51"/>
                        </a:lnTo>
                        <a:lnTo>
                          <a:pt x="257" y="53"/>
                        </a:lnTo>
                        <a:lnTo>
                          <a:pt x="254" y="55"/>
                        </a:lnTo>
                        <a:lnTo>
                          <a:pt x="252" y="54"/>
                        </a:lnTo>
                        <a:lnTo>
                          <a:pt x="252" y="53"/>
                        </a:lnTo>
                        <a:lnTo>
                          <a:pt x="250" y="52"/>
                        </a:lnTo>
                        <a:lnTo>
                          <a:pt x="248" y="51"/>
                        </a:lnTo>
                        <a:lnTo>
                          <a:pt x="246" y="51"/>
                        </a:lnTo>
                        <a:lnTo>
                          <a:pt x="245" y="51"/>
                        </a:lnTo>
                        <a:lnTo>
                          <a:pt x="244" y="51"/>
                        </a:lnTo>
                        <a:lnTo>
                          <a:pt x="242" y="51"/>
                        </a:lnTo>
                        <a:lnTo>
                          <a:pt x="241" y="51"/>
                        </a:lnTo>
                        <a:lnTo>
                          <a:pt x="241" y="50"/>
                        </a:lnTo>
                        <a:lnTo>
                          <a:pt x="239" y="48"/>
                        </a:lnTo>
                        <a:lnTo>
                          <a:pt x="235" y="48"/>
                        </a:lnTo>
                        <a:lnTo>
                          <a:pt x="233" y="47"/>
                        </a:lnTo>
                        <a:lnTo>
                          <a:pt x="233" y="45"/>
                        </a:lnTo>
                        <a:lnTo>
                          <a:pt x="233" y="42"/>
                        </a:lnTo>
                        <a:lnTo>
                          <a:pt x="232" y="41"/>
                        </a:lnTo>
                        <a:lnTo>
                          <a:pt x="227" y="41"/>
                        </a:lnTo>
                        <a:lnTo>
                          <a:pt x="223" y="42"/>
                        </a:lnTo>
                        <a:lnTo>
                          <a:pt x="220" y="44"/>
                        </a:lnTo>
                        <a:lnTo>
                          <a:pt x="216" y="48"/>
                        </a:lnTo>
                        <a:lnTo>
                          <a:pt x="213" y="47"/>
                        </a:lnTo>
                        <a:lnTo>
                          <a:pt x="209" y="46"/>
                        </a:lnTo>
                        <a:lnTo>
                          <a:pt x="205" y="45"/>
                        </a:lnTo>
                        <a:lnTo>
                          <a:pt x="203" y="45"/>
                        </a:lnTo>
                        <a:lnTo>
                          <a:pt x="200" y="45"/>
                        </a:lnTo>
                        <a:lnTo>
                          <a:pt x="197" y="46"/>
                        </a:lnTo>
                        <a:lnTo>
                          <a:pt x="193" y="47"/>
                        </a:lnTo>
                        <a:lnTo>
                          <a:pt x="190" y="48"/>
                        </a:lnTo>
                        <a:lnTo>
                          <a:pt x="187" y="46"/>
                        </a:lnTo>
                        <a:lnTo>
                          <a:pt x="185" y="45"/>
                        </a:lnTo>
                        <a:lnTo>
                          <a:pt x="180" y="45"/>
                        </a:lnTo>
                        <a:lnTo>
                          <a:pt x="179" y="44"/>
                        </a:lnTo>
                        <a:lnTo>
                          <a:pt x="177" y="45"/>
                        </a:lnTo>
                        <a:lnTo>
                          <a:pt x="176" y="47"/>
                        </a:lnTo>
                        <a:lnTo>
                          <a:pt x="174" y="48"/>
                        </a:lnTo>
                        <a:lnTo>
                          <a:pt x="168" y="45"/>
                        </a:lnTo>
                        <a:lnTo>
                          <a:pt x="162" y="43"/>
                        </a:lnTo>
                        <a:lnTo>
                          <a:pt x="156" y="40"/>
                        </a:lnTo>
                        <a:lnTo>
                          <a:pt x="156" y="39"/>
                        </a:lnTo>
                        <a:lnTo>
                          <a:pt x="155" y="38"/>
                        </a:lnTo>
                        <a:lnTo>
                          <a:pt x="156" y="35"/>
                        </a:lnTo>
                        <a:lnTo>
                          <a:pt x="155" y="34"/>
                        </a:lnTo>
                        <a:lnTo>
                          <a:pt x="153" y="34"/>
                        </a:lnTo>
                        <a:lnTo>
                          <a:pt x="152" y="35"/>
                        </a:lnTo>
                        <a:lnTo>
                          <a:pt x="150" y="35"/>
                        </a:lnTo>
                        <a:lnTo>
                          <a:pt x="149" y="37"/>
                        </a:lnTo>
                        <a:lnTo>
                          <a:pt x="148" y="41"/>
                        </a:lnTo>
                        <a:lnTo>
                          <a:pt x="146" y="43"/>
                        </a:lnTo>
                        <a:lnTo>
                          <a:pt x="143" y="44"/>
                        </a:lnTo>
                        <a:lnTo>
                          <a:pt x="139" y="44"/>
                        </a:lnTo>
                        <a:lnTo>
                          <a:pt x="136" y="42"/>
                        </a:lnTo>
                        <a:lnTo>
                          <a:pt x="135" y="4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8" name="Freeform 1529">
                    <a:extLst>
                      <a:ext uri="{FF2B5EF4-FFF2-40B4-BE49-F238E27FC236}">
                        <a16:creationId xmlns:a16="http://schemas.microsoft.com/office/drawing/2014/main" xmlns="" id="{EDAA1987-C7CA-488F-9846-2D6F7AA3CEF4}"/>
                      </a:ext>
                    </a:extLst>
                  </p:cNvPr>
                  <p:cNvSpPr>
                    <a:spLocks/>
                  </p:cNvSpPr>
                  <p:nvPr/>
                </p:nvSpPr>
                <p:spPr bwMode="gray">
                  <a:xfrm>
                    <a:off x="5418760" y="3852601"/>
                    <a:ext cx="6675" cy="15574"/>
                  </a:xfrm>
                  <a:custGeom>
                    <a:avLst/>
                    <a:gdLst>
                      <a:gd name="T0" fmla="*/ 2147483647 w 6"/>
                      <a:gd name="T1" fmla="*/ 0 h 14"/>
                      <a:gd name="T2" fmla="*/ 2147483647 w 6"/>
                      <a:gd name="T3" fmla="*/ 2147483647 h 14"/>
                      <a:gd name="T4" fmla="*/ 2147483647 w 6"/>
                      <a:gd name="T5" fmla="*/ 2147483647 h 14"/>
                      <a:gd name="T6" fmla="*/ 2147483647 w 6"/>
                      <a:gd name="T7" fmla="*/ 2147483647 h 14"/>
                      <a:gd name="T8" fmla="*/ 2147483647 w 6"/>
                      <a:gd name="T9" fmla="*/ 2147483647 h 14"/>
                      <a:gd name="T10" fmla="*/ 2147483647 w 6"/>
                      <a:gd name="T11" fmla="*/ 2147483647 h 14"/>
                      <a:gd name="T12" fmla="*/ 0 w 6"/>
                      <a:gd name="T13" fmla="*/ 2147483647 h 14"/>
                      <a:gd name="T14" fmla="*/ 0 w 6"/>
                      <a:gd name="T15" fmla="*/ 2147483647 h 14"/>
                      <a:gd name="T16" fmla="*/ 2147483647 w 6"/>
                      <a:gd name="T17" fmla="*/ 2147483647 h 14"/>
                      <a:gd name="T18" fmla="*/ 2147483647 w 6"/>
                      <a:gd name="T19" fmla="*/ 2147483647 h 14"/>
                      <a:gd name="T20" fmla="*/ 2147483647 w 6"/>
                      <a:gd name="T21" fmla="*/ 2147483647 h 14"/>
                      <a:gd name="T22" fmla="*/ 2147483647 w 6"/>
                      <a:gd name="T23" fmla="*/ 2147483647 h 14"/>
                      <a:gd name="T24" fmla="*/ 2147483647 w 6"/>
                      <a:gd name="T25" fmla="*/ 2147483647 h 14"/>
                      <a:gd name="T26" fmla="*/ 2147483647 w 6"/>
                      <a:gd name="T27" fmla="*/ 2147483647 h 14"/>
                      <a:gd name="T28" fmla="*/ 2147483647 w 6"/>
                      <a:gd name="T29" fmla="*/ 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14">
                        <a:moveTo>
                          <a:pt x="3" y="0"/>
                        </a:moveTo>
                        <a:lnTo>
                          <a:pt x="5" y="2"/>
                        </a:lnTo>
                        <a:lnTo>
                          <a:pt x="6" y="4"/>
                        </a:lnTo>
                        <a:lnTo>
                          <a:pt x="6" y="8"/>
                        </a:lnTo>
                        <a:lnTo>
                          <a:pt x="4" y="11"/>
                        </a:lnTo>
                        <a:lnTo>
                          <a:pt x="3" y="14"/>
                        </a:lnTo>
                        <a:lnTo>
                          <a:pt x="0" y="14"/>
                        </a:lnTo>
                        <a:lnTo>
                          <a:pt x="0" y="12"/>
                        </a:lnTo>
                        <a:lnTo>
                          <a:pt x="2" y="10"/>
                        </a:lnTo>
                        <a:lnTo>
                          <a:pt x="3" y="8"/>
                        </a:lnTo>
                        <a:lnTo>
                          <a:pt x="3" y="6"/>
                        </a:lnTo>
                        <a:lnTo>
                          <a:pt x="3" y="4"/>
                        </a:lnTo>
                        <a:lnTo>
                          <a:pt x="3" y="3"/>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59" name="Freeform 1531">
                    <a:extLst>
                      <a:ext uri="{FF2B5EF4-FFF2-40B4-BE49-F238E27FC236}">
                        <a16:creationId xmlns:a16="http://schemas.microsoft.com/office/drawing/2014/main" xmlns="" id="{21413977-5E2B-4A61-BF61-B1FDBA014B0B}"/>
                      </a:ext>
                    </a:extLst>
                  </p:cNvPr>
                  <p:cNvSpPr>
                    <a:spLocks/>
                  </p:cNvSpPr>
                  <p:nvPr/>
                </p:nvSpPr>
                <p:spPr bwMode="gray">
                  <a:xfrm>
                    <a:off x="4608884" y="3048330"/>
                    <a:ext cx="501723" cy="471661"/>
                  </a:xfrm>
                  <a:custGeom>
                    <a:avLst/>
                    <a:gdLst>
                      <a:gd name="T0" fmla="*/ 2147483647 w 451"/>
                      <a:gd name="T1" fmla="*/ 2147483647 h 424"/>
                      <a:gd name="T2" fmla="*/ 2147483647 w 451"/>
                      <a:gd name="T3" fmla="*/ 2147483647 h 424"/>
                      <a:gd name="T4" fmla="*/ 2147483647 w 451"/>
                      <a:gd name="T5" fmla="*/ 2147483647 h 424"/>
                      <a:gd name="T6" fmla="*/ 2147483647 w 451"/>
                      <a:gd name="T7" fmla="*/ 2147483647 h 424"/>
                      <a:gd name="T8" fmla="*/ 2147483647 w 451"/>
                      <a:gd name="T9" fmla="*/ 2147483647 h 424"/>
                      <a:gd name="T10" fmla="*/ 2147483647 w 451"/>
                      <a:gd name="T11" fmla="*/ 2147483647 h 424"/>
                      <a:gd name="T12" fmla="*/ 2147483647 w 451"/>
                      <a:gd name="T13" fmla="*/ 2147483647 h 424"/>
                      <a:gd name="T14" fmla="*/ 2147483647 w 451"/>
                      <a:gd name="T15" fmla="*/ 2147483647 h 424"/>
                      <a:gd name="T16" fmla="*/ 2147483647 w 451"/>
                      <a:gd name="T17" fmla="*/ 2147483647 h 424"/>
                      <a:gd name="T18" fmla="*/ 2147483647 w 451"/>
                      <a:gd name="T19" fmla="*/ 2147483647 h 424"/>
                      <a:gd name="T20" fmla="*/ 2147483647 w 451"/>
                      <a:gd name="T21" fmla="*/ 2147483647 h 424"/>
                      <a:gd name="T22" fmla="*/ 2147483647 w 451"/>
                      <a:gd name="T23" fmla="*/ 2147483647 h 424"/>
                      <a:gd name="T24" fmla="*/ 2147483647 w 451"/>
                      <a:gd name="T25" fmla="*/ 2147483647 h 424"/>
                      <a:gd name="T26" fmla="*/ 0 w 451"/>
                      <a:gd name="T27" fmla="*/ 2147483647 h 424"/>
                      <a:gd name="T28" fmla="*/ 2147483647 w 451"/>
                      <a:gd name="T29" fmla="*/ 2147483647 h 424"/>
                      <a:gd name="T30" fmla="*/ 2147483647 w 451"/>
                      <a:gd name="T31" fmla="*/ 2147483647 h 424"/>
                      <a:gd name="T32" fmla="*/ 2147483647 w 451"/>
                      <a:gd name="T33" fmla="*/ 2147483647 h 424"/>
                      <a:gd name="T34" fmla="*/ 2147483647 w 451"/>
                      <a:gd name="T35" fmla="*/ 2147483647 h 424"/>
                      <a:gd name="T36" fmla="*/ 2147483647 w 451"/>
                      <a:gd name="T37" fmla="*/ 2147483647 h 424"/>
                      <a:gd name="T38" fmla="*/ 2147483647 w 451"/>
                      <a:gd name="T39" fmla="*/ 2147483647 h 424"/>
                      <a:gd name="T40" fmla="*/ 2147483647 w 451"/>
                      <a:gd name="T41" fmla="*/ 2147483647 h 424"/>
                      <a:gd name="T42" fmla="*/ 2147483647 w 451"/>
                      <a:gd name="T43" fmla="*/ 2147483647 h 424"/>
                      <a:gd name="T44" fmla="*/ 2147483647 w 451"/>
                      <a:gd name="T45" fmla="*/ 2147483647 h 424"/>
                      <a:gd name="T46" fmla="*/ 2147483647 w 451"/>
                      <a:gd name="T47" fmla="*/ 2147483647 h 424"/>
                      <a:gd name="T48" fmla="*/ 2147483647 w 451"/>
                      <a:gd name="T49" fmla="*/ 2147483647 h 424"/>
                      <a:gd name="T50" fmla="*/ 2147483647 w 451"/>
                      <a:gd name="T51" fmla="*/ 2147483647 h 424"/>
                      <a:gd name="T52" fmla="*/ 2147483647 w 451"/>
                      <a:gd name="T53" fmla="*/ 2147483647 h 424"/>
                      <a:gd name="T54" fmla="*/ 2147483647 w 451"/>
                      <a:gd name="T55" fmla="*/ 2147483647 h 424"/>
                      <a:gd name="T56" fmla="*/ 2147483647 w 451"/>
                      <a:gd name="T57" fmla="*/ 2147483647 h 424"/>
                      <a:gd name="T58" fmla="*/ 2147483647 w 451"/>
                      <a:gd name="T59" fmla="*/ 2147483647 h 424"/>
                      <a:gd name="T60" fmla="*/ 2147483647 w 451"/>
                      <a:gd name="T61" fmla="*/ 2147483647 h 424"/>
                      <a:gd name="T62" fmla="*/ 2147483647 w 451"/>
                      <a:gd name="T63" fmla="*/ 2147483647 h 424"/>
                      <a:gd name="T64" fmla="*/ 2147483647 w 451"/>
                      <a:gd name="T65" fmla="*/ 2147483647 h 424"/>
                      <a:gd name="T66" fmla="*/ 2147483647 w 451"/>
                      <a:gd name="T67" fmla="*/ 2147483647 h 424"/>
                      <a:gd name="T68" fmla="*/ 2147483647 w 451"/>
                      <a:gd name="T69" fmla="*/ 2147483647 h 424"/>
                      <a:gd name="T70" fmla="*/ 2147483647 w 451"/>
                      <a:gd name="T71" fmla="*/ 2147483647 h 424"/>
                      <a:gd name="T72" fmla="*/ 2147483647 w 451"/>
                      <a:gd name="T73" fmla="*/ 2147483647 h 424"/>
                      <a:gd name="T74" fmla="*/ 2147483647 w 451"/>
                      <a:gd name="T75" fmla="*/ 2147483647 h 424"/>
                      <a:gd name="T76" fmla="*/ 2147483647 w 451"/>
                      <a:gd name="T77" fmla="*/ 2147483647 h 424"/>
                      <a:gd name="T78" fmla="*/ 2147483647 w 451"/>
                      <a:gd name="T79" fmla="*/ 2147483647 h 424"/>
                      <a:gd name="T80" fmla="*/ 2147483647 w 451"/>
                      <a:gd name="T81" fmla="*/ 2147483647 h 424"/>
                      <a:gd name="T82" fmla="*/ 2147483647 w 451"/>
                      <a:gd name="T83" fmla="*/ 2147483647 h 424"/>
                      <a:gd name="T84" fmla="*/ 2147483647 w 451"/>
                      <a:gd name="T85" fmla="*/ 2147483647 h 424"/>
                      <a:gd name="T86" fmla="*/ 2147483647 w 451"/>
                      <a:gd name="T87" fmla="*/ 2147483647 h 424"/>
                      <a:gd name="T88" fmla="*/ 2147483647 w 451"/>
                      <a:gd name="T89" fmla="*/ 2147483647 h 424"/>
                      <a:gd name="T90" fmla="*/ 2147483647 w 451"/>
                      <a:gd name="T91" fmla="*/ 2147483647 h 424"/>
                      <a:gd name="T92" fmla="*/ 2147483647 w 451"/>
                      <a:gd name="T93" fmla="*/ 2147483647 h 424"/>
                      <a:gd name="T94" fmla="*/ 2147483647 w 451"/>
                      <a:gd name="T95" fmla="*/ 2147483647 h 424"/>
                      <a:gd name="T96" fmla="*/ 2147483647 w 451"/>
                      <a:gd name="T97" fmla="*/ 2147483647 h 424"/>
                      <a:gd name="T98" fmla="*/ 2147483647 w 451"/>
                      <a:gd name="T99" fmla="*/ 2147483647 h 424"/>
                      <a:gd name="T100" fmla="*/ 2147483647 w 451"/>
                      <a:gd name="T101" fmla="*/ 2147483647 h 424"/>
                      <a:gd name="T102" fmla="*/ 2147483647 w 451"/>
                      <a:gd name="T103" fmla="*/ 2147483647 h 424"/>
                      <a:gd name="T104" fmla="*/ 2147483647 w 451"/>
                      <a:gd name="T105" fmla="*/ 2147483647 h 424"/>
                      <a:gd name="T106" fmla="*/ 2147483647 w 451"/>
                      <a:gd name="T107" fmla="*/ 2147483647 h 424"/>
                      <a:gd name="T108" fmla="*/ 2147483647 w 451"/>
                      <a:gd name="T109" fmla="*/ 2147483647 h 424"/>
                      <a:gd name="T110" fmla="*/ 2147483647 w 451"/>
                      <a:gd name="T111" fmla="*/ 2147483647 h 424"/>
                      <a:gd name="T112" fmla="*/ 2147483647 w 451"/>
                      <a:gd name="T113" fmla="*/ 2147483647 h 424"/>
                      <a:gd name="T114" fmla="*/ 2147483647 w 451"/>
                      <a:gd name="T115" fmla="*/ 2147483647 h 424"/>
                      <a:gd name="T116" fmla="*/ 2147483647 w 451"/>
                      <a:gd name="T117" fmla="*/ 2147483647 h 4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51" h="424">
                        <a:moveTo>
                          <a:pt x="245" y="25"/>
                        </a:moveTo>
                        <a:lnTo>
                          <a:pt x="240" y="25"/>
                        </a:lnTo>
                        <a:lnTo>
                          <a:pt x="239" y="25"/>
                        </a:lnTo>
                        <a:lnTo>
                          <a:pt x="238" y="25"/>
                        </a:lnTo>
                        <a:lnTo>
                          <a:pt x="236" y="26"/>
                        </a:lnTo>
                        <a:lnTo>
                          <a:pt x="233" y="28"/>
                        </a:lnTo>
                        <a:lnTo>
                          <a:pt x="229" y="32"/>
                        </a:lnTo>
                        <a:lnTo>
                          <a:pt x="220" y="33"/>
                        </a:lnTo>
                        <a:lnTo>
                          <a:pt x="211" y="33"/>
                        </a:lnTo>
                        <a:lnTo>
                          <a:pt x="205" y="31"/>
                        </a:lnTo>
                        <a:lnTo>
                          <a:pt x="200" y="25"/>
                        </a:lnTo>
                        <a:lnTo>
                          <a:pt x="198" y="23"/>
                        </a:lnTo>
                        <a:lnTo>
                          <a:pt x="197" y="20"/>
                        </a:lnTo>
                        <a:lnTo>
                          <a:pt x="196" y="15"/>
                        </a:lnTo>
                        <a:lnTo>
                          <a:pt x="194" y="13"/>
                        </a:lnTo>
                        <a:lnTo>
                          <a:pt x="193" y="11"/>
                        </a:lnTo>
                        <a:lnTo>
                          <a:pt x="192" y="9"/>
                        </a:lnTo>
                        <a:lnTo>
                          <a:pt x="190" y="9"/>
                        </a:lnTo>
                        <a:lnTo>
                          <a:pt x="193" y="6"/>
                        </a:lnTo>
                        <a:lnTo>
                          <a:pt x="195" y="7"/>
                        </a:lnTo>
                        <a:lnTo>
                          <a:pt x="199" y="8"/>
                        </a:lnTo>
                        <a:lnTo>
                          <a:pt x="203" y="10"/>
                        </a:lnTo>
                        <a:lnTo>
                          <a:pt x="206" y="12"/>
                        </a:lnTo>
                        <a:lnTo>
                          <a:pt x="206" y="13"/>
                        </a:lnTo>
                        <a:lnTo>
                          <a:pt x="207" y="15"/>
                        </a:lnTo>
                        <a:lnTo>
                          <a:pt x="207" y="16"/>
                        </a:lnTo>
                        <a:lnTo>
                          <a:pt x="206" y="15"/>
                        </a:lnTo>
                        <a:lnTo>
                          <a:pt x="205" y="16"/>
                        </a:lnTo>
                        <a:lnTo>
                          <a:pt x="205" y="17"/>
                        </a:lnTo>
                        <a:lnTo>
                          <a:pt x="205" y="18"/>
                        </a:lnTo>
                        <a:lnTo>
                          <a:pt x="206" y="19"/>
                        </a:lnTo>
                        <a:lnTo>
                          <a:pt x="206" y="18"/>
                        </a:lnTo>
                        <a:lnTo>
                          <a:pt x="207" y="15"/>
                        </a:lnTo>
                        <a:lnTo>
                          <a:pt x="207" y="13"/>
                        </a:lnTo>
                        <a:lnTo>
                          <a:pt x="206" y="12"/>
                        </a:lnTo>
                        <a:lnTo>
                          <a:pt x="206" y="11"/>
                        </a:lnTo>
                        <a:lnTo>
                          <a:pt x="206" y="10"/>
                        </a:lnTo>
                        <a:lnTo>
                          <a:pt x="206" y="9"/>
                        </a:lnTo>
                        <a:lnTo>
                          <a:pt x="203" y="7"/>
                        </a:lnTo>
                        <a:lnTo>
                          <a:pt x="198" y="3"/>
                        </a:lnTo>
                        <a:lnTo>
                          <a:pt x="193" y="1"/>
                        </a:lnTo>
                        <a:lnTo>
                          <a:pt x="190" y="0"/>
                        </a:lnTo>
                        <a:lnTo>
                          <a:pt x="187" y="0"/>
                        </a:lnTo>
                        <a:lnTo>
                          <a:pt x="183" y="0"/>
                        </a:lnTo>
                        <a:lnTo>
                          <a:pt x="174" y="0"/>
                        </a:lnTo>
                        <a:lnTo>
                          <a:pt x="164" y="1"/>
                        </a:lnTo>
                        <a:lnTo>
                          <a:pt x="160" y="2"/>
                        </a:lnTo>
                        <a:lnTo>
                          <a:pt x="157" y="3"/>
                        </a:lnTo>
                        <a:lnTo>
                          <a:pt x="156" y="3"/>
                        </a:lnTo>
                        <a:lnTo>
                          <a:pt x="155" y="3"/>
                        </a:lnTo>
                        <a:lnTo>
                          <a:pt x="153" y="3"/>
                        </a:lnTo>
                        <a:lnTo>
                          <a:pt x="151" y="3"/>
                        </a:lnTo>
                        <a:lnTo>
                          <a:pt x="150" y="5"/>
                        </a:lnTo>
                        <a:lnTo>
                          <a:pt x="149" y="6"/>
                        </a:lnTo>
                        <a:lnTo>
                          <a:pt x="148" y="6"/>
                        </a:lnTo>
                        <a:lnTo>
                          <a:pt x="143" y="6"/>
                        </a:lnTo>
                        <a:lnTo>
                          <a:pt x="142" y="6"/>
                        </a:lnTo>
                        <a:lnTo>
                          <a:pt x="141" y="6"/>
                        </a:lnTo>
                        <a:lnTo>
                          <a:pt x="141" y="7"/>
                        </a:lnTo>
                        <a:lnTo>
                          <a:pt x="140" y="8"/>
                        </a:lnTo>
                        <a:lnTo>
                          <a:pt x="139" y="9"/>
                        </a:lnTo>
                        <a:lnTo>
                          <a:pt x="138" y="9"/>
                        </a:lnTo>
                        <a:lnTo>
                          <a:pt x="135" y="11"/>
                        </a:lnTo>
                        <a:lnTo>
                          <a:pt x="133" y="12"/>
                        </a:lnTo>
                        <a:lnTo>
                          <a:pt x="130" y="13"/>
                        </a:lnTo>
                        <a:lnTo>
                          <a:pt x="126" y="15"/>
                        </a:lnTo>
                        <a:lnTo>
                          <a:pt x="125" y="16"/>
                        </a:lnTo>
                        <a:lnTo>
                          <a:pt x="124" y="17"/>
                        </a:lnTo>
                        <a:lnTo>
                          <a:pt x="123" y="18"/>
                        </a:lnTo>
                        <a:lnTo>
                          <a:pt x="122" y="19"/>
                        </a:lnTo>
                        <a:lnTo>
                          <a:pt x="112" y="19"/>
                        </a:lnTo>
                        <a:lnTo>
                          <a:pt x="112" y="20"/>
                        </a:lnTo>
                        <a:lnTo>
                          <a:pt x="110" y="22"/>
                        </a:lnTo>
                        <a:lnTo>
                          <a:pt x="109" y="24"/>
                        </a:lnTo>
                        <a:lnTo>
                          <a:pt x="109" y="25"/>
                        </a:lnTo>
                        <a:lnTo>
                          <a:pt x="107" y="27"/>
                        </a:lnTo>
                        <a:lnTo>
                          <a:pt x="105" y="29"/>
                        </a:lnTo>
                        <a:lnTo>
                          <a:pt x="104" y="30"/>
                        </a:lnTo>
                        <a:lnTo>
                          <a:pt x="103" y="32"/>
                        </a:lnTo>
                        <a:lnTo>
                          <a:pt x="99" y="34"/>
                        </a:lnTo>
                        <a:lnTo>
                          <a:pt x="95" y="36"/>
                        </a:lnTo>
                        <a:lnTo>
                          <a:pt x="90" y="41"/>
                        </a:lnTo>
                        <a:lnTo>
                          <a:pt x="85" y="43"/>
                        </a:lnTo>
                        <a:lnTo>
                          <a:pt x="80" y="44"/>
                        </a:lnTo>
                        <a:lnTo>
                          <a:pt x="74" y="44"/>
                        </a:lnTo>
                        <a:lnTo>
                          <a:pt x="67" y="45"/>
                        </a:lnTo>
                        <a:lnTo>
                          <a:pt x="66" y="45"/>
                        </a:lnTo>
                        <a:lnTo>
                          <a:pt x="63" y="46"/>
                        </a:lnTo>
                        <a:lnTo>
                          <a:pt x="61" y="47"/>
                        </a:lnTo>
                        <a:lnTo>
                          <a:pt x="58" y="48"/>
                        </a:lnTo>
                        <a:lnTo>
                          <a:pt x="54" y="50"/>
                        </a:lnTo>
                        <a:lnTo>
                          <a:pt x="50" y="51"/>
                        </a:lnTo>
                        <a:lnTo>
                          <a:pt x="45" y="51"/>
                        </a:lnTo>
                        <a:lnTo>
                          <a:pt x="36" y="56"/>
                        </a:lnTo>
                        <a:lnTo>
                          <a:pt x="30" y="57"/>
                        </a:lnTo>
                        <a:lnTo>
                          <a:pt x="25" y="57"/>
                        </a:lnTo>
                        <a:lnTo>
                          <a:pt x="23" y="57"/>
                        </a:lnTo>
                        <a:lnTo>
                          <a:pt x="19" y="57"/>
                        </a:lnTo>
                        <a:lnTo>
                          <a:pt x="17" y="57"/>
                        </a:lnTo>
                        <a:lnTo>
                          <a:pt x="15" y="57"/>
                        </a:lnTo>
                        <a:lnTo>
                          <a:pt x="14" y="57"/>
                        </a:lnTo>
                        <a:lnTo>
                          <a:pt x="13" y="57"/>
                        </a:lnTo>
                        <a:lnTo>
                          <a:pt x="13" y="67"/>
                        </a:lnTo>
                        <a:lnTo>
                          <a:pt x="13" y="69"/>
                        </a:lnTo>
                        <a:lnTo>
                          <a:pt x="12" y="69"/>
                        </a:lnTo>
                        <a:lnTo>
                          <a:pt x="13" y="70"/>
                        </a:lnTo>
                        <a:lnTo>
                          <a:pt x="17" y="66"/>
                        </a:lnTo>
                        <a:lnTo>
                          <a:pt x="18" y="64"/>
                        </a:lnTo>
                        <a:lnTo>
                          <a:pt x="19" y="64"/>
                        </a:lnTo>
                        <a:lnTo>
                          <a:pt x="19" y="62"/>
                        </a:lnTo>
                        <a:lnTo>
                          <a:pt x="19" y="60"/>
                        </a:lnTo>
                        <a:lnTo>
                          <a:pt x="20" y="59"/>
                        </a:lnTo>
                        <a:lnTo>
                          <a:pt x="22" y="57"/>
                        </a:lnTo>
                        <a:lnTo>
                          <a:pt x="23" y="57"/>
                        </a:lnTo>
                        <a:lnTo>
                          <a:pt x="25" y="57"/>
                        </a:lnTo>
                        <a:lnTo>
                          <a:pt x="25" y="60"/>
                        </a:lnTo>
                        <a:lnTo>
                          <a:pt x="24" y="60"/>
                        </a:lnTo>
                        <a:lnTo>
                          <a:pt x="23" y="60"/>
                        </a:lnTo>
                        <a:lnTo>
                          <a:pt x="22" y="60"/>
                        </a:lnTo>
                        <a:lnTo>
                          <a:pt x="20" y="64"/>
                        </a:lnTo>
                        <a:lnTo>
                          <a:pt x="20" y="65"/>
                        </a:lnTo>
                        <a:lnTo>
                          <a:pt x="22" y="67"/>
                        </a:lnTo>
                        <a:lnTo>
                          <a:pt x="25" y="70"/>
                        </a:lnTo>
                        <a:lnTo>
                          <a:pt x="24" y="77"/>
                        </a:lnTo>
                        <a:lnTo>
                          <a:pt x="25" y="81"/>
                        </a:lnTo>
                        <a:lnTo>
                          <a:pt x="26" y="85"/>
                        </a:lnTo>
                        <a:lnTo>
                          <a:pt x="29" y="90"/>
                        </a:lnTo>
                        <a:lnTo>
                          <a:pt x="25" y="90"/>
                        </a:lnTo>
                        <a:lnTo>
                          <a:pt x="24" y="88"/>
                        </a:lnTo>
                        <a:lnTo>
                          <a:pt x="22" y="86"/>
                        </a:lnTo>
                        <a:lnTo>
                          <a:pt x="20" y="84"/>
                        </a:lnTo>
                        <a:lnTo>
                          <a:pt x="19" y="83"/>
                        </a:lnTo>
                        <a:lnTo>
                          <a:pt x="18" y="81"/>
                        </a:lnTo>
                        <a:lnTo>
                          <a:pt x="17" y="81"/>
                        </a:lnTo>
                        <a:lnTo>
                          <a:pt x="16" y="81"/>
                        </a:lnTo>
                        <a:lnTo>
                          <a:pt x="15" y="80"/>
                        </a:lnTo>
                        <a:lnTo>
                          <a:pt x="15" y="79"/>
                        </a:lnTo>
                        <a:lnTo>
                          <a:pt x="15" y="78"/>
                        </a:lnTo>
                        <a:lnTo>
                          <a:pt x="15" y="77"/>
                        </a:lnTo>
                        <a:lnTo>
                          <a:pt x="15" y="75"/>
                        </a:lnTo>
                        <a:lnTo>
                          <a:pt x="15" y="74"/>
                        </a:lnTo>
                        <a:lnTo>
                          <a:pt x="13" y="74"/>
                        </a:lnTo>
                        <a:lnTo>
                          <a:pt x="12" y="74"/>
                        </a:lnTo>
                        <a:lnTo>
                          <a:pt x="10" y="74"/>
                        </a:lnTo>
                        <a:lnTo>
                          <a:pt x="10" y="83"/>
                        </a:lnTo>
                        <a:lnTo>
                          <a:pt x="10" y="85"/>
                        </a:lnTo>
                        <a:lnTo>
                          <a:pt x="11" y="88"/>
                        </a:lnTo>
                        <a:lnTo>
                          <a:pt x="12" y="90"/>
                        </a:lnTo>
                        <a:lnTo>
                          <a:pt x="13" y="93"/>
                        </a:lnTo>
                        <a:lnTo>
                          <a:pt x="13" y="98"/>
                        </a:lnTo>
                        <a:lnTo>
                          <a:pt x="13" y="100"/>
                        </a:lnTo>
                        <a:lnTo>
                          <a:pt x="15" y="103"/>
                        </a:lnTo>
                        <a:lnTo>
                          <a:pt x="15" y="105"/>
                        </a:lnTo>
                        <a:lnTo>
                          <a:pt x="15" y="107"/>
                        </a:lnTo>
                        <a:lnTo>
                          <a:pt x="15" y="109"/>
                        </a:lnTo>
                        <a:lnTo>
                          <a:pt x="15" y="113"/>
                        </a:lnTo>
                        <a:lnTo>
                          <a:pt x="15" y="115"/>
                        </a:lnTo>
                        <a:lnTo>
                          <a:pt x="13" y="117"/>
                        </a:lnTo>
                        <a:lnTo>
                          <a:pt x="13" y="118"/>
                        </a:lnTo>
                        <a:lnTo>
                          <a:pt x="12" y="119"/>
                        </a:lnTo>
                        <a:lnTo>
                          <a:pt x="10" y="119"/>
                        </a:lnTo>
                        <a:lnTo>
                          <a:pt x="8" y="121"/>
                        </a:lnTo>
                        <a:lnTo>
                          <a:pt x="8" y="124"/>
                        </a:lnTo>
                        <a:lnTo>
                          <a:pt x="8" y="126"/>
                        </a:lnTo>
                        <a:lnTo>
                          <a:pt x="6" y="129"/>
                        </a:lnTo>
                        <a:lnTo>
                          <a:pt x="4" y="129"/>
                        </a:lnTo>
                        <a:lnTo>
                          <a:pt x="3" y="129"/>
                        </a:lnTo>
                        <a:lnTo>
                          <a:pt x="2" y="129"/>
                        </a:lnTo>
                        <a:lnTo>
                          <a:pt x="0" y="131"/>
                        </a:lnTo>
                        <a:lnTo>
                          <a:pt x="0" y="141"/>
                        </a:lnTo>
                        <a:lnTo>
                          <a:pt x="1" y="141"/>
                        </a:lnTo>
                        <a:lnTo>
                          <a:pt x="2" y="142"/>
                        </a:lnTo>
                        <a:lnTo>
                          <a:pt x="3" y="143"/>
                        </a:lnTo>
                        <a:lnTo>
                          <a:pt x="3" y="145"/>
                        </a:lnTo>
                        <a:lnTo>
                          <a:pt x="5" y="145"/>
                        </a:lnTo>
                        <a:lnTo>
                          <a:pt x="6" y="147"/>
                        </a:lnTo>
                        <a:lnTo>
                          <a:pt x="8" y="149"/>
                        </a:lnTo>
                        <a:lnTo>
                          <a:pt x="10" y="151"/>
                        </a:lnTo>
                        <a:lnTo>
                          <a:pt x="11" y="151"/>
                        </a:lnTo>
                        <a:lnTo>
                          <a:pt x="13" y="152"/>
                        </a:lnTo>
                        <a:lnTo>
                          <a:pt x="16" y="153"/>
                        </a:lnTo>
                        <a:lnTo>
                          <a:pt x="19" y="154"/>
                        </a:lnTo>
                        <a:lnTo>
                          <a:pt x="19" y="156"/>
                        </a:lnTo>
                        <a:lnTo>
                          <a:pt x="19" y="157"/>
                        </a:lnTo>
                        <a:lnTo>
                          <a:pt x="19" y="158"/>
                        </a:lnTo>
                        <a:lnTo>
                          <a:pt x="19" y="160"/>
                        </a:lnTo>
                        <a:lnTo>
                          <a:pt x="21" y="162"/>
                        </a:lnTo>
                        <a:lnTo>
                          <a:pt x="22" y="164"/>
                        </a:lnTo>
                        <a:lnTo>
                          <a:pt x="22" y="165"/>
                        </a:lnTo>
                        <a:lnTo>
                          <a:pt x="22" y="167"/>
                        </a:lnTo>
                        <a:lnTo>
                          <a:pt x="20" y="168"/>
                        </a:lnTo>
                        <a:lnTo>
                          <a:pt x="19" y="168"/>
                        </a:lnTo>
                        <a:lnTo>
                          <a:pt x="19" y="170"/>
                        </a:lnTo>
                        <a:lnTo>
                          <a:pt x="19" y="172"/>
                        </a:lnTo>
                        <a:lnTo>
                          <a:pt x="19" y="174"/>
                        </a:lnTo>
                        <a:lnTo>
                          <a:pt x="19" y="175"/>
                        </a:lnTo>
                        <a:lnTo>
                          <a:pt x="19" y="177"/>
                        </a:lnTo>
                        <a:lnTo>
                          <a:pt x="19" y="178"/>
                        </a:lnTo>
                        <a:lnTo>
                          <a:pt x="19" y="179"/>
                        </a:lnTo>
                        <a:lnTo>
                          <a:pt x="20" y="181"/>
                        </a:lnTo>
                        <a:lnTo>
                          <a:pt x="22" y="184"/>
                        </a:lnTo>
                        <a:lnTo>
                          <a:pt x="23" y="185"/>
                        </a:lnTo>
                        <a:lnTo>
                          <a:pt x="24" y="187"/>
                        </a:lnTo>
                        <a:lnTo>
                          <a:pt x="25" y="188"/>
                        </a:lnTo>
                        <a:lnTo>
                          <a:pt x="25" y="190"/>
                        </a:lnTo>
                        <a:lnTo>
                          <a:pt x="25" y="192"/>
                        </a:lnTo>
                        <a:lnTo>
                          <a:pt x="25" y="193"/>
                        </a:lnTo>
                        <a:lnTo>
                          <a:pt x="25" y="194"/>
                        </a:lnTo>
                        <a:lnTo>
                          <a:pt x="25" y="196"/>
                        </a:lnTo>
                        <a:lnTo>
                          <a:pt x="25" y="198"/>
                        </a:lnTo>
                        <a:lnTo>
                          <a:pt x="25" y="199"/>
                        </a:lnTo>
                        <a:lnTo>
                          <a:pt x="25" y="200"/>
                        </a:lnTo>
                        <a:lnTo>
                          <a:pt x="24" y="202"/>
                        </a:lnTo>
                        <a:lnTo>
                          <a:pt x="24" y="203"/>
                        </a:lnTo>
                        <a:lnTo>
                          <a:pt x="25" y="204"/>
                        </a:lnTo>
                        <a:lnTo>
                          <a:pt x="25" y="206"/>
                        </a:lnTo>
                        <a:lnTo>
                          <a:pt x="24" y="208"/>
                        </a:lnTo>
                        <a:lnTo>
                          <a:pt x="22" y="210"/>
                        </a:lnTo>
                        <a:lnTo>
                          <a:pt x="20" y="211"/>
                        </a:lnTo>
                        <a:lnTo>
                          <a:pt x="19" y="213"/>
                        </a:lnTo>
                        <a:lnTo>
                          <a:pt x="19" y="214"/>
                        </a:lnTo>
                        <a:lnTo>
                          <a:pt x="19" y="215"/>
                        </a:lnTo>
                        <a:lnTo>
                          <a:pt x="20" y="215"/>
                        </a:lnTo>
                        <a:lnTo>
                          <a:pt x="22" y="215"/>
                        </a:lnTo>
                        <a:lnTo>
                          <a:pt x="22" y="217"/>
                        </a:lnTo>
                        <a:lnTo>
                          <a:pt x="22" y="218"/>
                        </a:lnTo>
                        <a:lnTo>
                          <a:pt x="22" y="219"/>
                        </a:lnTo>
                        <a:lnTo>
                          <a:pt x="24" y="222"/>
                        </a:lnTo>
                        <a:lnTo>
                          <a:pt x="25" y="225"/>
                        </a:lnTo>
                        <a:lnTo>
                          <a:pt x="25" y="228"/>
                        </a:lnTo>
                        <a:lnTo>
                          <a:pt x="25" y="229"/>
                        </a:lnTo>
                        <a:lnTo>
                          <a:pt x="25" y="231"/>
                        </a:lnTo>
                        <a:lnTo>
                          <a:pt x="24" y="233"/>
                        </a:lnTo>
                        <a:lnTo>
                          <a:pt x="23" y="235"/>
                        </a:lnTo>
                        <a:lnTo>
                          <a:pt x="22" y="236"/>
                        </a:lnTo>
                        <a:lnTo>
                          <a:pt x="23" y="236"/>
                        </a:lnTo>
                        <a:lnTo>
                          <a:pt x="24" y="237"/>
                        </a:lnTo>
                        <a:lnTo>
                          <a:pt x="25" y="238"/>
                        </a:lnTo>
                        <a:lnTo>
                          <a:pt x="28" y="238"/>
                        </a:lnTo>
                        <a:lnTo>
                          <a:pt x="30" y="240"/>
                        </a:lnTo>
                        <a:lnTo>
                          <a:pt x="32" y="242"/>
                        </a:lnTo>
                        <a:lnTo>
                          <a:pt x="32" y="245"/>
                        </a:lnTo>
                        <a:lnTo>
                          <a:pt x="34" y="248"/>
                        </a:lnTo>
                        <a:lnTo>
                          <a:pt x="35" y="251"/>
                        </a:lnTo>
                        <a:lnTo>
                          <a:pt x="35" y="255"/>
                        </a:lnTo>
                        <a:lnTo>
                          <a:pt x="36" y="258"/>
                        </a:lnTo>
                        <a:lnTo>
                          <a:pt x="37" y="261"/>
                        </a:lnTo>
                        <a:lnTo>
                          <a:pt x="37" y="263"/>
                        </a:lnTo>
                        <a:lnTo>
                          <a:pt x="36" y="266"/>
                        </a:lnTo>
                        <a:lnTo>
                          <a:pt x="36" y="270"/>
                        </a:lnTo>
                        <a:lnTo>
                          <a:pt x="34" y="271"/>
                        </a:lnTo>
                        <a:lnTo>
                          <a:pt x="33" y="272"/>
                        </a:lnTo>
                        <a:lnTo>
                          <a:pt x="32" y="273"/>
                        </a:lnTo>
                        <a:lnTo>
                          <a:pt x="32" y="274"/>
                        </a:lnTo>
                        <a:lnTo>
                          <a:pt x="32" y="276"/>
                        </a:lnTo>
                        <a:lnTo>
                          <a:pt x="32" y="277"/>
                        </a:lnTo>
                        <a:lnTo>
                          <a:pt x="31" y="279"/>
                        </a:lnTo>
                        <a:lnTo>
                          <a:pt x="29" y="281"/>
                        </a:lnTo>
                        <a:lnTo>
                          <a:pt x="28" y="282"/>
                        </a:lnTo>
                        <a:lnTo>
                          <a:pt x="27" y="284"/>
                        </a:lnTo>
                        <a:lnTo>
                          <a:pt x="26" y="287"/>
                        </a:lnTo>
                        <a:lnTo>
                          <a:pt x="25" y="290"/>
                        </a:lnTo>
                        <a:lnTo>
                          <a:pt x="26" y="290"/>
                        </a:lnTo>
                        <a:lnTo>
                          <a:pt x="27" y="290"/>
                        </a:lnTo>
                        <a:lnTo>
                          <a:pt x="29" y="290"/>
                        </a:lnTo>
                        <a:lnTo>
                          <a:pt x="30" y="290"/>
                        </a:lnTo>
                        <a:lnTo>
                          <a:pt x="32" y="290"/>
                        </a:lnTo>
                        <a:lnTo>
                          <a:pt x="34" y="288"/>
                        </a:lnTo>
                        <a:lnTo>
                          <a:pt x="34" y="286"/>
                        </a:lnTo>
                        <a:lnTo>
                          <a:pt x="36" y="284"/>
                        </a:lnTo>
                        <a:lnTo>
                          <a:pt x="35" y="283"/>
                        </a:lnTo>
                        <a:lnTo>
                          <a:pt x="34" y="282"/>
                        </a:lnTo>
                        <a:lnTo>
                          <a:pt x="34" y="281"/>
                        </a:lnTo>
                        <a:lnTo>
                          <a:pt x="36" y="281"/>
                        </a:lnTo>
                        <a:lnTo>
                          <a:pt x="36" y="282"/>
                        </a:lnTo>
                        <a:lnTo>
                          <a:pt x="37" y="283"/>
                        </a:lnTo>
                        <a:lnTo>
                          <a:pt x="38" y="284"/>
                        </a:lnTo>
                        <a:lnTo>
                          <a:pt x="38" y="282"/>
                        </a:lnTo>
                        <a:lnTo>
                          <a:pt x="38" y="281"/>
                        </a:lnTo>
                        <a:lnTo>
                          <a:pt x="39" y="281"/>
                        </a:lnTo>
                        <a:lnTo>
                          <a:pt x="41" y="281"/>
                        </a:lnTo>
                        <a:lnTo>
                          <a:pt x="42" y="281"/>
                        </a:lnTo>
                        <a:lnTo>
                          <a:pt x="43" y="281"/>
                        </a:lnTo>
                        <a:lnTo>
                          <a:pt x="44" y="282"/>
                        </a:lnTo>
                        <a:lnTo>
                          <a:pt x="45" y="284"/>
                        </a:lnTo>
                        <a:lnTo>
                          <a:pt x="45" y="286"/>
                        </a:lnTo>
                        <a:lnTo>
                          <a:pt x="45" y="288"/>
                        </a:lnTo>
                        <a:lnTo>
                          <a:pt x="45" y="290"/>
                        </a:lnTo>
                        <a:lnTo>
                          <a:pt x="46" y="291"/>
                        </a:lnTo>
                        <a:lnTo>
                          <a:pt x="47" y="292"/>
                        </a:lnTo>
                        <a:lnTo>
                          <a:pt x="48" y="293"/>
                        </a:lnTo>
                        <a:lnTo>
                          <a:pt x="47" y="295"/>
                        </a:lnTo>
                        <a:lnTo>
                          <a:pt x="47" y="298"/>
                        </a:lnTo>
                        <a:lnTo>
                          <a:pt x="47" y="299"/>
                        </a:lnTo>
                        <a:lnTo>
                          <a:pt x="48" y="300"/>
                        </a:lnTo>
                        <a:lnTo>
                          <a:pt x="48" y="299"/>
                        </a:lnTo>
                        <a:lnTo>
                          <a:pt x="50" y="298"/>
                        </a:lnTo>
                        <a:lnTo>
                          <a:pt x="51" y="297"/>
                        </a:lnTo>
                        <a:lnTo>
                          <a:pt x="51" y="296"/>
                        </a:lnTo>
                        <a:lnTo>
                          <a:pt x="53" y="296"/>
                        </a:lnTo>
                        <a:lnTo>
                          <a:pt x="55" y="297"/>
                        </a:lnTo>
                        <a:lnTo>
                          <a:pt x="56" y="298"/>
                        </a:lnTo>
                        <a:lnTo>
                          <a:pt x="58" y="300"/>
                        </a:lnTo>
                        <a:lnTo>
                          <a:pt x="60" y="300"/>
                        </a:lnTo>
                        <a:lnTo>
                          <a:pt x="61" y="300"/>
                        </a:lnTo>
                        <a:lnTo>
                          <a:pt x="62" y="301"/>
                        </a:lnTo>
                        <a:lnTo>
                          <a:pt x="64" y="303"/>
                        </a:lnTo>
                        <a:lnTo>
                          <a:pt x="65" y="303"/>
                        </a:lnTo>
                        <a:lnTo>
                          <a:pt x="67" y="303"/>
                        </a:lnTo>
                        <a:lnTo>
                          <a:pt x="70" y="304"/>
                        </a:lnTo>
                        <a:lnTo>
                          <a:pt x="72" y="305"/>
                        </a:lnTo>
                        <a:lnTo>
                          <a:pt x="73" y="306"/>
                        </a:lnTo>
                        <a:lnTo>
                          <a:pt x="74" y="306"/>
                        </a:lnTo>
                        <a:lnTo>
                          <a:pt x="74" y="308"/>
                        </a:lnTo>
                        <a:lnTo>
                          <a:pt x="76" y="308"/>
                        </a:lnTo>
                        <a:lnTo>
                          <a:pt x="78" y="307"/>
                        </a:lnTo>
                        <a:lnTo>
                          <a:pt x="81" y="306"/>
                        </a:lnTo>
                        <a:lnTo>
                          <a:pt x="80" y="308"/>
                        </a:lnTo>
                        <a:lnTo>
                          <a:pt x="79" y="309"/>
                        </a:lnTo>
                        <a:lnTo>
                          <a:pt x="78" y="310"/>
                        </a:lnTo>
                        <a:lnTo>
                          <a:pt x="77" y="310"/>
                        </a:lnTo>
                        <a:lnTo>
                          <a:pt x="80" y="310"/>
                        </a:lnTo>
                        <a:lnTo>
                          <a:pt x="82" y="310"/>
                        </a:lnTo>
                        <a:lnTo>
                          <a:pt x="83" y="309"/>
                        </a:lnTo>
                        <a:lnTo>
                          <a:pt x="84" y="310"/>
                        </a:lnTo>
                        <a:lnTo>
                          <a:pt x="85" y="310"/>
                        </a:lnTo>
                        <a:lnTo>
                          <a:pt x="85" y="312"/>
                        </a:lnTo>
                        <a:lnTo>
                          <a:pt x="86" y="312"/>
                        </a:lnTo>
                        <a:lnTo>
                          <a:pt x="87" y="310"/>
                        </a:lnTo>
                        <a:lnTo>
                          <a:pt x="88" y="310"/>
                        </a:lnTo>
                        <a:lnTo>
                          <a:pt x="90" y="310"/>
                        </a:lnTo>
                        <a:lnTo>
                          <a:pt x="91" y="310"/>
                        </a:lnTo>
                        <a:lnTo>
                          <a:pt x="93" y="310"/>
                        </a:lnTo>
                        <a:lnTo>
                          <a:pt x="95" y="310"/>
                        </a:lnTo>
                        <a:lnTo>
                          <a:pt x="96" y="310"/>
                        </a:lnTo>
                        <a:lnTo>
                          <a:pt x="98" y="311"/>
                        </a:lnTo>
                        <a:lnTo>
                          <a:pt x="100" y="312"/>
                        </a:lnTo>
                        <a:lnTo>
                          <a:pt x="101" y="312"/>
                        </a:lnTo>
                        <a:lnTo>
                          <a:pt x="103" y="312"/>
                        </a:lnTo>
                        <a:lnTo>
                          <a:pt x="103" y="314"/>
                        </a:lnTo>
                        <a:lnTo>
                          <a:pt x="103" y="315"/>
                        </a:lnTo>
                        <a:lnTo>
                          <a:pt x="103" y="317"/>
                        </a:lnTo>
                        <a:lnTo>
                          <a:pt x="103" y="319"/>
                        </a:lnTo>
                        <a:lnTo>
                          <a:pt x="103" y="320"/>
                        </a:lnTo>
                        <a:lnTo>
                          <a:pt x="103" y="322"/>
                        </a:lnTo>
                        <a:lnTo>
                          <a:pt x="101" y="322"/>
                        </a:lnTo>
                        <a:lnTo>
                          <a:pt x="100" y="322"/>
                        </a:lnTo>
                        <a:lnTo>
                          <a:pt x="98" y="322"/>
                        </a:lnTo>
                        <a:lnTo>
                          <a:pt x="96" y="322"/>
                        </a:lnTo>
                        <a:lnTo>
                          <a:pt x="97" y="325"/>
                        </a:lnTo>
                        <a:lnTo>
                          <a:pt x="98" y="327"/>
                        </a:lnTo>
                        <a:lnTo>
                          <a:pt x="99" y="330"/>
                        </a:lnTo>
                        <a:lnTo>
                          <a:pt x="100" y="332"/>
                        </a:lnTo>
                        <a:lnTo>
                          <a:pt x="100" y="333"/>
                        </a:lnTo>
                        <a:lnTo>
                          <a:pt x="100" y="334"/>
                        </a:lnTo>
                        <a:lnTo>
                          <a:pt x="100" y="335"/>
                        </a:lnTo>
                        <a:lnTo>
                          <a:pt x="101" y="336"/>
                        </a:lnTo>
                        <a:lnTo>
                          <a:pt x="103" y="337"/>
                        </a:lnTo>
                        <a:lnTo>
                          <a:pt x="103" y="338"/>
                        </a:lnTo>
                        <a:lnTo>
                          <a:pt x="103" y="340"/>
                        </a:lnTo>
                        <a:lnTo>
                          <a:pt x="103" y="341"/>
                        </a:lnTo>
                        <a:lnTo>
                          <a:pt x="104" y="341"/>
                        </a:lnTo>
                        <a:lnTo>
                          <a:pt x="106" y="341"/>
                        </a:lnTo>
                        <a:lnTo>
                          <a:pt x="106" y="343"/>
                        </a:lnTo>
                        <a:lnTo>
                          <a:pt x="107" y="345"/>
                        </a:lnTo>
                        <a:lnTo>
                          <a:pt x="108" y="346"/>
                        </a:lnTo>
                        <a:lnTo>
                          <a:pt x="109" y="348"/>
                        </a:lnTo>
                        <a:lnTo>
                          <a:pt x="110" y="348"/>
                        </a:lnTo>
                        <a:lnTo>
                          <a:pt x="112" y="348"/>
                        </a:lnTo>
                        <a:lnTo>
                          <a:pt x="113" y="353"/>
                        </a:lnTo>
                        <a:lnTo>
                          <a:pt x="114" y="354"/>
                        </a:lnTo>
                        <a:lnTo>
                          <a:pt x="115" y="355"/>
                        </a:lnTo>
                        <a:lnTo>
                          <a:pt x="116" y="355"/>
                        </a:lnTo>
                        <a:lnTo>
                          <a:pt x="117" y="354"/>
                        </a:lnTo>
                        <a:lnTo>
                          <a:pt x="118" y="353"/>
                        </a:lnTo>
                        <a:lnTo>
                          <a:pt x="119" y="351"/>
                        </a:lnTo>
                        <a:lnTo>
                          <a:pt x="121" y="350"/>
                        </a:lnTo>
                        <a:lnTo>
                          <a:pt x="122" y="348"/>
                        </a:lnTo>
                        <a:lnTo>
                          <a:pt x="124" y="346"/>
                        </a:lnTo>
                        <a:lnTo>
                          <a:pt x="126" y="345"/>
                        </a:lnTo>
                        <a:lnTo>
                          <a:pt x="126" y="346"/>
                        </a:lnTo>
                        <a:lnTo>
                          <a:pt x="127" y="346"/>
                        </a:lnTo>
                        <a:lnTo>
                          <a:pt x="129" y="345"/>
                        </a:lnTo>
                        <a:lnTo>
                          <a:pt x="129" y="344"/>
                        </a:lnTo>
                        <a:lnTo>
                          <a:pt x="129" y="343"/>
                        </a:lnTo>
                        <a:lnTo>
                          <a:pt x="129" y="341"/>
                        </a:lnTo>
                        <a:lnTo>
                          <a:pt x="130" y="341"/>
                        </a:lnTo>
                        <a:lnTo>
                          <a:pt x="130" y="339"/>
                        </a:lnTo>
                        <a:lnTo>
                          <a:pt x="129" y="337"/>
                        </a:lnTo>
                        <a:lnTo>
                          <a:pt x="129" y="335"/>
                        </a:lnTo>
                        <a:lnTo>
                          <a:pt x="128" y="335"/>
                        </a:lnTo>
                        <a:lnTo>
                          <a:pt x="127" y="334"/>
                        </a:lnTo>
                        <a:lnTo>
                          <a:pt x="126" y="334"/>
                        </a:lnTo>
                        <a:lnTo>
                          <a:pt x="126" y="332"/>
                        </a:lnTo>
                        <a:lnTo>
                          <a:pt x="126" y="331"/>
                        </a:lnTo>
                        <a:lnTo>
                          <a:pt x="126" y="329"/>
                        </a:lnTo>
                        <a:lnTo>
                          <a:pt x="128" y="329"/>
                        </a:lnTo>
                        <a:lnTo>
                          <a:pt x="132" y="329"/>
                        </a:lnTo>
                        <a:lnTo>
                          <a:pt x="133" y="331"/>
                        </a:lnTo>
                        <a:lnTo>
                          <a:pt x="135" y="333"/>
                        </a:lnTo>
                        <a:lnTo>
                          <a:pt x="136" y="334"/>
                        </a:lnTo>
                        <a:lnTo>
                          <a:pt x="138" y="335"/>
                        </a:lnTo>
                        <a:lnTo>
                          <a:pt x="140" y="335"/>
                        </a:lnTo>
                        <a:lnTo>
                          <a:pt x="141" y="335"/>
                        </a:lnTo>
                        <a:lnTo>
                          <a:pt x="143" y="335"/>
                        </a:lnTo>
                        <a:lnTo>
                          <a:pt x="145" y="335"/>
                        </a:lnTo>
                        <a:lnTo>
                          <a:pt x="147" y="337"/>
                        </a:lnTo>
                        <a:lnTo>
                          <a:pt x="148" y="338"/>
                        </a:lnTo>
                        <a:lnTo>
                          <a:pt x="149" y="338"/>
                        </a:lnTo>
                        <a:lnTo>
                          <a:pt x="151" y="338"/>
                        </a:lnTo>
                        <a:lnTo>
                          <a:pt x="152" y="338"/>
                        </a:lnTo>
                        <a:lnTo>
                          <a:pt x="152" y="337"/>
                        </a:lnTo>
                        <a:lnTo>
                          <a:pt x="153" y="338"/>
                        </a:lnTo>
                        <a:lnTo>
                          <a:pt x="155" y="339"/>
                        </a:lnTo>
                        <a:lnTo>
                          <a:pt x="157" y="341"/>
                        </a:lnTo>
                        <a:lnTo>
                          <a:pt x="157" y="342"/>
                        </a:lnTo>
                        <a:lnTo>
                          <a:pt x="153" y="343"/>
                        </a:lnTo>
                        <a:lnTo>
                          <a:pt x="150" y="346"/>
                        </a:lnTo>
                        <a:lnTo>
                          <a:pt x="148" y="348"/>
                        </a:lnTo>
                        <a:lnTo>
                          <a:pt x="151" y="349"/>
                        </a:lnTo>
                        <a:lnTo>
                          <a:pt x="154" y="352"/>
                        </a:lnTo>
                        <a:lnTo>
                          <a:pt x="157" y="355"/>
                        </a:lnTo>
                        <a:lnTo>
                          <a:pt x="157" y="358"/>
                        </a:lnTo>
                        <a:lnTo>
                          <a:pt x="160" y="358"/>
                        </a:lnTo>
                        <a:lnTo>
                          <a:pt x="164" y="358"/>
                        </a:lnTo>
                        <a:lnTo>
                          <a:pt x="168" y="357"/>
                        </a:lnTo>
                        <a:lnTo>
                          <a:pt x="171" y="355"/>
                        </a:lnTo>
                        <a:lnTo>
                          <a:pt x="173" y="356"/>
                        </a:lnTo>
                        <a:lnTo>
                          <a:pt x="176" y="358"/>
                        </a:lnTo>
                        <a:lnTo>
                          <a:pt x="178" y="359"/>
                        </a:lnTo>
                        <a:lnTo>
                          <a:pt x="181" y="360"/>
                        </a:lnTo>
                        <a:lnTo>
                          <a:pt x="185" y="359"/>
                        </a:lnTo>
                        <a:lnTo>
                          <a:pt x="190" y="359"/>
                        </a:lnTo>
                        <a:lnTo>
                          <a:pt x="193" y="360"/>
                        </a:lnTo>
                        <a:lnTo>
                          <a:pt x="195" y="364"/>
                        </a:lnTo>
                        <a:lnTo>
                          <a:pt x="195" y="366"/>
                        </a:lnTo>
                        <a:lnTo>
                          <a:pt x="195" y="368"/>
                        </a:lnTo>
                        <a:lnTo>
                          <a:pt x="195" y="371"/>
                        </a:lnTo>
                        <a:lnTo>
                          <a:pt x="196" y="374"/>
                        </a:lnTo>
                        <a:lnTo>
                          <a:pt x="197" y="375"/>
                        </a:lnTo>
                        <a:lnTo>
                          <a:pt x="199" y="376"/>
                        </a:lnTo>
                        <a:lnTo>
                          <a:pt x="201" y="377"/>
                        </a:lnTo>
                        <a:lnTo>
                          <a:pt x="203" y="381"/>
                        </a:lnTo>
                        <a:lnTo>
                          <a:pt x="205" y="380"/>
                        </a:lnTo>
                        <a:lnTo>
                          <a:pt x="207" y="381"/>
                        </a:lnTo>
                        <a:lnTo>
                          <a:pt x="208" y="382"/>
                        </a:lnTo>
                        <a:lnTo>
                          <a:pt x="208" y="385"/>
                        </a:lnTo>
                        <a:lnTo>
                          <a:pt x="209" y="390"/>
                        </a:lnTo>
                        <a:lnTo>
                          <a:pt x="210" y="392"/>
                        </a:lnTo>
                        <a:lnTo>
                          <a:pt x="212" y="393"/>
                        </a:lnTo>
                        <a:lnTo>
                          <a:pt x="218" y="392"/>
                        </a:lnTo>
                        <a:lnTo>
                          <a:pt x="222" y="389"/>
                        </a:lnTo>
                        <a:lnTo>
                          <a:pt x="225" y="386"/>
                        </a:lnTo>
                        <a:lnTo>
                          <a:pt x="228" y="382"/>
                        </a:lnTo>
                        <a:lnTo>
                          <a:pt x="229" y="380"/>
                        </a:lnTo>
                        <a:lnTo>
                          <a:pt x="231" y="377"/>
                        </a:lnTo>
                        <a:lnTo>
                          <a:pt x="233" y="376"/>
                        </a:lnTo>
                        <a:lnTo>
                          <a:pt x="235" y="377"/>
                        </a:lnTo>
                        <a:lnTo>
                          <a:pt x="237" y="381"/>
                        </a:lnTo>
                        <a:lnTo>
                          <a:pt x="239" y="385"/>
                        </a:lnTo>
                        <a:lnTo>
                          <a:pt x="241" y="389"/>
                        </a:lnTo>
                        <a:lnTo>
                          <a:pt x="245" y="393"/>
                        </a:lnTo>
                        <a:lnTo>
                          <a:pt x="245" y="394"/>
                        </a:lnTo>
                        <a:lnTo>
                          <a:pt x="246" y="394"/>
                        </a:lnTo>
                        <a:lnTo>
                          <a:pt x="248" y="393"/>
                        </a:lnTo>
                        <a:lnTo>
                          <a:pt x="249" y="391"/>
                        </a:lnTo>
                        <a:lnTo>
                          <a:pt x="250" y="391"/>
                        </a:lnTo>
                        <a:lnTo>
                          <a:pt x="251" y="392"/>
                        </a:lnTo>
                        <a:lnTo>
                          <a:pt x="251" y="394"/>
                        </a:lnTo>
                        <a:lnTo>
                          <a:pt x="252" y="399"/>
                        </a:lnTo>
                        <a:lnTo>
                          <a:pt x="252" y="403"/>
                        </a:lnTo>
                        <a:lnTo>
                          <a:pt x="253" y="406"/>
                        </a:lnTo>
                        <a:lnTo>
                          <a:pt x="252" y="409"/>
                        </a:lnTo>
                        <a:lnTo>
                          <a:pt x="252" y="410"/>
                        </a:lnTo>
                        <a:lnTo>
                          <a:pt x="252" y="411"/>
                        </a:lnTo>
                        <a:lnTo>
                          <a:pt x="253" y="411"/>
                        </a:lnTo>
                        <a:lnTo>
                          <a:pt x="254" y="409"/>
                        </a:lnTo>
                        <a:lnTo>
                          <a:pt x="256" y="408"/>
                        </a:lnTo>
                        <a:lnTo>
                          <a:pt x="257" y="407"/>
                        </a:lnTo>
                        <a:lnTo>
                          <a:pt x="259" y="406"/>
                        </a:lnTo>
                        <a:lnTo>
                          <a:pt x="261" y="406"/>
                        </a:lnTo>
                        <a:lnTo>
                          <a:pt x="263" y="406"/>
                        </a:lnTo>
                        <a:lnTo>
                          <a:pt x="265" y="407"/>
                        </a:lnTo>
                        <a:lnTo>
                          <a:pt x="267" y="408"/>
                        </a:lnTo>
                        <a:lnTo>
                          <a:pt x="267" y="409"/>
                        </a:lnTo>
                        <a:lnTo>
                          <a:pt x="269" y="411"/>
                        </a:lnTo>
                        <a:lnTo>
                          <a:pt x="271" y="411"/>
                        </a:lnTo>
                        <a:lnTo>
                          <a:pt x="272" y="409"/>
                        </a:lnTo>
                        <a:lnTo>
                          <a:pt x="274" y="406"/>
                        </a:lnTo>
                        <a:lnTo>
                          <a:pt x="276" y="405"/>
                        </a:lnTo>
                        <a:lnTo>
                          <a:pt x="276" y="404"/>
                        </a:lnTo>
                        <a:lnTo>
                          <a:pt x="276" y="403"/>
                        </a:lnTo>
                        <a:lnTo>
                          <a:pt x="277" y="400"/>
                        </a:lnTo>
                        <a:lnTo>
                          <a:pt x="278" y="398"/>
                        </a:lnTo>
                        <a:lnTo>
                          <a:pt x="281" y="397"/>
                        </a:lnTo>
                        <a:lnTo>
                          <a:pt x="288" y="397"/>
                        </a:lnTo>
                        <a:lnTo>
                          <a:pt x="295" y="399"/>
                        </a:lnTo>
                        <a:lnTo>
                          <a:pt x="298" y="399"/>
                        </a:lnTo>
                        <a:lnTo>
                          <a:pt x="300" y="400"/>
                        </a:lnTo>
                        <a:lnTo>
                          <a:pt x="301" y="401"/>
                        </a:lnTo>
                        <a:lnTo>
                          <a:pt x="303" y="403"/>
                        </a:lnTo>
                        <a:lnTo>
                          <a:pt x="307" y="405"/>
                        </a:lnTo>
                        <a:lnTo>
                          <a:pt x="312" y="406"/>
                        </a:lnTo>
                        <a:lnTo>
                          <a:pt x="314" y="404"/>
                        </a:lnTo>
                        <a:lnTo>
                          <a:pt x="316" y="402"/>
                        </a:lnTo>
                        <a:lnTo>
                          <a:pt x="317" y="400"/>
                        </a:lnTo>
                        <a:lnTo>
                          <a:pt x="319" y="400"/>
                        </a:lnTo>
                        <a:lnTo>
                          <a:pt x="328" y="400"/>
                        </a:lnTo>
                        <a:lnTo>
                          <a:pt x="332" y="400"/>
                        </a:lnTo>
                        <a:lnTo>
                          <a:pt x="335" y="400"/>
                        </a:lnTo>
                        <a:lnTo>
                          <a:pt x="338" y="402"/>
                        </a:lnTo>
                        <a:lnTo>
                          <a:pt x="342" y="404"/>
                        </a:lnTo>
                        <a:lnTo>
                          <a:pt x="345" y="406"/>
                        </a:lnTo>
                        <a:lnTo>
                          <a:pt x="348" y="409"/>
                        </a:lnTo>
                        <a:lnTo>
                          <a:pt x="350" y="410"/>
                        </a:lnTo>
                        <a:lnTo>
                          <a:pt x="353" y="410"/>
                        </a:lnTo>
                        <a:lnTo>
                          <a:pt x="356" y="411"/>
                        </a:lnTo>
                        <a:lnTo>
                          <a:pt x="361" y="412"/>
                        </a:lnTo>
                        <a:lnTo>
                          <a:pt x="365" y="415"/>
                        </a:lnTo>
                        <a:lnTo>
                          <a:pt x="370" y="418"/>
                        </a:lnTo>
                        <a:lnTo>
                          <a:pt x="373" y="421"/>
                        </a:lnTo>
                        <a:lnTo>
                          <a:pt x="380" y="422"/>
                        </a:lnTo>
                        <a:lnTo>
                          <a:pt x="381" y="422"/>
                        </a:lnTo>
                        <a:lnTo>
                          <a:pt x="382" y="421"/>
                        </a:lnTo>
                        <a:lnTo>
                          <a:pt x="386" y="421"/>
                        </a:lnTo>
                        <a:lnTo>
                          <a:pt x="390" y="422"/>
                        </a:lnTo>
                        <a:lnTo>
                          <a:pt x="394" y="424"/>
                        </a:lnTo>
                        <a:lnTo>
                          <a:pt x="397" y="423"/>
                        </a:lnTo>
                        <a:lnTo>
                          <a:pt x="398" y="423"/>
                        </a:lnTo>
                        <a:lnTo>
                          <a:pt x="402" y="422"/>
                        </a:lnTo>
                        <a:lnTo>
                          <a:pt x="405" y="423"/>
                        </a:lnTo>
                        <a:lnTo>
                          <a:pt x="406" y="423"/>
                        </a:lnTo>
                        <a:lnTo>
                          <a:pt x="406" y="420"/>
                        </a:lnTo>
                        <a:lnTo>
                          <a:pt x="405" y="416"/>
                        </a:lnTo>
                        <a:lnTo>
                          <a:pt x="402" y="412"/>
                        </a:lnTo>
                        <a:lnTo>
                          <a:pt x="400" y="409"/>
                        </a:lnTo>
                        <a:lnTo>
                          <a:pt x="397" y="406"/>
                        </a:lnTo>
                        <a:lnTo>
                          <a:pt x="396" y="403"/>
                        </a:lnTo>
                        <a:lnTo>
                          <a:pt x="397" y="400"/>
                        </a:lnTo>
                        <a:lnTo>
                          <a:pt x="398" y="397"/>
                        </a:lnTo>
                        <a:lnTo>
                          <a:pt x="398" y="395"/>
                        </a:lnTo>
                        <a:lnTo>
                          <a:pt x="398" y="392"/>
                        </a:lnTo>
                        <a:lnTo>
                          <a:pt x="397" y="390"/>
                        </a:lnTo>
                        <a:lnTo>
                          <a:pt x="397" y="387"/>
                        </a:lnTo>
                        <a:lnTo>
                          <a:pt x="397" y="383"/>
                        </a:lnTo>
                        <a:lnTo>
                          <a:pt x="397" y="382"/>
                        </a:lnTo>
                        <a:lnTo>
                          <a:pt x="397" y="381"/>
                        </a:lnTo>
                        <a:lnTo>
                          <a:pt x="397" y="380"/>
                        </a:lnTo>
                        <a:lnTo>
                          <a:pt x="397" y="378"/>
                        </a:lnTo>
                        <a:lnTo>
                          <a:pt x="401" y="373"/>
                        </a:lnTo>
                        <a:lnTo>
                          <a:pt x="406" y="368"/>
                        </a:lnTo>
                        <a:lnTo>
                          <a:pt x="409" y="364"/>
                        </a:lnTo>
                        <a:lnTo>
                          <a:pt x="418" y="355"/>
                        </a:lnTo>
                        <a:lnTo>
                          <a:pt x="422" y="348"/>
                        </a:lnTo>
                        <a:lnTo>
                          <a:pt x="427" y="342"/>
                        </a:lnTo>
                        <a:lnTo>
                          <a:pt x="432" y="338"/>
                        </a:lnTo>
                        <a:lnTo>
                          <a:pt x="436" y="333"/>
                        </a:lnTo>
                        <a:lnTo>
                          <a:pt x="438" y="328"/>
                        </a:lnTo>
                        <a:lnTo>
                          <a:pt x="438" y="324"/>
                        </a:lnTo>
                        <a:lnTo>
                          <a:pt x="438" y="322"/>
                        </a:lnTo>
                        <a:lnTo>
                          <a:pt x="439" y="321"/>
                        </a:lnTo>
                        <a:lnTo>
                          <a:pt x="441" y="317"/>
                        </a:lnTo>
                        <a:lnTo>
                          <a:pt x="443" y="314"/>
                        </a:lnTo>
                        <a:lnTo>
                          <a:pt x="445" y="312"/>
                        </a:lnTo>
                        <a:lnTo>
                          <a:pt x="449" y="312"/>
                        </a:lnTo>
                        <a:lnTo>
                          <a:pt x="450" y="311"/>
                        </a:lnTo>
                        <a:lnTo>
                          <a:pt x="451" y="310"/>
                        </a:lnTo>
                        <a:lnTo>
                          <a:pt x="451" y="305"/>
                        </a:lnTo>
                        <a:lnTo>
                          <a:pt x="451" y="300"/>
                        </a:lnTo>
                        <a:lnTo>
                          <a:pt x="449" y="295"/>
                        </a:lnTo>
                        <a:lnTo>
                          <a:pt x="447" y="292"/>
                        </a:lnTo>
                        <a:lnTo>
                          <a:pt x="445" y="290"/>
                        </a:lnTo>
                        <a:lnTo>
                          <a:pt x="445" y="288"/>
                        </a:lnTo>
                        <a:lnTo>
                          <a:pt x="445" y="287"/>
                        </a:lnTo>
                        <a:lnTo>
                          <a:pt x="447" y="284"/>
                        </a:lnTo>
                        <a:lnTo>
                          <a:pt x="448" y="282"/>
                        </a:lnTo>
                        <a:lnTo>
                          <a:pt x="448" y="280"/>
                        </a:lnTo>
                        <a:lnTo>
                          <a:pt x="446" y="279"/>
                        </a:lnTo>
                        <a:lnTo>
                          <a:pt x="442" y="277"/>
                        </a:lnTo>
                        <a:lnTo>
                          <a:pt x="440" y="277"/>
                        </a:lnTo>
                        <a:lnTo>
                          <a:pt x="440" y="276"/>
                        </a:lnTo>
                        <a:lnTo>
                          <a:pt x="438" y="274"/>
                        </a:lnTo>
                        <a:lnTo>
                          <a:pt x="436" y="268"/>
                        </a:lnTo>
                        <a:lnTo>
                          <a:pt x="434" y="262"/>
                        </a:lnTo>
                        <a:lnTo>
                          <a:pt x="432" y="258"/>
                        </a:lnTo>
                        <a:lnTo>
                          <a:pt x="432" y="255"/>
                        </a:lnTo>
                        <a:lnTo>
                          <a:pt x="431" y="245"/>
                        </a:lnTo>
                        <a:lnTo>
                          <a:pt x="430" y="241"/>
                        </a:lnTo>
                        <a:lnTo>
                          <a:pt x="428" y="238"/>
                        </a:lnTo>
                        <a:lnTo>
                          <a:pt x="427" y="236"/>
                        </a:lnTo>
                        <a:lnTo>
                          <a:pt x="428" y="234"/>
                        </a:lnTo>
                        <a:lnTo>
                          <a:pt x="429" y="233"/>
                        </a:lnTo>
                        <a:lnTo>
                          <a:pt x="428" y="232"/>
                        </a:lnTo>
                        <a:lnTo>
                          <a:pt x="428" y="230"/>
                        </a:lnTo>
                        <a:lnTo>
                          <a:pt x="427" y="225"/>
                        </a:lnTo>
                        <a:lnTo>
                          <a:pt x="425" y="218"/>
                        </a:lnTo>
                        <a:lnTo>
                          <a:pt x="425" y="213"/>
                        </a:lnTo>
                        <a:lnTo>
                          <a:pt x="425" y="209"/>
                        </a:lnTo>
                        <a:lnTo>
                          <a:pt x="427" y="203"/>
                        </a:lnTo>
                        <a:lnTo>
                          <a:pt x="428" y="197"/>
                        </a:lnTo>
                        <a:lnTo>
                          <a:pt x="428" y="193"/>
                        </a:lnTo>
                        <a:lnTo>
                          <a:pt x="425" y="190"/>
                        </a:lnTo>
                        <a:lnTo>
                          <a:pt x="422" y="188"/>
                        </a:lnTo>
                        <a:lnTo>
                          <a:pt x="419" y="188"/>
                        </a:lnTo>
                        <a:lnTo>
                          <a:pt x="416" y="187"/>
                        </a:lnTo>
                        <a:lnTo>
                          <a:pt x="412" y="185"/>
                        </a:lnTo>
                        <a:lnTo>
                          <a:pt x="408" y="184"/>
                        </a:lnTo>
                        <a:lnTo>
                          <a:pt x="404" y="181"/>
                        </a:lnTo>
                        <a:lnTo>
                          <a:pt x="402" y="179"/>
                        </a:lnTo>
                        <a:lnTo>
                          <a:pt x="403" y="178"/>
                        </a:lnTo>
                        <a:lnTo>
                          <a:pt x="405" y="177"/>
                        </a:lnTo>
                        <a:lnTo>
                          <a:pt x="407" y="173"/>
                        </a:lnTo>
                        <a:lnTo>
                          <a:pt x="410" y="169"/>
                        </a:lnTo>
                        <a:lnTo>
                          <a:pt x="412" y="164"/>
                        </a:lnTo>
                        <a:lnTo>
                          <a:pt x="415" y="161"/>
                        </a:lnTo>
                        <a:lnTo>
                          <a:pt x="418" y="158"/>
                        </a:lnTo>
                        <a:lnTo>
                          <a:pt x="419" y="157"/>
                        </a:lnTo>
                        <a:lnTo>
                          <a:pt x="421" y="157"/>
                        </a:lnTo>
                        <a:lnTo>
                          <a:pt x="424" y="155"/>
                        </a:lnTo>
                        <a:lnTo>
                          <a:pt x="428" y="152"/>
                        </a:lnTo>
                        <a:lnTo>
                          <a:pt x="430" y="149"/>
                        </a:lnTo>
                        <a:lnTo>
                          <a:pt x="432" y="145"/>
                        </a:lnTo>
                        <a:lnTo>
                          <a:pt x="432" y="140"/>
                        </a:lnTo>
                        <a:lnTo>
                          <a:pt x="433" y="136"/>
                        </a:lnTo>
                        <a:lnTo>
                          <a:pt x="433" y="132"/>
                        </a:lnTo>
                        <a:lnTo>
                          <a:pt x="432" y="129"/>
                        </a:lnTo>
                        <a:lnTo>
                          <a:pt x="430" y="124"/>
                        </a:lnTo>
                        <a:lnTo>
                          <a:pt x="430" y="119"/>
                        </a:lnTo>
                        <a:lnTo>
                          <a:pt x="430" y="114"/>
                        </a:lnTo>
                        <a:lnTo>
                          <a:pt x="428" y="109"/>
                        </a:lnTo>
                        <a:lnTo>
                          <a:pt x="426" y="104"/>
                        </a:lnTo>
                        <a:lnTo>
                          <a:pt x="425" y="98"/>
                        </a:lnTo>
                        <a:lnTo>
                          <a:pt x="425" y="92"/>
                        </a:lnTo>
                        <a:lnTo>
                          <a:pt x="425" y="86"/>
                        </a:lnTo>
                        <a:lnTo>
                          <a:pt x="425" y="84"/>
                        </a:lnTo>
                        <a:lnTo>
                          <a:pt x="425" y="82"/>
                        </a:lnTo>
                        <a:lnTo>
                          <a:pt x="424" y="81"/>
                        </a:lnTo>
                        <a:lnTo>
                          <a:pt x="422" y="77"/>
                        </a:lnTo>
                        <a:lnTo>
                          <a:pt x="421" y="72"/>
                        </a:lnTo>
                        <a:lnTo>
                          <a:pt x="421" y="70"/>
                        </a:lnTo>
                        <a:lnTo>
                          <a:pt x="419" y="67"/>
                        </a:lnTo>
                        <a:lnTo>
                          <a:pt x="417" y="64"/>
                        </a:lnTo>
                        <a:lnTo>
                          <a:pt x="416" y="59"/>
                        </a:lnTo>
                        <a:lnTo>
                          <a:pt x="416" y="56"/>
                        </a:lnTo>
                        <a:lnTo>
                          <a:pt x="416" y="55"/>
                        </a:lnTo>
                        <a:lnTo>
                          <a:pt x="416" y="53"/>
                        </a:lnTo>
                        <a:lnTo>
                          <a:pt x="416" y="51"/>
                        </a:lnTo>
                        <a:lnTo>
                          <a:pt x="416" y="50"/>
                        </a:lnTo>
                        <a:lnTo>
                          <a:pt x="416" y="48"/>
                        </a:lnTo>
                        <a:lnTo>
                          <a:pt x="418" y="44"/>
                        </a:lnTo>
                        <a:lnTo>
                          <a:pt x="418" y="41"/>
                        </a:lnTo>
                        <a:lnTo>
                          <a:pt x="418" y="38"/>
                        </a:lnTo>
                        <a:lnTo>
                          <a:pt x="416" y="34"/>
                        </a:lnTo>
                        <a:lnTo>
                          <a:pt x="415" y="33"/>
                        </a:lnTo>
                        <a:lnTo>
                          <a:pt x="414" y="30"/>
                        </a:lnTo>
                        <a:lnTo>
                          <a:pt x="409" y="25"/>
                        </a:lnTo>
                        <a:lnTo>
                          <a:pt x="408" y="24"/>
                        </a:lnTo>
                        <a:lnTo>
                          <a:pt x="406" y="22"/>
                        </a:lnTo>
                        <a:lnTo>
                          <a:pt x="405" y="22"/>
                        </a:lnTo>
                        <a:lnTo>
                          <a:pt x="404" y="22"/>
                        </a:lnTo>
                        <a:lnTo>
                          <a:pt x="403" y="22"/>
                        </a:lnTo>
                        <a:lnTo>
                          <a:pt x="402" y="22"/>
                        </a:lnTo>
                        <a:lnTo>
                          <a:pt x="400" y="22"/>
                        </a:lnTo>
                        <a:lnTo>
                          <a:pt x="399" y="20"/>
                        </a:lnTo>
                        <a:lnTo>
                          <a:pt x="398" y="19"/>
                        </a:lnTo>
                        <a:lnTo>
                          <a:pt x="397" y="19"/>
                        </a:lnTo>
                        <a:lnTo>
                          <a:pt x="396" y="18"/>
                        </a:lnTo>
                        <a:lnTo>
                          <a:pt x="395" y="17"/>
                        </a:lnTo>
                        <a:lnTo>
                          <a:pt x="393" y="16"/>
                        </a:lnTo>
                        <a:lnTo>
                          <a:pt x="390" y="15"/>
                        </a:lnTo>
                        <a:lnTo>
                          <a:pt x="388" y="16"/>
                        </a:lnTo>
                        <a:lnTo>
                          <a:pt x="387" y="17"/>
                        </a:lnTo>
                        <a:lnTo>
                          <a:pt x="387" y="18"/>
                        </a:lnTo>
                        <a:lnTo>
                          <a:pt x="387" y="19"/>
                        </a:lnTo>
                        <a:lnTo>
                          <a:pt x="385" y="19"/>
                        </a:lnTo>
                        <a:lnTo>
                          <a:pt x="383" y="19"/>
                        </a:lnTo>
                        <a:lnTo>
                          <a:pt x="382" y="19"/>
                        </a:lnTo>
                        <a:lnTo>
                          <a:pt x="380" y="19"/>
                        </a:lnTo>
                        <a:lnTo>
                          <a:pt x="372" y="21"/>
                        </a:lnTo>
                        <a:lnTo>
                          <a:pt x="364" y="24"/>
                        </a:lnTo>
                        <a:lnTo>
                          <a:pt x="356" y="26"/>
                        </a:lnTo>
                        <a:lnTo>
                          <a:pt x="348" y="29"/>
                        </a:lnTo>
                        <a:lnTo>
                          <a:pt x="342" y="30"/>
                        </a:lnTo>
                        <a:lnTo>
                          <a:pt x="337" y="31"/>
                        </a:lnTo>
                        <a:lnTo>
                          <a:pt x="327" y="32"/>
                        </a:lnTo>
                        <a:lnTo>
                          <a:pt x="323" y="33"/>
                        </a:lnTo>
                        <a:lnTo>
                          <a:pt x="315" y="33"/>
                        </a:lnTo>
                        <a:lnTo>
                          <a:pt x="305" y="33"/>
                        </a:lnTo>
                        <a:lnTo>
                          <a:pt x="300" y="34"/>
                        </a:lnTo>
                        <a:lnTo>
                          <a:pt x="293" y="34"/>
                        </a:lnTo>
                        <a:lnTo>
                          <a:pt x="291" y="34"/>
                        </a:lnTo>
                        <a:lnTo>
                          <a:pt x="288" y="34"/>
                        </a:lnTo>
                        <a:lnTo>
                          <a:pt x="283" y="33"/>
                        </a:lnTo>
                        <a:lnTo>
                          <a:pt x="278" y="33"/>
                        </a:lnTo>
                        <a:lnTo>
                          <a:pt x="265" y="33"/>
                        </a:lnTo>
                        <a:lnTo>
                          <a:pt x="252" y="32"/>
                        </a:lnTo>
                        <a:lnTo>
                          <a:pt x="249" y="32"/>
                        </a:lnTo>
                        <a:lnTo>
                          <a:pt x="245" y="33"/>
                        </a:lnTo>
                        <a:lnTo>
                          <a:pt x="241" y="33"/>
                        </a:lnTo>
                        <a:lnTo>
                          <a:pt x="238" y="34"/>
                        </a:lnTo>
                        <a:lnTo>
                          <a:pt x="238" y="36"/>
                        </a:lnTo>
                        <a:lnTo>
                          <a:pt x="236" y="38"/>
                        </a:lnTo>
                        <a:lnTo>
                          <a:pt x="234" y="42"/>
                        </a:lnTo>
                        <a:lnTo>
                          <a:pt x="231" y="45"/>
                        </a:lnTo>
                        <a:lnTo>
                          <a:pt x="229" y="44"/>
                        </a:lnTo>
                        <a:lnTo>
                          <a:pt x="229" y="43"/>
                        </a:lnTo>
                        <a:lnTo>
                          <a:pt x="229" y="45"/>
                        </a:lnTo>
                        <a:lnTo>
                          <a:pt x="229" y="41"/>
                        </a:lnTo>
                        <a:lnTo>
                          <a:pt x="229" y="40"/>
                        </a:lnTo>
                        <a:lnTo>
                          <a:pt x="229" y="38"/>
                        </a:lnTo>
                        <a:lnTo>
                          <a:pt x="227" y="38"/>
                        </a:lnTo>
                        <a:lnTo>
                          <a:pt x="226" y="38"/>
                        </a:lnTo>
                        <a:lnTo>
                          <a:pt x="226" y="37"/>
                        </a:lnTo>
                        <a:lnTo>
                          <a:pt x="226" y="36"/>
                        </a:lnTo>
                        <a:lnTo>
                          <a:pt x="226" y="35"/>
                        </a:lnTo>
                        <a:lnTo>
                          <a:pt x="226" y="34"/>
                        </a:lnTo>
                        <a:lnTo>
                          <a:pt x="227" y="34"/>
                        </a:lnTo>
                        <a:lnTo>
                          <a:pt x="229" y="34"/>
                        </a:lnTo>
                        <a:lnTo>
                          <a:pt x="231" y="33"/>
                        </a:lnTo>
                        <a:lnTo>
                          <a:pt x="235" y="32"/>
                        </a:lnTo>
                        <a:lnTo>
                          <a:pt x="240" y="28"/>
                        </a:lnTo>
                        <a:lnTo>
                          <a:pt x="245" y="2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0" name="Freeform 1533">
                    <a:extLst>
                      <a:ext uri="{FF2B5EF4-FFF2-40B4-BE49-F238E27FC236}">
                        <a16:creationId xmlns:a16="http://schemas.microsoft.com/office/drawing/2014/main" xmlns="" id="{3040F42D-DDA4-411C-BDE6-91828FF7D28C}"/>
                      </a:ext>
                    </a:extLst>
                  </p:cNvPr>
                  <p:cNvSpPr>
                    <a:spLocks/>
                  </p:cNvSpPr>
                  <p:nvPr/>
                </p:nvSpPr>
                <p:spPr bwMode="gray">
                  <a:xfrm>
                    <a:off x="4270694" y="1661158"/>
                    <a:ext cx="888862" cy="1085711"/>
                  </a:xfrm>
                  <a:custGeom>
                    <a:avLst/>
                    <a:gdLst>
                      <a:gd name="T0" fmla="*/ 2147483647 w 799"/>
                      <a:gd name="T1" fmla="*/ 2147483647 h 976"/>
                      <a:gd name="T2" fmla="*/ 2147483647 w 799"/>
                      <a:gd name="T3" fmla="*/ 2147483647 h 976"/>
                      <a:gd name="T4" fmla="*/ 2147483647 w 799"/>
                      <a:gd name="T5" fmla="*/ 2147483647 h 976"/>
                      <a:gd name="T6" fmla="*/ 2147483647 w 799"/>
                      <a:gd name="T7" fmla="*/ 0 h 976"/>
                      <a:gd name="T8" fmla="*/ 2147483647 w 799"/>
                      <a:gd name="T9" fmla="*/ 2147483647 h 976"/>
                      <a:gd name="T10" fmla="*/ 2147483647 w 799"/>
                      <a:gd name="T11" fmla="*/ 2147483647 h 976"/>
                      <a:gd name="T12" fmla="*/ 2147483647 w 799"/>
                      <a:gd name="T13" fmla="*/ 2147483647 h 976"/>
                      <a:gd name="T14" fmla="*/ 2147483647 w 799"/>
                      <a:gd name="T15" fmla="*/ 2147483647 h 976"/>
                      <a:gd name="T16" fmla="*/ 2147483647 w 799"/>
                      <a:gd name="T17" fmla="*/ 2147483647 h 976"/>
                      <a:gd name="T18" fmla="*/ 2147483647 w 799"/>
                      <a:gd name="T19" fmla="*/ 2147483647 h 976"/>
                      <a:gd name="T20" fmla="*/ 2147483647 w 799"/>
                      <a:gd name="T21" fmla="*/ 2147483647 h 976"/>
                      <a:gd name="T22" fmla="*/ 2147483647 w 799"/>
                      <a:gd name="T23" fmla="*/ 2147483647 h 976"/>
                      <a:gd name="T24" fmla="*/ 2147483647 w 799"/>
                      <a:gd name="T25" fmla="*/ 2147483647 h 976"/>
                      <a:gd name="T26" fmla="*/ 2147483647 w 799"/>
                      <a:gd name="T27" fmla="*/ 2147483647 h 976"/>
                      <a:gd name="T28" fmla="*/ 2147483647 w 799"/>
                      <a:gd name="T29" fmla="*/ 2147483647 h 976"/>
                      <a:gd name="T30" fmla="*/ 2147483647 w 799"/>
                      <a:gd name="T31" fmla="*/ 2147483647 h 976"/>
                      <a:gd name="T32" fmla="*/ 2147483647 w 799"/>
                      <a:gd name="T33" fmla="*/ 2147483647 h 976"/>
                      <a:gd name="T34" fmla="*/ 2147483647 w 799"/>
                      <a:gd name="T35" fmla="*/ 2147483647 h 976"/>
                      <a:gd name="T36" fmla="*/ 2147483647 w 799"/>
                      <a:gd name="T37" fmla="*/ 2147483647 h 976"/>
                      <a:gd name="T38" fmla="*/ 2147483647 w 799"/>
                      <a:gd name="T39" fmla="*/ 2147483647 h 976"/>
                      <a:gd name="T40" fmla="*/ 2147483647 w 799"/>
                      <a:gd name="T41" fmla="*/ 2147483647 h 976"/>
                      <a:gd name="T42" fmla="*/ 2147483647 w 799"/>
                      <a:gd name="T43" fmla="*/ 2147483647 h 976"/>
                      <a:gd name="T44" fmla="*/ 2147483647 w 799"/>
                      <a:gd name="T45" fmla="*/ 2147483647 h 976"/>
                      <a:gd name="T46" fmla="*/ 2147483647 w 799"/>
                      <a:gd name="T47" fmla="*/ 2147483647 h 976"/>
                      <a:gd name="T48" fmla="*/ 2147483647 w 799"/>
                      <a:gd name="T49" fmla="*/ 2147483647 h 976"/>
                      <a:gd name="T50" fmla="*/ 2147483647 w 799"/>
                      <a:gd name="T51" fmla="*/ 2147483647 h 976"/>
                      <a:gd name="T52" fmla="*/ 2147483647 w 799"/>
                      <a:gd name="T53" fmla="*/ 2147483647 h 976"/>
                      <a:gd name="T54" fmla="*/ 2147483647 w 799"/>
                      <a:gd name="T55" fmla="*/ 2147483647 h 976"/>
                      <a:gd name="T56" fmla="*/ 2147483647 w 799"/>
                      <a:gd name="T57" fmla="*/ 2147483647 h 976"/>
                      <a:gd name="T58" fmla="*/ 2147483647 w 799"/>
                      <a:gd name="T59" fmla="*/ 2147483647 h 976"/>
                      <a:gd name="T60" fmla="*/ 2147483647 w 799"/>
                      <a:gd name="T61" fmla="*/ 2147483647 h 976"/>
                      <a:gd name="T62" fmla="*/ 2147483647 w 799"/>
                      <a:gd name="T63" fmla="*/ 2147483647 h 976"/>
                      <a:gd name="T64" fmla="*/ 2147483647 w 799"/>
                      <a:gd name="T65" fmla="*/ 2147483647 h 976"/>
                      <a:gd name="T66" fmla="*/ 2147483647 w 799"/>
                      <a:gd name="T67" fmla="*/ 2147483647 h 976"/>
                      <a:gd name="T68" fmla="*/ 2147483647 w 799"/>
                      <a:gd name="T69" fmla="*/ 2147483647 h 976"/>
                      <a:gd name="T70" fmla="*/ 2147483647 w 799"/>
                      <a:gd name="T71" fmla="*/ 2147483647 h 976"/>
                      <a:gd name="T72" fmla="*/ 2147483647 w 799"/>
                      <a:gd name="T73" fmla="*/ 2147483647 h 976"/>
                      <a:gd name="T74" fmla="*/ 2147483647 w 799"/>
                      <a:gd name="T75" fmla="*/ 2147483647 h 976"/>
                      <a:gd name="T76" fmla="*/ 2147483647 w 799"/>
                      <a:gd name="T77" fmla="*/ 2147483647 h 976"/>
                      <a:gd name="T78" fmla="*/ 2147483647 w 799"/>
                      <a:gd name="T79" fmla="*/ 2147483647 h 976"/>
                      <a:gd name="T80" fmla="*/ 2147483647 w 799"/>
                      <a:gd name="T81" fmla="*/ 2147483647 h 976"/>
                      <a:gd name="T82" fmla="*/ 2147483647 w 799"/>
                      <a:gd name="T83" fmla="*/ 2147483647 h 976"/>
                      <a:gd name="T84" fmla="*/ 2147483647 w 799"/>
                      <a:gd name="T85" fmla="*/ 2147483647 h 976"/>
                      <a:gd name="T86" fmla="*/ 2147483647 w 799"/>
                      <a:gd name="T87" fmla="*/ 2147483647 h 976"/>
                      <a:gd name="T88" fmla="*/ 2147483647 w 799"/>
                      <a:gd name="T89" fmla="*/ 2147483647 h 976"/>
                      <a:gd name="T90" fmla="*/ 2147483647 w 799"/>
                      <a:gd name="T91" fmla="*/ 2147483647 h 976"/>
                      <a:gd name="T92" fmla="*/ 2147483647 w 799"/>
                      <a:gd name="T93" fmla="*/ 2147483647 h 976"/>
                      <a:gd name="T94" fmla="*/ 2147483647 w 799"/>
                      <a:gd name="T95" fmla="*/ 2147483647 h 976"/>
                      <a:gd name="T96" fmla="*/ 2147483647 w 799"/>
                      <a:gd name="T97" fmla="*/ 2147483647 h 976"/>
                      <a:gd name="T98" fmla="*/ 2147483647 w 799"/>
                      <a:gd name="T99" fmla="*/ 2147483647 h 976"/>
                      <a:gd name="T100" fmla="*/ 2147483647 w 799"/>
                      <a:gd name="T101" fmla="*/ 2147483647 h 976"/>
                      <a:gd name="T102" fmla="*/ 2147483647 w 799"/>
                      <a:gd name="T103" fmla="*/ 2147483647 h 976"/>
                      <a:gd name="T104" fmla="*/ 2147483647 w 799"/>
                      <a:gd name="T105" fmla="*/ 2147483647 h 976"/>
                      <a:gd name="T106" fmla="*/ 2147483647 w 799"/>
                      <a:gd name="T107" fmla="*/ 2147483647 h 976"/>
                      <a:gd name="T108" fmla="*/ 2147483647 w 799"/>
                      <a:gd name="T109" fmla="*/ 2147483647 h 976"/>
                      <a:gd name="T110" fmla="*/ 2147483647 w 799"/>
                      <a:gd name="T111" fmla="*/ 2147483647 h 976"/>
                      <a:gd name="T112" fmla="*/ 2147483647 w 799"/>
                      <a:gd name="T113" fmla="*/ 2147483647 h 976"/>
                      <a:gd name="T114" fmla="*/ 2147483647 w 799"/>
                      <a:gd name="T115" fmla="*/ 2147483647 h 976"/>
                      <a:gd name="T116" fmla="*/ 2147483647 w 799"/>
                      <a:gd name="T117" fmla="*/ 2147483647 h 976"/>
                      <a:gd name="T118" fmla="*/ 2147483647 w 799"/>
                      <a:gd name="T119" fmla="*/ 2147483647 h 976"/>
                      <a:gd name="T120" fmla="*/ 2147483647 w 799"/>
                      <a:gd name="T121" fmla="*/ 2147483647 h 976"/>
                      <a:gd name="T122" fmla="*/ 2147483647 w 799"/>
                      <a:gd name="T123" fmla="*/ 2147483647 h 9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99" h="976">
                        <a:moveTo>
                          <a:pt x="794" y="90"/>
                        </a:moveTo>
                        <a:lnTo>
                          <a:pt x="785" y="90"/>
                        </a:lnTo>
                        <a:lnTo>
                          <a:pt x="785" y="89"/>
                        </a:lnTo>
                        <a:lnTo>
                          <a:pt x="784" y="88"/>
                        </a:lnTo>
                        <a:lnTo>
                          <a:pt x="783" y="87"/>
                        </a:lnTo>
                        <a:lnTo>
                          <a:pt x="782" y="86"/>
                        </a:lnTo>
                        <a:lnTo>
                          <a:pt x="780" y="87"/>
                        </a:lnTo>
                        <a:lnTo>
                          <a:pt x="777" y="88"/>
                        </a:lnTo>
                        <a:lnTo>
                          <a:pt x="776" y="89"/>
                        </a:lnTo>
                        <a:lnTo>
                          <a:pt x="775" y="90"/>
                        </a:lnTo>
                        <a:lnTo>
                          <a:pt x="770" y="89"/>
                        </a:lnTo>
                        <a:lnTo>
                          <a:pt x="768" y="88"/>
                        </a:lnTo>
                        <a:lnTo>
                          <a:pt x="765" y="86"/>
                        </a:lnTo>
                        <a:lnTo>
                          <a:pt x="763" y="86"/>
                        </a:lnTo>
                        <a:lnTo>
                          <a:pt x="761" y="84"/>
                        </a:lnTo>
                        <a:lnTo>
                          <a:pt x="756" y="79"/>
                        </a:lnTo>
                        <a:lnTo>
                          <a:pt x="754" y="79"/>
                        </a:lnTo>
                        <a:lnTo>
                          <a:pt x="751" y="78"/>
                        </a:lnTo>
                        <a:lnTo>
                          <a:pt x="749" y="78"/>
                        </a:lnTo>
                        <a:lnTo>
                          <a:pt x="746" y="77"/>
                        </a:lnTo>
                        <a:lnTo>
                          <a:pt x="747" y="77"/>
                        </a:lnTo>
                        <a:lnTo>
                          <a:pt x="748" y="75"/>
                        </a:lnTo>
                        <a:lnTo>
                          <a:pt x="749" y="74"/>
                        </a:lnTo>
                        <a:lnTo>
                          <a:pt x="750" y="74"/>
                        </a:lnTo>
                        <a:lnTo>
                          <a:pt x="753" y="75"/>
                        </a:lnTo>
                        <a:lnTo>
                          <a:pt x="755" y="77"/>
                        </a:lnTo>
                        <a:lnTo>
                          <a:pt x="756" y="77"/>
                        </a:lnTo>
                        <a:lnTo>
                          <a:pt x="762" y="76"/>
                        </a:lnTo>
                        <a:lnTo>
                          <a:pt x="768" y="73"/>
                        </a:lnTo>
                        <a:lnTo>
                          <a:pt x="772" y="69"/>
                        </a:lnTo>
                        <a:lnTo>
                          <a:pt x="775" y="64"/>
                        </a:lnTo>
                        <a:lnTo>
                          <a:pt x="777" y="61"/>
                        </a:lnTo>
                        <a:lnTo>
                          <a:pt x="779" y="59"/>
                        </a:lnTo>
                        <a:lnTo>
                          <a:pt x="780" y="56"/>
                        </a:lnTo>
                        <a:lnTo>
                          <a:pt x="782" y="54"/>
                        </a:lnTo>
                        <a:lnTo>
                          <a:pt x="783" y="53"/>
                        </a:lnTo>
                        <a:lnTo>
                          <a:pt x="784" y="52"/>
                        </a:lnTo>
                        <a:lnTo>
                          <a:pt x="788" y="51"/>
                        </a:lnTo>
                        <a:lnTo>
                          <a:pt x="788" y="47"/>
                        </a:lnTo>
                        <a:lnTo>
                          <a:pt x="788" y="45"/>
                        </a:lnTo>
                        <a:lnTo>
                          <a:pt x="788" y="41"/>
                        </a:lnTo>
                        <a:lnTo>
                          <a:pt x="779" y="41"/>
                        </a:lnTo>
                        <a:lnTo>
                          <a:pt x="778" y="36"/>
                        </a:lnTo>
                        <a:lnTo>
                          <a:pt x="777" y="34"/>
                        </a:lnTo>
                        <a:lnTo>
                          <a:pt x="775" y="31"/>
                        </a:lnTo>
                        <a:lnTo>
                          <a:pt x="773" y="32"/>
                        </a:lnTo>
                        <a:lnTo>
                          <a:pt x="771" y="32"/>
                        </a:lnTo>
                        <a:lnTo>
                          <a:pt x="769" y="33"/>
                        </a:lnTo>
                        <a:lnTo>
                          <a:pt x="769" y="31"/>
                        </a:lnTo>
                        <a:lnTo>
                          <a:pt x="768" y="31"/>
                        </a:lnTo>
                        <a:lnTo>
                          <a:pt x="767" y="31"/>
                        </a:lnTo>
                        <a:lnTo>
                          <a:pt x="766" y="31"/>
                        </a:lnTo>
                        <a:lnTo>
                          <a:pt x="765" y="31"/>
                        </a:lnTo>
                        <a:lnTo>
                          <a:pt x="765" y="30"/>
                        </a:lnTo>
                        <a:lnTo>
                          <a:pt x="764" y="30"/>
                        </a:lnTo>
                        <a:lnTo>
                          <a:pt x="762" y="31"/>
                        </a:lnTo>
                        <a:lnTo>
                          <a:pt x="762" y="29"/>
                        </a:lnTo>
                        <a:lnTo>
                          <a:pt x="761" y="28"/>
                        </a:lnTo>
                        <a:lnTo>
                          <a:pt x="761" y="27"/>
                        </a:lnTo>
                        <a:lnTo>
                          <a:pt x="761" y="26"/>
                        </a:lnTo>
                        <a:lnTo>
                          <a:pt x="759" y="25"/>
                        </a:lnTo>
                        <a:lnTo>
                          <a:pt x="759" y="26"/>
                        </a:lnTo>
                        <a:lnTo>
                          <a:pt x="758" y="27"/>
                        </a:lnTo>
                        <a:lnTo>
                          <a:pt x="757" y="28"/>
                        </a:lnTo>
                        <a:lnTo>
                          <a:pt x="756" y="29"/>
                        </a:lnTo>
                        <a:lnTo>
                          <a:pt x="756" y="27"/>
                        </a:lnTo>
                        <a:lnTo>
                          <a:pt x="756" y="25"/>
                        </a:lnTo>
                        <a:lnTo>
                          <a:pt x="756" y="24"/>
                        </a:lnTo>
                        <a:lnTo>
                          <a:pt x="756" y="22"/>
                        </a:lnTo>
                        <a:lnTo>
                          <a:pt x="754" y="23"/>
                        </a:lnTo>
                        <a:lnTo>
                          <a:pt x="753" y="23"/>
                        </a:lnTo>
                        <a:lnTo>
                          <a:pt x="753" y="22"/>
                        </a:lnTo>
                        <a:lnTo>
                          <a:pt x="750" y="23"/>
                        </a:lnTo>
                        <a:lnTo>
                          <a:pt x="748" y="25"/>
                        </a:lnTo>
                        <a:lnTo>
                          <a:pt x="747" y="28"/>
                        </a:lnTo>
                        <a:lnTo>
                          <a:pt x="746" y="29"/>
                        </a:lnTo>
                        <a:lnTo>
                          <a:pt x="745" y="24"/>
                        </a:lnTo>
                        <a:lnTo>
                          <a:pt x="744" y="21"/>
                        </a:lnTo>
                        <a:lnTo>
                          <a:pt x="742" y="18"/>
                        </a:lnTo>
                        <a:lnTo>
                          <a:pt x="738" y="16"/>
                        </a:lnTo>
                        <a:lnTo>
                          <a:pt x="734" y="12"/>
                        </a:lnTo>
                        <a:lnTo>
                          <a:pt x="723" y="22"/>
                        </a:lnTo>
                        <a:lnTo>
                          <a:pt x="723" y="29"/>
                        </a:lnTo>
                        <a:lnTo>
                          <a:pt x="723" y="34"/>
                        </a:lnTo>
                        <a:lnTo>
                          <a:pt x="723" y="41"/>
                        </a:lnTo>
                        <a:lnTo>
                          <a:pt x="723" y="48"/>
                        </a:lnTo>
                        <a:lnTo>
                          <a:pt x="722" y="48"/>
                        </a:lnTo>
                        <a:lnTo>
                          <a:pt x="721" y="48"/>
                        </a:lnTo>
                        <a:lnTo>
                          <a:pt x="720" y="48"/>
                        </a:lnTo>
                        <a:lnTo>
                          <a:pt x="720" y="47"/>
                        </a:lnTo>
                        <a:lnTo>
                          <a:pt x="718" y="46"/>
                        </a:lnTo>
                        <a:lnTo>
                          <a:pt x="717" y="45"/>
                        </a:lnTo>
                        <a:lnTo>
                          <a:pt x="716" y="45"/>
                        </a:lnTo>
                        <a:lnTo>
                          <a:pt x="715" y="45"/>
                        </a:lnTo>
                        <a:lnTo>
                          <a:pt x="713" y="45"/>
                        </a:lnTo>
                        <a:lnTo>
                          <a:pt x="713" y="40"/>
                        </a:lnTo>
                        <a:lnTo>
                          <a:pt x="713" y="38"/>
                        </a:lnTo>
                        <a:lnTo>
                          <a:pt x="714" y="36"/>
                        </a:lnTo>
                        <a:lnTo>
                          <a:pt x="715" y="34"/>
                        </a:lnTo>
                        <a:lnTo>
                          <a:pt x="716" y="33"/>
                        </a:lnTo>
                        <a:lnTo>
                          <a:pt x="717" y="31"/>
                        </a:lnTo>
                        <a:lnTo>
                          <a:pt x="716" y="30"/>
                        </a:lnTo>
                        <a:lnTo>
                          <a:pt x="715" y="30"/>
                        </a:lnTo>
                        <a:lnTo>
                          <a:pt x="714" y="31"/>
                        </a:lnTo>
                        <a:lnTo>
                          <a:pt x="713" y="31"/>
                        </a:lnTo>
                        <a:lnTo>
                          <a:pt x="713" y="29"/>
                        </a:lnTo>
                        <a:lnTo>
                          <a:pt x="712" y="27"/>
                        </a:lnTo>
                        <a:lnTo>
                          <a:pt x="711" y="25"/>
                        </a:lnTo>
                        <a:lnTo>
                          <a:pt x="711" y="24"/>
                        </a:lnTo>
                        <a:lnTo>
                          <a:pt x="713" y="22"/>
                        </a:lnTo>
                        <a:lnTo>
                          <a:pt x="714" y="22"/>
                        </a:lnTo>
                        <a:lnTo>
                          <a:pt x="715" y="22"/>
                        </a:lnTo>
                        <a:lnTo>
                          <a:pt x="717" y="22"/>
                        </a:lnTo>
                        <a:lnTo>
                          <a:pt x="716" y="22"/>
                        </a:lnTo>
                        <a:lnTo>
                          <a:pt x="715" y="20"/>
                        </a:lnTo>
                        <a:lnTo>
                          <a:pt x="715" y="19"/>
                        </a:lnTo>
                        <a:lnTo>
                          <a:pt x="717" y="19"/>
                        </a:lnTo>
                        <a:lnTo>
                          <a:pt x="717" y="18"/>
                        </a:lnTo>
                        <a:lnTo>
                          <a:pt x="717" y="17"/>
                        </a:lnTo>
                        <a:lnTo>
                          <a:pt x="717" y="12"/>
                        </a:lnTo>
                        <a:lnTo>
                          <a:pt x="717" y="11"/>
                        </a:lnTo>
                        <a:lnTo>
                          <a:pt x="717" y="10"/>
                        </a:lnTo>
                        <a:lnTo>
                          <a:pt x="717" y="9"/>
                        </a:lnTo>
                        <a:lnTo>
                          <a:pt x="716" y="9"/>
                        </a:lnTo>
                        <a:lnTo>
                          <a:pt x="715" y="9"/>
                        </a:lnTo>
                        <a:lnTo>
                          <a:pt x="711" y="9"/>
                        </a:lnTo>
                        <a:lnTo>
                          <a:pt x="711" y="7"/>
                        </a:lnTo>
                        <a:lnTo>
                          <a:pt x="711" y="6"/>
                        </a:lnTo>
                        <a:lnTo>
                          <a:pt x="711" y="5"/>
                        </a:lnTo>
                        <a:lnTo>
                          <a:pt x="710" y="3"/>
                        </a:lnTo>
                        <a:lnTo>
                          <a:pt x="708" y="3"/>
                        </a:lnTo>
                        <a:lnTo>
                          <a:pt x="706" y="3"/>
                        </a:lnTo>
                        <a:lnTo>
                          <a:pt x="704" y="3"/>
                        </a:lnTo>
                        <a:lnTo>
                          <a:pt x="703" y="3"/>
                        </a:lnTo>
                        <a:lnTo>
                          <a:pt x="701" y="3"/>
                        </a:lnTo>
                        <a:lnTo>
                          <a:pt x="701" y="2"/>
                        </a:lnTo>
                        <a:lnTo>
                          <a:pt x="701" y="1"/>
                        </a:lnTo>
                        <a:lnTo>
                          <a:pt x="701" y="0"/>
                        </a:lnTo>
                        <a:lnTo>
                          <a:pt x="698" y="0"/>
                        </a:lnTo>
                        <a:lnTo>
                          <a:pt x="696" y="0"/>
                        </a:lnTo>
                        <a:lnTo>
                          <a:pt x="693" y="2"/>
                        </a:lnTo>
                        <a:lnTo>
                          <a:pt x="692" y="5"/>
                        </a:lnTo>
                        <a:lnTo>
                          <a:pt x="691" y="9"/>
                        </a:lnTo>
                        <a:lnTo>
                          <a:pt x="688" y="9"/>
                        </a:lnTo>
                        <a:lnTo>
                          <a:pt x="687" y="10"/>
                        </a:lnTo>
                        <a:lnTo>
                          <a:pt x="687" y="13"/>
                        </a:lnTo>
                        <a:lnTo>
                          <a:pt x="685" y="19"/>
                        </a:lnTo>
                        <a:lnTo>
                          <a:pt x="688" y="19"/>
                        </a:lnTo>
                        <a:lnTo>
                          <a:pt x="689" y="20"/>
                        </a:lnTo>
                        <a:lnTo>
                          <a:pt x="692" y="22"/>
                        </a:lnTo>
                        <a:lnTo>
                          <a:pt x="694" y="22"/>
                        </a:lnTo>
                        <a:lnTo>
                          <a:pt x="694" y="24"/>
                        </a:lnTo>
                        <a:lnTo>
                          <a:pt x="694" y="25"/>
                        </a:lnTo>
                        <a:lnTo>
                          <a:pt x="693" y="25"/>
                        </a:lnTo>
                        <a:lnTo>
                          <a:pt x="691" y="25"/>
                        </a:lnTo>
                        <a:lnTo>
                          <a:pt x="691" y="27"/>
                        </a:lnTo>
                        <a:lnTo>
                          <a:pt x="691" y="28"/>
                        </a:lnTo>
                        <a:lnTo>
                          <a:pt x="691" y="29"/>
                        </a:lnTo>
                        <a:lnTo>
                          <a:pt x="692" y="30"/>
                        </a:lnTo>
                        <a:lnTo>
                          <a:pt x="691" y="31"/>
                        </a:lnTo>
                        <a:lnTo>
                          <a:pt x="688" y="31"/>
                        </a:lnTo>
                        <a:lnTo>
                          <a:pt x="688" y="34"/>
                        </a:lnTo>
                        <a:lnTo>
                          <a:pt x="687" y="34"/>
                        </a:lnTo>
                        <a:lnTo>
                          <a:pt x="687" y="35"/>
                        </a:lnTo>
                        <a:lnTo>
                          <a:pt x="687" y="37"/>
                        </a:lnTo>
                        <a:lnTo>
                          <a:pt x="687" y="40"/>
                        </a:lnTo>
                        <a:lnTo>
                          <a:pt x="687" y="47"/>
                        </a:lnTo>
                        <a:lnTo>
                          <a:pt x="686" y="49"/>
                        </a:lnTo>
                        <a:lnTo>
                          <a:pt x="685" y="51"/>
                        </a:lnTo>
                        <a:lnTo>
                          <a:pt x="683" y="52"/>
                        </a:lnTo>
                        <a:lnTo>
                          <a:pt x="682" y="53"/>
                        </a:lnTo>
                        <a:lnTo>
                          <a:pt x="682" y="54"/>
                        </a:lnTo>
                        <a:lnTo>
                          <a:pt x="680" y="54"/>
                        </a:lnTo>
                        <a:lnTo>
                          <a:pt x="679" y="55"/>
                        </a:lnTo>
                        <a:lnTo>
                          <a:pt x="678" y="56"/>
                        </a:lnTo>
                        <a:lnTo>
                          <a:pt x="678" y="57"/>
                        </a:lnTo>
                        <a:lnTo>
                          <a:pt x="678" y="54"/>
                        </a:lnTo>
                        <a:lnTo>
                          <a:pt x="677" y="52"/>
                        </a:lnTo>
                        <a:lnTo>
                          <a:pt x="677" y="49"/>
                        </a:lnTo>
                        <a:lnTo>
                          <a:pt x="678" y="48"/>
                        </a:lnTo>
                        <a:lnTo>
                          <a:pt x="677" y="44"/>
                        </a:lnTo>
                        <a:lnTo>
                          <a:pt x="676" y="42"/>
                        </a:lnTo>
                        <a:lnTo>
                          <a:pt x="675" y="41"/>
                        </a:lnTo>
                        <a:lnTo>
                          <a:pt x="672" y="41"/>
                        </a:lnTo>
                        <a:lnTo>
                          <a:pt x="674" y="35"/>
                        </a:lnTo>
                        <a:lnTo>
                          <a:pt x="674" y="31"/>
                        </a:lnTo>
                        <a:lnTo>
                          <a:pt x="674" y="28"/>
                        </a:lnTo>
                        <a:lnTo>
                          <a:pt x="672" y="22"/>
                        </a:lnTo>
                        <a:lnTo>
                          <a:pt x="673" y="23"/>
                        </a:lnTo>
                        <a:lnTo>
                          <a:pt x="673" y="22"/>
                        </a:lnTo>
                        <a:lnTo>
                          <a:pt x="672" y="20"/>
                        </a:lnTo>
                        <a:lnTo>
                          <a:pt x="672" y="19"/>
                        </a:lnTo>
                        <a:lnTo>
                          <a:pt x="671" y="19"/>
                        </a:lnTo>
                        <a:lnTo>
                          <a:pt x="670" y="19"/>
                        </a:lnTo>
                        <a:lnTo>
                          <a:pt x="669" y="19"/>
                        </a:lnTo>
                        <a:lnTo>
                          <a:pt x="668" y="19"/>
                        </a:lnTo>
                        <a:lnTo>
                          <a:pt x="668" y="21"/>
                        </a:lnTo>
                        <a:lnTo>
                          <a:pt x="667" y="23"/>
                        </a:lnTo>
                        <a:lnTo>
                          <a:pt x="665" y="25"/>
                        </a:lnTo>
                        <a:lnTo>
                          <a:pt x="663" y="27"/>
                        </a:lnTo>
                        <a:lnTo>
                          <a:pt x="661" y="30"/>
                        </a:lnTo>
                        <a:lnTo>
                          <a:pt x="660" y="33"/>
                        </a:lnTo>
                        <a:lnTo>
                          <a:pt x="659" y="34"/>
                        </a:lnTo>
                        <a:lnTo>
                          <a:pt x="660" y="38"/>
                        </a:lnTo>
                        <a:lnTo>
                          <a:pt x="660" y="41"/>
                        </a:lnTo>
                        <a:lnTo>
                          <a:pt x="661" y="45"/>
                        </a:lnTo>
                        <a:lnTo>
                          <a:pt x="659" y="48"/>
                        </a:lnTo>
                        <a:lnTo>
                          <a:pt x="659" y="49"/>
                        </a:lnTo>
                        <a:lnTo>
                          <a:pt x="658" y="51"/>
                        </a:lnTo>
                        <a:lnTo>
                          <a:pt x="656" y="54"/>
                        </a:lnTo>
                        <a:lnTo>
                          <a:pt x="654" y="58"/>
                        </a:lnTo>
                        <a:lnTo>
                          <a:pt x="652" y="62"/>
                        </a:lnTo>
                        <a:lnTo>
                          <a:pt x="651" y="67"/>
                        </a:lnTo>
                        <a:lnTo>
                          <a:pt x="649" y="74"/>
                        </a:lnTo>
                        <a:lnTo>
                          <a:pt x="647" y="76"/>
                        </a:lnTo>
                        <a:lnTo>
                          <a:pt x="646" y="78"/>
                        </a:lnTo>
                        <a:lnTo>
                          <a:pt x="646" y="79"/>
                        </a:lnTo>
                        <a:lnTo>
                          <a:pt x="646" y="81"/>
                        </a:lnTo>
                        <a:lnTo>
                          <a:pt x="646" y="83"/>
                        </a:lnTo>
                        <a:lnTo>
                          <a:pt x="646" y="84"/>
                        </a:lnTo>
                        <a:lnTo>
                          <a:pt x="646" y="86"/>
                        </a:lnTo>
                        <a:lnTo>
                          <a:pt x="644" y="85"/>
                        </a:lnTo>
                        <a:lnTo>
                          <a:pt x="643" y="85"/>
                        </a:lnTo>
                        <a:lnTo>
                          <a:pt x="642" y="86"/>
                        </a:lnTo>
                        <a:lnTo>
                          <a:pt x="642" y="82"/>
                        </a:lnTo>
                        <a:lnTo>
                          <a:pt x="642" y="78"/>
                        </a:lnTo>
                        <a:lnTo>
                          <a:pt x="642" y="74"/>
                        </a:lnTo>
                        <a:lnTo>
                          <a:pt x="642" y="72"/>
                        </a:lnTo>
                        <a:lnTo>
                          <a:pt x="642" y="70"/>
                        </a:lnTo>
                        <a:lnTo>
                          <a:pt x="642" y="69"/>
                        </a:lnTo>
                        <a:lnTo>
                          <a:pt x="642" y="67"/>
                        </a:lnTo>
                        <a:lnTo>
                          <a:pt x="643" y="67"/>
                        </a:lnTo>
                        <a:lnTo>
                          <a:pt x="644" y="65"/>
                        </a:lnTo>
                        <a:lnTo>
                          <a:pt x="645" y="64"/>
                        </a:lnTo>
                        <a:lnTo>
                          <a:pt x="646" y="64"/>
                        </a:lnTo>
                        <a:lnTo>
                          <a:pt x="646" y="54"/>
                        </a:lnTo>
                        <a:lnTo>
                          <a:pt x="645" y="54"/>
                        </a:lnTo>
                        <a:lnTo>
                          <a:pt x="644" y="54"/>
                        </a:lnTo>
                        <a:lnTo>
                          <a:pt x="642" y="54"/>
                        </a:lnTo>
                        <a:lnTo>
                          <a:pt x="642" y="51"/>
                        </a:lnTo>
                        <a:lnTo>
                          <a:pt x="647" y="45"/>
                        </a:lnTo>
                        <a:lnTo>
                          <a:pt x="650" y="39"/>
                        </a:lnTo>
                        <a:lnTo>
                          <a:pt x="653" y="33"/>
                        </a:lnTo>
                        <a:lnTo>
                          <a:pt x="656" y="25"/>
                        </a:lnTo>
                        <a:lnTo>
                          <a:pt x="651" y="25"/>
                        </a:lnTo>
                        <a:lnTo>
                          <a:pt x="648" y="25"/>
                        </a:lnTo>
                        <a:lnTo>
                          <a:pt x="642" y="25"/>
                        </a:lnTo>
                        <a:lnTo>
                          <a:pt x="641" y="28"/>
                        </a:lnTo>
                        <a:lnTo>
                          <a:pt x="641" y="30"/>
                        </a:lnTo>
                        <a:lnTo>
                          <a:pt x="640" y="31"/>
                        </a:lnTo>
                        <a:lnTo>
                          <a:pt x="639" y="30"/>
                        </a:lnTo>
                        <a:lnTo>
                          <a:pt x="637" y="29"/>
                        </a:lnTo>
                        <a:lnTo>
                          <a:pt x="637" y="27"/>
                        </a:lnTo>
                        <a:lnTo>
                          <a:pt x="637" y="25"/>
                        </a:lnTo>
                        <a:lnTo>
                          <a:pt x="637" y="24"/>
                        </a:lnTo>
                        <a:lnTo>
                          <a:pt x="637" y="22"/>
                        </a:lnTo>
                        <a:lnTo>
                          <a:pt x="636" y="22"/>
                        </a:lnTo>
                        <a:lnTo>
                          <a:pt x="635" y="22"/>
                        </a:lnTo>
                        <a:lnTo>
                          <a:pt x="634" y="22"/>
                        </a:lnTo>
                        <a:lnTo>
                          <a:pt x="633" y="22"/>
                        </a:lnTo>
                        <a:lnTo>
                          <a:pt x="633" y="24"/>
                        </a:lnTo>
                        <a:lnTo>
                          <a:pt x="633" y="25"/>
                        </a:lnTo>
                        <a:lnTo>
                          <a:pt x="631" y="25"/>
                        </a:lnTo>
                        <a:lnTo>
                          <a:pt x="630" y="25"/>
                        </a:lnTo>
                        <a:lnTo>
                          <a:pt x="629" y="25"/>
                        </a:lnTo>
                        <a:lnTo>
                          <a:pt x="628" y="25"/>
                        </a:lnTo>
                        <a:lnTo>
                          <a:pt x="623" y="25"/>
                        </a:lnTo>
                        <a:lnTo>
                          <a:pt x="623" y="30"/>
                        </a:lnTo>
                        <a:lnTo>
                          <a:pt x="623" y="31"/>
                        </a:lnTo>
                        <a:lnTo>
                          <a:pt x="623" y="32"/>
                        </a:lnTo>
                        <a:lnTo>
                          <a:pt x="622" y="32"/>
                        </a:lnTo>
                        <a:lnTo>
                          <a:pt x="622" y="33"/>
                        </a:lnTo>
                        <a:lnTo>
                          <a:pt x="623" y="31"/>
                        </a:lnTo>
                        <a:lnTo>
                          <a:pt x="620" y="31"/>
                        </a:lnTo>
                        <a:lnTo>
                          <a:pt x="620" y="32"/>
                        </a:lnTo>
                        <a:lnTo>
                          <a:pt x="619" y="33"/>
                        </a:lnTo>
                        <a:lnTo>
                          <a:pt x="618" y="34"/>
                        </a:lnTo>
                        <a:lnTo>
                          <a:pt x="617" y="34"/>
                        </a:lnTo>
                        <a:lnTo>
                          <a:pt x="618" y="36"/>
                        </a:lnTo>
                        <a:lnTo>
                          <a:pt x="618" y="38"/>
                        </a:lnTo>
                        <a:lnTo>
                          <a:pt x="617" y="39"/>
                        </a:lnTo>
                        <a:lnTo>
                          <a:pt x="617" y="41"/>
                        </a:lnTo>
                        <a:lnTo>
                          <a:pt x="619" y="43"/>
                        </a:lnTo>
                        <a:lnTo>
                          <a:pt x="622" y="44"/>
                        </a:lnTo>
                        <a:lnTo>
                          <a:pt x="627" y="45"/>
                        </a:lnTo>
                        <a:lnTo>
                          <a:pt x="627" y="47"/>
                        </a:lnTo>
                        <a:lnTo>
                          <a:pt x="627" y="48"/>
                        </a:lnTo>
                        <a:lnTo>
                          <a:pt x="627" y="49"/>
                        </a:lnTo>
                        <a:lnTo>
                          <a:pt x="627" y="51"/>
                        </a:lnTo>
                        <a:lnTo>
                          <a:pt x="625" y="49"/>
                        </a:lnTo>
                        <a:lnTo>
                          <a:pt x="623" y="48"/>
                        </a:lnTo>
                        <a:lnTo>
                          <a:pt x="622" y="48"/>
                        </a:lnTo>
                        <a:lnTo>
                          <a:pt x="620" y="48"/>
                        </a:lnTo>
                        <a:lnTo>
                          <a:pt x="617" y="52"/>
                        </a:lnTo>
                        <a:lnTo>
                          <a:pt x="617" y="54"/>
                        </a:lnTo>
                        <a:lnTo>
                          <a:pt x="616" y="58"/>
                        </a:lnTo>
                        <a:lnTo>
                          <a:pt x="617" y="64"/>
                        </a:lnTo>
                        <a:lnTo>
                          <a:pt x="612" y="64"/>
                        </a:lnTo>
                        <a:lnTo>
                          <a:pt x="608" y="65"/>
                        </a:lnTo>
                        <a:lnTo>
                          <a:pt x="606" y="68"/>
                        </a:lnTo>
                        <a:lnTo>
                          <a:pt x="604" y="74"/>
                        </a:lnTo>
                        <a:lnTo>
                          <a:pt x="603" y="74"/>
                        </a:lnTo>
                        <a:lnTo>
                          <a:pt x="602" y="75"/>
                        </a:lnTo>
                        <a:lnTo>
                          <a:pt x="601" y="77"/>
                        </a:lnTo>
                        <a:lnTo>
                          <a:pt x="601" y="78"/>
                        </a:lnTo>
                        <a:lnTo>
                          <a:pt x="601" y="79"/>
                        </a:lnTo>
                        <a:lnTo>
                          <a:pt x="601" y="81"/>
                        </a:lnTo>
                        <a:lnTo>
                          <a:pt x="601" y="83"/>
                        </a:lnTo>
                        <a:lnTo>
                          <a:pt x="600" y="83"/>
                        </a:lnTo>
                        <a:lnTo>
                          <a:pt x="599" y="84"/>
                        </a:lnTo>
                        <a:lnTo>
                          <a:pt x="598" y="86"/>
                        </a:lnTo>
                        <a:lnTo>
                          <a:pt x="597" y="86"/>
                        </a:lnTo>
                        <a:lnTo>
                          <a:pt x="598" y="87"/>
                        </a:lnTo>
                        <a:lnTo>
                          <a:pt x="599" y="88"/>
                        </a:lnTo>
                        <a:lnTo>
                          <a:pt x="600" y="89"/>
                        </a:lnTo>
                        <a:lnTo>
                          <a:pt x="601" y="90"/>
                        </a:lnTo>
                        <a:lnTo>
                          <a:pt x="599" y="92"/>
                        </a:lnTo>
                        <a:lnTo>
                          <a:pt x="598" y="95"/>
                        </a:lnTo>
                        <a:lnTo>
                          <a:pt x="597" y="100"/>
                        </a:lnTo>
                        <a:lnTo>
                          <a:pt x="595" y="100"/>
                        </a:lnTo>
                        <a:lnTo>
                          <a:pt x="594" y="100"/>
                        </a:lnTo>
                        <a:lnTo>
                          <a:pt x="594" y="95"/>
                        </a:lnTo>
                        <a:lnTo>
                          <a:pt x="594" y="93"/>
                        </a:lnTo>
                        <a:lnTo>
                          <a:pt x="590" y="88"/>
                        </a:lnTo>
                        <a:lnTo>
                          <a:pt x="587" y="87"/>
                        </a:lnTo>
                        <a:lnTo>
                          <a:pt x="585" y="86"/>
                        </a:lnTo>
                        <a:lnTo>
                          <a:pt x="587" y="86"/>
                        </a:lnTo>
                        <a:lnTo>
                          <a:pt x="592" y="86"/>
                        </a:lnTo>
                        <a:lnTo>
                          <a:pt x="592" y="85"/>
                        </a:lnTo>
                        <a:lnTo>
                          <a:pt x="592" y="83"/>
                        </a:lnTo>
                        <a:lnTo>
                          <a:pt x="592" y="81"/>
                        </a:lnTo>
                        <a:lnTo>
                          <a:pt x="592" y="79"/>
                        </a:lnTo>
                        <a:lnTo>
                          <a:pt x="597" y="79"/>
                        </a:lnTo>
                        <a:lnTo>
                          <a:pt x="598" y="77"/>
                        </a:lnTo>
                        <a:lnTo>
                          <a:pt x="601" y="72"/>
                        </a:lnTo>
                        <a:lnTo>
                          <a:pt x="603" y="67"/>
                        </a:lnTo>
                        <a:lnTo>
                          <a:pt x="604" y="64"/>
                        </a:lnTo>
                        <a:lnTo>
                          <a:pt x="607" y="60"/>
                        </a:lnTo>
                        <a:lnTo>
                          <a:pt x="609" y="59"/>
                        </a:lnTo>
                        <a:lnTo>
                          <a:pt x="612" y="57"/>
                        </a:lnTo>
                        <a:lnTo>
                          <a:pt x="614" y="54"/>
                        </a:lnTo>
                        <a:lnTo>
                          <a:pt x="614" y="52"/>
                        </a:lnTo>
                        <a:lnTo>
                          <a:pt x="612" y="48"/>
                        </a:lnTo>
                        <a:lnTo>
                          <a:pt x="611" y="46"/>
                        </a:lnTo>
                        <a:lnTo>
                          <a:pt x="611" y="45"/>
                        </a:lnTo>
                        <a:lnTo>
                          <a:pt x="611" y="43"/>
                        </a:lnTo>
                        <a:lnTo>
                          <a:pt x="611" y="41"/>
                        </a:lnTo>
                        <a:lnTo>
                          <a:pt x="609" y="43"/>
                        </a:lnTo>
                        <a:lnTo>
                          <a:pt x="607" y="44"/>
                        </a:lnTo>
                        <a:lnTo>
                          <a:pt x="606" y="44"/>
                        </a:lnTo>
                        <a:lnTo>
                          <a:pt x="604" y="45"/>
                        </a:lnTo>
                        <a:lnTo>
                          <a:pt x="604" y="48"/>
                        </a:lnTo>
                        <a:lnTo>
                          <a:pt x="604" y="51"/>
                        </a:lnTo>
                        <a:lnTo>
                          <a:pt x="604" y="53"/>
                        </a:lnTo>
                        <a:lnTo>
                          <a:pt x="604" y="54"/>
                        </a:lnTo>
                        <a:lnTo>
                          <a:pt x="601" y="54"/>
                        </a:lnTo>
                        <a:lnTo>
                          <a:pt x="592" y="64"/>
                        </a:lnTo>
                        <a:lnTo>
                          <a:pt x="591" y="64"/>
                        </a:lnTo>
                        <a:lnTo>
                          <a:pt x="590" y="65"/>
                        </a:lnTo>
                        <a:lnTo>
                          <a:pt x="589" y="67"/>
                        </a:lnTo>
                        <a:lnTo>
                          <a:pt x="588" y="67"/>
                        </a:lnTo>
                        <a:lnTo>
                          <a:pt x="588" y="69"/>
                        </a:lnTo>
                        <a:lnTo>
                          <a:pt x="588" y="70"/>
                        </a:lnTo>
                        <a:lnTo>
                          <a:pt x="588" y="72"/>
                        </a:lnTo>
                        <a:lnTo>
                          <a:pt x="588" y="74"/>
                        </a:lnTo>
                        <a:lnTo>
                          <a:pt x="589" y="74"/>
                        </a:lnTo>
                        <a:lnTo>
                          <a:pt x="590" y="75"/>
                        </a:lnTo>
                        <a:lnTo>
                          <a:pt x="591" y="77"/>
                        </a:lnTo>
                        <a:lnTo>
                          <a:pt x="592" y="77"/>
                        </a:lnTo>
                        <a:lnTo>
                          <a:pt x="587" y="77"/>
                        </a:lnTo>
                        <a:lnTo>
                          <a:pt x="584" y="77"/>
                        </a:lnTo>
                        <a:lnTo>
                          <a:pt x="578" y="77"/>
                        </a:lnTo>
                        <a:lnTo>
                          <a:pt x="576" y="80"/>
                        </a:lnTo>
                        <a:lnTo>
                          <a:pt x="575" y="82"/>
                        </a:lnTo>
                        <a:lnTo>
                          <a:pt x="576" y="83"/>
                        </a:lnTo>
                        <a:lnTo>
                          <a:pt x="578" y="84"/>
                        </a:lnTo>
                        <a:lnTo>
                          <a:pt x="580" y="85"/>
                        </a:lnTo>
                        <a:lnTo>
                          <a:pt x="585" y="86"/>
                        </a:lnTo>
                        <a:lnTo>
                          <a:pt x="582" y="87"/>
                        </a:lnTo>
                        <a:lnTo>
                          <a:pt x="579" y="87"/>
                        </a:lnTo>
                        <a:lnTo>
                          <a:pt x="576" y="88"/>
                        </a:lnTo>
                        <a:lnTo>
                          <a:pt x="571" y="86"/>
                        </a:lnTo>
                        <a:lnTo>
                          <a:pt x="570" y="85"/>
                        </a:lnTo>
                        <a:lnTo>
                          <a:pt x="569" y="81"/>
                        </a:lnTo>
                        <a:lnTo>
                          <a:pt x="565" y="78"/>
                        </a:lnTo>
                        <a:lnTo>
                          <a:pt x="562" y="77"/>
                        </a:lnTo>
                        <a:lnTo>
                          <a:pt x="562" y="79"/>
                        </a:lnTo>
                        <a:lnTo>
                          <a:pt x="560" y="79"/>
                        </a:lnTo>
                        <a:lnTo>
                          <a:pt x="559" y="79"/>
                        </a:lnTo>
                        <a:lnTo>
                          <a:pt x="558" y="79"/>
                        </a:lnTo>
                        <a:lnTo>
                          <a:pt x="556" y="79"/>
                        </a:lnTo>
                        <a:lnTo>
                          <a:pt x="556" y="80"/>
                        </a:lnTo>
                        <a:lnTo>
                          <a:pt x="556" y="82"/>
                        </a:lnTo>
                        <a:lnTo>
                          <a:pt x="556" y="86"/>
                        </a:lnTo>
                        <a:lnTo>
                          <a:pt x="555" y="86"/>
                        </a:lnTo>
                        <a:lnTo>
                          <a:pt x="553" y="86"/>
                        </a:lnTo>
                        <a:lnTo>
                          <a:pt x="549" y="86"/>
                        </a:lnTo>
                        <a:lnTo>
                          <a:pt x="549" y="91"/>
                        </a:lnTo>
                        <a:lnTo>
                          <a:pt x="550" y="94"/>
                        </a:lnTo>
                        <a:lnTo>
                          <a:pt x="552" y="96"/>
                        </a:lnTo>
                        <a:lnTo>
                          <a:pt x="553" y="96"/>
                        </a:lnTo>
                        <a:lnTo>
                          <a:pt x="554" y="97"/>
                        </a:lnTo>
                        <a:lnTo>
                          <a:pt x="556" y="98"/>
                        </a:lnTo>
                        <a:lnTo>
                          <a:pt x="559" y="100"/>
                        </a:lnTo>
                        <a:lnTo>
                          <a:pt x="562" y="102"/>
                        </a:lnTo>
                        <a:lnTo>
                          <a:pt x="563" y="102"/>
                        </a:lnTo>
                        <a:lnTo>
                          <a:pt x="564" y="102"/>
                        </a:lnTo>
                        <a:lnTo>
                          <a:pt x="569" y="102"/>
                        </a:lnTo>
                        <a:lnTo>
                          <a:pt x="569" y="103"/>
                        </a:lnTo>
                        <a:lnTo>
                          <a:pt x="569" y="106"/>
                        </a:lnTo>
                        <a:lnTo>
                          <a:pt x="568" y="109"/>
                        </a:lnTo>
                        <a:lnTo>
                          <a:pt x="566" y="112"/>
                        </a:lnTo>
                        <a:lnTo>
                          <a:pt x="565" y="112"/>
                        </a:lnTo>
                        <a:lnTo>
                          <a:pt x="564" y="112"/>
                        </a:lnTo>
                        <a:lnTo>
                          <a:pt x="563" y="112"/>
                        </a:lnTo>
                        <a:lnTo>
                          <a:pt x="562" y="112"/>
                        </a:lnTo>
                        <a:lnTo>
                          <a:pt x="561" y="112"/>
                        </a:lnTo>
                        <a:lnTo>
                          <a:pt x="561" y="113"/>
                        </a:lnTo>
                        <a:lnTo>
                          <a:pt x="560" y="113"/>
                        </a:lnTo>
                        <a:lnTo>
                          <a:pt x="559" y="112"/>
                        </a:lnTo>
                        <a:lnTo>
                          <a:pt x="559" y="111"/>
                        </a:lnTo>
                        <a:lnTo>
                          <a:pt x="559" y="110"/>
                        </a:lnTo>
                        <a:lnTo>
                          <a:pt x="559" y="105"/>
                        </a:lnTo>
                        <a:lnTo>
                          <a:pt x="558" y="105"/>
                        </a:lnTo>
                        <a:lnTo>
                          <a:pt x="557" y="104"/>
                        </a:lnTo>
                        <a:lnTo>
                          <a:pt x="556" y="102"/>
                        </a:lnTo>
                        <a:lnTo>
                          <a:pt x="551" y="102"/>
                        </a:lnTo>
                        <a:lnTo>
                          <a:pt x="549" y="102"/>
                        </a:lnTo>
                        <a:lnTo>
                          <a:pt x="549" y="104"/>
                        </a:lnTo>
                        <a:lnTo>
                          <a:pt x="549" y="109"/>
                        </a:lnTo>
                        <a:lnTo>
                          <a:pt x="550" y="109"/>
                        </a:lnTo>
                        <a:lnTo>
                          <a:pt x="552" y="110"/>
                        </a:lnTo>
                        <a:lnTo>
                          <a:pt x="552" y="112"/>
                        </a:lnTo>
                        <a:lnTo>
                          <a:pt x="552" y="113"/>
                        </a:lnTo>
                        <a:lnTo>
                          <a:pt x="552" y="114"/>
                        </a:lnTo>
                        <a:lnTo>
                          <a:pt x="552" y="119"/>
                        </a:lnTo>
                        <a:lnTo>
                          <a:pt x="550" y="119"/>
                        </a:lnTo>
                        <a:lnTo>
                          <a:pt x="549" y="119"/>
                        </a:lnTo>
                        <a:lnTo>
                          <a:pt x="547" y="120"/>
                        </a:lnTo>
                        <a:lnTo>
                          <a:pt x="545" y="122"/>
                        </a:lnTo>
                        <a:lnTo>
                          <a:pt x="545" y="120"/>
                        </a:lnTo>
                        <a:lnTo>
                          <a:pt x="544" y="119"/>
                        </a:lnTo>
                        <a:lnTo>
                          <a:pt x="543" y="119"/>
                        </a:lnTo>
                        <a:lnTo>
                          <a:pt x="543" y="118"/>
                        </a:lnTo>
                        <a:lnTo>
                          <a:pt x="544" y="117"/>
                        </a:lnTo>
                        <a:lnTo>
                          <a:pt x="545" y="112"/>
                        </a:lnTo>
                        <a:lnTo>
                          <a:pt x="545" y="107"/>
                        </a:lnTo>
                        <a:lnTo>
                          <a:pt x="545" y="106"/>
                        </a:lnTo>
                        <a:lnTo>
                          <a:pt x="545" y="105"/>
                        </a:lnTo>
                        <a:lnTo>
                          <a:pt x="545" y="103"/>
                        </a:lnTo>
                        <a:lnTo>
                          <a:pt x="545" y="102"/>
                        </a:lnTo>
                        <a:lnTo>
                          <a:pt x="544" y="100"/>
                        </a:lnTo>
                        <a:lnTo>
                          <a:pt x="543" y="100"/>
                        </a:lnTo>
                        <a:lnTo>
                          <a:pt x="541" y="97"/>
                        </a:lnTo>
                        <a:lnTo>
                          <a:pt x="540" y="95"/>
                        </a:lnTo>
                        <a:lnTo>
                          <a:pt x="538" y="92"/>
                        </a:lnTo>
                        <a:lnTo>
                          <a:pt x="536" y="90"/>
                        </a:lnTo>
                        <a:lnTo>
                          <a:pt x="535" y="90"/>
                        </a:lnTo>
                        <a:lnTo>
                          <a:pt x="533" y="90"/>
                        </a:lnTo>
                        <a:lnTo>
                          <a:pt x="532" y="90"/>
                        </a:lnTo>
                        <a:lnTo>
                          <a:pt x="531" y="92"/>
                        </a:lnTo>
                        <a:lnTo>
                          <a:pt x="530" y="94"/>
                        </a:lnTo>
                        <a:lnTo>
                          <a:pt x="530" y="96"/>
                        </a:lnTo>
                        <a:lnTo>
                          <a:pt x="530" y="97"/>
                        </a:lnTo>
                        <a:lnTo>
                          <a:pt x="530" y="98"/>
                        </a:lnTo>
                        <a:lnTo>
                          <a:pt x="530" y="96"/>
                        </a:lnTo>
                        <a:lnTo>
                          <a:pt x="532" y="98"/>
                        </a:lnTo>
                        <a:lnTo>
                          <a:pt x="533" y="100"/>
                        </a:lnTo>
                        <a:lnTo>
                          <a:pt x="533" y="101"/>
                        </a:lnTo>
                        <a:lnTo>
                          <a:pt x="533" y="102"/>
                        </a:lnTo>
                        <a:lnTo>
                          <a:pt x="538" y="102"/>
                        </a:lnTo>
                        <a:lnTo>
                          <a:pt x="539" y="102"/>
                        </a:lnTo>
                        <a:lnTo>
                          <a:pt x="540" y="102"/>
                        </a:lnTo>
                        <a:lnTo>
                          <a:pt x="540" y="103"/>
                        </a:lnTo>
                        <a:lnTo>
                          <a:pt x="540" y="107"/>
                        </a:lnTo>
                        <a:lnTo>
                          <a:pt x="541" y="110"/>
                        </a:lnTo>
                        <a:lnTo>
                          <a:pt x="543" y="112"/>
                        </a:lnTo>
                        <a:lnTo>
                          <a:pt x="539" y="116"/>
                        </a:lnTo>
                        <a:lnTo>
                          <a:pt x="536" y="120"/>
                        </a:lnTo>
                        <a:lnTo>
                          <a:pt x="535" y="123"/>
                        </a:lnTo>
                        <a:lnTo>
                          <a:pt x="534" y="126"/>
                        </a:lnTo>
                        <a:lnTo>
                          <a:pt x="534" y="131"/>
                        </a:lnTo>
                        <a:lnTo>
                          <a:pt x="534" y="136"/>
                        </a:lnTo>
                        <a:lnTo>
                          <a:pt x="533" y="141"/>
                        </a:lnTo>
                        <a:lnTo>
                          <a:pt x="532" y="142"/>
                        </a:lnTo>
                        <a:lnTo>
                          <a:pt x="531" y="143"/>
                        </a:lnTo>
                        <a:lnTo>
                          <a:pt x="530" y="144"/>
                        </a:lnTo>
                        <a:lnTo>
                          <a:pt x="530" y="145"/>
                        </a:lnTo>
                        <a:lnTo>
                          <a:pt x="532" y="136"/>
                        </a:lnTo>
                        <a:lnTo>
                          <a:pt x="533" y="128"/>
                        </a:lnTo>
                        <a:lnTo>
                          <a:pt x="533" y="122"/>
                        </a:lnTo>
                        <a:lnTo>
                          <a:pt x="533" y="115"/>
                        </a:lnTo>
                        <a:lnTo>
                          <a:pt x="530" y="112"/>
                        </a:lnTo>
                        <a:lnTo>
                          <a:pt x="526" y="115"/>
                        </a:lnTo>
                        <a:lnTo>
                          <a:pt x="521" y="121"/>
                        </a:lnTo>
                        <a:lnTo>
                          <a:pt x="520" y="124"/>
                        </a:lnTo>
                        <a:lnTo>
                          <a:pt x="517" y="128"/>
                        </a:lnTo>
                        <a:lnTo>
                          <a:pt x="515" y="125"/>
                        </a:lnTo>
                        <a:lnTo>
                          <a:pt x="513" y="123"/>
                        </a:lnTo>
                        <a:lnTo>
                          <a:pt x="511" y="122"/>
                        </a:lnTo>
                        <a:lnTo>
                          <a:pt x="507" y="122"/>
                        </a:lnTo>
                        <a:lnTo>
                          <a:pt x="507" y="120"/>
                        </a:lnTo>
                        <a:lnTo>
                          <a:pt x="507" y="119"/>
                        </a:lnTo>
                        <a:lnTo>
                          <a:pt x="508" y="117"/>
                        </a:lnTo>
                        <a:lnTo>
                          <a:pt x="511" y="115"/>
                        </a:lnTo>
                        <a:lnTo>
                          <a:pt x="514" y="114"/>
                        </a:lnTo>
                        <a:lnTo>
                          <a:pt x="517" y="112"/>
                        </a:lnTo>
                        <a:lnTo>
                          <a:pt x="517" y="108"/>
                        </a:lnTo>
                        <a:lnTo>
                          <a:pt x="515" y="106"/>
                        </a:lnTo>
                        <a:lnTo>
                          <a:pt x="513" y="105"/>
                        </a:lnTo>
                        <a:lnTo>
                          <a:pt x="510" y="105"/>
                        </a:lnTo>
                        <a:lnTo>
                          <a:pt x="510" y="102"/>
                        </a:lnTo>
                        <a:lnTo>
                          <a:pt x="510" y="100"/>
                        </a:lnTo>
                        <a:lnTo>
                          <a:pt x="510" y="99"/>
                        </a:lnTo>
                        <a:lnTo>
                          <a:pt x="509" y="98"/>
                        </a:lnTo>
                        <a:lnTo>
                          <a:pt x="508" y="97"/>
                        </a:lnTo>
                        <a:lnTo>
                          <a:pt x="507" y="96"/>
                        </a:lnTo>
                        <a:lnTo>
                          <a:pt x="507" y="101"/>
                        </a:lnTo>
                        <a:lnTo>
                          <a:pt x="506" y="102"/>
                        </a:lnTo>
                        <a:lnTo>
                          <a:pt x="504" y="102"/>
                        </a:lnTo>
                        <a:lnTo>
                          <a:pt x="503" y="102"/>
                        </a:lnTo>
                        <a:lnTo>
                          <a:pt x="502" y="102"/>
                        </a:lnTo>
                        <a:lnTo>
                          <a:pt x="499" y="102"/>
                        </a:lnTo>
                        <a:lnTo>
                          <a:pt x="497" y="102"/>
                        </a:lnTo>
                        <a:lnTo>
                          <a:pt x="496" y="104"/>
                        </a:lnTo>
                        <a:lnTo>
                          <a:pt x="495" y="105"/>
                        </a:lnTo>
                        <a:lnTo>
                          <a:pt x="494" y="106"/>
                        </a:lnTo>
                        <a:lnTo>
                          <a:pt x="493" y="107"/>
                        </a:lnTo>
                        <a:lnTo>
                          <a:pt x="491" y="109"/>
                        </a:lnTo>
                        <a:lnTo>
                          <a:pt x="490" y="111"/>
                        </a:lnTo>
                        <a:lnTo>
                          <a:pt x="490" y="114"/>
                        </a:lnTo>
                        <a:lnTo>
                          <a:pt x="492" y="116"/>
                        </a:lnTo>
                        <a:lnTo>
                          <a:pt x="495" y="119"/>
                        </a:lnTo>
                        <a:lnTo>
                          <a:pt x="491" y="119"/>
                        </a:lnTo>
                        <a:lnTo>
                          <a:pt x="488" y="119"/>
                        </a:lnTo>
                        <a:lnTo>
                          <a:pt x="485" y="120"/>
                        </a:lnTo>
                        <a:lnTo>
                          <a:pt x="481" y="122"/>
                        </a:lnTo>
                        <a:lnTo>
                          <a:pt x="481" y="123"/>
                        </a:lnTo>
                        <a:lnTo>
                          <a:pt x="482" y="124"/>
                        </a:lnTo>
                        <a:lnTo>
                          <a:pt x="483" y="125"/>
                        </a:lnTo>
                        <a:lnTo>
                          <a:pt x="485" y="125"/>
                        </a:lnTo>
                        <a:lnTo>
                          <a:pt x="484" y="126"/>
                        </a:lnTo>
                        <a:lnTo>
                          <a:pt x="483" y="126"/>
                        </a:lnTo>
                        <a:lnTo>
                          <a:pt x="482" y="127"/>
                        </a:lnTo>
                        <a:lnTo>
                          <a:pt x="481" y="128"/>
                        </a:lnTo>
                        <a:lnTo>
                          <a:pt x="479" y="128"/>
                        </a:lnTo>
                        <a:lnTo>
                          <a:pt x="478" y="128"/>
                        </a:lnTo>
                        <a:lnTo>
                          <a:pt x="477" y="128"/>
                        </a:lnTo>
                        <a:lnTo>
                          <a:pt x="476" y="129"/>
                        </a:lnTo>
                        <a:lnTo>
                          <a:pt x="475" y="131"/>
                        </a:lnTo>
                        <a:lnTo>
                          <a:pt x="474" y="131"/>
                        </a:lnTo>
                        <a:lnTo>
                          <a:pt x="475" y="134"/>
                        </a:lnTo>
                        <a:lnTo>
                          <a:pt x="474" y="138"/>
                        </a:lnTo>
                        <a:lnTo>
                          <a:pt x="473" y="142"/>
                        </a:lnTo>
                        <a:lnTo>
                          <a:pt x="472" y="145"/>
                        </a:lnTo>
                        <a:lnTo>
                          <a:pt x="473" y="145"/>
                        </a:lnTo>
                        <a:lnTo>
                          <a:pt x="473" y="146"/>
                        </a:lnTo>
                        <a:lnTo>
                          <a:pt x="474" y="147"/>
                        </a:lnTo>
                        <a:lnTo>
                          <a:pt x="474" y="148"/>
                        </a:lnTo>
                        <a:lnTo>
                          <a:pt x="485" y="148"/>
                        </a:lnTo>
                        <a:lnTo>
                          <a:pt x="484" y="148"/>
                        </a:lnTo>
                        <a:lnTo>
                          <a:pt x="483" y="148"/>
                        </a:lnTo>
                        <a:lnTo>
                          <a:pt x="483" y="149"/>
                        </a:lnTo>
                        <a:lnTo>
                          <a:pt x="485" y="150"/>
                        </a:lnTo>
                        <a:lnTo>
                          <a:pt x="486" y="152"/>
                        </a:lnTo>
                        <a:lnTo>
                          <a:pt x="488" y="154"/>
                        </a:lnTo>
                        <a:lnTo>
                          <a:pt x="490" y="155"/>
                        </a:lnTo>
                        <a:lnTo>
                          <a:pt x="491" y="157"/>
                        </a:lnTo>
                        <a:lnTo>
                          <a:pt x="491" y="159"/>
                        </a:lnTo>
                        <a:lnTo>
                          <a:pt x="491" y="160"/>
                        </a:lnTo>
                        <a:lnTo>
                          <a:pt x="489" y="160"/>
                        </a:lnTo>
                        <a:lnTo>
                          <a:pt x="488" y="160"/>
                        </a:lnTo>
                        <a:lnTo>
                          <a:pt x="485" y="159"/>
                        </a:lnTo>
                        <a:lnTo>
                          <a:pt x="483" y="157"/>
                        </a:lnTo>
                        <a:lnTo>
                          <a:pt x="482" y="153"/>
                        </a:lnTo>
                        <a:lnTo>
                          <a:pt x="481" y="150"/>
                        </a:lnTo>
                        <a:lnTo>
                          <a:pt x="478" y="150"/>
                        </a:lnTo>
                        <a:lnTo>
                          <a:pt x="478" y="151"/>
                        </a:lnTo>
                        <a:lnTo>
                          <a:pt x="477" y="152"/>
                        </a:lnTo>
                        <a:lnTo>
                          <a:pt x="476" y="153"/>
                        </a:lnTo>
                        <a:lnTo>
                          <a:pt x="474" y="154"/>
                        </a:lnTo>
                        <a:lnTo>
                          <a:pt x="475" y="153"/>
                        </a:lnTo>
                        <a:lnTo>
                          <a:pt x="476" y="152"/>
                        </a:lnTo>
                        <a:lnTo>
                          <a:pt x="474" y="154"/>
                        </a:lnTo>
                        <a:lnTo>
                          <a:pt x="472" y="148"/>
                        </a:lnTo>
                        <a:lnTo>
                          <a:pt x="470" y="144"/>
                        </a:lnTo>
                        <a:lnTo>
                          <a:pt x="466" y="142"/>
                        </a:lnTo>
                        <a:lnTo>
                          <a:pt x="463" y="141"/>
                        </a:lnTo>
                        <a:lnTo>
                          <a:pt x="459" y="141"/>
                        </a:lnTo>
                        <a:lnTo>
                          <a:pt x="459" y="142"/>
                        </a:lnTo>
                        <a:lnTo>
                          <a:pt x="459" y="143"/>
                        </a:lnTo>
                        <a:lnTo>
                          <a:pt x="459" y="144"/>
                        </a:lnTo>
                        <a:lnTo>
                          <a:pt x="459" y="145"/>
                        </a:lnTo>
                        <a:lnTo>
                          <a:pt x="458" y="146"/>
                        </a:lnTo>
                        <a:lnTo>
                          <a:pt x="456" y="147"/>
                        </a:lnTo>
                        <a:lnTo>
                          <a:pt x="452" y="148"/>
                        </a:lnTo>
                        <a:lnTo>
                          <a:pt x="451" y="150"/>
                        </a:lnTo>
                        <a:lnTo>
                          <a:pt x="449" y="154"/>
                        </a:lnTo>
                        <a:lnTo>
                          <a:pt x="446" y="160"/>
                        </a:lnTo>
                        <a:lnTo>
                          <a:pt x="443" y="164"/>
                        </a:lnTo>
                        <a:lnTo>
                          <a:pt x="443" y="166"/>
                        </a:lnTo>
                        <a:lnTo>
                          <a:pt x="444" y="167"/>
                        </a:lnTo>
                        <a:lnTo>
                          <a:pt x="443" y="167"/>
                        </a:lnTo>
                        <a:lnTo>
                          <a:pt x="443" y="169"/>
                        </a:lnTo>
                        <a:lnTo>
                          <a:pt x="443" y="170"/>
                        </a:lnTo>
                        <a:lnTo>
                          <a:pt x="439" y="170"/>
                        </a:lnTo>
                        <a:lnTo>
                          <a:pt x="440" y="172"/>
                        </a:lnTo>
                        <a:lnTo>
                          <a:pt x="441" y="173"/>
                        </a:lnTo>
                        <a:lnTo>
                          <a:pt x="442" y="174"/>
                        </a:lnTo>
                        <a:lnTo>
                          <a:pt x="443" y="174"/>
                        </a:lnTo>
                        <a:lnTo>
                          <a:pt x="444" y="174"/>
                        </a:lnTo>
                        <a:lnTo>
                          <a:pt x="443" y="176"/>
                        </a:lnTo>
                        <a:lnTo>
                          <a:pt x="442" y="177"/>
                        </a:lnTo>
                        <a:lnTo>
                          <a:pt x="441" y="178"/>
                        </a:lnTo>
                        <a:lnTo>
                          <a:pt x="440" y="179"/>
                        </a:lnTo>
                        <a:lnTo>
                          <a:pt x="439" y="179"/>
                        </a:lnTo>
                        <a:lnTo>
                          <a:pt x="440" y="181"/>
                        </a:lnTo>
                        <a:lnTo>
                          <a:pt x="441" y="183"/>
                        </a:lnTo>
                        <a:lnTo>
                          <a:pt x="441" y="184"/>
                        </a:lnTo>
                        <a:lnTo>
                          <a:pt x="439" y="186"/>
                        </a:lnTo>
                        <a:lnTo>
                          <a:pt x="441" y="186"/>
                        </a:lnTo>
                        <a:lnTo>
                          <a:pt x="443" y="186"/>
                        </a:lnTo>
                        <a:lnTo>
                          <a:pt x="444" y="186"/>
                        </a:lnTo>
                        <a:lnTo>
                          <a:pt x="446" y="186"/>
                        </a:lnTo>
                        <a:lnTo>
                          <a:pt x="444" y="187"/>
                        </a:lnTo>
                        <a:lnTo>
                          <a:pt x="444" y="188"/>
                        </a:lnTo>
                        <a:lnTo>
                          <a:pt x="444" y="189"/>
                        </a:lnTo>
                        <a:lnTo>
                          <a:pt x="446" y="190"/>
                        </a:lnTo>
                        <a:lnTo>
                          <a:pt x="449" y="189"/>
                        </a:lnTo>
                        <a:lnTo>
                          <a:pt x="450" y="188"/>
                        </a:lnTo>
                        <a:lnTo>
                          <a:pt x="451" y="187"/>
                        </a:lnTo>
                        <a:lnTo>
                          <a:pt x="452" y="186"/>
                        </a:lnTo>
                        <a:lnTo>
                          <a:pt x="453" y="183"/>
                        </a:lnTo>
                        <a:lnTo>
                          <a:pt x="454" y="181"/>
                        </a:lnTo>
                        <a:lnTo>
                          <a:pt x="455" y="178"/>
                        </a:lnTo>
                        <a:lnTo>
                          <a:pt x="457" y="176"/>
                        </a:lnTo>
                        <a:lnTo>
                          <a:pt x="459" y="174"/>
                        </a:lnTo>
                        <a:lnTo>
                          <a:pt x="460" y="174"/>
                        </a:lnTo>
                        <a:lnTo>
                          <a:pt x="461" y="176"/>
                        </a:lnTo>
                        <a:lnTo>
                          <a:pt x="462" y="176"/>
                        </a:lnTo>
                        <a:lnTo>
                          <a:pt x="463" y="176"/>
                        </a:lnTo>
                        <a:lnTo>
                          <a:pt x="462" y="176"/>
                        </a:lnTo>
                        <a:lnTo>
                          <a:pt x="461" y="177"/>
                        </a:lnTo>
                        <a:lnTo>
                          <a:pt x="460" y="178"/>
                        </a:lnTo>
                        <a:lnTo>
                          <a:pt x="459" y="179"/>
                        </a:lnTo>
                        <a:lnTo>
                          <a:pt x="457" y="181"/>
                        </a:lnTo>
                        <a:lnTo>
                          <a:pt x="456" y="183"/>
                        </a:lnTo>
                        <a:lnTo>
                          <a:pt x="455" y="187"/>
                        </a:lnTo>
                        <a:lnTo>
                          <a:pt x="455" y="190"/>
                        </a:lnTo>
                        <a:lnTo>
                          <a:pt x="456" y="190"/>
                        </a:lnTo>
                        <a:lnTo>
                          <a:pt x="457" y="191"/>
                        </a:lnTo>
                        <a:lnTo>
                          <a:pt x="459" y="192"/>
                        </a:lnTo>
                        <a:lnTo>
                          <a:pt x="462" y="193"/>
                        </a:lnTo>
                        <a:lnTo>
                          <a:pt x="461" y="193"/>
                        </a:lnTo>
                        <a:lnTo>
                          <a:pt x="460" y="195"/>
                        </a:lnTo>
                        <a:lnTo>
                          <a:pt x="459" y="196"/>
                        </a:lnTo>
                        <a:lnTo>
                          <a:pt x="460" y="196"/>
                        </a:lnTo>
                        <a:lnTo>
                          <a:pt x="459" y="196"/>
                        </a:lnTo>
                        <a:lnTo>
                          <a:pt x="455" y="196"/>
                        </a:lnTo>
                        <a:lnTo>
                          <a:pt x="455" y="195"/>
                        </a:lnTo>
                        <a:lnTo>
                          <a:pt x="454" y="193"/>
                        </a:lnTo>
                        <a:lnTo>
                          <a:pt x="452" y="193"/>
                        </a:lnTo>
                        <a:lnTo>
                          <a:pt x="453" y="193"/>
                        </a:lnTo>
                        <a:lnTo>
                          <a:pt x="452" y="193"/>
                        </a:lnTo>
                        <a:lnTo>
                          <a:pt x="451" y="193"/>
                        </a:lnTo>
                        <a:lnTo>
                          <a:pt x="450" y="195"/>
                        </a:lnTo>
                        <a:lnTo>
                          <a:pt x="449" y="196"/>
                        </a:lnTo>
                        <a:lnTo>
                          <a:pt x="449" y="198"/>
                        </a:lnTo>
                        <a:lnTo>
                          <a:pt x="448" y="198"/>
                        </a:lnTo>
                        <a:lnTo>
                          <a:pt x="447" y="199"/>
                        </a:lnTo>
                        <a:lnTo>
                          <a:pt x="446" y="199"/>
                        </a:lnTo>
                        <a:lnTo>
                          <a:pt x="444" y="199"/>
                        </a:lnTo>
                        <a:lnTo>
                          <a:pt x="443" y="200"/>
                        </a:lnTo>
                        <a:lnTo>
                          <a:pt x="443" y="202"/>
                        </a:lnTo>
                        <a:lnTo>
                          <a:pt x="441" y="204"/>
                        </a:lnTo>
                        <a:lnTo>
                          <a:pt x="441" y="205"/>
                        </a:lnTo>
                        <a:lnTo>
                          <a:pt x="441" y="207"/>
                        </a:lnTo>
                        <a:lnTo>
                          <a:pt x="439" y="209"/>
                        </a:lnTo>
                        <a:lnTo>
                          <a:pt x="438" y="209"/>
                        </a:lnTo>
                        <a:lnTo>
                          <a:pt x="436" y="209"/>
                        </a:lnTo>
                        <a:lnTo>
                          <a:pt x="436" y="208"/>
                        </a:lnTo>
                        <a:lnTo>
                          <a:pt x="436" y="207"/>
                        </a:lnTo>
                        <a:lnTo>
                          <a:pt x="436" y="206"/>
                        </a:lnTo>
                        <a:lnTo>
                          <a:pt x="436" y="205"/>
                        </a:lnTo>
                        <a:lnTo>
                          <a:pt x="435" y="202"/>
                        </a:lnTo>
                        <a:lnTo>
                          <a:pt x="435" y="198"/>
                        </a:lnTo>
                        <a:lnTo>
                          <a:pt x="436" y="193"/>
                        </a:lnTo>
                        <a:lnTo>
                          <a:pt x="436" y="190"/>
                        </a:lnTo>
                        <a:lnTo>
                          <a:pt x="426" y="190"/>
                        </a:lnTo>
                        <a:lnTo>
                          <a:pt x="427" y="193"/>
                        </a:lnTo>
                        <a:lnTo>
                          <a:pt x="427" y="195"/>
                        </a:lnTo>
                        <a:lnTo>
                          <a:pt x="426" y="197"/>
                        </a:lnTo>
                        <a:lnTo>
                          <a:pt x="425" y="198"/>
                        </a:lnTo>
                        <a:lnTo>
                          <a:pt x="420" y="202"/>
                        </a:lnTo>
                        <a:lnTo>
                          <a:pt x="420" y="201"/>
                        </a:lnTo>
                        <a:lnTo>
                          <a:pt x="418" y="200"/>
                        </a:lnTo>
                        <a:lnTo>
                          <a:pt x="416" y="199"/>
                        </a:lnTo>
                        <a:lnTo>
                          <a:pt x="414" y="199"/>
                        </a:lnTo>
                        <a:lnTo>
                          <a:pt x="414" y="198"/>
                        </a:lnTo>
                        <a:lnTo>
                          <a:pt x="414" y="196"/>
                        </a:lnTo>
                        <a:lnTo>
                          <a:pt x="414" y="195"/>
                        </a:lnTo>
                        <a:lnTo>
                          <a:pt x="414" y="193"/>
                        </a:lnTo>
                        <a:lnTo>
                          <a:pt x="414" y="192"/>
                        </a:lnTo>
                        <a:lnTo>
                          <a:pt x="415" y="191"/>
                        </a:lnTo>
                        <a:lnTo>
                          <a:pt x="416" y="190"/>
                        </a:lnTo>
                        <a:lnTo>
                          <a:pt x="417" y="190"/>
                        </a:lnTo>
                        <a:lnTo>
                          <a:pt x="417" y="188"/>
                        </a:lnTo>
                        <a:lnTo>
                          <a:pt x="417" y="187"/>
                        </a:lnTo>
                        <a:lnTo>
                          <a:pt x="417" y="186"/>
                        </a:lnTo>
                        <a:lnTo>
                          <a:pt x="415" y="186"/>
                        </a:lnTo>
                        <a:lnTo>
                          <a:pt x="414" y="186"/>
                        </a:lnTo>
                        <a:lnTo>
                          <a:pt x="412" y="186"/>
                        </a:lnTo>
                        <a:lnTo>
                          <a:pt x="410" y="186"/>
                        </a:lnTo>
                        <a:lnTo>
                          <a:pt x="408" y="189"/>
                        </a:lnTo>
                        <a:lnTo>
                          <a:pt x="406" y="193"/>
                        </a:lnTo>
                        <a:lnTo>
                          <a:pt x="404" y="197"/>
                        </a:lnTo>
                        <a:lnTo>
                          <a:pt x="403" y="199"/>
                        </a:lnTo>
                        <a:lnTo>
                          <a:pt x="404" y="201"/>
                        </a:lnTo>
                        <a:lnTo>
                          <a:pt x="405" y="203"/>
                        </a:lnTo>
                        <a:lnTo>
                          <a:pt x="406" y="205"/>
                        </a:lnTo>
                        <a:lnTo>
                          <a:pt x="407" y="205"/>
                        </a:lnTo>
                        <a:lnTo>
                          <a:pt x="406" y="206"/>
                        </a:lnTo>
                        <a:lnTo>
                          <a:pt x="405" y="207"/>
                        </a:lnTo>
                        <a:lnTo>
                          <a:pt x="404" y="208"/>
                        </a:lnTo>
                        <a:lnTo>
                          <a:pt x="403" y="209"/>
                        </a:lnTo>
                        <a:lnTo>
                          <a:pt x="403" y="210"/>
                        </a:lnTo>
                        <a:lnTo>
                          <a:pt x="403" y="212"/>
                        </a:lnTo>
                        <a:lnTo>
                          <a:pt x="401" y="212"/>
                        </a:lnTo>
                        <a:lnTo>
                          <a:pt x="398" y="212"/>
                        </a:lnTo>
                        <a:lnTo>
                          <a:pt x="397" y="212"/>
                        </a:lnTo>
                        <a:lnTo>
                          <a:pt x="396" y="212"/>
                        </a:lnTo>
                        <a:lnTo>
                          <a:pt x="394" y="212"/>
                        </a:lnTo>
                        <a:lnTo>
                          <a:pt x="395" y="213"/>
                        </a:lnTo>
                        <a:lnTo>
                          <a:pt x="396" y="216"/>
                        </a:lnTo>
                        <a:lnTo>
                          <a:pt x="397" y="218"/>
                        </a:lnTo>
                        <a:lnTo>
                          <a:pt x="398" y="219"/>
                        </a:lnTo>
                        <a:lnTo>
                          <a:pt x="395" y="221"/>
                        </a:lnTo>
                        <a:lnTo>
                          <a:pt x="391" y="222"/>
                        </a:lnTo>
                        <a:lnTo>
                          <a:pt x="387" y="224"/>
                        </a:lnTo>
                        <a:lnTo>
                          <a:pt x="384" y="228"/>
                        </a:lnTo>
                        <a:lnTo>
                          <a:pt x="384" y="229"/>
                        </a:lnTo>
                        <a:lnTo>
                          <a:pt x="384" y="231"/>
                        </a:lnTo>
                        <a:lnTo>
                          <a:pt x="384" y="232"/>
                        </a:lnTo>
                        <a:lnTo>
                          <a:pt x="383" y="234"/>
                        </a:lnTo>
                        <a:lnTo>
                          <a:pt x="384" y="234"/>
                        </a:lnTo>
                        <a:lnTo>
                          <a:pt x="385" y="234"/>
                        </a:lnTo>
                        <a:lnTo>
                          <a:pt x="386" y="234"/>
                        </a:lnTo>
                        <a:lnTo>
                          <a:pt x="387" y="234"/>
                        </a:lnTo>
                        <a:lnTo>
                          <a:pt x="388" y="234"/>
                        </a:lnTo>
                        <a:lnTo>
                          <a:pt x="389" y="234"/>
                        </a:lnTo>
                        <a:lnTo>
                          <a:pt x="390" y="234"/>
                        </a:lnTo>
                        <a:lnTo>
                          <a:pt x="391" y="234"/>
                        </a:lnTo>
                        <a:lnTo>
                          <a:pt x="391" y="236"/>
                        </a:lnTo>
                        <a:lnTo>
                          <a:pt x="392" y="236"/>
                        </a:lnTo>
                        <a:lnTo>
                          <a:pt x="394" y="234"/>
                        </a:lnTo>
                        <a:lnTo>
                          <a:pt x="395" y="234"/>
                        </a:lnTo>
                        <a:lnTo>
                          <a:pt x="396" y="234"/>
                        </a:lnTo>
                        <a:lnTo>
                          <a:pt x="397" y="234"/>
                        </a:lnTo>
                        <a:lnTo>
                          <a:pt x="398" y="234"/>
                        </a:lnTo>
                        <a:lnTo>
                          <a:pt x="400" y="234"/>
                        </a:lnTo>
                        <a:lnTo>
                          <a:pt x="401" y="234"/>
                        </a:lnTo>
                        <a:lnTo>
                          <a:pt x="403" y="234"/>
                        </a:lnTo>
                        <a:lnTo>
                          <a:pt x="404" y="236"/>
                        </a:lnTo>
                        <a:lnTo>
                          <a:pt x="405" y="236"/>
                        </a:lnTo>
                        <a:lnTo>
                          <a:pt x="406" y="234"/>
                        </a:lnTo>
                        <a:lnTo>
                          <a:pt x="407" y="234"/>
                        </a:lnTo>
                        <a:lnTo>
                          <a:pt x="408" y="232"/>
                        </a:lnTo>
                        <a:lnTo>
                          <a:pt x="410" y="230"/>
                        </a:lnTo>
                        <a:lnTo>
                          <a:pt x="410" y="228"/>
                        </a:lnTo>
                        <a:lnTo>
                          <a:pt x="415" y="228"/>
                        </a:lnTo>
                        <a:lnTo>
                          <a:pt x="418" y="228"/>
                        </a:lnTo>
                        <a:lnTo>
                          <a:pt x="421" y="229"/>
                        </a:lnTo>
                        <a:lnTo>
                          <a:pt x="424" y="231"/>
                        </a:lnTo>
                        <a:lnTo>
                          <a:pt x="425" y="231"/>
                        </a:lnTo>
                        <a:lnTo>
                          <a:pt x="426" y="229"/>
                        </a:lnTo>
                        <a:lnTo>
                          <a:pt x="427" y="227"/>
                        </a:lnTo>
                        <a:lnTo>
                          <a:pt x="429" y="224"/>
                        </a:lnTo>
                        <a:lnTo>
                          <a:pt x="429" y="226"/>
                        </a:lnTo>
                        <a:lnTo>
                          <a:pt x="430" y="226"/>
                        </a:lnTo>
                        <a:lnTo>
                          <a:pt x="431" y="225"/>
                        </a:lnTo>
                        <a:lnTo>
                          <a:pt x="433" y="224"/>
                        </a:lnTo>
                        <a:lnTo>
                          <a:pt x="433" y="225"/>
                        </a:lnTo>
                        <a:lnTo>
                          <a:pt x="433" y="226"/>
                        </a:lnTo>
                        <a:lnTo>
                          <a:pt x="433" y="227"/>
                        </a:lnTo>
                        <a:lnTo>
                          <a:pt x="433" y="228"/>
                        </a:lnTo>
                        <a:lnTo>
                          <a:pt x="435" y="227"/>
                        </a:lnTo>
                        <a:lnTo>
                          <a:pt x="437" y="226"/>
                        </a:lnTo>
                        <a:lnTo>
                          <a:pt x="439" y="225"/>
                        </a:lnTo>
                        <a:lnTo>
                          <a:pt x="439" y="224"/>
                        </a:lnTo>
                        <a:lnTo>
                          <a:pt x="444" y="225"/>
                        </a:lnTo>
                        <a:lnTo>
                          <a:pt x="447" y="226"/>
                        </a:lnTo>
                        <a:lnTo>
                          <a:pt x="449" y="227"/>
                        </a:lnTo>
                        <a:lnTo>
                          <a:pt x="452" y="228"/>
                        </a:lnTo>
                        <a:lnTo>
                          <a:pt x="452" y="225"/>
                        </a:lnTo>
                        <a:lnTo>
                          <a:pt x="454" y="223"/>
                        </a:lnTo>
                        <a:lnTo>
                          <a:pt x="455" y="222"/>
                        </a:lnTo>
                        <a:lnTo>
                          <a:pt x="455" y="219"/>
                        </a:lnTo>
                        <a:lnTo>
                          <a:pt x="457" y="219"/>
                        </a:lnTo>
                        <a:lnTo>
                          <a:pt x="459" y="219"/>
                        </a:lnTo>
                        <a:lnTo>
                          <a:pt x="460" y="222"/>
                        </a:lnTo>
                        <a:lnTo>
                          <a:pt x="462" y="222"/>
                        </a:lnTo>
                        <a:lnTo>
                          <a:pt x="462" y="223"/>
                        </a:lnTo>
                        <a:lnTo>
                          <a:pt x="462" y="224"/>
                        </a:lnTo>
                        <a:lnTo>
                          <a:pt x="461" y="225"/>
                        </a:lnTo>
                        <a:lnTo>
                          <a:pt x="459" y="226"/>
                        </a:lnTo>
                        <a:lnTo>
                          <a:pt x="456" y="227"/>
                        </a:lnTo>
                        <a:lnTo>
                          <a:pt x="455" y="228"/>
                        </a:lnTo>
                        <a:lnTo>
                          <a:pt x="453" y="228"/>
                        </a:lnTo>
                        <a:lnTo>
                          <a:pt x="452" y="230"/>
                        </a:lnTo>
                        <a:lnTo>
                          <a:pt x="452" y="234"/>
                        </a:lnTo>
                        <a:lnTo>
                          <a:pt x="444" y="232"/>
                        </a:lnTo>
                        <a:lnTo>
                          <a:pt x="437" y="231"/>
                        </a:lnTo>
                        <a:lnTo>
                          <a:pt x="431" y="231"/>
                        </a:lnTo>
                        <a:lnTo>
                          <a:pt x="426" y="234"/>
                        </a:lnTo>
                        <a:lnTo>
                          <a:pt x="425" y="236"/>
                        </a:lnTo>
                        <a:lnTo>
                          <a:pt x="424" y="237"/>
                        </a:lnTo>
                        <a:lnTo>
                          <a:pt x="424" y="240"/>
                        </a:lnTo>
                        <a:lnTo>
                          <a:pt x="424" y="243"/>
                        </a:lnTo>
                        <a:lnTo>
                          <a:pt x="424" y="245"/>
                        </a:lnTo>
                        <a:lnTo>
                          <a:pt x="422" y="243"/>
                        </a:lnTo>
                        <a:lnTo>
                          <a:pt x="420" y="243"/>
                        </a:lnTo>
                        <a:lnTo>
                          <a:pt x="419" y="242"/>
                        </a:lnTo>
                        <a:lnTo>
                          <a:pt x="417" y="240"/>
                        </a:lnTo>
                        <a:lnTo>
                          <a:pt x="415" y="242"/>
                        </a:lnTo>
                        <a:lnTo>
                          <a:pt x="414" y="243"/>
                        </a:lnTo>
                        <a:lnTo>
                          <a:pt x="412" y="243"/>
                        </a:lnTo>
                        <a:lnTo>
                          <a:pt x="410" y="245"/>
                        </a:lnTo>
                        <a:lnTo>
                          <a:pt x="410" y="243"/>
                        </a:lnTo>
                        <a:lnTo>
                          <a:pt x="410" y="242"/>
                        </a:lnTo>
                        <a:lnTo>
                          <a:pt x="410" y="240"/>
                        </a:lnTo>
                        <a:lnTo>
                          <a:pt x="409" y="237"/>
                        </a:lnTo>
                        <a:lnTo>
                          <a:pt x="407" y="237"/>
                        </a:lnTo>
                        <a:lnTo>
                          <a:pt x="407" y="240"/>
                        </a:lnTo>
                        <a:lnTo>
                          <a:pt x="407" y="243"/>
                        </a:lnTo>
                        <a:lnTo>
                          <a:pt x="407" y="245"/>
                        </a:lnTo>
                        <a:lnTo>
                          <a:pt x="405" y="245"/>
                        </a:lnTo>
                        <a:lnTo>
                          <a:pt x="403" y="245"/>
                        </a:lnTo>
                        <a:lnTo>
                          <a:pt x="402" y="245"/>
                        </a:lnTo>
                        <a:lnTo>
                          <a:pt x="401" y="245"/>
                        </a:lnTo>
                        <a:lnTo>
                          <a:pt x="399" y="246"/>
                        </a:lnTo>
                        <a:lnTo>
                          <a:pt x="398" y="247"/>
                        </a:lnTo>
                        <a:lnTo>
                          <a:pt x="399" y="250"/>
                        </a:lnTo>
                        <a:lnTo>
                          <a:pt x="402" y="254"/>
                        </a:lnTo>
                        <a:lnTo>
                          <a:pt x="407" y="257"/>
                        </a:lnTo>
                        <a:lnTo>
                          <a:pt x="401" y="258"/>
                        </a:lnTo>
                        <a:lnTo>
                          <a:pt x="393" y="261"/>
                        </a:lnTo>
                        <a:lnTo>
                          <a:pt x="387" y="263"/>
                        </a:lnTo>
                        <a:lnTo>
                          <a:pt x="385" y="264"/>
                        </a:lnTo>
                        <a:lnTo>
                          <a:pt x="384" y="267"/>
                        </a:lnTo>
                        <a:lnTo>
                          <a:pt x="384" y="269"/>
                        </a:lnTo>
                        <a:lnTo>
                          <a:pt x="384" y="270"/>
                        </a:lnTo>
                        <a:lnTo>
                          <a:pt x="384" y="274"/>
                        </a:lnTo>
                        <a:lnTo>
                          <a:pt x="384" y="277"/>
                        </a:lnTo>
                        <a:lnTo>
                          <a:pt x="384" y="279"/>
                        </a:lnTo>
                        <a:lnTo>
                          <a:pt x="385" y="279"/>
                        </a:lnTo>
                        <a:lnTo>
                          <a:pt x="386" y="279"/>
                        </a:lnTo>
                        <a:lnTo>
                          <a:pt x="391" y="279"/>
                        </a:lnTo>
                        <a:lnTo>
                          <a:pt x="393" y="278"/>
                        </a:lnTo>
                        <a:lnTo>
                          <a:pt x="395" y="274"/>
                        </a:lnTo>
                        <a:lnTo>
                          <a:pt x="397" y="271"/>
                        </a:lnTo>
                        <a:lnTo>
                          <a:pt x="401" y="270"/>
                        </a:lnTo>
                        <a:lnTo>
                          <a:pt x="403" y="269"/>
                        </a:lnTo>
                        <a:lnTo>
                          <a:pt x="405" y="269"/>
                        </a:lnTo>
                        <a:lnTo>
                          <a:pt x="408" y="269"/>
                        </a:lnTo>
                        <a:lnTo>
                          <a:pt x="410" y="267"/>
                        </a:lnTo>
                        <a:lnTo>
                          <a:pt x="410" y="269"/>
                        </a:lnTo>
                        <a:lnTo>
                          <a:pt x="409" y="270"/>
                        </a:lnTo>
                        <a:lnTo>
                          <a:pt x="407" y="270"/>
                        </a:lnTo>
                        <a:lnTo>
                          <a:pt x="407" y="271"/>
                        </a:lnTo>
                        <a:lnTo>
                          <a:pt x="406" y="271"/>
                        </a:lnTo>
                        <a:lnTo>
                          <a:pt x="405" y="270"/>
                        </a:lnTo>
                        <a:lnTo>
                          <a:pt x="403" y="270"/>
                        </a:lnTo>
                        <a:lnTo>
                          <a:pt x="403" y="272"/>
                        </a:lnTo>
                        <a:lnTo>
                          <a:pt x="401" y="274"/>
                        </a:lnTo>
                        <a:lnTo>
                          <a:pt x="400" y="276"/>
                        </a:lnTo>
                        <a:lnTo>
                          <a:pt x="398" y="276"/>
                        </a:lnTo>
                        <a:lnTo>
                          <a:pt x="397" y="277"/>
                        </a:lnTo>
                        <a:lnTo>
                          <a:pt x="396" y="278"/>
                        </a:lnTo>
                        <a:lnTo>
                          <a:pt x="394" y="279"/>
                        </a:lnTo>
                        <a:lnTo>
                          <a:pt x="394" y="280"/>
                        </a:lnTo>
                        <a:lnTo>
                          <a:pt x="394" y="281"/>
                        </a:lnTo>
                        <a:lnTo>
                          <a:pt x="394" y="282"/>
                        </a:lnTo>
                        <a:lnTo>
                          <a:pt x="397" y="285"/>
                        </a:lnTo>
                        <a:lnTo>
                          <a:pt x="400" y="285"/>
                        </a:lnTo>
                        <a:lnTo>
                          <a:pt x="402" y="288"/>
                        </a:lnTo>
                        <a:lnTo>
                          <a:pt x="407" y="290"/>
                        </a:lnTo>
                        <a:lnTo>
                          <a:pt x="407" y="291"/>
                        </a:lnTo>
                        <a:lnTo>
                          <a:pt x="407" y="293"/>
                        </a:lnTo>
                        <a:lnTo>
                          <a:pt x="405" y="291"/>
                        </a:lnTo>
                        <a:lnTo>
                          <a:pt x="404" y="291"/>
                        </a:lnTo>
                        <a:lnTo>
                          <a:pt x="403" y="291"/>
                        </a:lnTo>
                        <a:lnTo>
                          <a:pt x="403" y="293"/>
                        </a:lnTo>
                        <a:lnTo>
                          <a:pt x="401" y="293"/>
                        </a:lnTo>
                        <a:lnTo>
                          <a:pt x="399" y="293"/>
                        </a:lnTo>
                        <a:lnTo>
                          <a:pt x="398" y="293"/>
                        </a:lnTo>
                        <a:lnTo>
                          <a:pt x="394" y="293"/>
                        </a:lnTo>
                        <a:lnTo>
                          <a:pt x="394" y="291"/>
                        </a:lnTo>
                        <a:lnTo>
                          <a:pt x="393" y="290"/>
                        </a:lnTo>
                        <a:lnTo>
                          <a:pt x="391" y="288"/>
                        </a:lnTo>
                        <a:lnTo>
                          <a:pt x="391" y="285"/>
                        </a:lnTo>
                        <a:lnTo>
                          <a:pt x="389" y="285"/>
                        </a:lnTo>
                        <a:lnTo>
                          <a:pt x="388" y="285"/>
                        </a:lnTo>
                        <a:lnTo>
                          <a:pt x="386" y="285"/>
                        </a:lnTo>
                        <a:lnTo>
                          <a:pt x="384" y="285"/>
                        </a:lnTo>
                        <a:lnTo>
                          <a:pt x="383" y="288"/>
                        </a:lnTo>
                        <a:lnTo>
                          <a:pt x="383" y="291"/>
                        </a:lnTo>
                        <a:lnTo>
                          <a:pt x="382" y="294"/>
                        </a:lnTo>
                        <a:lnTo>
                          <a:pt x="381" y="295"/>
                        </a:lnTo>
                        <a:lnTo>
                          <a:pt x="380" y="297"/>
                        </a:lnTo>
                        <a:lnTo>
                          <a:pt x="379" y="299"/>
                        </a:lnTo>
                        <a:lnTo>
                          <a:pt x="378" y="300"/>
                        </a:lnTo>
                        <a:lnTo>
                          <a:pt x="378" y="302"/>
                        </a:lnTo>
                        <a:lnTo>
                          <a:pt x="377" y="302"/>
                        </a:lnTo>
                        <a:lnTo>
                          <a:pt x="376" y="302"/>
                        </a:lnTo>
                        <a:lnTo>
                          <a:pt x="375" y="303"/>
                        </a:lnTo>
                        <a:lnTo>
                          <a:pt x="375" y="305"/>
                        </a:lnTo>
                        <a:lnTo>
                          <a:pt x="391" y="305"/>
                        </a:lnTo>
                        <a:lnTo>
                          <a:pt x="390" y="306"/>
                        </a:lnTo>
                        <a:lnTo>
                          <a:pt x="389" y="309"/>
                        </a:lnTo>
                        <a:lnTo>
                          <a:pt x="388" y="311"/>
                        </a:lnTo>
                        <a:lnTo>
                          <a:pt x="388" y="312"/>
                        </a:lnTo>
                        <a:lnTo>
                          <a:pt x="378" y="312"/>
                        </a:lnTo>
                        <a:lnTo>
                          <a:pt x="375" y="312"/>
                        </a:lnTo>
                        <a:lnTo>
                          <a:pt x="372" y="314"/>
                        </a:lnTo>
                        <a:lnTo>
                          <a:pt x="368" y="315"/>
                        </a:lnTo>
                        <a:lnTo>
                          <a:pt x="365" y="315"/>
                        </a:lnTo>
                        <a:lnTo>
                          <a:pt x="363" y="318"/>
                        </a:lnTo>
                        <a:lnTo>
                          <a:pt x="362" y="323"/>
                        </a:lnTo>
                        <a:lnTo>
                          <a:pt x="360" y="328"/>
                        </a:lnTo>
                        <a:lnTo>
                          <a:pt x="358" y="330"/>
                        </a:lnTo>
                        <a:lnTo>
                          <a:pt x="354" y="330"/>
                        </a:lnTo>
                        <a:lnTo>
                          <a:pt x="353" y="330"/>
                        </a:lnTo>
                        <a:lnTo>
                          <a:pt x="352" y="332"/>
                        </a:lnTo>
                        <a:lnTo>
                          <a:pt x="349" y="333"/>
                        </a:lnTo>
                        <a:lnTo>
                          <a:pt x="347" y="333"/>
                        </a:lnTo>
                        <a:lnTo>
                          <a:pt x="346" y="335"/>
                        </a:lnTo>
                        <a:lnTo>
                          <a:pt x="346" y="336"/>
                        </a:lnTo>
                        <a:lnTo>
                          <a:pt x="346" y="338"/>
                        </a:lnTo>
                        <a:lnTo>
                          <a:pt x="343" y="339"/>
                        </a:lnTo>
                        <a:lnTo>
                          <a:pt x="341" y="341"/>
                        </a:lnTo>
                        <a:lnTo>
                          <a:pt x="340" y="341"/>
                        </a:lnTo>
                        <a:lnTo>
                          <a:pt x="339" y="341"/>
                        </a:lnTo>
                        <a:lnTo>
                          <a:pt x="339" y="342"/>
                        </a:lnTo>
                        <a:lnTo>
                          <a:pt x="339" y="343"/>
                        </a:lnTo>
                        <a:lnTo>
                          <a:pt x="339" y="344"/>
                        </a:lnTo>
                        <a:lnTo>
                          <a:pt x="339" y="347"/>
                        </a:lnTo>
                        <a:lnTo>
                          <a:pt x="339" y="351"/>
                        </a:lnTo>
                        <a:lnTo>
                          <a:pt x="339" y="354"/>
                        </a:lnTo>
                        <a:lnTo>
                          <a:pt x="338" y="356"/>
                        </a:lnTo>
                        <a:lnTo>
                          <a:pt x="336" y="359"/>
                        </a:lnTo>
                        <a:lnTo>
                          <a:pt x="339" y="359"/>
                        </a:lnTo>
                        <a:lnTo>
                          <a:pt x="341" y="360"/>
                        </a:lnTo>
                        <a:lnTo>
                          <a:pt x="340" y="362"/>
                        </a:lnTo>
                        <a:lnTo>
                          <a:pt x="339" y="363"/>
                        </a:lnTo>
                        <a:lnTo>
                          <a:pt x="339" y="365"/>
                        </a:lnTo>
                        <a:lnTo>
                          <a:pt x="338" y="366"/>
                        </a:lnTo>
                        <a:lnTo>
                          <a:pt x="336" y="366"/>
                        </a:lnTo>
                        <a:lnTo>
                          <a:pt x="335" y="366"/>
                        </a:lnTo>
                        <a:lnTo>
                          <a:pt x="334" y="366"/>
                        </a:lnTo>
                        <a:lnTo>
                          <a:pt x="332" y="366"/>
                        </a:lnTo>
                        <a:lnTo>
                          <a:pt x="332" y="369"/>
                        </a:lnTo>
                        <a:lnTo>
                          <a:pt x="331" y="373"/>
                        </a:lnTo>
                        <a:lnTo>
                          <a:pt x="331" y="378"/>
                        </a:lnTo>
                        <a:lnTo>
                          <a:pt x="332" y="383"/>
                        </a:lnTo>
                        <a:lnTo>
                          <a:pt x="331" y="383"/>
                        </a:lnTo>
                        <a:lnTo>
                          <a:pt x="330" y="383"/>
                        </a:lnTo>
                        <a:lnTo>
                          <a:pt x="329" y="383"/>
                        </a:lnTo>
                        <a:lnTo>
                          <a:pt x="329" y="384"/>
                        </a:lnTo>
                        <a:lnTo>
                          <a:pt x="328" y="386"/>
                        </a:lnTo>
                        <a:lnTo>
                          <a:pt x="328" y="387"/>
                        </a:lnTo>
                        <a:lnTo>
                          <a:pt x="327" y="389"/>
                        </a:lnTo>
                        <a:lnTo>
                          <a:pt x="333" y="389"/>
                        </a:lnTo>
                        <a:lnTo>
                          <a:pt x="339" y="389"/>
                        </a:lnTo>
                        <a:lnTo>
                          <a:pt x="344" y="386"/>
                        </a:lnTo>
                        <a:lnTo>
                          <a:pt x="349" y="383"/>
                        </a:lnTo>
                        <a:lnTo>
                          <a:pt x="349" y="384"/>
                        </a:lnTo>
                        <a:lnTo>
                          <a:pt x="349" y="386"/>
                        </a:lnTo>
                        <a:lnTo>
                          <a:pt x="347" y="387"/>
                        </a:lnTo>
                        <a:lnTo>
                          <a:pt x="345" y="389"/>
                        </a:lnTo>
                        <a:lnTo>
                          <a:pt x="343" y="390"/>
                        </a:lnTo>
                        <a:lnTo>
                          <a:pt x="339" y="392"/>
                        </a:lnTo>
                        <a:lnTo>
                          <a:pt x="337" y="392"/>
                        </a:lnTo>
                        <a:lnTo>
                          <a:pt x="335" y="394"/>
                        </a:lnTo>
                        <a:lnTo>
                          <a:pt x="333" y="395"/>
                        </a:lnTo>
                        <a:lnTo>
                          <a:pt x="332" y="395"/>
                        </a:lnTo>
                        <a:lnTo>
                          <a:pt x="329" y="397"/>
                        </a:lnTo>
                        <a:lnTo>
                          <a:pt x="325" y="397"/>
                        </a:lnTo>
                        <a:lnTo>
                          <a:pt x="323" y="397"/>
                        </a:lnTo>
                        <a:lnTo>
                          <a:pt x="320" y="399"/>
                        </a:lnTo>
                        <a:lnTo>
                          <a:pt x="317" y="400"/>
                        </a:lnTo>
                        <a:lnTo>
                          <a:pt x="313" y="402"/>
                        </a:lnTo>
                        <a:lnTo>
                          <a:pt x="310" y="405"/>
                        </a:lnTo>
                        <a:lnTo>
                          <a:pt x="307" y="409"/>
                        </a:lnTo>
                        <a:lnTo>
                          <a:pt x="306" y="409"/>
                        </a:lnTo>
                        <a:lnTo>
                          <a:pt x="306" y="410"/>
                        </a:lnTo>
                        <a:lnTo>
                          <a:pt x="305" y="412"/>
                        </a:lnTo>
                        <a:lnTo>
                          <a:pt x="304" y="412"/>
                        </a:lnTo>
                        <a:lnTo>
                          <a:pt x="303" y="413"/>
                        </a:lnTo>
                        <a:lnTo>
                          <a:pt x="305" y="413"/>
                        </a:lnTo>
                        <a:lnTo>
                          <a:pt x="306" y="415"/>
                        </a:lnTo>
                        <a:lnTo>
                          <a:pt x="307" y="415"/>
                        </a:lnTo>
                        <a:lnTo>
                          <a:pt x="308" y="413"/>
                        </a:lnTo>
                        <a:lnTo>
                          <a:pt x="309" y="410"/>
                        </a:lnTo>
                        <a:lnTo>
                          <a:pt x="310" y="409"/>
                        </a:lnTo>
                        <a:lnTo>
                          <a:pt x="312" y="409"/>
                        </a:lnTo>
                        <a:lnTo>
                          <a:pt x="313" y="409"/>
                        </a:lnTo>
                        <a:lnTo>
                          <a:pt x="313" y="410"/>
                        </a:lnTo>
                        <a:lnTo>
                          <a:pt x="313" y="415"/>
                        </a:lnTo>
                        <a:lnTo>
                          <a:pt x="312" y="415"/>
                        </a:lnTo>
                        <a:lnTo>
                          <a:pt x="310" y="415"/>
                        </a:lnTo>
                        <a:lnTo>
                          <a:pt x="309" y="418"/>
                        </a:lnTo>
                        <a:lnTo>
                          <a:pt x="307" y="424"/>
                        </a:lnTo>
                        <a:lnTo>
                          <a:pt x="305" y="430"/>
                        </a:lnTo>
                        <a:lnTo>
                          <a:pt x="304" y="434"/>
                        </a:lnTo>
                        <a:lnTo>
                          <a:pt x="305" y="437"/>
                        </a:lnTo>
                        <a:lnTo>
                          <a:pt x="305" y="440"/>
                        </a:lnTo>
                        <a:lnTo>
                          <a:pt x="305" y="442"/>
                        </a:lnTo>
                        <a:lnTo>
                          <a:pt x="304" y="444"/>
                        </a:lnTo>
                        <a:lnTo>
                          <a:pt x="304" y="443"/>
                        </a:lnTo>
                        <a:lnTo>
                          <a:pt x="302" y="441"/>
                        </a:lnTo>
                        <a:lnTo>
                          <a:pt x="297" y="437"/>
                        </a:lnTo>
                        <a:lnTo>
                          <a:pt x="297" y="442"/>
                        </a:lnTo>
                        <a:lnTo>
                          <a:pt x="296" y="447"/>
                        </a:lnTo>
                        <a:lnTo>
                          <a:pt x="295" y="451"/>
                        </a:lnTo>
                        <a:lnTo>
                          <a:pt x="294" y="457"/>
                        </a:lnTo>
                        <a:lnTo>
                          <a:pt x="296" y="457"/>
                        </a:lnTo>
                        <a:lnTo>
                          <a:pt x="297" y="457"/>
                        </a:lnTo>
                        <a:lnTo>
                          <a:pt x="299" y="457"/>
                        </a:lnTo>
                        <a:lnTo>
                          <a:pt x="301" y="457"/>
                        </a:lnTo>
                        <a:lnTo>
                          <a:pt x="302" y="460"/>
                        </a:lnTo>
                        <a:lnTo>
                          <a:pt x="302" y="461"/>
                        </a:lnTo>
                        <a:lnTo>
                          <a:pt x="303" y="463"/>
                        </a:lnTo>
                        <a:lnTo>
                          <a:pt x="305" y="463"/>
                        </a:lnTo>
                        <a:lnTo>
                          <a:pt x="307" y="463"/>
                        </a:lnTo>
                        <a:lnTo>
                          <a:pt x="310" y="463"/>
                        </a:lnTo>
                        <a:lnTo>
                          <a:pt x="309" y="463"/>
                        </a:lnTo>
                        <a:lnTo>
                          <a:pt x="308" y="464"/>
                        </a:lnTo>
                        <a:lnTo>
                          <a:pt x="307" y="466"/>
                        </a:lnTo>
                        <a:lnTo>
                          <a:pt x="306" y="468"/>
                        </a:lnTo>
                        <a:lnTo>
                          <a:pt x="305" y="469"/>
                        </a:lnTo>
                        <a:lnTo>
                          <a:pt x="304" y="469"/>
                        </a:lnTo>
                        <a:lnTo>
                          <a:pt x="301" y="471"/>
                        </a:lnTo>
                        <a:lnTo>
                          <a:pt x="299" y="473"/>
                        </a:lnTo>
                        <a:lnTo>
                          <a:pt x="297" y="473"/>
                        </a:lnTo>
                        <a:lnTo>
                          <a:pt x="297" y="470"/>
                        </a:lnTo>
                        <a:lnTo>
                          <a:pt x="297" y="466"/>
                        </a:lnTo>
                        <a:lnTo>
                          <a:pt x="296" y="464"/>
                        </a:lnTo>
                        <a:lnTo>
                          <a:pt x="295" y="463"/>
                        </a:lnTo>
                        <a:lnTo>
                          <a:pt x="294" y="463"/>
                        </a:lnTo>
                        <a:lnTo>
                          <a:pt x="292" y="464"/>
                        </a:lnTo>
                        <a:lnTo>
                          <a:pt x="291" y="466"/>
                        </a:lnTo>
                        <a:lnTo>
                          <a:pt x="290" y="466"/>
                        </a:lnTo>
                        <a:lnTo>
                          <a:pt x="289" y="466"/>
                        </a:lnTo>
                        <a:lnTo>
                          <a:pt x="288" y="466"/>
                        </a:lnTo>
                        <a:lnTo>
                          <a:pt x="287" y="466"/>
                        </a:lnTo>
                        <a:lnTo>
                          <a:pt x="285" y="467"/>
                        </a:lnTo>
                        <a:lnTo>
                          <a:pt x="284" y="468"/>
                        </a:lnTo>
                        <a:lnTo>
                          <a:pt x="284" y="473"/>
                        </a:lnTo>
                        <a:lnTo>
                          <a:pt x="282" y="474"/>
                        </a:lnTo>
                        <a:lnTo>
                          <a:pt x="281" y="474"/>
                        </a:lnTo>
                        <a:lnTo>
                          <a:pt x="281" y="475"/>
                        </a:lnTo>
                        <a:lnTo>
                          <a:pt x="280" y="476"/>
                        </a:lnTo>
                        <a:lnTo>
                          <a:pt x="278" y="478"/>
                        </a:lnTo>
                        <a:lnTo>
                          <a:pt x="277" y="479"/>
                        </a:lnTo>
                        <a:lnTo>
                          <a:pt x="275" y="482"/>
                        </a:lnTo>
                        <a:lnTo>
                          <a:pt x="271" y="482"/>
                        </a:lnTo>
                        <a:lnTo>
                          <a:pt x="268" y="482"/>
                        </a:lnTo>
                        <a:lnTo>
                          <a:pt x="265" y="484"/>
                        </a:lnTo>
                        <a:lnTo>
                          <a:pt x="261" y="485"/>
                        </a:lnTo>
                        <a:lnTo>
                          <a:pt x="261" y="489"/>
                        </a:lnTo>
                        <a:lnTo>
                          <a:pt x="261" y="494"/>
                        </a:lnTo>
                        <a:lnTo>
                          <a:pt x="261" y="498"/>
                        </a:lnTo>
                        <a:lnTo>
                          <a:pt x="261" y="502"/>
                        </a:lnTo>
                        <a:lnTo>
                          <a:pt x="259" y="502"/>
                        </a:lnTo>
                        <a:lnTo>
                          <a:pt x="257" y="503"/>
                        </a:lnTo>
                        <a:lnTo>
                          <a:pt x="255" y="505"/>
                        </a:lnTo>
                        <a:lnTo>
                          <a:pt x="252" y="505"/>
                        </a:lnTo>
                        <a:lnTo>
                          <a:pt x="252" y="506"/>
                        </a:lnTo>
                        <a:lnTo>
                          <a:pt x="252" y="508"/>
                        </a:lnTo>
                        <a:lnTo>
                          <a:pt x="249" y="511"/>
                        </a:lnTo>
                        <a:lnTo>
                          <a:pt x="246" y="511"/>
                        </a:lnTo>
                        <a:lnTo>
                          <a:pt x="242" y="512"/>
                        </a:lnTo>
                        <a:lnTo>
                          <a:pt x="239" y="514"/>
                        </a:lnTo>
                        <a:lnTo>
                          <a:pt x="237" y="516"/>
                        </a:lnTo>
                        <a:lnTo>
                          <a:pt x="238" y="518"/>
                        </a:lnTo>
                        <a:lnTo>
                          <a:pt x="238" y="519"/>
                        </a:lnTo>
                        <a:lnTo>
                          <a:pt x="239" y="521"/>
                        </a:lnTo>
                        <a:lnTo>
                          <a:pt x="236" y="522"/>
                        </a:lnTo>
                        <a:lnTo>
                          <a:pt x="234" y="523"/>
                        </a:lnTo>
                        <a:lnTo>
                          <a:pt x="233" y="523"/>
                        </a:lnTo>
                        <a:lnTo>
                          <a:pt x="231" y="526"/>
                        </a:lnTo>
                        <a:lnTo>
                          <a:pt x="230" y="529"/>
                        </a:lnTo>
                        <a:lnTo>
                          <a:pt x="228" y="532"/>
                        </a:lnTo>
                        <a:lnTo>
                          <a:pt x="226" y="534"/>
                        </a:lnTo>
                        <a:lnTo>
                          <a:pt x="224" y="536"/>
                        </a:lnTo>
                        <a:lnTo>
                          <a:pt x="221" y="537"/>
                        </a:lnTo>
                        <a:lnTo>
                          <a:pt x="219" y="538"/>
                        </a:lnTo>
                        <a:lnTo>
                          <a:pt x="216" y="540"/>
                        </a:lnTo>
                        <a:lnTo>
                          <a:pt x="215" y="540"/>
                        </a:lnTo>
                        <a:lnTo>
                          <a:pt x="215" y="541"/>
                        </a:lnTo>
                        <a:lnTo>
                          <a:pt x="214" y="542"/>
                        </a:lnTo>
                        <a:lnTo>
                          <a:pt x="213" y="544"/>
                        </a:lnTo>
                        <a:lnTo>
                          <a:pt x="212" y="544"/>
                        </a:lnTo>
                        <a:lnTo>
                          <a:pt x="211" y="544"/>
                        </a:lnTo>
                        <a:lnTo>
                          <a:pt x="210" y="544"/>
                        </a:lnTo>
                        <a:lnTo>
                          <a:pt x="209" y="546"/>
                        </a:lnTo>
                        <a:lnTo>
                          <a:pt x="207" y="549"/>
                        </a:lnTo>
                        <a:lnTo>
                          <a:pt x="206" y="553"/>
                        </a:lnTo>
                        <a:lnTo>
                          <a:pt x="204" y="556"/>
                        </a:lnTo>
                        <a:lnTo>
                          <a:pt x="203" y="557"/>
                        </a:lnTo>
                        <a:lnTo>
                          <a:pt x="201" y="558"/>
                        </a:lnTo>
                        <a:lnTo>
                          <a:pt x="198" y="560"/>
                        </a:lnTo>
                        <a:lnTo>
                          <a:pt x="197" y="563"/>
                        </a:lnTo>
                        <a:lnTo>
                          <a:pt x="195" y="566"/>
                        </a:lnTo>
                        <a:lnTo>
                          <a:pt x="194" y="569"/>
                        </a:lnTo>
                        <a:lnTo>
                          <a:pt x="192" y="572"/>
                        </a:lnTo>
                        <a:lnTo>
                          <a:pt x="190" y="575"/>
                        </a:lnTo>
                        <a:lnTo>
                          <a:pt x="189" y="576"/>
                        </a:lnTo>
                        <a:lnTo>
                          <a:pt x="185" y="577"/>
                        </a:lnTo>
                        <a:lnTo>
                          <a:pt x="181" y="578"/>
                        </a:lnTo>
                        <a:lnTo>
                          <a:pt x="178" y="579"/>
                        </a:lnTo>
                        <a:lnTo>
                          <a:pt x="180" y="583"/>
                        </a:lnTo>
                        <a:lnTo>
                          <a:pt x="181" y="585"/>
                        </a:lnTo>
                        <a:lnTo>
                          <a:pt x="181" y="588"/>
                        </a:lnTo>
                        <a:lnTo>
                          <a:pt x="181" y="592"/>
                        </a:lnTo>
                        <a:lnTo>
                          <a:pt x="179" y="592"/>
                        </a:lnTo>
                        <a:lnTo>
                          <a:pt x="178" y="592"/>
                        </a:lnTo>
                        <a:lnTo>
                          <a:pt x="177" y="591"/>
                        </a:lnTo>
                        <a:lnTo>
                          <a:pt x="177" y="590"/>
                        </a:lnTo>
                        <a:lnTo>
                          <a:pt x="177" y="589"/>
                        </a:lnTo>
                        <a:lnTo>
                          <a:pt x="178" y="589"/>
                        </a:lnTo>
                        <a:lnTo>
                          <a:pt x="178" y="587"/>
                        </a:lnTo>
                        <a:lnTo>
                          <a:pt x="178" y="586"/>
                        </a:lnTo>
                        <a:lnTo>
                          <a:pt x="178" y="585"/>
                        </a:lnTo>
                        <a:lnTo>
                          <a:pt x="163" y="586"/>
                        </a:lnTo>
                        <a:lnTo>
                          <a:pt x="158" y="587"/>
                        </a:lnTo>
                        <a:lnTo>
                          <a:pt x="152" y="589"/>
                        </a:lnTo>
                        <a:lnTo>
                          <a:pt x="152" y="591"/>
                        </a:lnTo>
                        <a:lnTo>
                          <a:pt x="152" y="592"/>
                        </a:lnTo>
                        <a:lnTo>
                          <a:pt x="150" y="593"/>
                        </a:lnTo>
                        <a:lnTo>
                          <a:pt x="149" y="595"/>
                        </a:lnTo>
                        <a:lnTo>
                          <a:pt x="148" y="595"/>
                        </a:lnTo>
                        <a:lnTo>
                          <a:pt x="147" y="595"/>
                        </a:lnTo>
                        <a:lnTo>
                          <a:pt x="142" y="595"/>
                        </a:lnTo>
                        <a:lnTo>
                          <a:pt x="142" y="596"/>
                        </a:lnTo>
                        <a:lnTo>
                          <a:pt x="142" y="597"/>
                        </a:lnTo>
                        <a:lnTo>
                          <a:pt x="142" y="598"/>
                        </a:lnTo>
                        <a:lnTo>
                          <a:pt x="139" y="598"/>
                        </a:lnTo>
                        <a:lnTo>
                          <a:pt x="137" y="598"/>
                        </a:lnTo>
                        <a:lnTo>
                          <a:pt x="134" y="598"/>
                        </a:lnTo>
                        <a:lnTo>
                          <a:pt x="132" y="598"/>
                        </a:lnTo>
                        <a:lnTo>
                          <a:pt x="128" y="598"/>
                        </a:lnTo>
                        <a:lnTo>
                          <a:pt x="125" y="600"/>
                        </a:lnTo>
                        <a:lnTo>
                          <a:pt x="119" y="604"/>
                        </a:lnTo>
                        <a:lnTo>
                          <a:pt x="123" y="608"/>
                        </a:lnTo>
                        <a:lnTo>
                          <a:pt x="125" y="607"/>
                        </a:lnTo>
                        <a:lnTo>
                          <a:pt x="128" y="606"/>
                        </a:lnTo>
                        <a:lnTo>
                          <a:pt x="129" y="606"/>
                        </a:lnTo>
                        <a:lnTo>
                          <a:pt x="132" y="608"/>
                        </a:lnTo>
                        <a:lnTo>
                          <a:pt x="132" y="609"/>
                        </a:lnTo>
                        <a:lnTo>
                          <a:pt x="131" y="611"/>
                        </a:lnTo>
                        <a:lnTo>
                          <a:pt x="129" y="611"/>
                        </a:lnTo>
                        <a:lnTo>
                          <a:pt x="126" y="612"/>
                        </a:lnTo>
                        <a:lnTo>
                          <a:pt x="125" y="612"/>
                        </a:lnTo>
                        <a:lnTo>
                          <a:pt x="124" y="610"/>
                        </a:lnTo>
                        <a:lnTo>
                          <a:pt x="123" y="608"/>
                        </a:lnTo>
                        <a:lnTo>
                          <a:pt x="120" y="608"/>
                        </a:lnTo>
                        <a:lnTo>
                          <a:pt x="118" y="609"/>
                        </a:lnTo>
                        <a:lnTo>
                          <a:pt x="115" y="609"/>
                        </a:lnTo>
                        <a:lnTo>
                          <a:pt x="113" y="608"/>
                        </a:lnTo>
                        <a:lnTo>
                          <a:pt x="113" y="607"/>
                        </a:lnTo>
                        <a:lnTo>
                          <a:pt x="113" y="606"/>
                        </a:lnTo>
                        <a:lnTo>
                          <a:pt x="113" y="605"/>
                        </a:lnTo>
                        <a:lnTo>
                          <a:pt x="113" y="604"/>
                        </a:lnTo>
                        <a:lnTo>
                          <a:pt x="108" y="604"/>
                        </a:lnTo>
                        <a:lnTo>
                          <a:pt x="107" y="604"/>
                        </a:lnTo>
                        <a:lnTo>
                          <a:pt x="105" y="606"/>
                        </a:lnTo>
                        <a:lnTo>
                          <a:pt x="104" y="607"/>
                        </a:lnTo>
                        <a:lnTo>
                          <a:pt x="102" y="608"/>
                        </a:lnTo>
                        <a:lnTo>
                          <a:pt x="100" y="608"/>
                        </a:lnTo>
                        <a:lnTo>
                          <a:pt x="97" y="608"/>
                        </a:lnTo>
                        <a:lnTo>
                          <a:pt x="98" y="608"/>
                        </a:lnTo>
                        <a:lnTo>
                          <a:pt x="98" y="609"/>
                        </a:lnTo>
                        <a:lnTo>
                          <a:pt x="97" y="611"/>
                        </a:lnTo>
                        <a:lnTo>
                          <a:pt x="98" y="612"/>
                        </a:lnTo>
                        <a:lnTo>
                          <a:pt x="100" y="614"/>
                        </a:lnTo>
                        <a:lnTo>
                          <a:pt x="102" y="617"/>
                        </a:lnTo>
                        <a:lnTo>
                          <a:pt x="104" y="618"/>
                        </a:lnTo>
                        <a:lnTo>
                          <a:pt x="107" y="618"/>
                        </a:lnTo>
                        <a:lnTo>
                          <a:pt x="105" y="618"/>
                        </a:lnTo>
                        <a:lnTo>
                          <a:pt x="105" y="619"/>
                        </a:lnTo>
                        <a:lnTo>
                          <a:pt x="104" y="620"/>
                        </a:lnTo>
                        <a:lnTo>
                          <a:pt x="108" y="624"/>
                        </a:lnTo>
                        <a:lnTo>
                          <a:pt x="111" y="626"/>
                        </a:lnTo>
                        <a:lnTo>
                          <a:pt x="116" y="627"/>
                        </a:lnTo>
                        <a:lnTo>
                          <a:pt x="123" y="627"/>
                        </a:lnTo>
                        <a:lnTo>
                          <a:pt x="121" y="627"/>
                        </a:lnTo>
                        <a:lnTo>
                          <a:pt x="120" y="629"/>
                        </a:lnTo>
                        <a:lnTo>
                          <a:pt x="119" y="630"/>
                        </a:lnTo>
                        <a:lnTo>
                          <a:pt x="116" y="632"/>
                        </a:lnTo>
                        <a:lnTo>
                          <a:pt x="114" y="634"/>
                        </a:lnTo>
                        <a:lnTo>
                          <a:pt x="114" y="636"/>
                        </a:lnTo>
                        <a:lnTo>
                          <a:pt x="116" y="640"/>
                        </a:lnTo>
                        <a:lnTo>
                          <a:pt x="114" y="640"/>
                        </a:lnTo>
                        <a:lnTo>
                          <a:pt x="113" y="640"/>
                        </a:lnTo>
                        <a:lnTo>
                          <a:pt x="108" y="634"/>
                        </a:lnTo>
                        <a:lnTo>
                          <a:pt x="104" y="631"/>
                        </a:lnTo>
                        <a:lnTo>
                          <a:pt x="99" y="630"/>
                        </a:lnTo>
                        <a:lnTo>
                          <a:pt x="90" y="630"/>
                        </a:lnTo>
                        <a:lnTo>
                          <a:pt x="91" y="629"/>
                        </a:lnTo>
                        <a:lnTo>
                          <a:pt x="92" y="629"/>
                        </a:lnTo>
                        <a:lnTo>
                          <a:pt x="93" y="630"/>
                        </a:lnTo>
                        <a:lnTo>
                          <a:pt x="94" y="628"/>
                        </a:lnTo>
                        <a:lnTo>
                          <a:pt x="95" y="627"/>
                        </a:lnTo>
                        <a:lnTo>
                          <a:pt x="96" y="627"/>
                        </a:lnTo>
                        <a:lnTo>
                          <a:pt x="97" y="627"/>
                        </a:lnTo>
                        <a:lnTo>
                          <a:pt x="97" y="625"/>
                        </a:lnTo>
                        <a:lnTo>
                          <a:pt x="97" y="624"/>
                        </a:lnTo>
                        <a:lnTo>
                          <a:pt x="97" y="623"/>
                        </a:lnTo>
                        <a:lnTo>
                          <a:pt x="95" y="623"/>
                        </a:lnTo>
                        <a:lnTo>
                          <a:pt x="93" y="623"/>
                        </a:lnTo>
                        <a:lnTo>
                          <a:pt x="92" y="623"/>
                        </a:lnTo>
                        <a:lnTo>
                          <a:pt x="90" y="623"/>
                        </a:lnTo>
                        <a:lnTo>
                          <a:pt x="90" y="624"/>
                        </a:lnTo>
                        <a:lnTo>
                          <a:pt x="89" y="624"/>
                        </a:lnTo>
                        <a:lnTo>
                          <a:pt x="87" y="625"/>
                        </a:lnTo>
                        <a:lnTo>
                          <a:pt x="87" y="627"/>
                        </a:lnTo>
                        <a:lnTo>
                          <a:pt x="87" y="630"/>
                        </a:lnTo>
                        <a:lnTo>
                          <a:pt x="83" y="630"/>
                        </a:lnTo>
                        <a:lnTo>
                          <a:pt x="80" y="630"/>
                        </a:lnTo>
                        <a:lnTo>
                          <a:pt x="74" y="630"/>
                        </a:lnTo>
                        <a:lnTo>
                          <a:pt x="72" y="633"/>
                        </a:lnTo>
                        <a:lnTo>
                          <a:pt x="71" y="635"/>
                        </a:lnTo>
                        <a:lnTo>
                          <a:pt x="70" y="638"/>
                        </a:lnTo>
                        <a:lnTo>
                          <a:pt x="68" y="640"/>
                        </a:lnTo>
                        <a:lnTo>
                          <a:pt x="68" y="646"/>
                        </a:lnTo>
                        <a:lnTo>
                          <a:pt x="65" y="645"/>
                        </a:lnTo>
                        <a:lnTo>
                          <a:pt x="63" y="644"/>
                        </a:lnTo>
                        <a:lnTo>
                          <a:pt x="62" y="643"/>
                        </a:lnTo>
                        <a:lnTo>
                          <a:pt x="59" y="645"/>
                        </a:lnTo>
                        <a:lnTo>
                          <a:pt x="54" y="647"/>
                        </a:lnTo>
                        <a:lnTo>
                          <a:pt x="51" y="649"/>
                        </a:lnTo>
                        <a:lnTo>
                          <a:pt x="48" y="649"/>
                        </a:lnTo>
                        <a:lnTo>
                          <a:pt x="48" y="651"/>
                        </a:lnTo>
                        <a:lnTo>
                          <a:pt x="48" y="653"/>
                        </a:lnTo>
                        <a:lnTo>
                          <a:pt x="48" y="654"/>
                        </a:lnTo>
                        <a:lnTo>
                          <a:pt x="48" y="656"/>
                        </a:lnTo>
                        <a:lnTo>
                          <a:pt x="49" y="656"/>
                        </a:lnTo>
                        <a:lnTo>
                          <a:pt x="50" y="656"/>
                        </a:lnTo>
                        <a:lnTo>
                          <a:pt x="51" y="656"/>
                        </a:lnTo>
                        <a:lnTo>
                          <a:pt x="52" y="656"/>
                        </a:lnTo>
                        <a:lnTo>
                          <a:pt x="51" y="657"/>
                        </a:lnTo>
                        <a:lnTo>
                          <a:pt x="50" y="658"/>
                        </a:lnTo>
                        <a:lnTo>
                          <a:pt x="50" y="659"/>
                        </a:lnTo>
                        <a:lnTo>
                          <a:pt x="52" y="659"/>
                        </a:lnTo>
                        <a:lnTo>
                          <a:pt x="50" y="659"/>
                        </a:lnTo>
                        <a:lnTo>
                          <a:pt x="49" y="659"/>
                        </a:lnTo>
                        <a:lnTo>
                          <a:pt x="48" y="659"/>
                        </a:lnTo>
                        <a:lnTo>
                          <a:pt x="46" y="659"/>
                        </a:lnTo>
                        <a:lnTo>
                          <a:pt x="45" y="659"/>
                        </a:lnTo>
                        <a:lnTo>
                          <a:pt x="44" y="658"/>
                        </a:lnTo>
                        <a:lnTo>
                          <a:pt x="42" y="656"/>
                        </a:lnTo>
                        <a:lnTo>
                          <a:pt x="42" y="658"/>
                        </a:lnTo>
                        <a:lnTo>
                          <a:pt x="41" y="659"/>
                        </a:lnTo>
                        <a:lnTo>
                          <a:pt x="38" y="659"/>
                        </a:lnTo>
                        <a:lnTo>
                          <a:pt x="38" y="657"/>
                        </a:lnTo>
                        <a:lnTo>
                          <a:pt x="35" y="655"/>
                        </a:lnTo>
                        <a:lnTo>
                          <a:pt x="35" y="653"/>
                        </a:lnTo>
                        <a:lnTo>
                          <a:pt x="34" y="653"/>
                        </a:lnTo>
                        <a:lnTo>
                          <a:pt x="32" y="653"/>
                        </a:lnTo>
                        <a:lnTo>
                          <a:pt x="32" y="655"/>
                        </a:lnTo>
                        <a:lnTo>
                          <a:pt x="31" y="656"/>
                        </a:lnTo>
                        <a:lnTo>
                          <a:pt x="29" y="657"/>
                        </a:lnTo>
                        <a:lnTo>
                          <a:pt x="29" y="659"/>
                        </a:lnTo>
                        <a:lnTo>
                          <a:pt x="29" y="660"/>
                        </a:lnTo>
                        <a:lnTo>
                          <a:pt x="31" y="661"/>
                        </a:lnTo>
                        <a:lnTo>
                          <a:pt x="32" y="662"/>
                        </a:lnTo>
                        <a:lnTo>
                          <a:pt x="32" y="663"/>
                        </a:lnTo>
                        <a:lnTo>
                          <a:pt x="32" y="664"/>
                        </a:lnTo>
                        <a:lnTo>
                          <a:pt x="32" y="666"/>
                        </a:lnTo>
                        <a:lnTo>
                          <a:pt x="31" y="666"/>
                        </a:lnTo>
                        <a:lnTo>
                          <a:pt x="29" y="666"/>
                        </a:lnTo>
                        <a:lnTo>
                          <a:pt x="28" y="666"/>
                        </a:lnTo>
                        <a:lnTo>
                          <a:pt x="26" y="666"/>
                        </a:lnTo>
                        <a:lnTo>
                          <a:pt x="26" y="667"/>
                        </a:lnTo>
                        <a:lnTo>
                          <a:pt x="26" y="668"/>
                        </a:lnTo>
                        <a:lnTo>
                          <a:pt x="23" y="669"/>
                        </a:lnTo>
                        <a:lnTo>
                          <a:pt x="21" y="670"/>
                        </a:lnTo>
                        <a:lnTo>
                          <a:pt x="20" y="671"/>
                        </a:lnTo>
                        <a:lnTo>
                          <a:pt x="19" y="672"/>
                        </a:lnTo>
                        <a:lnTo>
                          <a:pt x="19" y="674"/>
                        </a:lnTo>
                        <a:lnTo>
                          <a:pt x="19" y="679"/>
                        </a:lnTo>
                        <a:lnTo>
                          <a:pt x="21" y="679"/>
                        </a:lnTo>
                        <a:lnTo>
                          <a:pt x="22" y="679"/>
                        </a:lnTo>
                        <a:lnTo>
                          <a:pt x="26" y="677"/>
                        </a:lnTo>
                        <a:lnTo>
                          <a:pt x="29" y="675"/>
                        </a:lnTo>
                        <a:lnTo>
                          <a:pt x="34" y="673"/>
                        </a:lnTo>
                        <a:lnTo>
                          <a:pt x="38" y="672"/>
                        </a:lnTo>
                        <a:lnTo>
                          <a:pt x="39" y="672"/>
                        </a:lnTo>
                        <a:lnTo>
                          <a:pt x="42" y="673"/>
                        </a:lnTo>
                        <a:lnTo>
                          <a:pt x="44" y="675"/>
                        </a:lnTo>
                        <a:lnTo>
                          <a:pt x="45" y="675"/>
                        </a:lnTo>
                        <a:lnTo>
                          <a:pt x="37" y="676"/>
                        </a:lnTo>
                        <a:lnTo>
                          <a:pt x="29" y="678"/>
                        </a:lnTo>
                        <a:lnTo>
                          <a:pt x="24" y="681"/>
                        </a:lnTo>
                        <a:lnTo>
                          <a:pt x="19" y="685"/>
                        </a:lnTo>
                        <a:lnTo>
                          <a:pt x="19" y="694"/>
                        </a:lnTo>
                        <a:lnTo>
                          <a:pt x="21" y="694"/>
                        </a:lnTo>
                        <a:lnTo>
                          <a:pt x="22" y="694"/>
                        </a:lnTo>
                        <a:lnTo>
                          <a:pt x="24" y="697"/>
                        </a:lnTo>
                        <a:lnTo>
                          <a:pt x="24" y="699"/>
                        </a:lnTo>
                        <a:lnTo>
                          <a:pt x="23" y="702"/>
                        </a:lnTo>
                        <a:lnTo>
                          <a:pt x="22" y="704"/>
                        </a:lnTo>
                        <a:lnTo>
                          <a:pt x="20" y="704"/>
                        </a:lnTo>
                        <a:lnTo>
                          <a:pt x="19" y="704"/>
                        </a:lnTo>
                        <a:lnTo>
                          <a:pt x="18" y="704"/>
                        </a:lnTo>
                        <a:lnTo>
                          <a:pt x="17" y="704"/>
                        </a:lnTo>
                        <a:lnTo>
                          <a:pt x="17" y="707"/>
                        </a:lnTo>
                        <a:lnTo>
                          <a:pt x="17" y="711"/>
                        </a:lnTo>
                        <a:lnTo>
                          <a:pt x="17" y="715"/>
                        </a:lnTo>
                        <a:lnTo>
                          <a:pt x="17" y="717"/>
                        </a:lnTo>
                        <a:lnTo>
                          <a:pt x="17" y="720"/>
                        </a:lnTo>
                        <a:lnTo>
                          <a:pt x="17" y="725"/>
                        </a:lnTo>
                        <a:lnTo>
                          <a:pt x="18" y="728"/>
                        </a:lnTo>
                        <a:lnTo>
                          <a:pt x="21" y="730"/>
                        </a:lnTo>
                        <a:lnTo>
                          <a:pt x="26" y="730"/>
                        </a:lnTo>
                        <a:lnTo>
                          <a:pt x="28" y="730"/>
                        </a:lnTo>
                        <a:lnTo>
                          <a:pt x="29" y="730"/>
                        </a:lnTo>
                        <a:lnTo>
                          <a:pt x="32" y="730"/>
                        </a:lnTo>
                        <a:lnTo>
                          <a:pt x="37" y="728"/>
                        </a:lnTo>
                        <a:lnTo>
                          <a:pt x="41" y="728"/>
                        </a:lnTo>
                        <a:lnTo>
                          <a:pt x="44" y="728"/>
                        </a:lnTo>
                        <a:lnTo>
                          <a:pt x="48" y="730"/>
                        </a:lnTo>
                        <a:lnTo>
                          <a:pt x="48" y="734"/>
                        </a:lnTo>
                        <a:lnTo>
                          <a:pt x="44" y="732"/>
                        </a:lnTo>
                        <a:lnTo>
                          <a:pt x="41" y="731"/>
                        </a:lnTo>
                        <a:lnTo>
                          <a:pt x="37" y="732"/>
                        </a:lnTo>
                        <a:lnTo>
                          <a:pt x="32" y="734"/>
                        </a:lnTo>
                        <a:lnTo>
                          <a:pt x="28" y="735"/>
                        </a:lnTo>
                        <a:lnTo>
                          <a:pt x="24" y="734"/>
                        </a:lnTo>
                        <a:lnTo>
                          <a:pt x="19" y="733"/>
                        </a:lnTo>
                        <a:lnTo>
                          <a:pt x="13" y="730"/>
                        </a:lnTo>
                        <a:lnTo>
                          <a:pt x="13" y="732"/>
                        </a:lnTo>
                        <a:lnTo>
                          <a:pt x="13" y="733"/>
                        </a:lnTo>
                        <a:lnTo>
                          <a:pt x="13" y="734"/>
                        </a:lnTo>
                        <a:lnTo>
                          <a:pt x="11" y="734"/>
                        </a:lnTo>
                        <a:lnTo>
                          <a:pt x="11" y="735"/>
                        </a:lnTo>
                        <a:lnTo>
                          <a:pt x="13" y="736"/>
                        </a:lnTo>
                        <a:lnTo>
                          <a:pt x="13" y="737"/>
                        </a:lnTo>
                        <a:lnTo>
                          <a:pt x="14" y="740"/>
                        </a:lnTo>
                        <a:lnTo>
                          <a:pt x="14" y="744"/>
                        </a:lnTo>
                        <a:lnTo>
                          <a:pt x="16" y="748"/>
                        </a:lnTo>
                        <a:lnTo>
                          <a:pt x="17" y="753"/>
                        </a:lnTo>
                        <a:lnTo>
                          <a:pt x="16" y="752"/>
                        </a:lnTo>
                        <a:lnTo>
                          <a:pt x="14" y="751"/>
                        </a:lnTo>
                        <a:lnTo>
                          <a:pt x="14" y="750"/>
                        </a:lnTo>
                        <a:lnTo>
                          <a:pt x="13" y="749"/>
                        </a:lnTo>
                        <a:lnTo>
                          <a:pt x="11" y="750"/>
                        </a:lnTo>
                        <a:lnTo>
                          <a:pt x="11" y="751"/>
                        </a:lnTo>
                        <a:lnTo>
                          <a:pt x="10" y="753"/>
                        </a:lnTo>
                        <a:lnTo>
                          <a:pt x="10" y="754"/>
                        </a:lnTo>
                        <a:lnTo>
                          <a:pt x="10" y="756"/>
                        </a:lnTo>
                        <a:lnTo>
                          <a:pt x="10" y="753"/>
                        </a:lnTo>
                        <a:lnTo>
                          <a:pt x="8" y="753"/>
                        </a:lnTo>
                        <a:lnTo>
                          <a:pt x="7" y="753"/>
                        </a:lnTo>
                        <a:lnTo>
                          <a:pt x="5" y="755"/>
                        </a:lnTo>
                        <a:lnTo>
                          <a:pt x="5" y="756"/>
                        </a:lnTo>
                        <a:lnTo>
                          <a:pt x="5" y="757"/>
                        </a:lnTo>
                        <a:lnTo>
                          <a:pt x="7" y="759"/>
                        </a:lnTo>
                        <a:lnTo>
                          <a:pt x="7" y="760"/>
                        </a:lnTo>
                        <a:lnTo>
                          <a:pt x="8" y="761"/>
                        </a:lnTo>
                        <a:lnTo>
                          <a:pt x="10" y="762"/>
                        </a:lnTo>
                        <a:lnTo>
                          <a:pt x="10" y="763"/>
                        </a:lnTo>
                        <a:lnTo>
                          <a:pt x="10" y="758"/>
                        </a:lnTo>
                        <a:lnTo>
                          <a:pt x="10" y="757"/>
                        </a:lnTo>
                        <a:lnTo>
                          <a:pt x="10" y="756"/>
                        </a:lnTo>
                        <a:lnTo>
                          <a:pt x="13" y="760"/>
                        </a:lnTo>
                        <a:lnTo>
                          <a:pt x="14" y="763"/>
                        </a:lnTo>
                        <a:lnTo>
                          <a:pt x="16" y="767"/>
                        </a:lnTo>
                        <a:lnTo>
                          <a:pt x="17" y="768"/>
                        </a:lnTo>
                        <a:lnTo>
                          <a:pt x="17" y="770"/>
                        </a:lnTo>
                        <a:lnTo>
                          <a:pt x="17" y="771"/>
                        </a:lnTo>
                        <a:lnTo>
                          <a:pt x="17" y="772"/>
                        </a:lnTo>
                        <a:lnTo>
                          <a:pt x="14" y="776"/>
                        </a:lnTo>
                        <a:lnTo>
                          <a:pt x="11" y="782"/>
                        </a:lnTo>
                        <a:lnTo>
                          <a:pt x="11" y="787"/>
                        </a:lnTo>
                        <a:lnTo>
                          <a:pt x="10" y="791"/>
                        </a:lnTo>
                        <a:lnTo>
                          <a:pt x="13" y="794"/>
                        </a:lnTo>
                        <a:lnTo>
                          <a:pt x="13" y="795"/>
                        </a:lnTo>
                        <a:lnTo>
                          <a:pt x="13" y="796"/>
                        </a:lnTo>
                        <a:lnTo>
                          <a:pt x="13" y="801"/>
                        </a:lnTo>
                        <a:lnTo>
                          <a:pt x="14" y="801"/>
                        </a:lnTo>
                        <a:lnTo>
                          <a:pt x="16" y="801"/>
                        </a:lnTo>
                        <a:lnTo>
                          <a:pt x="17" y="801"/>
                        </a:lnTo>
                        <a:lnTo>
                          <a:pt x="18" y="799"/>
                        </a:lnTo>
                        <a:lnTo>
                          <a:pt x="19" y="796"/>
                        </a:lnTo>
                        <a:lnTo>
                          <a:pt x="19" y="795"/>
                        </a:lnTo>
                        <a:lnTo>
                          <a:pt x="19" y="794"/>
                        </a:lnTo>
                        <a:lnTo>
                          <a:pt x="21" y="794"/>
                        </a:lnTo>
                        <a:lnTo>
                          <a:pt x="22" y="794"/>
                        </a:lnTo>
                        <a:lnTo>
                          <a:pt x="24" y="794"/>
                        </a:lnTo>
                        <a:lnTo>
                          <a:pt x="25" y="795"/>
                        </a:lnTo>
                        <a:lnTo>
                          <a:pt x="26" y="796"/>
                        </a:lnTo>
                        <a:lnTo>
                          <a:pt x="26" y="798"/>
                        </a:lnTo>
                        <a:lnTo>
                          <a:pt x="26" y="802"/>
                        </a:lnTo>
                        <a:lnTo>
                          <a:pt x="25" y="804"/>
                        </a:lnTo>
                        <a:lnTo>
                          <a:pt x="23" y="804"/>
                        </a:lnTo>
                        <a:lnTo>
                          <a:pt x="19" y="804"/>
                        </a:lnTo>
                        <a:lnTo>
                          <a:pt x="17" y="804"/>
                        </a:lnTo>
                        <a:lnTo>
                          <a:pt x="14" y="804"/>
                        </a:lnTo>
                        <a:lnTo>
                          <a:pt x="13" y="804"/>
                        </a:lnTo>
                        <a:lnTo>
                          <a:pt x="13" y="805"/>
                        </a:lnTo>
                        <a:lnTo>
                          <a:pt x="11" y="806"/>
                        </a:lnTo>
                        <a:lnTo>
                          <a:pt x="11" y="809"/>
                        </a:lnTo>
                        <a:lnTo>
                          <a:pt x="10" y="811"/>
                        </a:lnTo>
                        <a:lnTo>
                          <a:pt x="13" y="813"/>
                        </a:lnTo>
                        <a:lnTo>
                          <a:pt x="13" y="814"/>
                        </a:lnTo>
                        <a:lnTo>
                          <a:pt x="11" y="815"/>
                        </a:lnTo>
                        <a:lnTo>
                          <a:pt x="10" y="813"/>
                        </a:lnTo>
                        <a:lnTo>
                          <a:pt x="11" y="813"/>
                        </a:lnTo>
                        <a:lnTo>
                          <a:pt x="10" y="813"/>
                        </a:lnTo>
                        <a:lnTo>
                          <a:pt x="8" y="813"/>
                        </a:lnTo>
                        <a:lnTo>
                          <a:pt x="7" y="813"/>
                        </a:lnTo>
                        <a:lnTo>
                          <a:pt x="5" y="817"/>
                        </a:lnTo>
                        <a:lnTo>
                          <a:pt x="5" y="821"/>
                        </a:lnTo>
                        <a:lnTo>
                          <a:pt x="8" y="824"/>
                        </a:lnTo>
                        <a:lnTo>
                          <a:pt x="10" y="830"/>
                        </a:lnTo>
                        <a:lnTo>
                          <a:pt x="11" y="830"/>
                        </a:lnTo>
                        <a:lnTo>
                          <a:pt x="13" y="829"/>
                        </a:lnTo>
                        <a:lnTo>
                          <a:pt x="13" y="827"/>
                        </a:lnTo>
                        <a:lnTo>
                          <a:pt x="13" y="826"/>
                        </a:lnTo>
                        <a:lnTo>
                          <a:pt x="13" y="825"/>
                        </a:lnTo>
                        <a:lnTo>
                          <a:pt x="13" y="820"/>
                        </a:lnTo>
                        <a:lnTo>
                          <a:pt x="14" y="818"/>
                        </a:lnTo>
                        <a:lnTo>
                          <a:pt x="17" y="816"/>
                        </a:lnTo>
                        <a:lnTo>
                          <a:pt x="19" y="814"/>
                        </a:lnTo>
                        <a:lnTo>
                          <a:pt x="22" y="813"/>
                        </a:lnTo>
                        <a:lnTo>
                          <a:pt x="23" y="811"/>
                        </a:lnTo>
                        <a:lnTo>
                          <a:pt x="25" y="810"/>
                        </a:lnTo>
                        <a:lnTo>
                          <a:pt x="27" y="808"/>
                        </a:lnTo>
                        <a:lnTo>
                          <a:pt x="29" y="808"/>
                        </a:lnTo>
                        <a:lnTo>
                          <a:pt x="31" y="808"/>
                        </a:lnTo>
                        <a:lnTo>
                          <a:pt x="32" y="808"/>
                        </a:lnTo>
                        <a:lnTo>
                          <a:pt x="34" y="810"/>
                        </a:lnTo>
                        <a:lnTo>
                          <a:pt x="34" y="811"/>
                        </a:lnTo>
                        <a:lnTo>
                          <a:pt x="32" y="813"/>
                        </a:lnTo>
                        <a:lnTo>
                          <a:pt x="29" y="815"/>
                        </a:lnTo>
                        <a:lnTo>
                          <a:pt x="25" y="819"/>
                        </a:lnTo>
                        <a:lnTo>
                          <a:pt x="23" y="821"/>
                        </a:lnTo>
                        <a:lnTo>
                          <a:pt x="22" y="824"/>
                        </a:lnTo>
                        <a:lnTo>
                          <a:pt x="23" y="829"/>
                        </a:lnTo>
                        <a:lnTo>
                          <a:pt x="24" y="831"/>
                        </a:lnTo>
                        <a:lnTo>
                          <a:pt x="26" y="834"/>
                        </a:lnTo>
                        <a:lnTo>
                          <a:pt x="27" y="834"/>
                        </a:lnTo>
                        <a:lnTo>
                          <a:pt x="29" y="834"/>
                        </a:lnTo>
                        <a:lnTo>
                          <a:pt x="29" y="836"/>
                        </a:lnTo>
                        <a:lnTo>
                          <a:pt x="29" y="835"/>
                        </a:lnTo>
                        <a:lnTo>
                          <a:pt x="29" y="836"/>
                        </a:lnTo>
                        <a:lnTo>
                          <a:pt x="25" y="836"/>
                        </a:lnTo>
                        <a:lnTo>
                          <a:pt x="23" y="837"/>
                        </a:lnTo>
                        <a:lnTo>
                          <a:pt x="22" y="839"/>
                        </a:lnTo>
                        <a:lnTo>
                          <a:pt x="19" y="836"/>
                        </a:lnTo>
                        <a:lnTo>
                          <a:pt x="17" y="836"/>
                        </a:lnTo>
                        <a:lnTo>
                          <a:pt x="17" y="835"/>
                        </a:lnTo>
                        <a:lnTo>
                          <a:pt x="14" y="835"/>
                        </a:lnTo>
                        <a:lnTo>
                          <a:pt x="13" y="834"/>
                        </a:lnTo>
                        <a:lnTo>
                          <a:pt x="11" y="834"/>
                        </a:lnTo>
                        <a:lnTo>
                          <a:pt x="10" y="834"/>
                        </a:lnTo>
                        <a:lnTo>
                          <a:pt x="8" y="835"/>
                        </a:lnTo>
                        <a:lnTo>
                          <a:pt x="5" y="839"/>
                        </a:lnTo>
                        <a:lnTo>
                          <a:pt x="1" y="844"/>
                        </a:lnTo>
                        <a:lnTo>
                          <a:pt x="0" y="845"/>
                        </a:lnTo>
                        <a:lnTo>
                          <a:pt x="0" y="846"/>
                        </a:lnTo>
                        <a:lnTo>
                          <a:pt x="0" y="851"/>
                        </a:lnTo>
                        <a:lnTo>
                          <a:pt x="2" y="857"/>
                        </a:lnTo>
                        <a:lnTo>
                          <a:pt x="3" y="862"/>
                        </a:lnTo>
                        <a:lnTo>
                          <a:pt x="3" y="865"/>
                        </a:lnTo>
                        <a:lnTo>
                          <a:pt x="8" y="865"/>
                        </a:lnTo>
                        <a:lnTo>
                          <a:pt x="11" y="864"/>
                        </a:lnTo>
                        <a:lnTo>
                          <a:pt x="13" y="862"/>
                        </a:lnTo>
                        <a:lnTo>
                          <a:pt x="14" y="862"/>
                        </a:lnTo>
                        <a:lnTo>
                          <a:pt x="17" y="862"/>
                        </a:lnTo>
                        <a:lnTo>
                          <a:pt x="19" y="862"/>
                        </a:lnTo>
                        <a:lnTo>
                          <a:pt x="22" y="862"/>
                        </a:lnTo>
                        <a:lnTo>
                          <a:pt x="22" y="860"/>
                        </a:lnTo>
                        <a:lnTo>
                          <a:pt x="22" y="859"/>
                        </a:lnTo>
                        <a:lnTo>
                          <a:pt x="22" y="858"/>
                        </a:lnTo>
                        <a:lnTo>
                          <a:pt x="22" y="856"/>
                        </a:lnTo>
                        <a:lnTo>
                          <a:pt x="22" y="857"/>
                        </a:lnTo>
                        <a:lnTo>
                          <a:pt x="22" y="858"/>
                        </a:lnTo>
                        <a:lnTo>
                          <a:pt x="22" y="859"/>
                        </a:lnTo>
                        <a:lnTo>
                          <a:pt x="22" y="860"/>
                        </a:lnTo>
                        <a:lnTo>
                          <a:pt x="22" y="862"/>
                        </a:lnTo>
                        <a:lnTo>
                          <a:pt x="23" y="862"/>
                        </a:lnTo>
                        <a:lnTo>
                          <a:pt x="24" y="863"/>
                        </a:lnTo>
                        <a:lnTo>
                          <a:pt x="25" y="865"/>
                        </a:lnTo>
                        <a:lnTo>
                          <a:pt x="26" y="865"/>
                        </a:lnTo>
                        <a:lnTo>
                          <a:pt x="27" y="866"/>
                        </a:lnTo>
                        <a:lnTo>
                          <a:pt x="25" y="867"/>
                        </a:lnTo>
                        <a:lnTo>
                          <a:pt x="23" y="868"/>
                        </a:lnTo>
                        <a:lnTo>
                          <a:pt x="22" y="868"/>
                        </a:lnTo>
                        <a:lnTo>
                          <a:pt x="23" y="870"/>
                        </a:lnTo>
                        <a:lnTo>
                          <a:pt x="24" y="872"/>
                        </a:lnTo>
                        <a:lnTo>
                          <a:pt x="25" y="873"/>
                        </a:lnTo>
                        <a:lnTo>
                          <a:pt x="26" y="875"/>
                        </a:lnTo>
                        <a:lnTo>
                          <a:pt x="21" y="880"/>
                        </a:lnTo>
                        <a:lnTo>
                          <a:pt x="18" y="881"/>
                        </a:lnTo>
                        <a:lnTo>
                          <a:pt x="17" y="882"/>
                        </a:lnTo>
                        <a:lnTo>
                          <a:pt x="18" y="885"/>
                        </a:lnTo>
                        <a:lnTo>
                          <a:pt x="19" y="887"/>
                        </a:lnTo>
                        <a:lnTo>
                          <a:pt x="19" y="889"/>
                        </a:lnTo>
                        <a:lnTo>
                          <a:pt x="19" y="891"/>
                        </a:lnTo>
                        <a:lnTo>
                          <a:pt x="16" y="891"/>
                        </a:lnTo>
                        <a:lnTo>
                          <a:pt x="13" y="891"/>
                        </a:lnTo>
                        <a:lnTo>
                          <a:pt x="11" y="890"/>
                        </a:lnTo>
                        <a:lnTo>
                          <a:pt x="7" y="888"/>
                        </a:lnTo>
                        <a:lnTo>
                          <a:pt x="5" y="890"/>
                        </a:lnTo>
                        <a:lnTo>
                          <a:pt x="5" y="892"/>
                        </a:lnTo>
                        <a:lnTo>
                          <a:pt x="4" y="894"/>
                        </a:lnTo>
                        <a:lnTo>
                          <a:pt x="3" y="894"/>
                        </a:lnTo>
                        <a:lnTo>
                          <a:pt x="3" y="896"/>
                        </a:lnTo>
                        <a:lnTo>
                          <a:pt x="3" y="898"/>
                        </a:lnTo>
                        <a:lnTo>
                          <a:pt x="3" y="899"/>
                        </a:lnTo>
                        <a:lnTo>
                          <a:pt x="3" y="901"/>
                        </a:lnTo>
                        <a:lnTo>
                          <a:pt x="3" y="902"/>
                        </a:lnTo>
                        <a:lnTo>
                          <a:pt x="2" y="903"/>
                        </a:lnTo>
                        <a:lnTo>
                          <a:pt x="0" y="904"/>
                        </a:lnTo>
                        <a:lnTo>
                          <a:pt x="0" y="908"/>
                        </a:lnTo>
                        <a:lnTo>
                          <a:pt x="0" y="911"/>
                        </a:lnTo>
                        <a:lnTo>
                          <a:pt x="1" y="914"/>
                        </a:lnTo>
                        <a:lnTo>
                          <a:pt x="3" y="917"/>
                        </a:lnTo>
                        <a:lnTo>
                          <a:pt x="2" y="917"/>
                        </a:lnTo>
                        <a:lnTo>
                          <a:pt x="2" y="918"/>
                        </a:lnTo>
                        <a:lnTo>
                          <a:pt x="3" y="920"/>
                        </a:lnTo>
                        <a:lnTo>
                          <a:pt x="4" y="924"/>
                        </a:lnTo>
                        <a:lnTo>
                          <a:pt x="7" y="926"/>
                        </a:lnTo>
                        <a:lnTo>
                          <a:pt x="8" y="928"/>
                        </a:lnTo>
                        <a:lnTo>
                          <a:pt x="10" y="930"/>
                        </a:lnTo>
                        <a:lnTo>
                          <a:pt x="11" y="932"/>
                        </a:lnTo>
                        <a:lnTo>
                          <a:pt x="11" y="934"/>
                        </a:lnTo>
                        <a:lnTo>
                          <a:pt x="11" y="935"/>
                        </a:lnTo>
                        <a:lnTo>
                          <a:pt x="13" y="936"/>
                        </a:lnTo>
                        <a:lnTo>
                          <a:pt x="14" y="936"/>
                        </a:lnTo>
                        <a:lnTo>
                          <a:pt x="16" y="937"/>
                        </a:lnTo>
                        <a:lnTo>
                          <a:pt x="17" y="939"/>
                        </a:lnTo>
                        <a:lnTo>
                          <a:pt x="17" y="940"/>
                        </a:lnTo>
                        <a:lnTo>
                          <a:pt x="19" y="941"/>
                        </a:lnTo>
                        <a:lnTo>
                          <a:pt x="22" y="946"/>
                        </a:lnTo>
                        <a:lnTo>
                          <a:pt x="26" y="951"/>
                        </a:lnTo>
                        <a:lnTo>
                          <a:pt x="28" y="952"/>
                        </a:lnTo>
                        <a:lnTo>
                          <a:pt x="29" y="953"/>
                        </a:lnTo>
                        <a:lnTo>
                          <a:pt x="34" y="953"/>
                        </a:lnTo>
                        <a:lnTo>
                          <a:pt x="35" y="953"/>
                        </a:lnTo>
                        <a:lnTo>
                          <a:pt x="35" y="954"/>
                        </a:lnTo>
                        <a:lnTo>
                          <a:pt x="35" y="955"/>
                        </a:lnTo>
                        <a:lnTo>
                          <a:pt x="32" y="962"/>
                        </a:lnTo>
                        <a:lnTo>
                          <a:pt x="35" y="964"/>
                        </a:lnTo>
                        <a:lnTo>
                          <a:pt x="35" y="965"/>
                        </a:lnTo>
                        <a:lnTo>
                          <a:pt x="38" y="965"/>
                        </a:lnTo>
                        <a:lnTo>
                          <a:pt x="38" y="964"/>
                        </a:lnTo>
                        <a:lnTo>
                          <a:pt x="42" y="965"/>
                        </a:lnTo>
                        <a:lnTo>
                          <a:pt x="44" y="968"/>
                        </a:lnTo>
                        <a:lnTo>
                          <a:pt x="45" y="970"/>
                        </a:lnTo>
                        <a:lnTo>
                          <a:pt x="46" y="971"/>
                        </a:lnTo>
                        <a:lnTo>
                          <a:pt x="48" y="972"/>
                        </a:lnTo>
                        <a:lnTo>
                          <a:pt x="52" y="972"/>
                        </a:lnTo>
                        <a:lnTo>
                          <a:pt x="59" y="973"/>
                        </a:lnTo>
                        <a:lnTo>
                          <a:pt x="65" y="975"/>
                        </a:lnTo>
                        <a:lnTo>
                          <a:pt x="71" y="976"/>
                        </a:lnTo>
                        <a:lnTo>
                          <a:pt x="77" y="975"/>
                        </a:lnTo>
                        <a:lnTo>
                          <a:pt x="77" y="972"/>
                        </a:lnTo>
                        <a:lnTo>
                          <a:pt x="81" y="972"/>
                        </a:lnTo>
                        <a:lnTo>
                          <a:pt x="86" y="973"/>
                        </a:lnTo>
                        <a:lnTo>
                          <a:pt x="89" y="973"/>
                        </a:lnTo>
                        <a:lnTo>
                          <a:pt x="90" y="972"/>
                        </a:lnTo>
                        <a:lnTo>
                          <a:pt x="93" y="971"/>
                        </a:lnTo>
                        <a:lnTo>
                          <a:pt x="96" y="969"/>
                        </a:lnTo>
                        <a:lnTo>
                          <a:pt x="99" y="966"/>
                        </a:lnTo>
                        <a:lnTo>
                          <a:pt x="100" y="965"/>
                        </a:lnTo>
                        <a:lnTo>
                          <a:pt x="101" y="965"/>
                        </a:lnTo>
                        <a:lnTo>
                          <a:pt x="102" y="965"/>
                        </a:lnTo>
                        <a:lnTo>
                          <a:pt x="107" y="965"/>
                        </a:lnTo>
                        <a:lnTo>
                          <a:pt x="108" y="964"/>
                        </a:lnTo>
                        <a:lnTo>
                          <a:pt x="111" y="960"/>
                        </a:lnTo>
                        <a:lnTo>
                          <a:pt x="115" y="956"/>
                        </a:lnTo>
                        <a:lnTo>
                          <a:pt x="121" y="951"/>
                        </a:lnTo>
                        <a:lnTo>
                          <a:pt x="126" y="946"/>
                        </a:lnTo>
                        <a:lnTo>
                          <a:pt x="131" y="941"/>
                        </a:lnTo>
                        <a:lnTo>
                          <a:pt x="135" y="937"/>
                        </a:lnTo>
                        <a:lnTo>
                          <a:pt x="135" y="936"/>
                        </a:lnTo>
                        <a:lnTo>
                          <a:pt x="135" y="934"/>
                        </a:lnTo>
                        <a:lnTo>
                          <a:pt x="135" y="933"/>
                        </a:lnTo>
                        <a:lnTo>
                          <a:pt x="135" y="931"/>
                        </a:lnTo>
                        <a:lnTo>
                          <a:pt x="135" y="930"/>
                        </a:lnTo>
                        <a:lnTo>
                          <a:pt x="139" y="930"/>
                        </a:lnTo>
                        <a:lnTo>
                          <a:pt x="142" y="930"/>
                        </a:lnTo>
                        <a:lnTo>
                          <a:pt x="143" y="929"/>
                        </a:lnTo>
                        <a:lnTo>
                          <a:pt x="145" y="927"/>
                        </a:lnTo>
                        <a:lnTo>
                          <a:pt x="145" y="922"/>
                        </a:lnTo>
                        <a:lnTo>
                          <a:pt x="144" y="919"/>
                        </a:lnTo>
                        <a:lnTo>
                          <a:pt x="142" y="917"/>
                        </a:lnTo>
                        <a:lnTo>
                          <a:pt x="144" y="917"/>
                        </a:lnTo>
                        <a:lnTo>
                          <a:pt x="145" y="918"/>
                        </a:lnTo>
                        <a:lnTo>
                          <a:pt x="145" y="920"/>
                        </a:lnTo>
                        <a:lnTo>
                          <a:pt x="150" y="919"/>
                        </a:lnTo>
                        <a:lnTo>
                          <a:pt x="155" y="917"/>
                        </a:lnTo>
                        <a:lnTo>
                          <a:pt x="159" y="915"/>
                        </a:lnTo>
                        <a:lnTo>
                          <a:pt x="161" y="913"/>
                        </a:lnTo>
                        <a:lnTo>
                          <a:pt x="161" y="904"/>
                        </a:lnTo>
                        <a:lnTo>
                          <a:pt x="163" y="908"/>
                        </a:lnTo>
                        <a:lnTo>
                          <a:pt x="165" y="912"/>
                        </a:lnTo>
                        <a:lnTo>
                          <a:pt x="169" y="914"/>
                        </a:lnTo>
                        <a:lnTo>
                          <a:pt x="175" y="913"/>
                        </a:lnTo>
                        <a:lnTo>
                          <a:pt x="176" y="912"/>
                        </a:lnTo>
                        <a:lnTo>
                          <a:pt x="177" y="911"/>
                        </a:lnTo>
                        <a:lnTo>
                          <a:pt x="178" y="910"/>
                        </a:lnTo>
                        <a:lnTo>
                          <a:pt x="179" y="908"/>
                        </a:lnTo>
                        <a:lnTo>
                          <a:pt x="180" y="906"/>
                        </a:lnTo>
                        <a:lnTo>
                          <a:pt x="180" y="904"/>
                        </a:lnTo>
                        <a:lnTo>
                          <a:pt x="181" y="901"/>
                        </a:lnTo>
                        <a:lnTo>
                          <a:pt x="182" y="899"/>
                        </a:lnTo>
                        <a:lnTo>
                          <a:pt x="183" y="898"/>
                        </a:lnTo>
                        <a:lnTo>
                          <a:pt x="185" y="896"/>
                        </a:lnTo>
                        <a:lnTo>
                          <a:pt x="187" y="894"/>
                        </a:lnTo>
                        <a:lnTo>
                          <a:pt x="188" y="892"/>
                        </a:lnTo>
                        <a:lnTo>
                          <a:pt x="188" y="889"/>
                        </a:lnTo>
                        <a:lnTo>
                          <a:pt x="188" y="887"/>
                        </a:lnTo>
                        <a:lnTo>
                          <a:pt x="187" y="884"/>
                        </a:lnTo>
                        <a:lnTo>
                          <a:pt x="185" y="883"/>
                        </a:lnTo>
                        <a:lnTo>
                          <a:pt x="185" y="882"/>
                        </a:lnTo>
                        <a:lnTo>
                          <a:pt x="185" y="881"/>
                        </a:lnTo>
                        <a:lnTo>
                          <a:pt x="185" y="880"/>
                        </a:lnTo>
                        <a:lnTo>
                          <a:pt x="185" y="875"/>
                        </a:lnTo>
                        <a:lnTo>
                          <a:pt x="188" y="875"/>
                        </a:lnTo>
                        <a:lnTo>
                          <a:pt x="190" y="875"/>
                        </a:lnTo>
                        <a:lnTo>
                          <a:pt x="192" y="875"/>
                        </a:lnTo>
                        <a:lnTo>
                          <a:pt x="193" y="874"/>
                        </a:lnTo>
                        <a:lnTo>
                          <a:pt x="194" y="872"/>
                        </a:lnTo>
                        <a:lnTo>
                          <a:pt x="193" y="867"/>
                        </a:lnTo>
                        <a:lnTo>
                          <a:pt x="193" y="863"/>
                        </a:lnTo>
                        <a:lnTo>
                          <a:pt x="192" y="860"/>
                        </a:lnTo>
                        <a:lnTo>
                          <a:pt x="194" y="856"/>
                        </a:lnTo>
                        <a:lnTo>
                          <a:pt x="194" y="855"/>
                        </a:lnTo>
                        <a:lnTo>
                          <a:pt x="195" y="854"/>
                        </a:lnTo>
                        <a:lnTo>
                          <a:pt x="197" y="852"/>
                        </a:lnTo>
                        <a:lnTo>
                          <a:pt x="197" y="849"/>
                        </a:lnTo>
                        <a:lnTo>
                          <a:pt x="196" y="849"/>
                        </a:lnTo>
                        <a:lnTo>
                          <a:pt x="198" y="849"/>
                        </a:lnTo>
                        <a:lnTo>
                          <a:pt x="199" y="849"/>
                        </a:lnTo>
                        <a:lnTo>
                          <a:pt x="200" y="849"/>
                        </a:lnTo>
                        <a:lnTo>
                          <a:pt x="200" y="850"/>
                        </a:lnTo>
                        <a:lnTo>
                          <a:pt x="200" y="851"/>
                        </a:lnTo>
                        <a:lnTo>
                          <a:pt x="200" y="856"/>
                        </a:lnTo>
                        <a:lnTo>
                          <a:pt x="197" y="853"/>
                        </a:lnTo>
                        <a:lnTo>
                          <a:pt x="197" y="857"/>
                        </a:lnTo>
                        <a:lnTo>
                          <a:pt x="197" y="859"/>
                        </a:lnTo>
                        <a:lnTo>
                          <a:pt x="198" y="860"/>
                        </a:lnTo>
                        <a:lnTo>
                          <a:pt x="199" y="862"/>
                        </a:lnTo>
                        <a:lnTo>
                          <a:pt x="200" y="863"/>
                        </a:lnTo>
                        <a:lnTo>
                          <a:pt x="200" y="865"/>
                        </a:lnTo>
                        <a:lnTo>
                          <a:pt x="200" y="867"/>
                        </a:lnTo>
                        <a:lnTo>
                          <a:pt x="199" y="868"/>
                        </a:lnTo>
                        <a:lnTo>
                          <a:pt x="198" y="868"/>
                        </a:lnTo>
                        <a:lnTo>
                          <a:pt x="197" y="868"/>
                        </a:lnTo>
                        <a:lnTo>
                          <a:pt x="196" y="873"/>
                        </a:lnTo>
                        <a:lnTo>
                          <a:pt x="196" y="876"/>
                        </a:lnTo>
                        <a:lnTo>
                          <a:pt x="197" y="879"/>
                        </a:lnTo>
                        <a:lnTo>
                          <a:pt x="197" y="882"/>
                        </a:lnTo>
                        <a:lnTo>
                          <a:pt x="194" y="888"/>
                        </a:lnTo>
                        <a:lnTo>
                          <a:pt x="194" y="890"/>
                        </a:lnTo>
                        <a:lnTo>
                          <a:pt x="195" y="891"/>
                        </a:lnTo>
                        <a:lnTo>
                          <a:pt x="197" y="892"/>
                        </a:lnTo>
                        <a:lnTo>
                          <a:pt x="197" y="894"/>
                        </a:lnTo>
                        <a:lnTo>
                          <a:pt x="199" y="897"/>
                        </a:lnTo>
                        <a:lnTo>
                          <a:pt x="200" y="899"/>
                        </a:lnTo>
                        <a:lnTo>
                          <a:pt x="200" y="904"/>
                        </a:lnTo>
                        <a:lnTo>
                          <a:pt x="204" y="904"/>
                        </a:lnTo>
                        <a:lnTo>
                          <a:pt x="207" y="905"/>
                        </a:lnTo>
                        <a:lnTo>
                          <a:pt x="209" y="906"/>
                        </a:lnTo>
                        <a:lnTo>
                          <a:pt x="210" y="907"/>
                        </a:lnTo>
                        <a:lnTo>
                          <a:pt x="210" y="909"/>
                        </a:lnTo>
                        <a:lnTo>
                          <a:pt x="210" y="910"/>
                        </a:lnTo>
                        <a:lnTo>
                          <a:pt x="212" y="910"/>
                        </a:lnTo>
                        <a:lnTo>
                          <a:pt x="215" y="908"/>
                        </a:lnTo>
                        <a:lnTo>
                          <a:pt x="217" y="907"/>
                        </a:lnTo>
                        <a:lnTo>
                          <a:pt x="220" y="907"/>
                        </a:lnTo>
                        <a:lnTo>
                          <a:pt x="222" y="908"/>
                        </a:lnTo>
                        <a:lnTo>
                          <a:pt x="223" y="911"/>
                        </a:lnTo>
                        <a:lnTo>
                          <a:pt x="224" y="914"/>
                        </a:lnTo>
                        <a:lnTo>
                          <a:pt x="226" y="917"/>
                        </a:lnTo>
                        <a:lnTo>
                          <a:pt x="231" y="916"/>
                        </a:lnTo>
                        <a:lnTo>
                          <a:pt x="233" y="913"/>
                        </a:lnTo>
                        <a:lnTo>
                          <a:pt x="233" y="910"/>
                        </a:lnTo>
                        <a:lnTo>
                          <a:pt x="234" y="906"/>
                        </a:lnTo>
                        <a:lnTo>
                          <a:pt x="233" y="895"/>
                        </a:lnTo>
                        <a:lnTo>
                          <a:pt x="233" y="884"/>
                        </a:lnTo>
                        <a:lnTo>
                          <a:pt x="233" y="878"/>
                        </a:lnTo>
                        <a:lnTo>
                          <a:pt x="233" y="872"/>
                        </a:lnTo>
                        <a:lnTo>
                          <a:pt x="233" y="867"/>
                        </a:lnTo>
                        <a:lnTo>
                          <a:pt x="234" y="864"/>
                        </a:lnTo>
                        <a:lnTo>
                          <a:pt x="235" y="862"/>
                        </a:lnTo>
                        <a:lnTo>
                          <a:pt x="236" y="860"/>
                        </a:lnTo>
                        <a:lnTo>
                          <a:pt x="238" y="860"/>
                        </a:lnTo>
                        <a:lnTo>
                          <a:pt x="240" y="860"/>
                        </a:lnTo>
                        <a:lnTo>
                          <a:pt x="242" y="859"/>
                        </a:lnTo>
                        <a:lnTo>
                          <a:pt x="242" y="857"/>
                        </a:lnTo>
                        <a:lnTo>
                          <a:pt x="241" y="854"/>
                        </a:lnTo>
                        <a:lnTo>
                          <a:pt x="239" y="852"/>
                        </a:lnTo>
                        <a:lnTo>
                          <a:pt x="239" y="849"/>
                        </a:lnTo>
                        <a:lnTo>
                          <a:pt x="241" y="848"/>
                        </a:lnTo>
                        <a:lnTo>
                          <a:pt x="244" y="848"/>
                        </a:lnTo>
                        <a:lnTo>
                          <a:pt x="246" y="847"/>
                        </a:lnTo>
                        <a:lnTo>
                          <a:pt x="249" y="846"/>
                        </a:lnTo>
                        <a:lnTo>
                          <a:pt x="253" y="843"/>
                        </a:lnTo>
                        <a:lnTo>
                          <a:pt x="255" y="839"/>
                        </a:lnTo>
                        <a:lnTo>
                          <a:pt x="256" y="835"/>
                        </a:lnTo>
                        <a:lnTo>
                          <a:pt x="256" y="830"/>
                        </a:lnTo>
                        <a:lnTo>
                          <a:pt x="257" y="828"/>
                        </a:lnTo>
                        <a:lnTo>
                          <a:pt x="258" y="826"/>
                        </a:lnTo>
                        <a:lnTo>
                          <a:pt x="259" y="824"/>
                        </a:lnTo>
                        <a:lnTo>
                          <a:pt x="261" y="820"/>
                        </a:lnTo>
                        <a:lnTo>
                          <a:pt x="262" y="818"/>
                        </a:lnTo>
                        <a:lnTo>
                          <a:pt x="265" y="815"/>
                        </a:lnTo>
                        <a:lnTo>
                          <a:pt x="267" y="813"/>
                        </a:lnTo>
                        <a:lnTo>
                          <a:pt x="268" y="811"/>
                        </a:lnTo>
                        <a:lnTo>
                          <a:pt x="270" y="807"/>
                        </a:lnTo>
                        <a:lnTo>
                          <a:pt x="269" y="803"/>
                        </a:lnTo>
                        <a:lnTo>
                          <a:pt x="269" y="799"/>
                        </a:lnTo>
                        <a:lnTo>
                          <a:pt x="268" y="794"/>
                        </a:lnTo>
                        <a:lnTo>
                          <a:pt x="268" y="790"/>
                        </a:lnTo>
                        <a:lnTo>
                          <a:pt x="266" y="787"/>
                        </a:lnTo>
                        <a:lnTo>
                          <a:pt x="264" y="783"/>
                        </a:lnTo>
                        <a:lnTo>
                          <a:pt x="261" y="779"/>
                        </a:lnTo>
                        <a:lnTo>
                          <a:pt x="261" y="774"/>
                        </a:lnTo>
                        <a:lnTo>
                          <a:pt x="261" y="772"/>
                        </a:lnTo>
                        <a:lnTo>
                          <a:pt x="263" y="769"/>
                        </a:lnTo>
                        <a:lnTo>
                          <a:pt x="268" y="768"/>
                        </a:lnTo>
                        <a:lnTo>
                          <a:pt x="274" y="767"/>
                        </a:lnTo>
                        <a:lnTo>
                          <a:pt x="281" y="768"/>
                        </a:lnTo>
                        <a:lnTo>
                          <a:pt x="282" y="768"/>
                        </a:lnTo>
                        <a:lnTo>
                          <a:pt x="284" y="766"/>
                        </a:lnTo>
                        <a:lnTo>
                          <a:pt x="287" y="761"/>
                        </a:lnTo>
                        <a:lnTo>
                          <a:pt x="290" y="754"/>
                        </a:lnTo>
                        <a:lnTo>
                          <a:pt x="290" y="751"/>
                        </a:lnTo>
                        <a:lnTo>
                          <a:pt x="291" y="749"/>
                        </a:lnTo>
                        <a:lnTo>
                          <a:pt x="290" y="746"/>
                        </a:lnTo>
                        <a:lnTo>
                          <a:pt x="289" y="740"/>
                        </a:lnTo>
                        <a:lnTo>
                          <a:pt x="286" y="734"/>
                        </a:lnTo>
                        <a:lnTo>
                          <a:pt x="284" y="727"/>
                        </a:lnTo>
                        <a:lnTo>
                          <a:pt x="283" y="727"/>
                        </a:lnTo>
                        <a:lnTo>
                          <a:pt x="281" y="728"/>
                        </a:lnTo>
                        <a:lnTo>
                          <a:pt x="279" y="728"/>
                        </a:lnTo>
                        <a:lnTo>
                          <a:pt x="278" y="727"/>
                        </a:lnTo>
                        <a:lnTo>
                          <a:pt x="275" y="723"/>
                        </a:lnTo>
                        <a:lnTo>
                          <a:pt x="270" y="717"/>
                        </a:lnTo>
                        <a:lnTo>
                          <a:pt x="266" y="712"/>
                        </a:lnTo>
                        <a:lnTo>
                          <a:pt x="265" y="708"/>
                        </a:lnTo>
                        <a:lnTo>
                          <a:pt x="266" y="703"/>
                        </a:lnTo>
                        <a:lnTo>
                          <a:pt x="268" y="697"/>
                        </a:lnTo>
                        <a:lnTo>
                          <a:pt x="271" y="684"/>
                        </a:lnTo>
                        <a:lnTo>
                          <a:pt x="272" y="677"/>
                        </a:lnTo>
                        <a:lnTo>
                          <a:pt x="272" y="670"/>
                        </a:lnTo>
                        <a:lnTo>
                          <a:pt x="272" y="666"/>
                        </a:lnTo>
                        <a:lnTo>
                          <a:pt x="272" y="663"/>
                        </a:lnTo>
                        <a:lnTo>
                          <a:pt x="271" y="662"/>
                        </a:lnTo>
                        <a:lnTo>
                          <a:pt x="270" y="661"/>
                        </a:lnTo>
                        <a:lnTo>
                          <a:pt x="268" y="655"/>
                        </a:lnTo>
                        <a:lnTo>
                          <a:pt x="266" y="649"/>
                        </a:lnTo>
                        <a:lnTo>
                          <a:pt x="265" y="643"/>
                        </a:lnTo>
                        <a:lnTo>
                          <a:pt x="265" y="641"/>
                        </a:lnTo>
                        <a:lnTo>
                          <a:pt x="266" y="639"/>
                        </a:lnTo>
                        <a:lnTo>
                          <a:pt x="268" y="637"/>
                        </a:lnTo>
                        <a:lnTo>
                          <a:pt x="269" y="627"/>
                        </a:lnTo>
                        <a:lnTo>
                          <a:pt x="270" y="622"/>
                        </a:lnTo>
                        <a:lnTo>
                          <a:pt x="272" y="618"/>
                        </a:lnTo>
                        <a:lnTo>
                          <a:pt x="272" y="617"/>
                        </a:lnTo>
                        <a:lnTo>
                          <a:pt x="272" y="616"/>
                        </a:lnTo>
                        <a:lnTo>
                          <a:pt x="272" y="611"/>
                        </a:lnTo>
                        <a:lnTo>
                          <a:pt x="270" y="607"/>
                        </a:lnTo>
                        <a:lnTo>
                          <a:pt x="268" y="603"/>
                        </a:lnTo>
                        <a:lnTo>
                          <a:pt x="266" y="600"/>
                        </a:lnTo>
                        <a:lnTo>
                          <a:pt x="265" y="598"/>
                        </a:lnTo>
                        <a:lnTo>
                          <a:pt x="267" y="596"/>
                        </a:lnTo>
                        <a:lnTo>
                          <a:pt x="269" y="595"/>
                        </a:lnTo>
                        <a:lnTo>
                          <a:pt x="271" y="594"/>
                        </a:lnTo>
                        <a:lnTo>
                          <a:pt x="272" y="592"/>
                        </a:lnTo>
                        <a:lnTo>
                          <a:pt x="273" y="589"/>
                        </a:lnTo>
                        <a:lnTo>
                          <a:pt x="273" y="587"/>
                        </a:lnTo>
                        <a:lnTo>
                          <a:pt x="272" y="584"/>
                        </a:lnTo>
                        <a:lnTo>
                          <a:pt x="272" y="582"/>
                        </a:lnTo>
                        <a:lnTo>
                          <a:pt x="272" y="580"/>
                        </a:lnTo>
                        <a:lnTo>
                          <a:pt x="274" y="579"/>
                        </a:lnTo>
                        <a:lnTo>
                          <a:pt x="276" y="577"/>
                        </a:lnTo>
                        <a:lnTo>
                          <a:pt x="278" y="575"/>
                        </a:lnTo>
                        <a:lnTo>
                          <a:pt x="280" y="573"/>
                        </a:lnTo>
                        <a:lnTo>
                          <a:pt x="281" y="572"/>
                        </a:lnTo>
                        <a:lnTo>
                          <a:pt x="282" y="570"/>
                        </a:lnTo>
                        <a:lnTo>
                          <a:pt x="284" y="569"/>
                        </a:lnTo>
                        <a:lnTo>
                          <a:pt x="294" y="559"/>
                        </a:lnTo>
                        <a:lnTo>
                          <a:pt x="297" y="559"/>
                        </a:lnTo>
                        <a:lnTo>
                          <a:pt x="299" y="558"/>
                        </a:lnTo>
                        <a:lnTo>
                          <a:pt x="302" y="557"/>
                        </a:lnTo>
                        <a:lnTo>
                          <a:pt x="304" y="556"/>
                        </a:lnTo>
                        <a:lnTo>
                          <a:pt x="306" y="554"/>
                        </a:lnTo>
                        <a:lnTo>
                          <a:pt x="308" y="553"/>
                        </a:lnTo>
                        <a:lnTo>
                          <a:pt x="313" y="553"/>
                        </a:lnTo>
                        <a:lnTo>
                          <a:pt x="318" y="553"/>
                        </a:lnTo>
                        <a:lnTo>
                          <a:pt x="321" y="553"/>
                        </a:lnTo>
                        <a:lnTo>
                          <a:pt x="324" y="554"/>
                        </a:lnTo>
                        <a:lnTo>
                          <a:pt x="327" y="556"/>
                        </a:lnTo>
                        <a:lnTo>
                          <a:pt x="330" y="557"/>
                        </a:lnTo>
                        <a:lnTo>
                          <a:pt x="334" y="558"/>
                        </a:lnTo>
                        <a:lnTo>
                          <a:pt x="339" y="563"/>
                        </a:lnTo>
                        <a:lnTo>
                          <a:pt x="342" y="561"/>
                        </a:lnTo>
                        <a:lnTo>
                          <a:pt x="344" y="557"/>
                        </a:lnTo>
                        <a:lnTo>
                          <a:pt x="345" y="551"/>
                        </a:lnTo>
                        <a:lnTo>
                          <a:pt x="346" y="546"/>
                        </a:lnTo>
                        <a:lnTo>
                          <a:pt x="348" y="541"/>
                        </a:lnTo>
                        <a:lnTo>
                          <a:pt x="350" y="536"/>
                        </a:lnTo>
                        <a:lnTo>
                          <a:pt x="349" y="532"/>
                        </a:lnTo>
                        <a:lnTo>
                          <a:pt x="346" y="527"/>
                        </a:lnTo>
                        <a:lnTo>
                          <a:pt x="343" y="523"/>
                        </a:lnTo>
                        <a:lnTo>
                          <a:pt x="341" y="522"/>
                        </a:lnTo>
                        <a:lnTo>
                          <a:pt x="338" y="520"/>
                        </a:lnTo>
                        <a:lnTo>
                          <a:pt x="336" y="518"/>
                        </a:lnTo>
                        <a:lnTo>
                          <a:pt x="333" y="516"/>
                        </a:lnTo>
                        <a:lnTo>
                          <a:pt x="332" y="514"/>
                        </a:lnTo>
                        <a:lnTo>
                          <a:pt x="331" y="513"/>
                        </a:lnTo>
                        <a:lnTo>
                          <a:pt x="332" y="511"/>
                        </a:lnTo>
                        <a:lnTo>
                          <a:pt x="334" y="508"/>
                        </a:lnTo>
                        <a:lnTo>
                          <a:pt x="337" y="503"/>
                        </a:lnTo>
                        <a:lnTo>
                          <a:pt x="340" y="498"/>
                        </a:lnTo>
                        <a:lnTo>
                          <a:pt x="343" y="491"/>
                        </a:lnTo>
                        <a:lnTo>
                          <a:pt x="351" y="478"/>
                        </a:lnTo>
                        <a:lnTo>
                          <a:pt x="354" y="472"/>
                        </a:lnTo>
                        <a:lnTo>
                          <a:pt x="358" y="466"/>
                        </a:lnTo>
                        <a:lnTo>
                          <a:pt x="360" y="463"/>
                        </a:lnTo>
                        <a:lnTo>
                          <a:pt x="361" y="458"/>
                        </a:lnTo>
                        <a:lnTo>
                          <a:pt x="362" y="454"/>
                        </a:lnTo>
                        <a:lnTo>
                          <a:pt x="362" y="450"/>
                        </a:lnTo>
                        <a:lnTo>
                          <a:pt x="362" y="447"/>
                        </a:lnTo>
                        <a:lnTo>
                          <a:pt x="362" y="443"/>
                        </a:lnTo>
                        <a:lnTo>
                          <a:pt x="363" y="434"/>
                        </a:lnTo>
                        <a:lnTo>
                          <a:pt x="363" y="425"/>
                        </a:lnTo>
                        <a:lnTo>
                          <a:pt x="363" y="421"/>
                        </a:lnTo>
                        <a:lnTo>
                          <a:pt x="362" y="418"/>
                        </a:lnTo>
                        <a:lnTo>
                          <a:pt x="362" y="412"/>
                        </a:lnTo>
                        <a:lnTo>
                          <a:pt x="362" y="407"/>
                        </a:lnTo>
                        <a:lnTo>
                          <a:pt x="363" y="405"/>
                        </a:lnTo>
                        <a:lnTo>
                          <a:pt x="365" y="404"/>
                        </a:lnTo>
                        <a:lnTo>
                          <a:pt x="369" y="404"/>
                        </a:lnTo>
                        <a:lnTo>
                          <a:pt x="371" y="404"/>
                        </a:lnTo>
                        <a:lnTo>
                          <a:pt x="373" y="404"/>
                        </a:lnTo>
                        <a:lnTo>
                          <a:pt x="375" y="404"/>
                        </a:lnTo>
                        <a:lnTo>
                          <a:pt x="378" y="404"/>
                        </a:lnTo>
                        <a:lnTo>
                          <a:pt x="383" y="402"/>
                        </a:lnTo>
                        <a:lnTo>
                          <a:pt x="387" y="400"/>
                        </a:lnTo>
                        <a:lnTo>
                          <a:pt x="391" y="399"/>
                        </a:lnTo>
                        <a:lnTo>
                          <a:pt x="391" y="398"/>
                        </a:lnTo>
                        <a:lnTo>
                          <a:pt x="391" y="396"/>
                        </a:lnTo>
                        <a:lnTo>
                          <a:pt x="391" y="390"/>
                        </a:lnTo>
                        <a:lnTo>
                          <a:pt x="391" y="383"/>
                        </a:lnTo>
                        <a:lnTo>
                          <a:pt x="391" y="380"/>
                        </a:lnTo>
                        <a:lnTo>
                          <a:pt x="391" y="378"/>
                        </a:lnTo>
                        <a:lnTo>
                          <a:pt x="390" y="375"/>
                        </a:lnTo>
                        <a:lnTo>
                          <a:pt x="392" y="371"/>
                        </a:lnTo>
                        <a:lnTo>
                          <a:pt x="396" y="367"/>
                        </a:lnTo>
                        <a:lnTo>
                          <a:pt x="401" y="363"/>
                        </a:lnTo>
                        <a:lnTo>
                          <a:pt x="402" y="362"/>
                        </a:lnTo>
                        <a:lnTo>
                          <a:pt x="403" y="359"/>
                        </a:lnTo>
                        <a:lnTo>
                          <a:pt x="405" y="359"/>
                        </a:lnTo>
                        <a:lnTo>
                          <a:pt x="407" y="356"/>
                        </a:lnTo>
                        <a:lnTo>
                          <a:pt x="409" y="354"/>
                        </a:lnTo>
                        <a:lnTo>
                          <a:pt x="410" y="352"/>
                        </a:lnTo>
                        <a:lnTo>
                          <a:pt x="410" y="350"/>
                        </a:lnTo>
                        <a:lnTo>
                          <a:pt x="410" y="347"/>
                        </a:lnTo>
                        <a:lnTo>
                          <a:pt x="412" y="346"/>
                        </a:lnTo>
                        <a:lnTo>
                          <a:pt x="415" y="344"/>
                        </a:lnTo>
                        <a:lnTo>
                          <a:pt x="419" y="341"/>
                        </a:lnTo>
                        <a:lnTo>
                          <a:pt x="420" y="341"/>
                        </a:lnTo>
                        <a:lnTo>
                          <a:pt x="421" y="338"/>
                        </a:lnTo>
                        <a:lnTo>
                          <a:pt x="424" y="335"/>
                        </a:lnTo>
                        <a:lnTo>
                          <a:pt x="425" y="333"/>
                        </a:lnTo>
                        <a:lnTo>
                          <a:pt x="426" y="330"/>
                        </a:lnTo>
                        <a:lnTo>
                          <a:pt x="425" y="328"/>
                        </a:lnTo>
                        <a:lnTo>
                          <a:pt x="424" y="324"/>
                        </a:lnTo>
                        <a:lnTo>
                          <a:pt x="422" y="321"/>
                        </a:lnTo>
                        <a:lnTo>
                          <a:pt x="420" y="318"/>
                        </a:lnTo>
                        <a:lnTo>
                          <a:pt x="418" y="315"/>
                        </a:lnTo>
                        <a:lnTo>
                          <a:pt x="416" y="314"/>
                        </a:lnTo>
                        <a:lnTo>
                          <a:pt x="416" y="311"/>
                        </a:lnTo>
                        <a:lnTo>
                          <a:pt x="417" y="309"/>
                        </a:lnTo>
                        <a:lnTo>
                          <a:pt x="417" y="306"/>
                        </a:lnTo>
                        <a:lnTo>
                          <a:pt x="419" y="305"/>
                        </a:lnTo>
                        <a:lnTo>
                          <a:pt x="420" y="304"/>
                        </a:lnTo>
                        <a:lnTo>
                          <a:pt x="420" y="302"/>
                        </a:lnTo>
                        <a:lnTo>
                          <a:pt x="422" y="302"/>
                        </a:lnTo>
                        <a:lnTo>
                          <a:pt x="424" y="302"/>
                        </a:lnTo>
                        <a:lnTo>
                          <a:pt x="425" y="302"/>
                        </a:lnTo>
                        <a:lnTo>
                          <a:pt x="426" y="302"/>
                        </a:lnTo>
                        <a:lnTo>
                          <a:pt x="426" y="301"/>
                        </a:lnTo>
                        <a:lnTo>
                          <a:pt x="428" y="298"/>
                        </a:lnTo>
                        <a:lnTo>
                          <a:pt x="429" y="295"/>
                        </a:lnTo>
                        <a:lnTo>
                          <a:pt x="429" y="293"/>
                        </a:lnTo>
                        <a:lnTo>
                          <a:pt x="431" y="291"/>
                        </a:lnTo>
                        <a:lnTo>
                          <a:pt x="432" y="290"/>
                        </a:lnTo>
                        <a:lnTo>
                          <a:pt x="433" y="285"/>
                        </a:lnTo>
                        <a:lnTo>
                          <a:pt x="434" y="282"/>
                        </a:lnTo>
                        <a:lnTo>
                          <a:pt x="436" y="275"/>
                        </a:lnTo>
                        <a:lnTo>
                          <a:pt x="436" y="271"/>
                        </a:lnTo>
                        <a:lnTo>
                          <a:pt x="436" y="270"/>
                        </a:lnTo>
                        <a:lnTo>
                          <a:pt x="440" y="267"/>
                        </a:lnTo>
                        <a:lnTo>
                          <a:pt x="443" y="264"/>
                        </a:lnTo>
                        <a:lnTo>
                          <a:pt x="445" y="263"/>
                        </a:lnTo>
                        <a:lnTo>
                          <a:pt x="446" y="261"/>
                        </a:lnTo>
                        <a:lnTo>
                          <a:pt x="448" y="261"/>
                        </a:lnTo>
                        <a:lnTo>
                          <a:pt x="449" y="260"/>
                        </a:lnTo>
                        <a:lnTo>
                          <a:pt x="452" y="260"/>
                        </a:lnTo>
                        <a:lnTo>
                          <a:pt x="456" y="261"/>
                        </a:lnTo>
                        <a:lnTo>
                          <a:pt x="459" y="264"/>
                        </a:lnTo>
                        <a:lnTo>
                          <a:pt x="461" y="267"/>
                        </a:lnTo>
                        <a:lnTo>
                          <a:pt x="462" y="267"/>
                        </a:lnTo>
                        <a:lnTo>
                          <a:pt x="467" y="261"/>
                        </a:lnTo>
                        <a:lnTo>
                          <a:pt x="470" y="261"/>
                        </a:lnTo>
                        <a:lnTo>
                          <a:pt x="472" y="260"/>
                        </a:lnTo>
                        <a:lnTo>
                          <a:pt x="473" y="258"/>
                        </a:lnTo>
                        <a:lnTo>
                          <a:pt x="473" y="255"/>
                        </a:lnTo>
                        <a:lnTo>
                          <a:pt x="474" y="247"/>
                        </a:lnTo>
                        <a:lnTo>
                          <a:pt x="476" y="240"/>
                        </a:lnTo>
                        <a:lnTo>
                          <a:pt x="477" y="236"/>
                        </a:lnTo>
                        <a:lnTo>
                          <a:pt x="478" y="234"/>
                        </a:lnTo>
                        <a:lnTo>
                          <a:pt x="483" y="233"/>
                        </a:lnTo>
                        <a:lnTo>
                          <a:pt x="487" y="233"/>
                        </a:lnTo>
                        <a:lnTo>
                          <a:pt x="492" y="234"/>
                        </a:lnTo>
                        <a:lnTo>
                          <a:pt x="495" y="234"/>
                        </a:lnTo>
                        <a:lnTo>
                          <a:pt x="497" y="233"/>
                        </a:lnTo>
                        <a:lnTo>
                          <a:pt x="499" y="233"/>
                        </a:lnTo>
                        <a:lnTo>
                          <a:pt x="501" y="234"/>
                        </a:lnTo>
                        <a:lnTo>
                          <a:pt x="504" y="234"/>
                        </a:lnTo>
                        <a:lnTo>
                          <a:pt x="508" y="237"/>
                        </a:lnTo>
                        <a:lnTo>
                          <a:pt x="512" y="240"/>
                        </a:lnTo>
                        <a:lnTo>
                          <a:pt x="516" y="242"/>
                        </a:lnTo>
                        <a:lnTo>
                          <a:pt x="521" y="245"/>
                        </a:lnTo>
                        <a:lnTo>
                          <a:pt x="523" y="246"/>
                        </a:lnTo>
                        <a:lnTo>
                          <a:pt x="526" y="248"/>
                        </a:lnTo>
                        <a:lnTo>
                          <a:pt x="528" y="248"/>
                        </a:lnTo>
                        <a:lnTo>
                          <a:pt x="530" y="247"/>
                        </a:lnTo>
                        <a:lnTo>
                          <a:pt x="532" y="246"/>
                        </a:lnTo>
                        <a:lnTo>
                          <a:pt x="533" y="246"/>
                        </a:lnTo>
                        <a:lnTo>
                          <a:pt x="533" y="245"/>
                        </a:lnTo>
                        <a:lnTo>
                          <a:pt x="533" y="243"/>
                        </a:lnTo>
                        <a:lnTo>
                          <a:pt x="535" y="243"/>
                        </a:lnTo>
                        <a:lnTo>
                          <a:pt x="536" y="242"/>
                        </a:lnTo>
                        <a:lnTo>
                          <a:pt x="536" y="240"/>
                        </a:lnTo>
                        <a:lnTo>
                          <a:pt x="537" y="237"/>
                        </a:lnTo>
                        <a:lnTo>
                          <a:pt x="538" y="234"/>
                        </a:lnTo>
                        <a:lnTo>
                          <a:pt x="539" y="231"/>
                        </a:lnTo>
                        <a:lnTo>
                          <a:pt x="540" y="228"/>
                        </a:lnTo>
                        <a:lnTo>
                          <a:pt x="542" y="227"/>
                        </a:lnTo>
                        <a:lnTo>
                          <a:pt x="543" y="224"/>
                        </a:lnTo>
                        <a:lnTo>
                          <a:pt x="543" y="222"/>
                        </a:lnTo>
                        <a:lnTo>
                          <a:pt x="543" y="219"/>
                        </a:lnTo>
                        <a:lnTo>
                          <a:pt x="542" y="213"/>
                        </a:lnTo>
                        <a:lnTo>
                          <a:pt x="539" y="209"/>
                        </a:lnTo>
                        <a:lnTo>
                          <a:pt x="536" y="204"/>
                        </a:lnTo>
                        <a:lnTo>
                          <a:pt x="533" y="199"/>
                        </a:lnTo>
                        <a:lnTo>
                          <a:pt x="535" y="198"/>
                        </a:lnTo>
                        <a:lnTo>
                          <a:pt x="538" y="198"/>
                        </a:lnTo>
                        <a:lnTo>
                          <a:pt x="542" y="198"/>
                        </a:lnTo>
                        <a:lnTo>
                          <a:pt x="543" y="196"/>
                        </a:lnTo>
                        <a:lnTo>
                          <a:pt x="545" y="196"/>
                        </a:lnTo>
                        <a:lnTo>
                          <a:pt x="545" y="195"/>
                        </a:lnTo>
                        <a:lnTo>
                          <a:pt x="547" y="193"/>
                        </a:lnTo>
                        <a:lnTo>
                          <a:pt x="549" y="193"/>
                        </a:lnTo>
                        <a:lnTo>
                          <a:pt x="549" y="194"/>
                        </a:lnTo>
                        <a:lnTo>
                          <a:pt x="549" y="196"/>
                        </a:lnTo>
                        <a:lnTo>
                          <a:pt x="552" y="195"/>
                        </a:lnTo>
                        <a:lnTo>
                          <a:pt x="554" y="195"/>
                        </a:lnTo>
                        <a:lnTo>
                          <a:pt x="555" y="196"/>
                        </a:lnTo>
                        <a:lnTo>
                          <a:pt x="559" y="196"/>
                        </a:lnTo>
                        <a:lnTo>
                          <a:pt x="560" y="195"/>
                        </a:lnTo>
                        <a:lnTo>
                          <a:pt x="559" y="190"/>
                        </a:lnTo>
                        <a:lnTo>
                          <a:pt x="558" y="185"/>
                        </a:lnTo>
                        <a:lnTo>
                          <a:pt x="559" y="179"/>
                        </a:lnTo>
                        <a:lnTo>
                          <a:pt x="562" y="177"/>
                        </a:lnTo>
                        <a:lnTo>
                          <a:pt x="565" y="175"/>
                        </a:lnTo>
                        <a:lnTo>
                          <a:pt x="569" y="175"/>
                        </a:lnTo>
                        <a:lnTo>
                          <a:pt x="575" y="176"/>
                        </a:lnTo>
                        <a:lnTo>
                          <a:pt x="578" y="180"/>
                        </a:lnTo>
                        <a:lnTo>
                          <a:pt x="579" y="185"/>
                        </a:lnTo>
                        <a:lnTo>
                          <a:pt x="580" y="189"/>
                        </a:lnTo>
                        <a:lnTo>
                          <a:pt x="581" y="193"/>
                        </a:lnTo>
                        <a:lnTo>
                          <a:pt x="581" y="197"/>
                        </a:lnTo>
                        <a:lnTo>
                          <a:pt x="581" y="198"/>
                        </a:lnTo>
                        <a:lnTo>
                          <a:pt x="581" y="199"/>
                        </a:lnTo>
                        <a:lnTo>
                          <a:pt x="583" y="202"/>
                        </a:lnTo>
                        <a:lnTo>
                          <a:pt x="585" y="205"/>
                        </a:lnTo>
                        <a:lnTo>
                          <a:pt x="586" y="208"/>
                        </a:lnTo>
                        <a:lnTo>
                          <a:pt x="588" y="209"/>
                        </a:lnTo>
                        <a:lnTo>
                          <a:pt x="588" y="212"/>
                        </a:lnTo>
                        <a:lnTo>
                          <a:pt x="588" y="213"/>
                        </a:lnTo>
                        <a:lnTo>
                          <a:pt x="588" y="212"/>
                        </a:lnTo>
                        <a:lnTo>
                          <a:pt x="590" y="210"/>
                        </a:lnTo>
                        <a:lnTo>
                          <a:pt x="592" y="212"/>
                        </a:lnTo>
                        <a:lnTo>
                          <a:pt x="595" y="213"/>
                        </a:lnTo>
                        <a:lnTo>
                          <a:pt x="599" y="216"/>
                        </a:lnTo>
                        <a:lnTo>
                          <a:pt x="601" y="219"/>
                        </a:lnTo>
                        <a:lnTo>
                          <a:pt x="611" y="219"/>
                        </a:lnTo>
                        <a:lnTo>
                          <a:pt x="611" y="222"/>
                        </a:lnTo>
                        <a:lnTo>
                          <a:pt x="616" y="216"/>
                        </a:lnTo>
                        <a:lnTo>
                          <a:pt x="617" y="216"/>
                        </a:lnTo>
                        <a:lnTo>
                          <a:pt x="620" y="215"/>
                        </a:lnTo>
                        <a:lnTo>
                          <a:pt x="622" y="215"/>
                        </a:lnTo>
                        <a:lnTo>
                          <a:pt x="623" y="215"/>
                        </a:lnTo>
                        <a:lnTo>
                          <a:pt x="625" y="213"/>
                        </a:lnTo>
                        <a:lnTo>
                          <a:pt x="627" y="212"/>
                        </a:lnTo>
                        <a:lnTo>
                          <a:pt x="629" y="212"/>
                        </a:lnTo>
                        <a:lnTo>
                          <a:pt x="630" y="210"/>
                        </a:lnTo>
                        <a:lnTo>
                          <a:pt x="631" y="209"/>
                        </a:lnTo>
                        <a:lnTo>
                          <a:pt x="633" y="209"/>
                        </a:lnTo>
                        <a:lnTo>
                          <a:pt x="633" y="207"/>
                        </a:lnTo>
                        <a:lnTo>
                          <a:pt x="634" y="206"/>
                        </a:lnTo>
                        <a:lnTo>
                          <a:pt x="635" y="205"/>
                        </a:lnTo>
                        <a:lnTo>
                          <a:pt x="637" y="205"/>
                        </a:lnTo>
                        <a:lnTo>
                          <a:pt x="639" y="206"/>
                        </a:lnTo>
                        <a:lnTo>
                          <a:pt x="640" y="207"/>
                        </a:lnTo>
                        <a:lnTo>
                          <a:pt x="641" y="210"/>
                        </a:lnTo>
                        <a:lnTo>
                          <a:pt x="642" y="212"/>
                        </a:lnTo>
                        <a:lnTo>
                          <a:pt x="644" y="212"/>
                        </a:lnTo>
                        <a:lnTo>
                          <a:pt x="646" y="212"/>
                        </a:lnTo>
                        <a:lnTo>
                          <a:pt x="647" y="212"/>
                        </a:lnTo>
                        <a:lnTo>
                          <a:pt x="649" y="212"/>
                        </a:lnTo>
                        <a:lnTo>
                          <a:pt x="651" y="213"/>
                        </a:lnTo>
                        <a:lnTo>
                          <a:pt x="652" y="216"/>
                        </a:lnTo>
                        <a:lnTo>
                          <a:pt x="654" y="218"/>
                        </a:lnTo>
                        <a:lnTo>
                          <a:pt x="656" y="219"/>
                        </a:lnTo>
                        <a:lnTo>
                          <a:pt x="658" y="218"/>
                        </a:lnTo>
                        <a:lnTo>
                          <a:pt x="659" y="216"/>
                        </a:lnTo>
                        <a:lnTo>
                          <a:pt x="659" y="212"/>
                        </a:lnTo>
                        <a:lnTo>
                          <a:pt x="661" y="210"/>
                        </a:lnTo>
                        <a:lnTo>
                          <a:pt x="660" y="207"/>
                        </a:lnTo>
                        <a:lnTo>
                          <a:pt x="660" y="204"/>
                        </a:lnTo>
                        <a:lnTo>
                          <a:pt x="659" y="202"/>
                        </a:lnTo>
                        <a:lnTo>
                          <a:pt x="659" y="200"/>
                        </a:lnTo>
                        <a:lnTo>
                          <a:pt x="659" y="199"/>
                        </a:lnTo>
                        <a:lnTo>
                          <a:pt x="659" y="198"/>
                        </a:lnTo>
                        <a:lnTo>
                          <a:pt x="659" y="196"/>
                        </a:lnTo>
                        <a:lnTo>
                          <a:pt x="660" y="194"/>
                        </a:lnTo>
                        <a:lnTo>
                          <a:pt x="661" y="192"/>
                        </a:lnTo>
                        <a:lnTo>
                          <a:pt x="662" y="190"/>
                        </a:lnTo>
                        <a:lnTo>
                          <a:pt x="663" y="190"/>
                        </a:lnTo>
                        <a:lnTo>
                          <a:pt x="665" y="187"/>
                        </a:lnTo>
                        <a:lnTo>
                          <a:pt x="668" y="184"/>
                        </a:lnTo>
                        <a:lnTo>
                          <a:pt x="671" y="182"/>
                        </a:lnTo>
                        <a:lnTo>
                          <a:pt x="672" y="179"/>
                        </a:lnTo>
                        <a:lnTo>
                          <a:pt x="672" y="170"/>
                        </a:lnTo>
                        <a:lnTo>
                          <a:pt x="670" y="168"/>
                        </a:lnTo>
                        <a:lnTo>
                          <a:pt x="669" y="165"/>
                        </a:lnTo>
                        <a:lnTo>
                          <a:pt x="668" y="160"/>
                        </a:lnTo>
                        <a:lnTo>
                          <a:pt x="668" y="156"/>
                        </a:lnTo>
                        <a:lnTo>
                          <a:pt x="668" y="152"/>
                        </a:lnTo>
                        <a:lnTo>
                          <a:pt x="668" y="148"/>
                        </a:lnTo>
                        <a:lnTo>
                          <a:pt x="669" y="145"/>
                        </a:lnTo>
                        <a:lnTo>
                          <a:pt x="670" y="143"/>
                        </a:lnTo>
                        <a:lnTo>
                          <a:pt x="671" y="140"/>
                        </a:lnTo>
                        <a:lnTo>
                          <a:pt x="672" y="138"/>
                        </a:lnTo>
                        <a:lnTo>
                          <a:pt x="671" y="135"/>
                        </a:lnTo>
                        <a:lnTo>
                          <a:pt x="670" y="131"/>
                        </a:lnTo>
                        <a:lnTo>
                          <a:pt x="670" y="127"/>
                        </a:lnTo>
                        <a:lnTo>
                          <a:pt x="672" y="125"/>
                        </a:lnTo>
                        <a:lnTo>
                          <a:pt x="674" y="123"/>
                        </a:lnTo>
                        <a:lnTo>
                          <a:pt x="675" y="120"/>
                        </a:lnTo>
                        <a:lnTo>
                          <a:pt x="676" y="118"/>
                        </a:lnTo>
                        <a:lnTo>
                          <a:pt x="678" y="115"/>
                        </a:lnTo>
                        <a:lnTo>
                          <a:pt x="680" y="113"/>
                        </a:lnTo>
                        <a:lnTo>
                          <a:pt x="681" y="112"/>
                        </a:lnTo>
                        <a:lnTo>
                          <a:pt x="682" y="111"/>
                        </a:lnTo>
                        <a:lnTo>
                          <a:pt x="682" y="109"/>
                        </a:lnTo>
                        <a:lnTo>
                          <a:pt x="691" y="109"/>
                        </a:lnTo>
                        <a:lnTo>
                          <a:pt x="693" y="107"/>
                        </a:lnTo>
                        <a:lnTo>
                          <a:pt x="694" y="105"/>
                        </a:lnTo>
                        <a:lnTo>
                          <a:pt x="696" y="104"/>
                        </a:lnTo>
                        <a:lnTo>
                          <a:pt x="698" y="102"/>
                        </a:lnTo>
                        <a:lnTo>
                          <a:pt x="700" y="102"/>
                        </a:lnTo>
                        <a:lnTo>
                          <a:pt x="701" y="100"/>
                        </a:lnTo>
                        <a:lnTo>
                          <a:pt x="702" y="97"/>
                        </a:lnTo>
                        <a:lnTo>
                          <a:pt x="704" y="96"/>
                        </a:lnTo>
                        <a:lnTo>
                          <a:pt x="706" y="96"/>
                        </a:lnTo>
                        <a:lnTo>
                          <a:pt x="708" y="96"/>
                        </a:lnTo>
                        <a:lnTo>
                          <a:pt x="709" y="96"/>
                        </a:lnTo>
                        <a:lnTo>
                          <a:pt x="711" y="96"/>
                        </a:lnTo>
                        <a:lnTo>
                          <a:pt x="713" y="99"/>
                        </a:lnTo>
                        <a:lnTo>
                          <a:pt x="715" y="102"/>
                        </a:lnTo>
                        <a:lnTo>
                          <a:pt x="715" y="107"/>
                        </a:lnTo>
                        <a:lnTo>
                          <a:pt x="717" y="112"/>
                        </a:lnTo>
                        <a:lnTo>
                          <a:pt x="719" y="114"/>
                        </a:lnTo>
                        <a:lnTo>
                          <a:pt x="720" y="115"/>
                        </a:lnTo>
                        <a:lnTo>
                          <a:pt x="721" y="117"/>
                        </a:lnTo>
                        <a:lnTo>
                          <a:pt x="723" y="119"/>
                        </a:lnTo>
                        <a:lnTo>
                          <a:pt x="725" y="121"/>
                        </a:lnTo>
                        <a:lnTo>
                          <a:pt x="727" y="122"/>
                        </a:lnTo>
                        <a:lnTo>
                          <a:pt x="731" y="122"/>
                        </a:lnTo>
                        <a:lnTo>
                          <a:pt x="734" y="122"/>
                        </a:lnTo>
                        <a:lnTo>
                          <a:pt x="737" y="122"/>
                        </a:lnTo>
                        <a:lnTo>
                          <a:pt x="739" y="123"/>
                        </a:lnTo>
                        <a:lnTo>
                          <a:pt x="739" y="125"/>
                        </a:lnTo>
                        <a:lnTo>
                          <a:pt x="743" y="126"/>
                        </a:lnTo>
                        <a:lnTo>
                          <a:pt x="745" y="128"/>
                        </a:lnTo>
                        <a:lnTo>
                          <a:pt x="746" y="131"/>
                        </a:lnTo>
                        <a:lnTo>
                          <a:pt x="746" y="134"/>
                        </a:lnTo>
                        <a:lnTo>
                          <a:pt x="749" y="137"/>
                        </a:lnTo>
                        <a:lnTo>
                          <a:pt x="752" y="140"/>
                        </a:lnTo>
                        <a:lnTo>
                          <a:pt x="754" y="142"/>
                        </a:lnTo>
                        <a:lnTo>
                          <a:pt x="753" y="145"/>
                        </a:lnTo>
                        <a:lnTo>
                          <a:pt x="752" y="149"/>
                        </a:lnTo>
                        <a:lnTo>
                          <a:pt x="751" y="150"/>
                        </a:lnTo>
                        <a:lnTo>
                          <a:pt x="750" y="153"/>
                        </a:lnTo>
                        <a:lnTo>
                          <a:pt x="749" y="157"/>
                        </a:lnTo>
                        <a:lnTo>
                          <a:pt x="749" y="158"/>
                        </a:lnTo>
                        <a:lnTo>
                          <a:pt x="749" y="159"/>
                        </a:lnTo>
                        <a:lnTo>
                          <a:pt x="749" y="164"/>
                        </a:lnTo>
                        <a:lnTo>
                          <a:pt x="751" y="164"/>
                        </a:lnTo>
                        <a:lnTo>
                          <a:pt x="751" y="165"/>
                        </a:lnTo>
                        <a:lnTo>
                          <a:pt x="751" y="167"/>
                        </a:lnTo>
                        <a:lnTo>
                          <a:pt x="753" y="167"/>
                        </a:lnTo>
                        <a:lnTo>
                          <a:pt x="755" y="166"/>
                        </a:lnTo>
                        <a:lnTo>
                          <a:pt x="756" y="165"/>
                        </a:lnTo>
                        <a:lnTo>
                          <a:pt x="756" y="160"/>
                        </a:lnTo>
                        <a:lnTo>
                          <a:pt x="757" y="158"/>
                        </a:lnTo>
                        <a:lnTo>
                          <a:pt x="756" y="157"/>
                        </a:lnTo>
                        <a:lnTo>
                          <a:pt x="755" y="154"/>
                        </a:lnTo>
                        <a:lnTo>
                          <a:pt x="756" y="150"/>
                        </a:lnTo>
                        <a:lnTo>
                          <a:pt x="757" y="150"/>
                        </a:lnTo>
                        <a:lnTo>
                          <a:pt x="758" y="148"/>
                        </a:lnTo>
                        <a:lnTo>
                          <a:pt x="759" y="148"/>
                        </a:lnTo>
                        <a:lnTo>
                          <a:pt x="760" y="146"/>
                        </a:lnTo>
                        <a:lnTo>
                          <a:pt x="760" y="145"/>
                        </a:lnTo>
                        <a:lnTo>
                          <a:pt x="761" y="145"/>
                        </a:lnTo>
                        <a:lnTo>
                          <a:pt x="762" y="145"/>
                        </a:lnTo>
                        <a:lnTo>
                          <a:pt x="762" y="143"/>
                        </a:lnTo>
                        <a:lnTo>
                          <a:pt x="762" y="141"/>
                        </a:lnTo>
                        <a:lnTo>
                          <a:pt x="762" y="140"/>
                        </a:lnTo>
                        <a:lnTo>
                          <a:pt x="762" y="138"/>
                        </a:lnTo>
                        <a:lnTo>
                          <a:pt x="763" y="134"/>
                        </a:lnTo>
                        <a:lnTo>
                          <a:pt x="767" y="131"/>
                        </a:lnTo>
                        <a:lnTo>
                          <a:pt x="772" y="128"/>
                        </a:lnTo>
                        <a:lnTo>
                          <a:pt x="775" y="125"/>
                        </a:lnTo>
                        <a:lnTo>
                          <a:pt x="776" y="123"/>
                        </a:lnTo>
                        <a:lnTo>
                          <a:pt x="775" y="120"/>
                        </a:lnTo>
                        <a:lnTo>
                          <a:pt x="772" y="114"/>
                        </a:lnTo>
                        <a:lnTo>
                          <a:pt x="771" y="111"/>
                        </a:lnTo>
                        <a:lnTo>
                          <a:pt x="770" y="109"/>
                        </a:lnTo>
                        <a:lnTo>
                          <a:pt x="770" y="107"/>
                        </a:lnTo>
                        <a:lnTo>
                          <a:pt x="772" y="105"/>
                        </a:lnTo>
                        <a:lnTo>
                          <a:pt x="774" y="106"/>
                        </a:lnTo>
                        <a:lnTo>
                          <a:pt x="777" y="107"/>
                        </a:lnTo>
                        <a:lnTo>
                          <a:pt x="782" y="112"/>
                        </a:lnTo>
                        <a:lnTo>
                          <a:pt x="784" y="114"/>
                        </a:lnTo>
                        <a:lnTo>
                          <a:pt x="785" y="117"/>
                        </a:lnTo>
                        <a:lnTo>
                          <a:pt x="786" y="118"/>
                        </a:lnTo>
                        <a:lnTo>
                          <a:pt x="788" y="119"/>
                        </a:lnTo>
                        <a:lnTo>
                          <a:pt x="789" y="119"/>
                        </a:lnTo>
                        <a:lnTo>
                          <a:pt x="791" y="119"/>
                        </a:lnTo>
                        <a:lnTo>
                          <a:pt x="793" y="117"/>
                        </a:lnTo>
                        <a:lnTo>
                          <a:pt x="794" y="116"/>
                        </a:lnTo>
                        <a:lnTo>
                          <a:pt x="794" y="115"/>
                        </a:lnTo>
                        <a:lnTo>
                          <a:pt x="797" y="113"/>
                        </a:lnTo>
                        <a:lnTo>
                          <a:pt x="799" y="110"/>
                        </a:lnTo>
                        <a:lnTo>
                          <a:pt x="799" y="107"/>
                        </a:lnTo>
                        <a:lnTo>
                          <a:pt x="798" y="103"/>
                        </a:lnTo>
                        <a:lnTo>
                          <a:pt x="796" y="97"/>
                        </a:lnTo>
                        <a:lnTo>
                          <a:pt x="794" y="9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1" name="Freeform 1535">
                    <a:extLst>
                      <a:ext uri="{FF2B5EF4-FFF2-40B4-BE49-F238E27FC236}">
                        <a16:creationId xmlns:a16="http://schemas.microsoft.com/office/drawing/2014/main" xmlns="" id="{D37C201E-1D1E-43B9-B54F-C457C9A0FCAB}"/>
                      </a:ext>
                    </a:extLst>
                  </p:cNvPr>
                  <p:cNvSpPr>
                    <a:spLocks/>
                  </p:cNvSpPr>
                  <p:nvPr/>
                </p:nvSpPr>
                <p:spPr bwMode="gray">
                  <a:xfrm>
                    <a:off x="4496525" y="2674562"/>
                    <a:ext cx="2225" cy="4450"/>
                  </a:xfrm>
                  <a:custGeom>
                    <a:avLst/>
                    <a:gdLst>
                      <a:gd name="T0" fmla="*/ 0 w 2"/>
                      <a:gd name="T1" fmla="*/ 0 h 4"/>
                      <a:gd name="T2" fmla="*/ 0 w 2"/>
                      <a:gd name="T3" fmla="*/ 2147483647 h 4"/>
                      <a:gd name="T4" fmla="*/ 0 w 2"/>
                      <a:gd name="T5" fmla="*/ 2147483647 h 4"/>
                      <a:gd name="T6" fmla="*/ 0 w 2"/>
                      <a:gd name="T7" fmla="*/ 2147483647 h 4"/>
                      <a:gd name="T8" fmla="*/ 0 w 2"/>
                      <a:gd name="T9" fmla="*/ 2147483647 h 4"/>
                      <a:gd name="T10" fmla="*/ 2147483647 w 2"/>
                      <a:gd name="T11" fmla="*/ 2147483647 h 4"/>
                      <a:gd name="T12" fmla="*/ 2147483647 w 2"/>
                      <a:gd name="T13" fmla="*/ 2147483647 h 4"/>
                      <a:gd name="T14" fmla="*/ 2147483647 w 2"/>
                      <a:gd name="T15" fmla="*/ 2147483647 h 4"/>
                      <a:gd name="T16" fmla="*/ 0 w 2"/>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4">
                        <a:moveTo>
                          <a:pt x="0" y="0"/>
                        </a:moveTo>
                        <a:lnTo>
                          <a:pt x="0" y="1"/>
                        </a:lnTo>
                        <a:lnTo>
                          <a:pt x="0" y="2"/>
                        </a:lnTo>
                        <a:lnTo>
                          <a:pt x="2" y="4"/>
                        </a:lnTo>
                        <a:lnTo>
                          <a:pt x="2" y="3"/>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2" name="Freeform 1537">
                    <a:extLst>
                      <a:ext uri="{FF2B5EF4-FFF2-40B4-BE49-F238E27FC236}">
                        <a16:creationId xmlns:a16="http://schemas.microsoft.com/office/drawing/2014/main" xmlns="" id="{93BC7B60-BE66-4B7B-90D1-4F42FF703D0F}"/>
                      </a:ext>
                    </a:extLst>
                  </p:cNvPr>
                  <p:cNvSpPr>
                    <a:spLocks/>
                  </p:cNvSpPr>
                  <p:nvPr/>
                </p:nvSpPr>
                <p:spPr bwMode="gray">
                  <a:xfrm>
                    <a:off x="4281818" y="2638964"/>
                    <a:ext cx="2225" cy="6675"/>
                  </a:xfrm>
                  <a:custGeom>
                    <a:avLst/>
                    <a:gdLst>
                      <a:gd name="T0" fmla="*/ 0 w 2"/>
                      <a:gd name="T1" fmla="*/ 0 h 6"/>
                      <a:gd name="T2" fmla="*/ 0 w 2"/>
                      <a:gd name="T3" fmla="*/ 0 h 6"/>
                      <a:gd name="T4" fmla="*/ 0 w 2"/>
                      <a:gd name="T5" fmla="*/ 2147483647 h 6"/>
                      <a:gd name="T6" fmla="*/ 0 w 2"/>
                      <a:gd name="T7" fmla="*/ 2147483647 h 6"/>
                      <a:gd name="T8" fmla="*/ 0 w 2"/>
                      <a:gd name="T9" fmla="*/ 2147483647 h 6"/>
                      <a:gd name="T10" fmla="*/ 0 w 2"/>
                      <a:gd name="T11" fmla="*/ 2147483647 h 6"/>
                      <a:gd name="T12" fmla="*/ 2147483647 w 2"/>
                      <a:gd name="T13" fmla="*/ 2147483647 h 6"/>
                      <a:gd name="T14" fmla="*/ 2147483647 w 2"/>
                      <a:gd name="T15" fmla="*/ 2147483647 h 6"/>
                      <a:gd name="T16" fmla="*/ 2147483647 w 2"/>
                      <a:gd name="T17" fmla="*/ 2147483647 h 6"/>
                      <a:gd name="T18" fmla="*/ 2147483647 w 2"/>
                      <a:gd name="T19" fmla="*/ 2147483647 h 6"/>
                      <a:gd name="T20" fmla="*/ 2147483647 w 2"/>
                      <a:gd name="T21" fmla="*/ 2147483647 h 6"/>
                      <a:gd name="T22" fmla="*/ 2147483647 w 2"/>
                      <a:gd name="T23" fmla="*/ 0 h 6"/>
                      <a:gd name="T24" fmla="*/ 2147483647 w 2"/>
                      <a:gd name="T25" fmla="*/ 0 h 6"/>
                      <a:gd name="T26" fmla="*/ 2147483647 w 2"/>
                      <a:gd name="T27" fmla="*/ 0 h 6"/>
                      <a:gd name="T28" fmla="*/ 2147483647 w 2"/>
                      <a:gd name="T29" fmla="*/ 0 h 6"/>
                      <a:gd name="T30" fmla="*/ 0 w 2"/>
                      <a:gd name="T31" fmla="*/ 0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 h="6">
                        <a:moveTo>
                          <a:pt x="0" y="0"/>
                        </a:moveTo>
                        <a:lnTo>
                          <a:pt x="0" y="0"/>
                        </a:lnTo>
                        <a:lnTo>
                          <a:pt x="0" y="1"/>
                        </a:lnTo>
                        <a:lnTo>
                          <a:pt x="0" y="2"/>
                        </a:lnTo>
                        <a:lnTo>
                          <a:pt x="0" y="3"/>
                        </a:lnTo>
                        <a:lnTo>
                          <a:pt x="1" y="4"/>
                        </a:lnTo>
                        <a:lnTo>
                          <a:pt x="2" y="6"/>
                        </a:lnTo>
                        <a:lnTo>
                          <a:pt x="2" y="4"/>
                        </a:lnTo>
                        <a:lnTo>
                          <a:pt x="2" y="3"/>
                        </a:lnTo>
                        <a:lnTo>
                          <a:pt x="2" y="2"/>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3" name="Freeform 1539">
                    <a:extLst>
                      <a:ext uri="{FF2B5EF4-FFF2-40B4-BE49-F238E27FC236}">
                        <a16:creationId xmlns:a16="http://schemas.microsoft.com/office/drawing/2014/main" xmlns="" id="{27772B68-7AF2-40AC-A7F1-738C1BA59BD0}"/>
                      </a:ext>
                    </a:extLst>
                  </p:cNvPr>
                  <p:cNvSpPr>
                    <a:spLocks/>
                  </p:cNvSpPr>
                  <p:nvPr/>
                </p:nvSpPr>
                <p:spPr bwMode="gray">
                  <a:xfrm>
                    <a:off x="4270694" y="2553309"/>
                    <a:ext cx="11125" cy="7787"/>
                  </a:xfrm>
                  <a:custGeom>
                    <a:avLst/>
                    <a:gdLst>
                      <a:gd name="T0" fmla="*/ 2147483647 w 10"/>
                      <a:gd name="T1" fmla="*/ 0 h 7"/>
                      <a:gd name="T2" fmla="*/ 2147483647 w 10"/>
                      <a:gd name="T3" fmla="*/ 2147483647 h 7"/>
                      <a:gd name="T4" fmla="*/ 2147483647 w 10"/>
                      <a:gd name="T5" fmla="*/ 2147483647 h 7"/>
                      <a:gd name="T6" fmla="*/ 2147483647 w 10"/>
                      <a:gd name="T7" fmla="*/ 2147483647 h 7"/>
                      <a:gd name="T8" fmla="*/ 0 w 10"/>
                      <a:gd name="T9" fmla="*/ 2147483647 h 7"/>
                      <a:gd name="T10" fmla="*/ 2147483647 w 10"/>
                      <a:gd name="T11" fmla="*/ 2147483647 h 7"/>
                      <a:gd name="T12" fmla="*/ 2147483647 w 10"/>
                      <a:gd name="T13" fmla="*/ 2147483647 h 7"/>
                      <a:gd name="T14" fmla="*/ 2147483647 w 10"/>
                      <a:gd name="T15" fmla="*/ 2147483647 h 7"/>
                      <a:gd name="T16" fmla="*/ 2147483647 w 10"/>
                      <a:gd name="T17" fmla="*/ 2147483647 h 7"/>
                      <a:gd name="T18" fmla="*/ 2147483647 w 10"/>
                      <a:gd name="T19" fmla="*/ 2147483647 h 7"/>
                      <a:gd name="T20" fmla="*/ 2147483647 w 10"/>
                      <a:gd name="T21" fmla="*/ 2147483647 h 7"/>
                      <a:gd name="T22" fmla="*/ 2147483647 w 10"/>
                      <a:gd name="T23" fmla="*/ 2147483647 h 7"/>
                      <a:gd name="T24" fmla="*/ 2147483647 w 10"/>
                      <a:gd name="T25" fmla="*/ 0 h 7"/>
                      <a:gd name="T26" fmla="*/ 2147483647 w 10"/>
                      <a:gd name="T27" fmla="*/ 0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 h="7">
                        <a:moveTo>
                          <a:pt x="7" y="0"/>
                        </a:moveTo>
                        <a:lnTo>
                          <a:pt x="4" y="2"/>
                        </a:lnTo>
                        <a:lnTo>
                          <a:pt x="2" y="3"/>
                        </a:lnTo>
                        <a:lnTo>
                          <a:pt x="1" y="5"/>
                        </a:lnTo>
                        <a:lnTo>
                          <a:pt x="0" y="6"/>
                        </a:lnTo>
                        <a:lnTo>
                          <a:pt x="1" y="7"/>
                        </a:lnTo>
                        <a:lnTo>
                          <a:pt x="3" y="7"/>
                        </a:lnTo>
                        <a:lnTo>
                          <a:pt x="6" y="7"/>
                        </a:lnTo>
                        <a:lnTo>
                          <a:pt x="10" y="6"/>
                        </a:lnTo>
                        <a:lnTo>
                          <a:pt x="10" y="4"/>
                        </a:lnTo>
                        <a:lnTo>
                          <a:pt x="10" y="3"/>
                        </a:lnTo>
                        <a:lnTo>
                          <a:pt x="9" y="2"/>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4" name="Freeform 1541">
                    <a:extLst>
                      <a:ext uri="{FF2B5EF4-FFF2-40B4-BE49-F238E27FC236}">
                        <a16:creationId xmlns:a16="http://schemas.microsoft.com/office/drawing/2014/main" xmlns="" id="{D4507628-E151-41A3-8ED9-E6F51B7CDE78}"/>
                      </a:ext>
                    </a:extLst>
                  </p:cNvPr>
                  <p:cNvSpPr>
                    <a:spLocks/>
                  </p:cNvSpPr>
                  <p:nvPr/>
                </p:nvSpPr>
                <p:spPr bwMode="gray">
                  <a:xfrm>
                    <a:off x="4278480" y="2513262"/>
                    <a:ext cx="4450" cy="12237"/>
                  </a:xfrm>
                  <a:custGeom>
                    <a:avLst/>
                    <a:gdLst>
                      <a:gd name="T0" fmla="*/ 0 w 4"/>
                      <a:gd name="T1" fmla="*/ 0 h 11"/>
                      <a:gd name="T2" fmla="*/ 0 w 4"/>
                      <a:gd name="T3" fmla="*/ 2147483647 h 11"/>
                      <a:gd name="T4" fmla="*/ 2147483647 w 4"/>
                      <a:gd name="T5" fmla="*/ 2147483647 h 11"/>
                      <a:gd name="T6" fmla="*/ 2147483647 w 4"/>
                      <a:gd name="T7" fmla="*/ 2147483647 h 11"/>
                      <a:gd name="T8" fmla="*/ 2147483647 w 4"/>
                      <a:gd name="T9" fmla="*/ 2147483647 h 11"/>
                      <a:gd name="T10" fmla="*/ 2147483647 w 4"/>
                      <a:gd name="T11" fmla="*/ 2147483647 h 11"/>
                      <a:gd name="T12" fmla="*/ 2147483647 w 4"/>
                      <a:gd name="T13" fmla="*/ 2147483647 h 11"/>
                      <a:gd name="T14" fmla="*/ 2147483647 w 4"/>
                      <a:gd name="T15" fmla="*/ 2147483647 h 11"/>
                      <a:gd name="T16" fmla="*/ 2147483647 w 4"/>
                      <a:gd name="T17" fmla="*/ 2147483647 h 11"/>
                      <a:gd name="T18" fmla="*/ 2147483647 w 4"/>
                      <a:gd name="T19" fmla="*/ 2147483647 h 11"/>
                      <a:gd name="T20" fmla="*/ 2147483647 w 4"/>
                      <a:gd name="T21" fmla="*/ 2147483647 h 11"/>
                      <a:gd name="T22" fmla="*/ 0 w 4"/>
                      <a:gd name="T23" fmla="*/ 0 h 11"/>
                      <a:gd name="T24" fmla="*/ 0 w 4"/>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11">
                        <a:moveTo>
                          <a:pt x="0" y="0"/>
                        </a:moveTo>
                        <a:lnTo>
                          <a:pt x="0" y="5"/>
                        </a:lnTo>
                        <a:lnTo>
                          <a:pt x="1" y="8"/>
                        </a:lnTo>
                        <a:lnTo>
                          <a:pt x="3" y="10"/>
                        </a:lnTo>
                        <a:lnTo>
                          <a:pt x="4" y="11"/>
                        </a:lnTo>
                        <a:lnTo>
                          <a:pt x="4" y="8"/>
                        </a:lnTo>
                        <a:lnTo>
                          <a:pt x="4" y="5"/>
                        </a:lnTo>
                        <a:lnTo>
                          <a:pt x="3" y="3"/>
                        </a:lnTo>
                        <a:lnTo>
                          <a:pt x="3" y="2"/>
                        </a:lnTo>
                        <a:lnTo>
                          <a:pt x="1"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5" name="Freeform 1543">
                    <a:extLst>
                      <a:ext uri="{FF2B5EF4-FFF2-40B4-BE49-F238E27FC236}">
                        <a16:creationId xmlns:a16="http://schemas.microsoft.com/office/drawing/2014/main" xmlns="" id="{69AD1217-7332-44AC-94E2-43FB3D0927A7}"/>
                      </a:ext>
                    </a:extLst>
                  </p:cNvPr>
                  <p:cNvSpPr>
                    <a:spLocks/>
                  </p:cNvSpPr>
                  <p:nvPr/>
                </p:nvSpPr>
                <p:spPr bwMode="gray">
                  <a:xfrm>
                    <a:off x="4325205" y="2476553"/>
                    <a:ext cx="7787" cy="3337"/>
                  </a:xfrm>
                  <a:custGeom>
                    <a:avLst/>
                    <a:gdLst>
                      <a:gd name="T0" fmla="*/ 2147483647 w 7"/>
                      <a:gd name="T1" fmla="*/ 2147483647 h 3"/>
                      <a:gd name="T2" fmla="*/ 2147483647 w 7"/>
                      <a:gd name="T3" fmla="*/ 2147483647 h 3"/>
                      <a:gd name="T4" fmla="*/ 2147483647 w 7"/>
                      <a:gd name="T5" fmla="*/ 2147483647 h 3"/>
                      <a:gd name="T6" fmla="*/ 2147483647 w 7"/>
                      <a:gd name="T7" fmla="*/ 2147483647 h 3"/>
                      <a:gd name="T8" fmla="*/ 2147483647 w 7"/>
                      <a:gd name="T9" fmla="*/ 2147483647 h 3"/>
                      <a:gd name="T10" fmla="*/ 2147483647 w 7"/>
                      <a:gd name="T11" fmla="*/ 2147483647 h 3"/>
                      <a:gd name="T12" fmla="*/ 2147483647 w 7"/>
                      <a:gd name="T13" fmla="*/ 2147483647 h 3"/>
                      <a:gd name="T14" fmla="*/ 2147483647 w 7"/>
                      <a:gd name="T15" fmla="*/ 2147483647 h 3"/>
                      <a:gd name="T16" fmla="*/ 2147483647 w 7"/>
                      <a:gd name="T17" fmla="*/ 2147483647 h 3"/>
                      <a:gd name="T18" fmla="*/ 0 w 7"/>
                      <a:gd name="T19" fmla="*/ 0 h 3"/>
                      <a:gd name="T20" fmla="*/ 2147483647 w 7"/>
                      <a:gd name="T21" fmla="*/ 0 h 3"/>
                      <a:gd name="T22" fmla="*/ 2147483647 w 7"/>
                      <a:gd name="T23" fmla="*/ 2147483647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 h="3">
                        <a:moveTo>
                          <a:pt x="3" y="1"/>
                        </a:moveTo>
                        <a:lnTo>
                          <a:pt x="3" y="1"/>
                        </a:lnTo>
                        <a:lnTo>
                          <a:pt x="4" y="1"/>
                        </a:lnTo>
                        <a:lnTo>
                          <a:pt x="6" y="1"/>
                        </a:lnTo>
                        <a:lnTo>
                          <a:pt x="7" y="2"/>
                        </a:lnTo>
                        <a:lnTo>
                          <a:pt x="6" y="3"/>
                        </a:lnTo>
                        <a:lnTo>
                          <a:pt x="4" y="2"/>
                        </a:lnTo>
                        <a:lnTo>
                          <a:pt x="3" y="1"/>
                        </a:lnTo>
                        <a:lnTo>
                          <a:pt x="1" y="1"/>
                        </a:lnTo>
                        <a:lnTo>
                          <a:pt x="0" y="0"/>
                        </a:lnTo>
                        <a:lnTo>
                          <a:pt x="1" y="0"/>
                        </a:lnTo>
                        <a:lnTo>
                          <a:pt x="3"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6" name="Freeform 1545">
                    <a:extLst>
                      <a:ext uri="{FF2B5EF4-FFF2-40B4-BE49-F238E27FC236}">
                        <a16:creationId xmlns:a16="http://schemas.microsoft.com/office/drawing/2014/main" xmlns="" id="{944C89A9-04AC-4F35-AE85-8056531235C9}"/>
                      </a:ext>
                    </a:extLst>
                  </p:cNvPr>
                  <p:cNvSpPr>
                    <a:spLocks/>
                  </p:cNvSpPr>
                  <p:nvPr/>
                </p:nvSpPr>
                <p:spPr bwMode="gray">
                  <a:xfrm>
                    <a:off x="4278480" y="2465428"/>
                    <a:ext cx="5563" cy="11125"/>
                  </a:xfrm>
                  <a:custGeom>
                    <a:avLst/>
                    <a:gdLst>
                      <a:gd name="T0" fmla="*/ 2147483647 w 5"/>
                      <a:gd name="T1" fmla="*/ 0 h 10"/>
                      <a:gd name="T2" fmla="*/ 2147483647 w 5"/>
                      <a:gd name="T3" fmla="*/ 0 h 10"/>
                      <a:gd name="T4" fmla="*/ 2147483647 w 5"/>
                      <a:gd name="T5" fmla="*/ 0 h 10"/>
                      <a:gd name="T6" fmla="*/ 0 w 5"/>
                      <a:gd name="T7" fmla="*/ 0 h 10"/>
                      <a:gd name="T8" fmla="*/ 0 w 5"/>
                      <a:gd name="T9" fmla="*/ 0 h 10"/>
                      <a:gd name="T10" fmla="*/ 0 w 5"/>
                      <a:gd name="T11" fmla="*/ 2147483647 h 10"/>
                      <a:gd name="T12" fmla="*/ 0 w 5"/>
                      <a:gd name="T13" fmla="*/ 2147483647 h 10"/>
                      <a:gd name="T14" fmla="*/ 0 w 5"/>
                      <a:gd name="T15" fmla="*/ 2147483647 h 10"/>
                      <a:gd name="T16" fmla="*/ 0 w 5"/>
                      <a:gd name="T17" fmla="*/ 2147483647 h 10"/>
                      <a:gd name="T18" fmla="*/ 2147483647 w 5"/>
                      <a:gd name="T19" fmla="*/ 2147483647 h 10"/>
                      <a:gd name="T20" fmla="*/ 2147483647 w 5"/>
                      <a:gd name="T21" fmla="*/ 2147483647 h 10"/>
                      <a:gd name="T22" fmla="*/ 2147483647 w 5"/>
                      <a:gd name="T23" fmla="*/ 2147483647 h 10"/>
                      <a:gd name="T24" fmla="*/ 2147483647 w 5"/>
                      <a:gd name="T25" fmla="*/ 0 h 10"/>
                      <a:gd name="T26" fmla="*/ 2147483647 w 5"/>
                      <a:gd name="T27" fmla="*/ 0 h 10"/>
                      <a:gd name="T28" fmla="*/ 2147483647 w 5"/>
                      <a:gd name="T29" fmla="*/ 0 h 10"/>
                      <a:gd name="T30" fmla="*/ 2147483647 w 5"/>
                      <a:gd name="T31" fmla="*/ 0 h 10"/>
                      <a:gd name="T32" fmla="*/ 2147483647 w 5"/>
                      <a:gd name="T33" fmla="*/ 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 h="10">
                        <a:moveTo>
                          <a:pt x="3" y="0"/>
                        </a:moveTo>
                        <a:lnTo>
                          <a:pt x="3" y="0"/>
                        </a:lnTo>
                        <a:lnTo>
                          <a:pt x="1" y="0"/>
                        </a:lnTo>
                        <a:lnTo>
                          <a:pt x="0" y="0"/>
                        </a:lnTo>
                        <a:lnTo>
                          <a:pt x="0" y="3"/>
                        </a:lnTo>
                        <a:lnTo>
                          <a:pt x="0" y="4"/>
                        </a:lnTo>
                        <a:lnTo>
                          <a:pt x="0" y="5"/>
                        </a:lnTo>
                        <a:lnTo>
                          <a:pt x="0" y="8"/>
                        </a:lnTo>
                        <a:lnTo>
                          <a:pt x="3" y="10"/>
                        </a:lnTo>
                        <a:lnTo>
                          <a:pt x="4" y="10"/>
                        </a:lnTo>
                        <a:lnTo>
                          <a:pt x="4" y="7"/>
                        </a:lnTo>
                        <a:lnTo>
                          <a:pt x="5" y="0"/>
                        </a:lnTo>
                        <a:lnTo>
                          <a:pt x="4"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7" name="Freeform 1548">
                    <a:extLst>
                      <a:ext uri="{FF2B5EF4-FFF2-40B4-BE49-F238E27FC236}">
                        <a16:creationId xmlns:a16="http://schemas.microsoft.com/office/drawing/2014/main" xmlns="" id="{E36663FF-94FF-450B-9CE5-4A8849775F22}"/>
                      </a:ext>
                    </a:extLst>
                  </p:cNvPr>
                  <p:cNvSpPr>
                    <a:spLocks/>
                  </p:cNvSpPr>
                  <p:nvPr/>
                </p:nvSpPr>
                <p:spPr bwMode="gray">
                  <a:xfrm>
                    <a:off x="4406415" y="2355300"/>
                    <a:ext cx="5563" cy="3337"/>
                  </a:xfrm>
                  <a:custGeom>
                    <a:avLst/>
                    <a:gdLst>
                      <a:gd name="T0" fmla="*/ 2147483647 w 5"/>
                      <a:gd name="T1" fmla="*/ 0 h 3"/>
                      <a:gd name="T2" fmla="*/ 2147483647 w 5"/>
                      <a:gd name="T3" fmla="*/ 2147483647 h 3"/>
                      <a:gd name="T4" fmla="*/ 2147483647 w 5"/>
                      <a:gd name="T5" fmla="*/ 2147483647 h 3"/>
                      <a:gd name="T6" fmla="*/ 2147483647 w 5"/>
                      <a:gd name="T7" fmla="*/ 2147483647 h 3"/>
                      <a:gd name="T8" fmla="*/ 2147483647 w 5"/>
                      <a:gd name="T9" fmla="*/ 2147483647 h 3"/>
                      <a:gd name="T10" fmla="*/ 2147483647 w 5"/>
                      <a:gd name="T11" fmla="*/ 2147483647 h 3"/>
                      <a:gd name="T12" fmla="*/ 2147483647 w 5"/>
                      <a:gd name="T13" fmla="*/ 2147483647 h 3"/>
                      <a:gd name="T14" fmla="*/ 0 w 5"/>
                      <a:gd name="T15" fmla="*/ 2147483647 h 3"/>
                      <a:gd name="T16" fmla="*/ 2147483647 w 5"/>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
                        <a:moveTo>
                          <a:pt x="1" y="0"/>
                        </a:moveTo>
                        <a:lnTo>
                          <a:pt x="3" y="1"/>
                        </a:lnTo>
                        <a:lnTo>
                          <a:pt x="5" y="1"/>
                        </a:lnTo>
                        <a:lnTo>
                          <a:pt x="5" y="2"/>
                        </a:lnTo>
                        <a:lnTo>
                          <a:pt x="4" y="3"/>
                        </a:lnTo>
                        <a:lnTo>
                          <a:pt x="3" y="2"/>
                        </a:lnTo>
                        <a:lnTo>
                          <a:pt x="1" y="1"/>
                        </a:lnTo>
                        <a:lnTo>
                          <a:pt x="0" y="1"/>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8" name="Freeform 1550">
                    <a:extLst>
                      <a:ext uri="{FF2B5EF4-FFF2-40B4-BE49-F238E27FC236}">
                        <a16:creationId xmlns:a16="http://schemas.microsoft.com/office/drawing/2014/main" xmlns="" id="{F19644CE-5DB8-4310-BC0E-4DA5575C2310}"/>
                      </a:ext>
                    </a:extLst>
                  </p:cNvPr>
                  <p:cNvSpPr>
                    <a:spLocks/>
                  </p:cNvSpPr>
                  <p:nvPr/>
                </p:nvSpPr>
                <p:spPr bwMode="gray">
                  <a:xfrm>
                    <a:off x="4490963" y="2294117"/>
                    <a:ext cx="4450" cy="7787"/>
                  </a:xfrm>
                  <a:custGeom>
                    <a:avLst/>
                    <a:gdLst>
                      <a:gd name="T0" fmla="*/ 2147483647 w 4"/>
                      <a:gd name="T1" fmla="*/ 0 h 7"/>
                      <a:gd name="T2" fmla="*/ 2147483647 w 4"/>
                      <a:gd name="T3" fmla="*/ 2147483647 h 7"/>
                      <a:gd name="T4" fmla="*/ 2147483647 w 4"/>
                      <a:gd name="T5" fmla="*/ 2147483647 h 7"/>
                      <a:gd name="T6" fmla="*/ 2147483647 w 4"/>
                      <a:gd name="T7" fmla="*/ 2147483647 h 7"/>
                      <a:gd name="T8" fmla="*/ 2147483647 w 4"/>
                      <a:gd name="T9" fmla="*/ 2147483647 h 7"/>
                      <a:gd name="T10" fmla="*/ 2147483647 w 4"/>
                      <a:gd name="T11" fmla="*/ 2147483647 h 7"/>
                      <a:gd name="T12" fmla="*/ 0 w 4"/>
                      <a:gd name="T13" fmla="*/ 2147483647 h 7"/>
                      <a:gd name="T14" fmla="*/ 2147483647 w 4"/>
                      <a:gd name="T15" fmla="*/ 2147483647 h 7"/>
                      <a:gd name="T16" fmla="*/ 2147483647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7">
                        <a:moveTo>
                          <a:pt x="2" y="0"/>
                        </a:moveTo>
                        <a:lnTo>
                          <a:pt x="4" y="1"/>
                        </a:lnTo>
                        <a:lnTo>
                          <a:pt x="4" y="2"/>
                        </a:lnTo>
                        <a:lnTo>
                          <a:pt x="3" y="5"/>
                        </a:lnTo>
                        <a:lnTo>
                          <a:pt x="2" y="7"/>
                        </a:lnTo>
                        <a:lnTo>
                          <a:pt x="1" y="5"/>
                        </a:lnTo>
                        <a:lnTo>
                          <a:pt x="0" y="2"/>
                        </a:lnTo>
                        <a:lnTo>
                          <a:pt x="1" y="1"/>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69" name="Freeform 1552">
                    <a:extLst>
                      <a:ext uri="{FF2B5EF4-FFF2-40B4-BE49-F238E27FC236}">
                        <a16:creationId xmlns:a16="http://schemas.microsoft.com/office/drawing/2014/main" xmlns="" id="{0144C255-998F-41E1-B8DC-A9236C39CE9F}"/>
                      </a:ext>
                    </a:extLst>
                  </p:cNvPr>
                  <p:cNvSpPr>
                    <a:spLocks/>
                  </p:cNvSpPr>
                  <p:nvPr/>
                </p:nvSpPr>
                <p:spPr bwMode="gray">
                  <a:xfrm>
                    <a:off x="4771304" y="1885865"/>
                    <a:ext cx="4450" cy="7787"/>
                  </a:xfrm>
                  <a:custGeom>
                    <a:avLst/>
                    <a:gdLst>
                      <a:gd name="T0" fmla="*/ 2147483647 w 4"/>
                      <a:gd name="T1" fmla="*/ 2147483647 h 7"/>
                      <a:gd name="T2" fmla="*/ 2147483647 w 4"/>
                      <a:gd name="T3" fmla="*/ 0 h 7"/>
                      <a:gd name="T4" fmla="*/ 2147483647 w 4"/>
                      <a:gd name="T5" fmla="*/ 2147483647 h 7"/>
                      <a:gd name="T6" fmla="*/ 2147483647 w 4"/>
                      <a:gd name="T7" fmla="*/ 2147483647 h 7"/>
                      <a:gd name="T8" fmla="*/ 2147483647 w 4"/>
                      <a:gd name="T9" fmla="*/ 2147483647 h 7"/>
                      <a:gd name="T10" fmla="*/ 2147483647 w 4"/>
                      <a:gd name="T11" fmla="*/ 2147483647 h 7"/>
                      <a:gd name="T12" fmla="*/ 2147483647 w 4"/>
                      <a:gd name="T13" fmla="*/ 2147483647 h 7"/>
                      <a:gd name="T14" fmla="*/ 0 w 4"/>
                      <a:gd name="T15" fmla="*/ 2147483647 h 7"/>
                      <a:gd name="T16" fmla="*/ 0 w 4"/>
                      <a:gd name="T17" fmla="*/ 2147483647 h 7"/>
                      <a:gd name="T18" fmla="*/ 0 w 4"/>
                      <a:gd name="T19" fmla="*/ 2147483647 h 7"/>
                      <a:gd name="T20" fmla="*/ 0 w 4"/>
                      <a:gd name="T21" fmla="*/ 2147483647 h 7"/>
                      <a:gd name="T22" fmla="*/ 0 w 4"/>
                      <a:gd name="T23" fmla="*/ 2147483647 h 7"/>
                      <a:gd name="T24" fmla="*/ 0 w 4"/>
                      <a:gd name="T25" fmla="*/ 2147483647 h 7"/>
                      <a:gd name="T26" fmla="*/ 0 w 4"/>
                      <a:gd name="T27" fmla="*/ 2147483647 h 7"/>
                      <a:gd name="T28" fmla="*/ 2147483647 w 4"/>
                      <a:gd name="T29" fmla="*/ 2147483647 h 7"/>
                      <a:gd name="T30" fmla="*/ 2147483647 w 4"/>
                      <a:gd name="T31" fmla="*/ 2147483647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 h="7">
                        <a:moveTo>
                          <a:pt x="3" y="1"/>
                        </a:moveTo>
                        <a:lnTo>
                          <a:pt x="4" y="0"/>
                        </a:lnTo>
                        <a:lnTo>
                          <a:pt x="4" y="2"/>
                        </a:lnTo>
                        <a:lnTo>
                          <a:pt x="3" y="4"/>
                        </a:lnTo>
                        <a:lnTo>
                          <a:pt x="3" y="7"/>
                        </a:lnTo>
                        <a:lnTo>
                          <a:pt x="2" y="5"/>
                        </a:lnTo>
                        <a:lnTo>
                          <a:pt x="1" y="5"/>
                        </a:lnTo>
                        <a:lnTo>
                          <a:pt x="0" y="5"/>
                        </a:lnTo>
                        <a:lnTo>
                          <a:pt x="0" y="3"/>
                        </a:lnTo>
                        <a:lnTo>
                          <a:pt x="0" y="1"/>
                        </a:lnTo>
                        <a:lnTo>
                          <a:pt x="1" y="1"/>
                        </a:lnTo>
                        <a:lnTo>
                          <a:pt x="3"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0" name="Freeform 1554">
                    <a:extLst>
                      <a:ext uri="{FF2B5EF4-FFF2-40B4-BE49-F238E27FC236}">
                        <a16:creationId xmlns:a16="http://schemas.microsoft.com/office/drawing/2014/main" xmlns="" id="{CA4B3C9F-C4B7-4B2D-9912-E86A68528575}"/>
                      </a:ext>
                    </a:extLst>
                  </p:cNvPr>
                  <p:cNvSpPr>
                    <a:spLocks/>
                  </p:cNvSpPr>
                  <p:nvPr/>
                </p:nvSpPr>
                <p:spPr bwMode="gray">
                  <a:xfrm>
                    <a:off x="4816915" y="1821345"/>
                    <a:ext cx="3338" cy="1113"/>
                  </a:xfrm>
                  <a:custGeom>
                    <a:avLst/>
                    <a:gdLst>
                      <a:gd name="T0" fmla="*/ 2147483647 w 3"/>
                      <a:gd name="T1" fmla="*/ 0 h 1"/>
                      <a:gd name="T2" fmla="*/ 2147483647 w 3"/>
                      <a:gd name="T3" fmla="*/ 0 h 1"/>
                      <a:gd name="T4" fmla="*/ 0 w 3"/>
                      <a:gd name="T5" fmla="*/ 2147483647 h 1"/>
                      <a:gd name="T6" fmla="*/ 0 w 3"/>
                      <a:gd name="T7" fmla="*/ 2147483647 h 1"/>
                      <a:gd name="T8" fmla="*/ 0 w 3"/>
                      <a:gd name="T9" fmla="*/ 0 h 1"/>
                      <a:gd name="T10" fmla="*/ 2147483647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lnTo>
                          <a:pt x="3" y="0"/>
                        </a:lnTo>
                        <a:lnTo>
                          <a:pt x="0" y="1"/>
                        </a:lnTo>
                        <a:lnTo>
                          <a:pt x="0"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1" name="Freeform 1556">
                    <a:extLst>
                      <a:ext uri="{FF2B5EF4-FFF2-40B4-BE49-F238E27FC236}">
                        <a16:creationId xmlns:a16="http://schemas.microsoft.com/office/drawing/2014/main" xmlns="" id="{B73DD9BF-C2B2-4894-B7F5-25C99504352B}"/>
                      </a:ext>
                    </a:extLst>
                  </p:cNvPr>
                  <p:cNvSpPr>
                    <a:spLocks/>
                  </p:cNvSpPr>
                  <p:nvPr/>
                </p:nvSpPr>
                <p:spPr bwMode="gray">
                  <a:xfrm>
                    <a:off x="4824703" y="1799096"/>
                    <a:ext cx="3338" cy="11125"/>
                  </a:xfrm>
                  <a:custGeom>
                    <a:avLst/>
                    <a:gdLst>
                      <a:gd name="T0" fmla="*/ 0 w 3"/>
                      <a:gd name="T1" fmla="*/ 0 h 10"/>
                      <a:gd name="T2" fmla="*/ 2147483647 w 3"/>
                      <a:gd name="T3" fmla="*/ 0 h 10"/>
                      <a:gd name="T4" fmla="*/ 2147483647 w 3"/>
                      <a:gd name="T5" fmla="*/ 0 h 10"/>
                      <a:gd name="T6" fmla="*/ 2147483647 w 3"/>
                      <a:gd name="T7" fmla="*/ 0 h 10"/>
                      <a:gd name="T8" fmla="*/ 2147483647 w 3"/>
                      <a:gd name="T9" fmla="*/ 2147483647 h 10"/>
                      <a:gd name="T10" fmla="*/ 2147483647 w 3"/>
                      <a:gd name="T11" fmla="*/ 2147483647 h 10"/>
                      <a:gd name="T12" fmla="*/ 0 w 3"/>
                      <a:gd name="T13" fmla="*/ 2147483647 h 10"/>
                      <a:gd name="T14" fmla="*/ 0 w 3"/>
                      <a:gd name="T15" fmla="*/ 2147483647 h 10"/>
                      <a:gd name="T16" fmla="*/ 0 w 3"/>
                      <a:gd name="T17" fmla="*/ 2147483647 h 10"/>
                      <a:gd name="T18" fmla="*/ 0 w 3"/>
                      <a:gd name="T19" fmla="*/ 2147483647 h 10"/>
                      <a:gd name="T20" fmla="*/ 0 w 3"/>
                      <a:gd name="T21" fmla="*/ 0 h 10"/>
                      <a:gd name="T22" fmla="*/ 0 w 3"/>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 h="10">
                        <a:moveTo>
                          <a:pt x="0" y="0"/>
                        </a:moveTo>
                        <a:lnTo>
                          <a:pt x="2" y="0"/>
                        </a:lnTo>
                        <a:lnTo>
                          <a:pt x="3" y="0"/>
                        </a:lnTo>
                        <a:lnTo>
                          <a:pt x="3" y="5"/>
                        </a:lnTo>
                        <a:lnTo>
                          <a:pt x="2" y="7"/>
                        </a:lnTo>
                        <a:lnTo>
                          <a:pt x="0" y="7"/>
                        </a:lnTo>
                        <a:lnTo>
                          <a:pt x="0" y="8"/>
                        </a:lnTo>
                        <a:lnTo>
                          <a:pt x="0" y="9"/>
                        </a:lnTo>
                        <a:lnTo>
                          <a:pt x="0" y="1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2" name="Freeform 1558">
                    <a:extLst>
                      <a:ext uri="{FF2B5EF4-FFF2-40B4-BE49-F238E27FC236}">
                        <a16:creationId xmlns:a16="http://schemas.microsoft.com/office/drawing/2014/main" xmlns="" id="{3906EA3E-145E-4712-ACAE-458F7D454F21}"/>
                      </a:ext>
                    </a:extLst>
                  </p:cNvPr>
                  <p:cNvSpPr>
                    <a:spLocks/>
                  </p:cNvSpPr>
                  <p:nvPr/>
                </p:nvSpPr>
                <p:spPr bwMode="gray">
                  <a:xfrm>
                    <a:off x="4824703" y="1756825"/>
                    <a:ext cx="6675" cy="14462"/>
                  </a:xfrm>
                  <a:custGeom>
                    <a:avLst/>
                    <a:gdLst>
                      <a:gd name="T0" fmla="*/ 0 w 6"/>
                      <a:gd name="T1" fmla="*/ 0 h 13"/>
                      <a:gd name="T2" fmla="*/ 0 w 6"/>
                      <a:gd name="T3" fmla="*/ 2147483647 h 13"/>
                      <a:gd name="T4" fmla="*/ 0 w 6"/>
                      <a:gd name="T5" fmla="*/ 2147483647 h 13"/>
                      <a:gd name="T6" fmla="*/ 0 w 6"/>
                      <a:gd name="T7" fmla="*/ 2147483647 h 13"/>
                      <a:gd name="T8" fmla="*/ 0 w 6"/>
                      <a:gd name="T9" fmla="*/ 2147483647 h 13"/>
                      <a:gd name="T10" fmla="*/ 0 w 6"/>
                      <a:gd name="T11" fmla="*/ 2147483647 h 13"/>
                      <a:gd name="T12" fmla="*/ 2147483647 w 6"/>
                      <a:gd name="T13" fmla="*/ 2147483647 h 13"/>
                      <a:gd name="T14" fmla="*/ 2147483647 w 6"/>
                      <a:gd name="T15" fmla="*/ 2147483647 h 13"/>
                      <a:gd name="T16" fmla="*/ 2147483647 w 6"/>
                      <a:gd name="T17" fmla="*/ 2147483647 h 13"/>
                      <a:gd name="T18" fmla="*/ 2147483647 w 6"/>
                      <a:gd name="T19" fmla="*/ 2147483647 h 13"/>
                      <a:gd name="T20" fmla="*/ 2147483647 w 6"/>
                      <a:gd name="T21" fmla="*/ 2147483647 h 13"/>
                      <a:gd name="T22" fmla="*/ 2147483647 w 6"/>
                      <a:gd name="T23" fmla="*/ 2147483647 h 13"/>
                      <a:gd name="T24" fmla="*/ 2147483647 w 6"/>
                      <a:gd name="T25" fmla="*/ 2147483647 h 13"/>
                      <a:gd name="T26" fmla="*/ 2147483647 w 6"/>
                      <a:gd name="T27" fmla="*/ 2147483647 h 13"/>
                      <a:gd name="T28" fmla="*/ 2147483647 w 6"/>
                      <a:gd name="T29" fmla="*/ 2147483647 h 13"/>
                      <a:gd name="T30" fmla="*/ 2147483647 w 6"/>
                      <a:gd name="T31" fmla="*/ 2147483647 h 13"/>
                      <a:gd name="T32" fmla="*/ 2147483647 w 6"/>
                      <a:gd name="T33" fmla="*/ 2147483647 h 13"/>
                      <a:gd name="T34" fmla="*/ 2147483647 w 6"/>
                      <a:gd name="T35" fmla="*/ 2147483647 h 13"/>
                      <a:gd name="T36" fmla="*/ 2147483647 w 6"/>
                      <a:gd name="T37" fmla="*/ 2147483647 h 13"/>
                      <a:gd name="T38" fmla="*/ 2147483647 w 6"/>
                      <a:gd name="T39" fmla="*/ 2147483647 h 13"/>
                      <a:gd name="T40" fmla="*/ 0 w 6"/>
                      <a:gd name="T41" fmla="*/ 0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 h="13">
                        <a:moveTo>
                          <a:pt x="0" y="0"/>
                        </a:moveTo>
                        <a:lnTo>
                          <a:pt x="0" y="4"/>
                        </a:lnTo>
                        <a:lnTo>
                          <a:pt x="0" y="6"/>
                        </a:lnTo>
                        <a:lnTo>
                          <a:pt x="0" y="9"/>
                        </a:lnTo>
                        <a:lnTo>
                          <a:pt x="0" y="13"/>
                        </a:lnTo>
                        <a:lnTo>
                          <a:pt x="2" y="13"/>
                        </a:lnTo>
                        <a:lnTo>
                          <a:pt x="3" y="13"/>
                        </a:lnTo>
                        <a:lnTo>
                          <a:pt x="4" y="12"/>
                        </a:lnTo>
                        <a:lnTo>
                          <a:pt x="4" y="11"/>
                        </a:lnTo>
                        <a:lnTo>
                          <a:pt x="4" y="10"/>
                        </a:lnTo>
                        <a:lnTo>
                          <a:pt x="6" y="9"/>
                        </a:lnTo>
                        <a:lnTo>
                          <a:pt x="6" y="7"/>
                        </a:lnTo>
                        <a:lnTo>
                          <a:pt x="6" y="6"/>
                        </a:lnTo>
                        <a:lnTo>
                          <a:pt x="6" y="4"/>
                        </a:lnTo>
                        <a:lnTo>
                          <a:pt x="5" y="3"/>
                        </a:lnTo>
                        <a:lnTo>
                          <a:pt x="4" y="2"/>
                        </a:lnTo>
                        <a:lnTo>
                          <a:pt x="2"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3" name="Freeform 1560">
                    <a:extLst>
                      <a:ext uri="{FF2B5EF4-FFF2-40B4-BE49-F238E27FC236}">
                        <a16:creationId xmlns:a16="http://schemas.microsoft.com/office/drawing/2014/main" xmlns="" id="{1582DA19-52D9-440F-AE88-95E6CC71D09E}"/>
                      </a:ext>
                    </a:extLst>
                  </p:cNvPr>
                  <p:cNvSpPr>
                    <a:spLocks/>
                  </p:cNvSpPr>
                  <p:nvPr/>
                </p:nvSpPr>
                <p:spPr bwMode="gray">
                  <a:xfrm>
                    <a:off x="4836939" y="1756825"/>
                    <a:ext cx="14463" cy="18911"/>
                  </a:xfrm>
                  <a:custGeom>
                    <a:avLst/>
                    <a:gdLst>
                      <a:gd name="T0" fmla="*/ 0 w 13"/>
                      <a:gd name="T1" fmla="*/ 0 h 17"/>
                      <a:gd name="T2" fmla="*/ 0 w 13"/>
                      <a:gd name="T3" fmla="*/ 2147483647 h 17"/>
                      <a:gd name="T4" fmla="*/ 0 w 13"/>
                      <a:gd name="T5" fmla="*/ 2147483647 h 17"/>
                      <a:gd name="T6" fmla="*/ 0 w 13"/>
                      <a:gd name="T7" fmla="*/ 2147483647 h 17"/>
                      <a:gd name="T8" fmla="*/ 0 w 13"/>
                      <a:gd name="T9" fmla="*/ 2147483647 h 17"/>
                      <a:gd name="T10" fmla="*/ 2147483647 w 13"/>
                      <a:gd name="T11" fmla="*/ 2147483647 h 17"/>
                      <a:gd name="T12" fmla="*/ 2147483647 w 13"/>
                      <a:gd name="T13" fmla="*/ 2147483647 h 17"/>
                      <a:gd name="T14" fmla="*/ 2147483647 w 13"/>
                      <a:gd name="T15" fmla="*/ 2147483647 h 17"/>
                      <a:gd name="T16" fmla="*/ 2147483647 w 13"/>
                      <a:gd name="T17" fmla="*/ 2147483647 h 17"/>
                      <a:gd name="T18" fmla="*/ 2147483647 w 13"/>
                      <a:gd name="T19" fmla="*/ 2147483647 h 17"/>
                      <a:gd name="T20" fmla="*/ 2147483647 w 13"/>
                      <a:gd name="T21" fmla="*/ 2147483647 h 17"/>
                      <a:gd name="T22" fmla="*/ 2147483647 w 13"/>
                      <a:gd name="T23" fmla="*/ 2147483647 h 17"/>
                      <a:gd name="T24" fmla="*/ 2147483647 w 13"/>
                      <a:gd name="T25" fmla="*/ 2147483647 h 17"/>
                      <a:gd name="T26" fmla="*/ 2147483647 w 13"/>
                      <a:gd name="T27" fmla="*/ 2147483647 h 17"/>
                      <a:gd name="T28" fmla="*/ 2147483647 w 13"/>
                      <a:gd name="T29" fmla="*/ 2147483647 h 17"/>
                      <a:gd name="T30" fmla="*/ 2147483647 w 13"/>
                      <a:gd name="T31" fmla="*/ 2147483647 h 17"/>
                      <a:gd name="T32" fmla="*/ 2147483647 w 13"/>
                      <a:gd name="T33" fmla="*/ 2147483647 h 17"/>
                      <a:gd name="T34" fmla="*/ 2147483647 w 13"/>
                      <a:gd name="T35" fmla="*/ 2147483647 h 17"/>
                      <a:gd name="T36" fmla="*/ 2147483647 w 13"/>
                      <a:gd name="T37" fmla="*/ 2147483647 h 17"/>
                      <a:gd name="T38" fmla="*/ 2147483647 w 13"/>
                      <a:gd name="T39" fmla="*/ 2147483647 h 17"/>
                      <a:gd name="T40" fmla="*/ 0 w 13"/>
                      <a:gd name="T41" fmla="*/ 0 h 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 h="17">
                        <a:moveTo>
                          <a:pt x="0" y="0"/>
                        </a:moveTo>
                        <a:lnTo>
                          <a:pt x="0" y="1"/>
                        </a:lnTo>
                        <a:lnTo>
                          <a:pt x="0" y="2"/>
                        </a:lnTo>
                        <a:lnTo>
                          <a:pt x="0" y="4"/>
                        </a:lnTo>
                        <a:lnTo>
                          <a:pt x="0" y="7"/>
                        </a:lnTo>
                        <a:lnTo>
                          <a:pt x="4" y="8"/>
                        </a:lnTo>
                        <a:lnTo>
                          <a:pt x="6" y="11"/>
                        </a:lnTo>
                        <a:lnTo>
                          <a:pt x="8" y="15"/>
                        </a:lnTo>
                        <a:lnTo>
                          <a:pt x="8" y="17"/>
                        </a:lnTo>
                        <a:lnTo>
                          <a:pt x="9" y="17"/>
                        </a:lnTo>
                        <a:lnTo>
                          <a:pt x="10" y="17"/>
                        </a:lnTo>
                        <a:lnTo>
                          <a:pt x="12" y="17"/>
                        </a:lnTo>
                        <a:lnTo>
                          <a:pt x="13" y="17"/>
                        </a:lnTo>
                        <a:lnTo>
                          <a:pt x="13" y="15"/>
                        </a:lnTo>
                        <a:lnTo>
                          <a:pt x="13" y="12"/>
                        </a:lnTo>
                        <a:lnTo>
                          <a:pt x="13" y="11"/>
                        </a:lnTo>
                        <a:lnTo>
                          <a:pt x="13" y="10"/>
                        </a:lnTo>
                        <a:lnTo>
                          <a:pt x="10" y="7"/>
                        </a:lnTo>
                        <a:lnTo>
                          <a:pt x="8" y="4"/>
                        </a:lnTo>
                        <a:lnTo>
                          <a:pt x="4"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4" name="Freeform 1562">
                    <a:extLst>
                      <a:ext uri="{FF2B5EF4-FFF2-40B4-BE49-F238E27FC236}">
                        <a16:creationId xmlns:a16="http://schemas.microsoft.com/office/drawing/2014/main" xmlns="" id="{D7CE1B1D-76C2-4735-ADCB-1395DCE8B898}"/>
                      </a:ext>
                    </a:extLst>
                  </p:cNvPr>
                  <p:cNvSpPr>
                    <a:spLocks/>
                  </p:cNvSpPr>
                  <p:nvPr/>
                </p:nvSpPr>
                <p:spPr bwMode="gray">
                  <a:xfrm>
                    <a:off x="4899238" y="1703429"/>
                    <a:ext cx="40049" cy="35597"/>
                  </a:xfrm>
                  <a:custGeom>
                    <a:avLst/>
                    <a:gdLst>
                      <a:gd name="T0" fmla="*/ 2147483647 w 36"/>
                      <a:gd name="T1" fmla="*/ 2147483647 h 32"/>
                      <a:gd name="T2" fmla="*/ 2147483647 w 36"/>
                      <a:gd name="T3" fmla="*/ 2147483647 h 32"/>
                      <a:gd name="T4" fmla="*/ 2147483647 w 36"/>
                      <a:gd name="T5" fmla="*/ 2147483647 h 32"/>
                      <a:gd name="T6" fmla="*/ 2147483647 w 36"/>
                      <a:gd name="T7" fmla="*/ 2147483647 h 32"/>
                      <a:gd name="T8" fmla="*/ 2147483647 w 36"/>
                      <a:gd name="T9" fmla="*/ 2147483647 h 32"/>
                      <a:gd name="T10" fmla="*/ 2147483647 w 36"/>
                      <a:gd name="T11" fmla="*/ 2147483647 h 32"/>
                      <a:gd name="T12" fmla="*/ 2147483647 w 36"/>
                      <a:gd name="T13" fmla="*/ 2147483647 h 32"/>
                      <a:gd name="T14" fmla="*/ 2147483647 w 36"/>
                      <a:gd name="T15" fmla="*/ 2147483647 h 32"/>
                      <a:gd name="T16" fmla="*/ 2147483647 w 36"/>
                      <a:gd name="T17" fmla="*/ 2147483647 h 32"/>
                      <a:gd name="T18" fmla="*/ 2147483647 w 36"/>
                      <a:gd name="T19" fmla="*/ 2147483647 h 32"/>
                      <a:gd name="T20" fmla="*/ 2147483647 w 36"/>
                      <a:gd name="T21" fmla="*/ 2147483647 h 32"/>
                      <a:gd name="T22" fmla="*/ 0 w 36"/>
                      <a:gd name="T23" fmla="*/ 2147483647 h 32"/>
                      <a:gd name="T24" fmla="*/ 2147483647 w 36"/>
                      <a:gd name="T25" fmla="*/ 2147483647 h 32"/>
                      <a:gd name="T26" fmla="*/ 2147483647 w 36"/>
                      <a:gd name="T27" fmla="*/ 2147483647 h 32"/>
                      <a:gd name="T28" fmla="*/ 2147483647 w 36"/>
                      <a:gd name="T29" fmla="*/ 2147483647 h 32"/>
                      <a:gd name="T30" fmla="*/ 2147483647 w 36"/>
                      <a:gd name="T31" fmla="*/ 2147483647 h 32"/>
                      <a:gd name="T32" fmla="*/ 0 w 36"/>
                      <a:gd name="T33" fmla="*/ 2147483647 h 32"/>
                      <a:gd name="T34" fmla="*/ 0 w 36"/>
                      <a:gd name="T35" fmla="*/ 2147483647 h 32"/>
                      <a:gd name="T36" fmla="*/ 0 w 36"/>
                      <a:gd name="T37" fmla="*/ 2147483647 h 32"/>
                      <a:gd name="T38" fmla="*/ 2147483647 w 36"/>
                      <a:gd name="T39" fmla="*/ 2147483647 h 32"/>
                      <a:gd name="T40" fmla="*/ 2147483647 w 36"/>
                      <a:gd name="T41" fmla="*/ 2147483647 h 32"/>
                      <a:gd name="T42" fmla="*/ 2147483647 w 36"/>
                      <a:gd name="T43" fmla="*/ 2147483647 h 32"/>
                      <a:gd name="T44" fmla="*/ 2147483647 w 36"/>
                      <a:gd name="T45" fmla="*/ 2147483647 h 32"/>
                      <a:gd name="T46" fmla="*/ 2147483647 w 36"/>
                      <a:gd name="T47" fmla="*/ 2147483647 h 32"/>
                      <a:gd name="T48" fmla="*/ 2147483647 w 36"/>
                      <a:gd name="T49" fmla="*/ 2147483647 h 32"/>
                      <a:gd name="T50" fmla="*/ 2147483647 w 36"/>
                      <a:gd name="T51" fmla="*/ 2147483647 h 32"/>
                      <a:gd name="T52" fmla="*/ 2147483647 w 36"/>
                      <a:gd name="T53" fmla="*/ 2147483647 h 32"/>
                      <a:gd name="T54" fmla="*/ 2147483647 w 36"/>
                      <a:gd name="T55" fmla="*/ 2147483647 h 32"/>
                      <a:gd name="T56" fmla="*/ 2147483647 w 36"/>
                      <a:gd name="T57" fmla="*/ 2147483647 h 32"/>
                      <a:gd name="T58" fmla="*/ 2147483647 w 36"/>
                      <a:gd name="T59" fmla="*/ 2147483647 h 32"/>
                      <a:gd name="T60" fmla="*/ 2147483647 w 36"/>
                      <a:gd name="T61" fmla="*/ 2147483647 h 32"/>
                      <a:gd name="T62" fmla="*/ 2147483647 w 36"/>
                      <a:gd name="T63" fmla="*/ 0 h 32"/>
                      <a:gd name="T64" fmla="*/ 2147483647 w 36"/>
                      <a:gd name="T65" fmla="*/ 0 h 32"/>
                      <a:gd name="T66" fmla="*/ 2147483647 w 36"/>
                      <a:gd name="T67" fmla="*/ 0 h 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 h="32">
                        <a:moveTo>
                          <a:pt x="29" y="0"/>
                        </a:moveTo>
                        <a:lnTo>
                          <a:pt x="29" y="3"/>
                        </a:lnTo>
                        <a:lnTo>
                          <a:pt x="24" y="3"/>
                        </a:lnTo>
                        <a:lnTo>
                          <a:pt x="23" y="3"/>
                        </a:lnTo>
                        <a:lnTo>
                          <a:pt x="22" y="3"/>
                        </a:lnTo>
                        <a:lnTo>
                          <a:pt x="22" y="4"/>
                        </a:lnTo>
                        <a:lnTo>
                          <a:pt x="22" y="6"/>
                        </a:lnTo>
                        <a:lnTo>
                          <a:pt x="22" y="9"/>
                        </a:lnTo>
                        <a:lnTo>
                          <a:pt x="22" y="10"/>
                        </a:lnTo>
                        <a:lnTo>
                          <a:pt x="18" y="10"/>
                        </a:lnTo>
                        <a:lnTo>
                          <a:pt x="16" y="10"/>
                        </a:lnTo>
                        <a:lnTo>
                          <a:pt x="15" y="12"/>
                        </a:lnTo>
                        <a:lnTo>
                          <a:pt x="14" y="13"/>
                        </a:lnTo>
                        <a:lnTo>
                          <a:pt x="13" y="13"/>
                        </a:lnTo>
                        <a:lnTo>
                          <a:pt x="11" y="15"/>
                        </a:lnTo>
                        <a:lnTo>
                          <a:pt x="8" y="16"/>
                        </a:lnTo>
                        <a:lnTo>
                          <a:pt x="4" y="16"/>
                        </a:lnTo>
                        <a:lnTo>
                          <a:pt x="0" y="16"/>
                        </a:lnTo>
                        <a:lnTo>
                          <a:pt x="1" y="16"/>
                        </a:lnTo>
                        <a:lnTo>
                          <a:pt x="1" y="17"/>
                        </a:lnTo>
                        <a:lnTo>
                          <a:pt x="0" y="18"/>
                        </a:lnTo>
                        <a:lnTo>
                          <a:pt x="0" y="19"/>
                        </a:lnTo>
                        <a:lnTo>
                          <a:pt x="2" y="19"/>
                        </a:lnTo>
                        <a:lnTo>
                          <a:pt x="3" y="21"/>
                        </a:lnTo>
                        <a:lnTo>
                          <a:pt x="4" y="22"/>
                        </a:lnTo>
                        <a:lnTo>
                          <a:pt x="6" y="22"/>
                        </a:lnTo>
                        <a:lnTo>
                          <a:pt x="6" y="23"/>
                        </a:lnTo>
                        <a:lnTo>
                          <a:pt x="6" y="24"/>
                        </a:lnTo>
                        <a:lnTo>
                          <a:pt x="5" y="25"/>
                        </a:lnTo>
                        <a:lnTo>
                          <a:pt x="3" y="26"/>
                        </a:lnTo>
                        <a:lnTo>
                          <a:pt x="0" y="26"/>
                        </a:lnTo>
                        <a:lnTo>
                          <a:pt x="0" y="28"/>
                        </a:lnTo>
                        <a:lnTo>
                          <a:pt x="0" y="29"/>
                        </a:lnTo>
                        <a:lnTo>
                          <a:pt x="0" y="30"/>
                        </a:lnTo>
                        <a:lnTo>
                          <a:pt x="0" y="32"/>
                        </a:lnTo>
                        <a:lnTo>
                          <a:pt x="2" y="32"/>
                        </a:lnTo>
                        <a:lnTo>
                          <a:pt x="3" y="32"/>
                        </a:lnTo>
                        <a:lnTo>
                          <a:pt x="4" y="32"/>
                        </a:lnTo>
                        <a:lnTo>
                          <a:pt x="6" y="32"/>
                        </a:lnTo>
                        <a:lnTo>
                          <a:pt x="8" y="31"/>
                        </a:lnTo>
                        <a:lnTo>
                          <a:pt x="10" y="29"/>
                        </a:lnTo>
                        <a:lnTo>
                          <a:pt x="11" y="27"/>
                        </a:lnTo>
                        <a:lnTo>
                          <a:pt x="13" y="26"/>
                        </a:lnTo>
                        <a:lnTo>
                          <a:pt x="15" y="26"/>
                        </a:lnTo>
                        <a:lnTo>
                          <a:pt x="16" y="26"/>
                        </a:lnTo>
                        <a:lnTo>
                          <a:pt x="17" y="26"/>
                        </a:lnTo>
                        <a:lnTo>
                          <a:pt x="19" y="26"/>
                        </a:lnTo>
                        <a:lnTo>
                          <a:pt x="23" y="21"/>
                        </a:lnTo>
                        <a:lnTo>
                          <a:pt x="25" y="18"/>
                        </a:lnTo>
                        <a:lnTo>
                          <a:pt x="26" y="16"/>
                        </a:lnTo>
                        <a:lnTo>
                          <a:pt x="27" y="16"/>
                        </a:lnTo>
                        <a:lnTo>
                          <a:pt x="27" y="15"/>
                        </a:lnTo>
                        <a:lnTo>
                          <a:pt x="27" y="14"/>
                        </a:lnTo>
                        <a:lnTo>
                          <a:pt x="29" y="13"/>
                        </a:lnTo>
                        <a:lnTo>
                          <a:pt x="29" y="10"/>
                        </a:lnTo>
                        <a:lnTo>
                          <a:pt x="31" y="10"/>
                        </a:lnTo>
                        <a:lnTo>
                          <a:pt x="32" y="10"/>
                        </a:lnTo>
                        <a:lnTo>
                          <a:pt x="33" y="4"/>
                        </a:lnTo>
                        <a:lnTo>
                          <a:pt x="34" y="2"/>
                        </a:lnTo>
                        <a:lnTo>
                          <a:pt x="36" y="0"/>
                        </a:lnTo>
                        <a:lnTo>
                          <a:pt x="34" y="0"/>
                        </a:lnTo>
                        <a:lnTo>
                          <a:pt x="32" y="0"/>
                        </a:lnTo>
                        <a:lnTo>
                          <a:pt x="31" y="0"/>
                        </a:lnTo>
                        <a:lnTo>
                          <a:pt x="2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5" name="Freeform 1564">
                    <a:extLst>
                      <a:ext uri="{FF2B5EF4-FFF2-40B4-BE49-F238E27FC236}">
                        <a16:creationId xmlns:a16="http://schemas.microsoft.com/office/drawing/2014/main" xmlns="" id="{A78562CA-A020-45E6-8B0D-B129FBC348D7}"/>
                      </a:ext>
                    </a:extLst>
                  </p:cNvPr>
                  <p:cNvSpPr>
                    <a:spLocks/>
                  </p:cNvSpPr>
                  <p:nvPr/>
                </p:nvSpPr>
                <p:spPr bwMode="gray">
                  <a:xfrm>
                    <a:off x="4945962" y="1682293"/>
                    <a:ext cx="6675" cy="10012"/>
                  </a:xfrm>
                  <a:custGeom>
                    <a:avLst/>
                    <a:gdLst>
                      <a:gd name="T0" fmla="*/ 2147483647 w 6"/>
                      <a:gd name="T1" fmla="*/ 0 h 9"/>
                      <a:gd name="T2" fmla="*/ 2147483647 w 6"/>
                      <a:gd name="T3" fmla="*/ 2147483647 h 9"/>
                      <a:gd name="T4" fmla="*/ 2147483647 w 6"/>
                      <a:gd name="T5" fmla="*/ 2147483647 h 9"/>
                      <a:gd name="T6" fmla="*/ 0 w 6"/>
                      <a:gd name="T7" fmla="*/ 2147483647 h 9"/>
                      <a:gd name="T8" fmla="*/ 0 w 6"/>
                      <a:gd name="T9" fmla="*/ 2147483647 h 9"/>
                      <a:gd name="T10" fmla="*/ 2147483647 w 6"/>
                      <a:gd name="T11" fmla="*/ 2147483647 h 9"/>
                      <a:gd name="T12" fmla="*/ 2147483647 w 6"/>
                      <a:gd name="T13" fmla="*/ 2147483647 h 9"/>
                      <a:gd name="T14" fmla="*/ 2147483647 w 6"/>
                      <a:gd name="T15" fmla="*/ 2147483647 h 9"/>
                      <a:gd name="T16" fmla="*/ 2147483647 w 6"/>
                      <a:gd name="T17" fmla="*/ 2147483647 h 9"/>
                      <a:gd name="T18" fmla="*/ 2147483647 w 6"/>
                      <a:gd name="T19" fmla="*/ 2147483647 h 9"/>
                      <a:gd name="T20" fmla="*/ 2147483647 w 6"/>
                      <a:gd name="T21" fmla="*/ 2147483647 h 9"/>
                      <a:gd name="T22" fmla="*/ 2147483647 w 6"/>
                      <a:gd name="T23" fmla="*/ 2147483647 h 9"/>
                      <a:gd name="T24" fmla="*/ 2147483647 w 6"/>
                      <a:gd name="T25" fmla="*/ 2147483647 h 9"/>
                      <a:gd name="T26" fmla="*/ 2147483647 w 6"/>
                      <a:gd name="T27" fmla="*/ 2147483647 h 9"/>
                      <a:gd name="T28" fmla="*/ 2147483647 w 6"/>
                      <a:gd name="T29" fmla="*/ 0 h 9"/>
                      <a:gd name="T30" fmla="*/ 2147483647 w 6"/>
                      <a:gd name="T31" fmla="*/ 0 h 9"/>
                      <a:gd name="T32" fmla="*/ 2147483647 w 6"/>
                      <a:gd name="T33" fmla="*/ 0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 h="9">
                        <a:moveTo>
                          <a:pt x="4" y="0"/>
                        </a:moveTo>
                        <a:lnTo>
                          <a:pt x="2" y="2"/>
                        </a:lnTo>
                        <a:lnTo>
                          <a:pt x="1" y="3"/>
                        </a:lnTo>
                        <a:lnTo>
                          <a:pt x="0" y="5"/>
                        </a:lnTo>
                        <a:lnTo>
                          <a:pt x="0" y="9"/>
                        </a:lnTo>
                        <a:lnTo>
                          <a:pt x="1" y="9"/>
                        </a:lnTo>
                        <a:lnTo>
                          <a:pt x="2" y="9"/>
                        </a:lnTo>
                        <a:lnTo>
                          <a:pt x="6" y="9"/>
                        </a:lnTo>
                        <a:lnTo>
                          <a:pt x="6" y="8"/>
                        </a:lnTo>
                        <a:lnTo>
                          <a:pt x="6" y="5"/>
                        </a:lnTo>
                        <a:lnTo>
                          <a:pt x="6" y="4"/>
                        </a:lnTo>
                        <a:lnTo>
                          <a:pt x="6" y="3"/>
                        </a:lnTo>
                        <a:lnTo>
                          <a:pt x="6" y="1"/>
                        </a:lnTo>
                        <a:lnTo>
                          <a:pt x="6" y="0"/>
                        </a:lnTo>
                        <a:lnTo>
                          <a:pt x="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6" name="Freeform 1566">
                    <a:extLst>
                      <a:ext uri="{FF2B5EF4-FFF2-40B4-BE49-F238E27FC236}">
                        <a16:creationId xmlns:a16="http://schemas.microsoft.com/office/drawing/2014/main" xmlns="" id="{D1CEAEAE-E3B7-48A3-9E0F-D24193876847}"/>
                      </a:ext>
                    </a:extLst>
                  </p:cNvPr>
                  <p:cNvSpPr>
                    <a:spLocks/>
                  </p:cNvSpPr>
                  <p:nvPr/>
                </p:nvSpPr>
                <p:spPr bwMode="gray">
                  <a:xfrm>
                    <a:off x="4981561" y="1667832"/>
                    <a:ext cx="20025" cy="17798"/>
                  </a:xfrm>
                  <a:custGeom>
                    <a:avLst/>
                    <a:gdLst>
                      <a:gd name="T0" fmla="*/ 2147483647 w 18"/>
                      <a:gd name="T1" fmla="*/ 0 h 16"/>
                      <a:gd name="T2" fmla="*/ 2147483647 w 18"/>
                      <a:gd name="T3" fmla="*/ 2147483647 h 16"/>
                      <a:gd name="T4" fmla="*/ 2147483647 w 18"/>
                      <a:gd name="T5" fmla="*/ 2147483647 h 16"/>
                      <a:gd name="T6" fmla="*/ 2147483647 w 18"/>
                      <a:gd name="T7" fmla="*/ 2147483647 h 16"/>
                      <a:gd name="T8" fmla="*/ 2147483647 w 18"/>
                      <a:gd name="T9" fmla="*/ 2147483647 h 16"/>
                      <a:gd name="T10" fmla="*/ 2147483647 w 18"/>
                      <a:gd name="T11" fmla="*/ 2147483647 h 16"/>
                      <a:gd name="T12" fmla="*/ 2147483647 w 18"/>
                      <a:gd name="T13" fmla="*/ 2147483647 h 16"/>
                      <a:gd name="T14" fmla="*/ 2147483647 w 18"/>
                      <a:gd name="T15" fmla="*/ 2147483647 h 16"/>
                      <a:gd name="T16" fmla="*/ 0 w 18"/>
                      <a:gd name="T17" fmla="*/ 2147483647 h 16"/>
                      <a:gd name="T18" fmla="*/ 0 w 18"/>
                      <a:gd name="T19" fmla="*/ 2147483647 h 16"/>
                      <a:gd name="T20" fmla="*/ 0 w 18"/>
                      <a:gd name="T21" fmla="*/ 2147483647 h 16"/>
                      <a:gd name="T22" fmla="*/ 0 w 18"/>
                      <a:gd name="T23" fmla="*/ 2147483647 h 16"/>
                      <a:gd name="T24" fmla="*/ 2147483647 w 18"/>
                      <a:gd name="T25" fmla="*/ 2147483647 h 16"/>
                      <a:gd name="T26" fmla="*/ 2147483647 w 18"/>
                      <a:gd name="T27" fmla="*/ 2147483647 h 16"/>
                      <a:gd name="T28" fmla="*/ 2147483647 w 18"/>
                      <a:gd name="T29" fmla="*/ 2147483647 h 16"/>
                      <a:gd name="T30" fmla="*/ 2147483647 w 18"/>
                      <a:gd name="T31" fmla="*/ 2147483647 h 16"/>
                      <a:gd name="T32" fmla="*/ 2147483647 w 18"/>
                      <a:gd name="T33" fmla="*/ 2147483647 h 16"/>
                      <a:gd name="T34" fmla="*/ 2147483647 w 18"/>
                      <a:gd name="T35" fmla="*/ 2147483647 h 16"/>
                      <a:gd name="T36" fmla="*/ 2147483647 w 18"/>
                      <a:gd name="T37" fmla="*/ 2147483647 h 16"/>
                      <a:gd name="T38" fmla="*/ 2147483647 w 18"/>
                      <a:gd name="T39" fmla="*/ 2147483647 h 16"/>
                      <a:gd name="T40" fmla="*/ 2147483647 w 18"/>
                      <a:gd name="T41" fmla="*/ 2147483647 h 16"/>
                      <a:gd name="T42" fmla="*/ 2147483647 w 18"/>
                      <a:gd name="T43" fmla="*/ 2147483647 h 16"/>
                      <a:gd name="T44" fmla="*/ 2147483647 w 18"/>
                      <a:gd name="T45" fmla="*/ 2147483647 h 16"/>
                      <a:gd name="T46" fmla="*/ 2147483647 w 18"/>
                      <a:gd name="T47" fmla="*/ 2147483647 h 16"/>
                      <a:gd name="T48" fmla="*/ 2147483647 w 18"/>
                      <a:gd name="T49" fmla="*/ 2147483647 h 16"/>
                      <a:gd name="T50" fmla="*/ 2147483647 w 18"/>
                      <a:gd name="T51" fmla="*/ 2147483647 h 16"/>
                      <a:gd name="T52" fmla="*/ 2147483647 w 18"/>
                      <a:gd name="T53" fmla="*/ 2147483647 h 16"/>
                      <a:gd name="T54" fmla="*/ 2147483647 w 18"/>
                      <a:gd name="T55" fmla="*/ 2147483647 h 16"/>
                      <a:gd name="T56" fmla="*/ 2147483647 w 18"/>
                      <a:gd name="T57" fmla="*/ 2147483647 h 16"/>
                      <a:gd name="T58" fmla="*/ 2147483647 w 18"/>
                      <a:gd name="T59" fmla="*/ 0 h 16"/>
                      <a:gd name="T60" fmla="*/ 2147483647 w 18"/>
                      <a:gd name="T61" fmla="*/ 0 h 1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 h="16">
                        <a:moveTo>
                          <a:pt x="7" y="0"/>
                        </a:moveTo>
                        <a:lnTo>
                          <a:pt x="7" y="1"/>
                        </a:lnTo>
                        <a:lnTo>
                          <a:pt x="7" y="2"/>
                        </a:lnTo>
                        <a:lnTo>
                          <a:pt x="7" y="3"/>
                        </a:lnTo>
                        <a:lnTo>
                          <a:pt x="7" y="4"/>
                        </a:lnTo>
                        <a:lnTo>
                          <a:pt x="5" y="4"/>
                        </a:lnTo>
                        <a:lnTo>
                          <a:pt x="3" y="5"/>
                        </a:lnTo>
                        <a:lnTo>
                          <a:pt x="2" y="6"/>
                        </a:lnTo>
                        <a:lnTo>
                          <a:pt x="0" y="6"/>
                        </a:lnTo>
                        <a:lnTo>
                          <a:pt x="0" y="7"/>
                        </a:lnTo>
                        <a:lnTo>
                          <a:pt x="0" y="8"/>
                        </a:lnTo>
                        <a:lnTo>
                          <a:pt x="0" y="13"/>
                        </a:lnTo>
                        <a:lnTo>
                          <a:pt x="1" y="12"/>
                        </a:lnTo>
                        <a:lnTo>
                          <a:pt x="2" y="11"/>
                        </a:lnTo>
                        <a:lnTo>
                          <a:pt x="4" y="11"/>
                        </a:lnTo>
                        <a:lnTo>
                          <a:pt x="7" y="13"/>
                        </a:lnTo>
                        <a:lnTo>
                          <a:pt x="7" y="14"/>
                        </a:lnTo>
                        <a:lnTo>
                          <a:pt x="7" y="16"/>
                        </a:lnTo>
                        <a:lnTo>
                          <a:pt x="9" y="16"/>
                        </a:lnTo>
                        <a:lnTo>
                          <a:pt x="13" y="16"/>
                        </a:lnTo>
                        <a:lnTo>
                          <a:pt x="16" y="13"/>
                        </a:lnTo>
                        <a:lnTo>
                          <a:pt x="18" y="10"/>
                        </a:lnTo>
                        <a:lnTo>
                          <a:pt x="18" y="7"/>
                        </a:lnTo>
                        <a:lnTo>
                          <a:pt x="18" y="5"/>
                        </a:lnTo>
                        <a:lnTo>
                          <a:pt x="16" y="2"/>
                        </a:lnTo>
                        <a:lnTo>
                          <a:pt x="13" y="1"/>
                        </a:lnTo>
                        <a:lnTo>
                          <a:pt x="10" y="0"/>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7" name="Freeform 1568">
                    <a:extLst>
                      <a:ext uri="{FF2B5EF4-FFF2-40B4-BE49-F238E27FC236}">
                        <a16:creationId xmlns:a16="http://schemas.microsoft.com/office/drawing/2014/main" xmlns="" id="{5C0E1C34-0B0C-4326-86F5-30837D600BEA}"/>
                      </a:ext>
                    </a:extLst>
                  </p:cNvPr>
                  <p:cNvSpPr>
                    <a:spLocks/>
                  </p:cNvSpPr>
                  <p:nvPr/>
                </p:nvSpPr>
                <p:spPr bwMode="gray">
                  <a:xfrm>
                    <a:off x="4268469" y="2566658"/>
                    <a:ext cx="7787" cy="28923"/>
                  </a:xfrm>
                  <a:custGeom>
                    <a:avLst/>
                    <a:gdLst>
                      <a:gd name="T0" fmla="*/ 0 w 7"/>
                      <a:gd name="T1" fmla="*/ 0 h 26"/>
                      <a:gd name="T2" fmla="*/ 0 w 7"/>
                      <a:gd name="T3" fmla="*/ 2147483647 h 26"/>
                      <a:gd name="T4" fmla="*/ 2147483647 w 7"/>
                      <a:gd name="T5" fmla="*/ 2147483647 h 26"/>
                      <a:gd name="T6" fmla="*/ 2147483647 w 7"/>
                      <a:gd name="T7" fmla="*/ 2147483647 h 26"/>
                      <a:gd name="T8" fmla="*/ 2147483647 w 7"/>
                      <a:gd name="T9" fmla="*/ 2147483647 h 26"/>
                      <a:gd name="T10" fmla="*/ 2147483647 w 7"/>
                      <a:gd name="T11" fmla="*/ 2147483647 h 26"/>
                      <a:gd name="T12" fmla="*/ 2147483647 w 7"/>
                      <a:gd name="T13" fmla="*/ 2147483647 h 26"/>
                      <a:gd name="T14" fmla="*/ 2147483647 w 7"/>
                      <a:gd name="T15" fmla="*/ 2147483647 h 26"/>
                      <a:gd name="T16" fmla="*/ 2147483647 w 7"/>
                      <a:gd name="T17" fmla="*/ 2147483647 h 26"/>
                      <a:gd name="T18" fmla="*/ 2147483647 w 7"/>
                      <a:gd name="T19" fmla="*/ 2147483647 h 26"/>
                      <a:gd name="T20" fmla="*/ 2147483647 w 7"/>
                      <a:gd name="T21" fmla="*/ 2147483647 h 26"/>
                      <a:gd name="T22" fmla="*/ 2147483647 w 7"/>
                      <a:gd name="T23" fmla="*/ 2147483647 h 26"/>
                      <a:gd name="T24" fmla="*/ 2147483647 w 7"/>
                      <a:gd name="T25" fmla="*/ 2147483647 h 26"/>
                      <a:gd name="T26" fmla="*/ 2147483647 w 7"/>
                      <a:gd name="T27" fmla="*/ 2147483647 h 26"/>
                      <a:gd name="T28" fmla="*/ 2147483647 w 7"/>
                      <a:gd name="T29" fmla="*/ 2147483647 h 26"/>
                      <a:gd name="T30" fmla="*/ 2147483647 w 7"/>
                      <a:gd name="T31" fmla="*/ 2147483647 h 26"/>
                      <a:gd name="T32" fmla="*/ 2147483647 w 7"/>
                      <a:gd name="T33" fmla="*/ 2147483647 h 26"/>
                      <a:gd name="T34" fmla="*/ 2147483647 w 7"/>
                      <a:gd name="T35" fmla="*/ 2147483647 h 26"/>
                      <a:gd name="T36" fmla="*/ 0 w 7"/>
                      <a:gd name="T37" fmla="*/ 0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 h="26">
                        <a:moveTo>
                          <a:pt x="0" y="0"/>
                        </a:moveTo>
                        <a:lnTo>
                          <a:pt x="0" y="20"/>
                        </a:lnTo>
                        <a:lnTo>
                          <a:pt x="1" y="20"/>
                        </a:lnTo>
                        <a:lnTo>
                          <a:pt x="2" y="21"/>
                        </a:lnTo>
                        <a:lnTo>
                          <a:pt x="3" y="22"/>
                        </a:lnTo>
                        <a:lnTo>
                          <a:pt x="3" y="23"/>
                        </a:lnTo>
                        <a:lnTo>
                          <a:pt x="3" y="26"/>
                        </a:lnTo>
                        <a:lnTo>
                          <a:pt x="4" y="26"/>
                        </a:lnTo>
                        <a:lnTo>
                          <a:pt x="5" y="26"/>
                        </a:lnTo>
                        <a:lnTo>
                          <a:pt x="6" y="23"/>
                        </a:lnTo>
                        <a:lnTo>
                          <a:pt x="7" y="17"/>
                        </a:lnTo>
                        <a:lnTo>
                          <a:pt x="7" y="12"/>
                        </a:lnTo>
                        <a:lnTo>
                          <a:pt x="5" y="7"/>
                        </a:lnTo>
                        <a:lnTo>
                          <a:pt x="5" y="5"/>
                        </a:lnTo>
                        <a:lnTo>
                          <a:pt x="3" y="4"/>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8" name="Freeform 1570">
                    <a:extLst>
                      <a:ext uri="{FF2B5EF4-FFF2-40B4-BE49-F238E27FC236}">
                        <a16:creationId xmlns:a16="http://schemas.microsoft.com/office/drawing/2014/main" xmlns="" id="{B4DB87E4-4631-4955-83DB-C67D6F0DCBEC}"/>
                      </a:ext>
                    </a:extLst>
                  </p:cNvPr>
                  <p:cNvSpPr>
                    <a:spLocks/>
                  </p:cNvSpPr>
                  <p:nvPr/>
                </p:nvSpPr>
                <p:spPr bwMode="gray">
                  <a:xfrm>
                    <a:off x="4270694" y="2528836"/>
                    <a:ext cx="7787" cy="14462"/>
                  </a:xfrm>
                  <a:custGeom>
                    <a:avLst/>
                    <a:gdLst>
                      <a:gd name="T0" fmla="*/ 2147483647 w 7"/>
                      <a:gd name="T1" fmla="*/ 0 h 13"/>
                      <a:gd name="T2" fmla="*/ 2147483647 w 7"/>
                      <a:gd name="T3" fmla="*/ 0 h 13"/>
                      <a:gd name="T4" fmla="*/ 2147483647 w 7"/>
                      <a:gd name="T5" fmla="*/ 2147483647 h 13"/>
                      <a:gd name="T6" fmla="*/ 2147483647 w 7"/>
                      <a:gd name="T7" fmla="*/ 2147483647 h 13"/>
                      <a:gd name="T8" fmla="*/ 2147483647 w 7"/>
                      <a:gd name="T9" fmla="*/ 2147483647 h 13"/>
                      <a:gd name="T10" fmla="*/ 0 w 7"/>
                      <a:gd name="T11" fmla="*/ 2147483647 h 13"/>
                      <a:gd name="T12" fmla="*/ 0 w 7"/>
                      <a:gd name="T13" fmla="*/ 2147483647 h 13"/>
                      <a:gd name="T14" fmla="*/ 0 w 7"/>
                      <a:gd name="T15" fmla="*/ 2147483647 h 13"/>
                      <a:gd name="T16" fmla="*/ 0 w 7"/>
                      <a:gd name="T17" fmla="*/ 2147483647 h 13"/>
                      <a:gd name="T18" fmla="*/ 0 w 7"/>
                      <a:gd name="T19" fmla="*/ 2147483647 h 13"/>
                      <a:gd name="T20" fmla="*/ 0 w 7"/>
                      <a:gd name="T21" fmla="*/ 2147483647 h 13"/>
                      <a:gd name="T22" fmla="*/ 0 w 7"/>
                      <a:gd name="T23" fmla="*/ 2147483647 h 13"/>
                      <a:gd name="T24" fmla="*/ 2147483647 w 7"/>
                      <a:gd name="T25" fmla="*/ 2147483647 h 13"/>
                      <a:gd name="T26" fmla="*/ 2147483647 w 7"/>
                      <a:gd name="T27" fmla="*/ 2147483647 h 13"/>
                      <a:gd name="T28" fmla="*/ 2147483647 w 7"/>
                      <a:gd name="T29" fmla="*/ 2147483647 h 13"/>
                      <a:gd name="T30" fmla="*/ 2147483647 w 7"/>
                      <a:gd name="T31" fmla="*/ 2147483647 h 13"/>
                      <a:gd name="T32" fmla="*/ 2147483647 w 7"/>
                      <a:gd name="T33" fmla="*/ 2147483647 h 13"/>
                      <a:gd name="T34" fmla="*/ 2147483647 w 7"/>
                      <a:gd name="T35" fmla="*/ 2147483647 h 13"/>
                      <a:gd name="T36" fmla="*/ 2147483647 w 7"/>
                      <a:gd name="T37" fmla="*/ 2147483647 h 13"/>
                      <a:gd name="T38" fmla="*/ 2147483647 w 7"/>
                      <a:gd name="T39" fmla="*/ 2147483647 h 13"/>
                      <a:gd name="T40" fmla="*/ 2147483647 w 7"/>
                      <a:gd name="T41" fmla="*/ 2147483647 h 13"/>
                      <a:gd name="T42" fmla="*/ 2147483647 w 7"/>
                      <a:gd name="T43" fmla="*/ 0 h 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 h="13">
                        <a:moveTo>
                          <a:pt x="7" y="0"/>
                        </a:moveTo>
                        <a:lnTo>
                          <a:pt x="5" y="0"/>
                        </a:lnTo>
                        <a:lnTo>
                          <a:pt x="4" y="2"/>
                        </a:lnTo>
                        <a:lnTo>
                          <a:pt x="3" y="6"/>
                        </a:lnTo>
                        <a:lnTo>
                          <a:pt x="1" y="6"/>
                        </a:lnTo>
                        <a:lnTo>
                          <a:pt x="0" y="6"/>
                        </a:lnTo>
                        <a:lnTo>
                          <a:pt x="0" y="7"/>
                        </a:lnTo>
                        <a:lnTo>
                          <a:pt x="0" y="9"/>
                        </a:lnTo>
                        <a:lnTo>
                          <a:pt x="0" y="10"/>
                        </a:lnTo>
                        <a:lnTo>
                          <a:pt x="0" y="12"/>
                        </a:lnTo>
                        <a:lnTo>
                          <a:pt x="2" y="12"/>
                        </a:lnTo>
                        <a:lnTo>
                          <a:pt x="3" y="12"/>
                        </a:lnTo>
                        <a:lnTo>
                          <a:pt x="4" y="13"/>
                        </a:lnTo>
                        <a:lnTo>
                          <a:pt x="5" y="13"/>
                        </a:lnTo>
                        <a:lnTo>
                          <a:pt x="6" y="12"/>
                        </a:lnTo>
                        <a:lnTo>
                          <a:pt x="7" y="12"/>
                        </a:lnTo>
                        <a:lnTo>
                          <a:pt x="7" y="7"/>
                        </a:lnTo>
                        <a:lnTo>
                          <a:pt x="7" y="4"/>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79" name="Freeform 1572">
                    <a:extLst>
                      <a:ext uri="{FF2B5EF4-FFF2-40B4-BE49-F238E27FC236}">
                        <a16:creationId xmlns:a16="http://schemas.microsoft.com/office/drawing/2014/main" xmlns="" id="{45ACE4AE-7226-4B4C-B9C4-A411837AACA4}"/>
                      </a:ext>
                    </a:extLst>
                  </p:cNvPr>
                  <p:cNvSpPr>
                    <a:spLocks/>
                  </p:cNvSpPr>
                  <p:nvPr/>
                </p:nvSpPr>
                <p:spPr bwMode="gray">
                  <a:xfrm>
                    <a:off x="4367479" y="2477665"/>
                    <a:ext cx="11125" cy="6675"/>
                  </a:xfrm>
                  <a:custGeom>
                    <a:avLst/>
                    <a:gdLst>
                      <a:gd name="T0" fmla="*/ 2147483647 w 10"/>
                      <a:gd name="T1" fmla="*/ 0 h 6"/>
                      <a:gd name="T2" fmla="*/ 2147483647 w 10"/>
                      <a:gd name="T3" fmla="*/ 2147483647 h 6"/>
                      <a:gd name="T4" fmla="*/ 2147483647 w 10"/>
                      <a:gd name="T5" fmla="*/ 2147483647 h 6"/>
                      <a:gd name="T6" fmla="*/ 2147483647 w 10"/>
                      <a:gd name="T7" fmla="*/ 2147483647 h 6"/>
                      <a:gd name="T8" fmla="*/ 2147483647 w 10"/>
                      <a:gd name="T9" fmla="*/ 2147483647 h 6"/>
                      <a:gd name="T10" fmla="*/ 2147483647 w 10"/>
                      <a:gd name="T11" fmla="*/ 2147483647 h 6"/>
                      <a:gd name="T12" fmla="*/ 2147483647 w 10"/>
                      <a:gd name="T13" fmla="*/ 2147483647 h 6"/>
                      <a:gd name="T14" fmla="*/ 2147483647 w 10"/>
                      <a:gd name="T15" fmla="*/ 2147483647 h 6"/>
                      <a:gd name="T16" fmla="*/ 2147483647 w 10"/>
                      <a:gd name="T17" fmla="*/ 2147483647 h 6"/>
                      <a:gd name="T18" fmla="*/ 0 w 10"/>
                      <a:gd name="T19" fmla="*/ 2147483647 h 6"/>
                      <a:gd name="T20" fmla="*/ 0 w 10"/>
                      <a:gd name="T21" fmla="*/ 2147483647 h 6"/>
                      <a:gd name="T22" fmla="*/ 2147483647 w 10"/>
                      <a:gd name="T23" fmla="*/ 2147483647 h 6"/>
                      <a:gd name="T24" fmla="*/ 2147483647 w 10"/>
                      <a:gd name="T25" fmla="*/ 2147483647 h 6"/>
                      <a:gd name="T26" fmla="*/ 2147483647 w 10"/>
                      <a:gd name="T27" fmla="*/ 2147483647 h 6"/>
                      <a:gd name="T28" fmla="*/ 2147483647 w 10"/>
                      <a:gd name="T29" fmla="*/ 2147483647 h 6"/>
                      <a:gd name="T30" fmla="*/ 2147483647 w 10"/>
                      <a:gd name="T31" fmla="*/ 2147483647 h 6"/>
                      <a:gd name="T32" fmla="*/ 2147483647 w 10"/>
                      <a:gd name="T33" fmla="*/ 2147483647 h 6"/>
                      <a:gd name="T34" fmla="*/ 2147483647 w 10"/>
                      <a:gd name="T35" fmla="*/ 0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 h="6">
                        <a:moveTo>
                          <a:pt x="6" y="0"/>
                        </a:moveTo>
                        <a:lnTo>
                          <a:pt x="8" y="2"/>
                        </a:lnTo>
                        <a:lnTo>
                          <a:pt x="9" y="4"/>
                        </a:lnTo>
                        <a:lnTo>
                          <a:pt x="10" y="6"/>
                        </a:lnTo>
                        <a:lnTo>
                          <a:pt x="8" y="6"/>
                        </a:lnTo>
                        <a:lnTo>
                          <a:pt x="6" y="6"/>
                        </a:lnTo>
                        <a:lnTo>
                          <a:pt x="5" y="6"/>
                        </a:lnTo>
                        <a:lnTo>
                          <a:pt x="3" y="6"/>
                        </a:lnTo>
                        <a:lnTo>
                          <a:pt x="0" y="6"/>
                        </a:lnTo>
                        <a:lnTo>
                          <a:pt x="1" y="6"/>
                        </a:lnTo>
                        <a:lnTo>
                          <a:pt x="3" y="5"/>
                        </a:lnTo>
                        <a:lnTo>
                          <a:pt x="3" y="3"/>
                        </a:lnTo>
                        <a:lnTo>
                          <a:pt x="4" y="3"/>
                        </a:lnTo>
                        <a:lnTo>
                          <a:pt x="5" y="2"/>
                        </a:lnTo>
                        <a:lnTo>
                          <a:pt x="6" y="1"/>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0" name="Freeform 1574">
                    <a:extLst>
                      <a:ext uri="{FF2B5EF4-FFF2-40B4-BE49-F238E27FC236}">
                        <a16:creationId xmlns:a16="http://schemas.microsoft.com/office/drawing/2014/main" xmlns="" id="{FBAA2A95-E9D9-4D1B-B147-DA3442655D6B}"/>
                      </a:ext>
                    </a:extLst>
                  </p:cNvPr>
                  <p:cNvSpPr>
                    <a:spLocks/>
                  </p:cNvSpPr>
                  <p:nvPr/>
                </p:nvSpPr>
                <p:spPr bwMode="gray">
                  <a:xfrm>
                    <a:off x="4496525" y="2313029"/>
                    <a:ext cx="3338" cy="6675"/>
                  </a:xfrm>
                  <a:custGeom>
                    <a:avLst/>
                    <a:gdLst>
                      <a:gd name="T0" fmla="*/ 0 w 3"/>
                      <a:gd name="T1" fmla="*/ 0 h 6"/>
                      <a:gd name="T2" fmla="*/ 0 w 3"/>
                      <a:gd name="T3" fmla="*/ 0 h 6"/>
                      <a:gd name="T4" fmla="*/ 2147483647 w 3"/>
                      <a:gd name="T5" fmla="*/ 0 h 6"/>
                      <a:gd name="T6" fmla="*/ 2147483647 w 3"/>
                      <a:gd name="T7" fmla="*/ 0 h 6"/>
                      <a:gd name="T8" fmla="*/ 2147483647 w 3"/>
                      <a:gd name="T9" fmla="*/ 0 h 6"/>
                      <a:gd name="T10" fmla="*/ 2147483647 w 3"/>
                      <a:gd name="T11" fmla="*/ 2147483647 h 6"/>
                      <a:gd name="T12" fmla="*/ 2147483647 w 3"/>
                      <a:gd name="T13" fmla="*/ 2147483647 h 6"/>
                      <a:gd name="T14" fmla="*/ 2147483647 w 3"/>
                      <a:gd name="T15" fmla="*/ 2147483647 h 6"/>
                      <a:gd name="T16" fmla="*/ 2147483647 w 3"/>
                      <a:gd name="T17" fmla="*/ 2147483647 h 6"/>
                      <a:gd name="T18" fmla="*/ 2147483647 w 3"/>
                      <a:gd name="T19" fmla="*/ 2147483647 h 6"/>
                      <a:gd name="T20" fmla="*/ 2147483647 w 3"/>
                      <a:gd name="T21" fmla="*/ 2147483647 h 6"/>
                      <a:gd name="T22" fmla="*/ 0 w 3"/>
                      <a:gd name="T23" fmla="*/ 2147483647 h 6"/>
                      <a:gd name="T24" fmla="*/ 0 w 3"/>
                      <a:gd name="T25" fmla="*/ 2147483647 h 6"/>
                      <a:gd name="T26" fmla="*/ 0 w 3"/>
                      <a:gd name="T27" fmla="*/ 2147483647 h 6"/>
                      <a:gd name="T28" fmla="*/ 0 w 3"/>
                      <a:gd name="T29" fmla="*/ 2147483647 h 6"/>
                      <a:gd name="T30" fmla="*/ 0 w 3"/>
                      <a:gd name="T31" fmla="*/ 0 h 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 h="6">
                        <a:moveTo>
                          <a:pt x="0" y="0"/>
                        </a:moveTo>
                        <a:lnTo>
                          <a:pt x="0" y="0"/>
                        </a:lnTo>
                        <a:lnTo>
                          <a:pt x="2" y="0"/>
                        </a:lnTo>
                        <a:lnTo>
                          <a:pt x="3" y="0"/>
                        </a:lnTo>
                        <a:lnTo>
                          <a:pt x="3" y="2"/>
                        </a:lnTo>
                        <a:lnTo>
                          <a:pt x="3" y="3"/>
                        </a:lnTo>
                        <a:lnTo>
                          <a:pt x="3" y="4"/>
                        </a:lnTo>
                        <a:lnTo>
                          <a:pt x="3" y="6"/>
                        </a:lnTo>
                        <a:lnTo>
                          <a:pt x="2" y="6"/>
                        </a:lnTo>
                        <a:lnTo>
                          <a:pt x="0" y="6"/>
                        </a:lnTo>
                        <a:lnTo>
                          <a:pt x="0" y="2"/>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1" name="Freeform 1576">
                    <a:extLst>
                      <a:ext uri="{FF2B5EF4-FFF2-40B4-BE49-F238E27FC236}">
                        <a16:creationId xmlns:a16="http://schemas.microsoft.com/office/drawing/2014/main" xmlns="" id="{84DC10E0-729B-4B63-ABE9-AED63CF2D0FF}"/>
                      </a:ext>
                    </a:extLst>
                  </p:cNvPr>
                  <p:cNvSpPr>
                    <a:spLocks/>
                  </p:cNvSpPr>
                  <p:nvPr/>
                </p:nvSpPr>
                <p:spPr bwMode="gray">
                  <a:xfrm>
                    <a:off x="4417540" y="2304129"/>
                    <a:ext cx="18913" cy="12237"/>
                  </a:xfrm>
                  <a:custGeom>
                    <a:avLst/>
                    <a:gdLst>
                      <a:gd name="T0" fmla="*/ 2147483647 w 17"/>
                      <a:gd name="T1" fmla="*/ 2147483647 h 11"/>
                      <a:gd name="T2" fmla="*/ 2147483647 w 17"/>
                      <a:gd name="T3" fmla="*/ 2147483647 h 11"/>
                      <a:gd name="T4" fmla="*/ 2147483647 w 17"/>
                      <a:gd name="T5" fmla="*/ 2147483647 h 11"/>
                      <a:gd name="T6" fmla="*/ 0 w 17"/>
                      <a:gd name="T7" fmla="*/ 2147483647 h 11"/>
                      <a:gd name="T8" fmla="*/ 0 w 17"/>
                      <a:gd name="T9" fmla="*/ 2147483647 h 11"/>
                      <a:gd name="T10" fmla="*/ 0 w 17"/>
                      <a:gd name="T11" fmla="*/ 2147483647 h 11"/>
                      <a:gd name="T12" fmla="*/ 0 w 17"/>
                      <a:gd name="T13" fmla="*/ 2147483647 h 11"/>
                      <a:gd name="T14" fmla="*/ 0 w 17"/>
                      <a:gd name="T15" fmla="*/ 2147483647 h 11"/>
                      <a:gd name="T16" fmla="*/ 0 w 17"/>
                      <a:gd name="T17" fmla="*/ 2147483647 h 11"/>
                      <a:gd name="T18" fmla="*/ 2147483647 w 17"/>
                      <a:gd name="T19" fmla="*/ 2147483647 h 11"/>
                      <a:gd name="T20" fmla="*/ 2147483647 w 17"/>
                      <a:gd name="T21" fmla="*/ 2147483647 h 11"/>
                      <a:gd name="T22" fmla="*/ 2147483647 w 17"/>
                      <a:gd name="T23" fmla="*/ 2147483647 h 11"/>
                      <a:gd name="T24" fmla="*/ 2147483647 w 17"/>
                      <a:gd name="T25" fmla="*/ 2147483647 h 11"/>
                      <a:gd name="T26" fmla="*/ 2147483647 w 17"/>
                      <a:gd name="T27" fmla="*/ 2147483647 h 11"/>
                      <a:gd name="T28" fmla="*/ 2147483647 w 17"/>
                      <a:gd name="T29" fmla="*/ 2147483647 h 11"/>
                      <a:gd name="T30" fmla="*/ 2147483647 w 17"/>
                      <a:gd name="T31" fmla="*/ 2147483647 h 11"/>
                      <a:gd name="T32" fmla="*/ 2147483647 w 17"/>
                      <a:gd name="T33" fmla="*/ 2147483647 h 11"/>
                      <a:gd name="T34" fmla="*/ 2147483647 w 17"/>
                      <a:gd name="T35" fmla="*/ 2147483647 h 11"/>
                      <a:gd name="T36" fmla="*/ 2147483647 w 17"/>
                      <a:gd name="T37" fmla="*/ 0 h 11"/>
                      <a:gd name="T38" fmla="*/ 2147483647 w 17"/>
                      <a:gd name="T39" fmla="*/ 2147483647 h 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 h="11">
                        <a:moveTo>
                          <a:pt x="3" y="1"/>
                        </a:moveTo>
                        <a:lnTo>
                          <a:pt x="3" y="1"/>
                        </a:lnTo>
                        <a:lnTo>
                          <a:pt x="2" y="1"/>
                        </a:lnTo>
                        <a:lnTo>
                          <a:pt x="0" y="1"/>
                        </a:lnTo>
                        <a:lnTo>
                          <a:pt x="0" y="5"/>
                        </a:lnTo>
                        <a:lnTo>
                          <a:pt x="0" y="2"/>
                        </a:lnTo>
                        <a:lnTo>
                          <a:pt x="0" y="3"/>
                        </a:lnTo>
                        <a:lnTo>
                          <a:pt x="0" y="5"/>
                        </a:lnTo>
                        <a:lnTo>
                          <a:pt x="0" y="7"/>
                        </a:lnTo>
                        <a:lnTo>
                          <a:pt x="2" y="9"/>
                        </a:lnTo>
                        <a:lnTo>
                          <a:pt x="5" y="10"/>
                        </a:lnTo>
                        <a:lnTo>
                          <a:pt x="9" y="11"/>
                        </a:lnTo>
                        <a:lnTo>
                          <a:pt x="13" y="11"/>
                        </a:lnTo>
                        <a:lnTo>
                          <a:pt x="14" y="10"/>
                        </a:lnTo>
                        <a:lnTo>
                          <a:pt x="15" y="9"/>
                        </a:lnTo>
                        <a:lnTo>
                          <a:pt x="17" y="7"/>
                        </a:lnTo>
                        <a:lnTo>
                          <a:pt x="15" y="5"/>
                        </a:lnTo>
                        <a:lnTo>
                          <a:pt x="12" y="1"/>
                        </a:lnTo>
                        <a:lnTo>
                          <a:pt x="9" y="0"/>
                        </a:lnTo>
                        <a:lnTo>
                          <a:pt x="3"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2" name="Freeform 1578">
                    <a:extLst>
                      <a:ext uri="{FF2B5EF4-FFF2-40B4-BE49-F238E27FC236}">
                        <a16:creationId xmlns:a16="http://schemas.microsoft.com/office/drawing/2014/main" xmlns="" id="{1A5FC27B-64F7-4A60-AB86-F7949343BDC0}"/>
                      </a:ext>
                    </a:extLst>
                  </p:cNvPr>
                  <p:cNvSpPr>
                    <a:spLocks/>
                  </p:cNvSpPr>
                  <p:nvPr/>
                </p:nvSpPr>
                <p:spPr bwMode="gray">
                  <a:xfrm>
                    <a:off x="4508763" y="2296343"/>
                    <a:ext cx="24475" cy="20024"/>
                  </a:xfrm>
                  <a:custGeom>
                    <a:avLst/>
                    <a:gdLst>
                      <a:gd name="T0" fmla="*/ 2147483647 w 22"/>
                      <a:gd name="T1" fmla="*/ 2147483647 h 18"/>
                      <a:gd name="T2" fmla="*/ 2147483647 w 22"/>
                      <a:gd name="T3" fmla="*/ 0 h 18"/>
                      <a:gd name="T4" fmla="*/ 2147483647 w 22"/>
                      <a:gd name="T5" fmla="*/ 2147483647 h 18"/>
                      <a:gd name="T6" fmla="*/ 2147483647 w 22"/>
                      <a:gd name="T7" fmla="*/ 2147483647 h 18"/>
                      <a:gd name="T8" fmla="*/ 2147483647 w 22"/>
                      <a:gd name="T9" fmla="*/ 2147483647 h 18"/>
                      <a:gd name="T10" fmla="*/ 2147483647 w 22"/>
                      <a:gd name="T11" fmla="*/ 2147483647 h 18"/>
                      <a:gd name="T12" fmla="*/ 2147483647 w 22"/>
                      <a:gd name="T13" fmla="*/ 2147483647 h 18"/>
                      <a:gd name="T14" fmla="*/ 2147483647 w 22"/>
                      <a:gd name="T15" fmla="*/ 2147483647 h 18"/>
                      <a:gd name="T16" fmla="*/ 2147483647 w 22"/>
                      <a:gd name="T17" fmla="*/ 2147483647 h 18"/>
                      <a:gd name="T18" fmla="*/ 2147483647 w 22"/>
                      <a:gd name="T19" fmla="*/ 2147483647 h 18"/>
                      <a:gd name="T20" fmla="*/ 2147483647 w 22"/>
                      <a:gd name="T21" fmla="*/ 2147483647 h 18"/>
                      <a:gd name="T22" fmla="*/ 2147483647 w 22"/>
                      <a:gd name="T23" fmla="*/ 2147483647 h 18"/>
                      <a:gd name="T24" fmla="*/ 2147483647 w 22"/>
                      <a:gd name="T25" fmla="*/ 2147483647 h 18"/>
                      <a:gd name="T26" fmla="*/ 2147483647 w 22"/>
                      <a:gd name="T27" fmla="*/ 2147483647 h 18"/>
                      <a:gd name="T28" fmla="*/ 2147483647 w 22"/>
                      <a:gd name="T29" fmla="*/ 2147483647 h 18"/>
                      <a:gd name="T30" fmla="*/ 2147483647 w 22"/>
                      <a:gd name="T31" fmla="*/ 2147483647 h 18"/>
                      <a:gd name="T32" fmla="*/ 2147483647 w 22"/>
                      <a:gd name="T33" fmla="*/ 2147483647 h 18"/>
                      <a:gd name="T34" fmla="*/ 0 w 22"/>
                      <a:gd name="T35" fmla="*/ 2147483647 h 18"/>
                      <a:gd name="T36" fmla="*/ 2147483647 w 22"/>
                      <a:gd name="T37" fmla="*/ 2147483647 h 18"/>
                      <a:gd name="T38" fmla="*/ 2147483647 w 22"/>
                      <a:gd name="T39" fmla="*/ 2147483647 h 18"/>
                      <a:gd name="T40" fmla="*/ 2147483647 w 22"/>
                      <a:gd name="T41" fmla="*/ 2147483647 h 18"/>
                      <a:gd name="T42" fmla="*/ 2147483647 w 22"/>
                      <a:gd name="T43" fmla="*/ 2147483647 h 18"/>
                      <a:gd name="T44" fmla="*/ 2147483647 w 22"/>
                      <a:gd name="T45" fmla="*/ 2147483647 h 18"/>
                      <a:gd name="T46" fmla="*/ 2147483647 w 22"/>
                      <a:gd name="T47" fmla="*/ 2147483647 h 18"/>
                      <a:gd name="T48" fmla="*/ 2147483647 w 22"/>
                      <a:gd name="T49" fmla="*/ 2147483647 h 18"/>
                      <a:gd name="T50" fmla="*/ 2147483647 w 22"/>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2" h="18">
                        <a:moveTo>
                          <a:pt x="17" y="2"/>
                        </a:moveTo>
                        <a:lnTo>
                          <a:pt x="17" y="0"/>
                        </a:lnTo>
                        <a:lnTo>
                          <a:pt x="19" y="1"/>
                        </a:lnTo>
                        <a:lnTo>
                          <a:pt x="20" y="1"/>
                        </a:lnTo>
                        <a:lnTo>
                          <a:pt x="22" y="2"/>
                        </a:lnTo>
                        <a:lnTo>
                          <a:pt x="19" y="4"/>
                        </a:lnTo>
                        <a:lnTo>
                          <a:pt x="16" y="8"/>
                        </a:lnTo>
                        <a:lnTo>
                          <a:pt x="14" y="12"/>
                        </a:lnTo>
                        <a:lnTo>
                          <a:pt x="13" y="18"/>
                        </a:lnTo>
                        <a:lnTo>
                          <a:pt x="12" y="18"/>
                        </a:lnTo>
                        <a:lnTo>
                          <a:pt x="10" y="17"/>
                        </a:lnTo>
                        <a:lnTo>
                          <a:pt x="8" y="16"/>
                        </a:lnTo>
                        <a:lnTo>
                          <a:pt x="7" y="14"/>
                        </a:lnTo>
                        <a:lnTo>
                          <a:pt x="5" y="13"/>
                        </a:lnTo>
                        <a:lnTo>
                          <a:pt x="3" y="13"/>
                        </a:lnTo>
                        <a:lnTo>
                          <a:pt x="2" y="14"/>
                        </a:lnTo>
                        <a:lnTo>
                          <a:pt x="0" y="14"/>
                        </a:lnTo>
                        <a:lnTo>
                          <a:pt x="3" y="12"/>
                        </a:lnTo>
                        <a:lnTo>
                          <a:pt x="6" y="11"/>
                        </a:lnTo>
                        <a:lnTo>
                          <a:pt x="9" y="9"/>
                        </a:lnTo>
                        <a:lnTo>
                          <a:pt x="10" y="9"/>
                        </a:lnTo>
                        <a:lnTo>
                          <a:pt x="12" y="6"/>
                        </a:lnTo>
                        <a:lnTo>
                          <a:pt x="13" y="4"/>
                        </a:lnTo>
                        <a:lnTo>
                          <a:pt x="15" y="2"/>
                        </a:lnTo>
                        <a:lnTo>
                          <a:pt x="17" y="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3" name="Freeform 1580">
                    <a:extLst>
                      <a:ext uri="{FF2B5EF4-FFF2-40B4-BE49-F238E27FC236}">
                        <a16:creationId xmlns:a16="http://schemas.microsoft.com/office/drawing/2014/main" xmlns="" id="{A28F783B-9336-427B-BED1-2F38B5BC0041}"/>
                      </a:ext>
                    </a:extLst>
                  </p:cNvPr>
                  <p:cNvSpPr>
                    <a:spLocks/>
                  </p:cNvSpPr>
                  <p:nvPr/>
                </p:nvSpPr>
                <p:spPr bwMode="gray">
                  <a:xfrm>
                    <a:off x="4439788" y="2294117"/>
                    <a:ext cx="31149" cy="18911"/>
                  </a:xfrm>
                  <a:custGeom>
                    <a:avLst/>
                    <a:gdLst>
                      <a:gd name="T0" fmla="*/ 2147483647 w 28"/>
                      <a:gd name="T1" fmla="*/ 0 h 17"/>
                      <a:gd name="T2" fmla="*/ 2147483647 w 28"/>
                      <a:gd name="T3" fmla="*/ 2147483647 h 17"/>
                      <a:gd name="T4" fmla="*/ 2147483647 w 28"/>
                      <a:gd name="T5" fmla="*/ 2147483647 h 17"/>
                      <a:gd name="T6" fmla="*/ 2147483647 w 28"/>
                      <a:gd name="T7" fmla="*/ 2147483647 h 17"/>
                      <a:gd name="T8" fmla="*/ 2147483647 w 28"/>
                      <a:gd name="T9" fmla="*/ 2147483647 h 17"/>
                      <a:gd name="T10" fmla="*/ 2147483647 w 28"/>
                      <a:gd name="T11" fmla="*/ 2147483647 h 17"/>
                      <a:gd name="T12" fmla="*/ 2147483647 w 28"/>
                      <a:gd name="T13" fmla="*/ 2147483647 h 17"/>
                      <a:gd name="T14" fmla="*/ 2147483647 w 28"/>
                      <a:gd name="T15" fmla="*/ 2147483647 h 17"/>
                      <a:gd name="T16" fmla="*/ 2147483647 w 28"/>
                      <a:gd name="T17" fmla="*/ 2147483647 h 17"/>
                      <a:gd name="T18" fmla="*/ 2147483647 w 28"/>
                      <a:gd name="T19" fmla="*/ 2147483647 h 17"/>
                      <a:gd name="T20" fmla="*/ 0 w 28"/>
                      <a:gd name="T21" fmla="*/ 2147483647 h 17"/>
                      <a:gd name="T22" fmla="*/ 0 w 28"/>
                      <a:gd name="T23" fmla="*/ 2147483647 h 17"/>
                      <a:gd name="T24" fmla="*/ 0 w 28"/>
                      <a:gd name="T25" fmla="*/ 2147483647 h 17"/>
                      <a:gd name="T26" fmla="*/ 0 w 28"/>
                      <a:gd name="T27" fmla="*/ 2147483647 h 17"/>
                      <a:gd name="T28" fmla="*/ 0 w 28"/>
                      <a:gd name="T29" fmla="*/ 2147483647 h 17"/>
                      <a:gd name="T30" fmla="*/ 0 w 28"/>
                      <a:gd name="T31" fmla="*/ 2147483647 h 17"/>
                      <a:gd name="T32" fmla="*/ 2147483647 w 28"/>
                      <a:gd name="T33" fmla="*/ 2147483647 h 17"/>
                      <a:gd name="T34" fmla="*/ 2147483647 w 28"/>
                      <a:gd name="T35" fmla="*/ 2147483647 h 17"/>
                      <a:gd name="T36" fmla="*/ 2147483647 w 28"/>
                      <a:gd name="T37" fmla="*/ 2147483647 h 17"/>
                      <a:gd name="T38" fmla="*/ 2147483647 w 28"/>
                      <a:gd name="T39" fmla="*/ 2147483647 h 17"/>
                      <a:gd name="T40" fmla="*/ 2147483647 w 28"/>
                      <a:gd name="T41" fmla="*/ 2147483647 h 17"/>
                      <a:gd name="T42" fmla="*/ 2147483647 w 28"/>
                      <a:gd name="T43" fmla="*/ 2147483647 h 17"/>
                      <a:gd name="T44" fmla="*/ 2147483647 w 28"/>
                      <a:gd name="T45" fmla="*/ 2147483647 h 17"/>
                      <a:gd name="T46" fmla="*/ 2147483647 w 28"/>
                      <a:gd name="T47" fmla="*/ 2147483647 h 17"/>
                      <a:gd name="T48" fmla="*/ 2147483647 w 28"/>
                      <a:gd name="T49" fmla="*/ 2147483647 h 17"/>
                      <a:gd name="T50" fmla="*/ 2147483647 w 28"/>
                      <a:gd name="T51" fmla="*/ 2147483647 h 17"/>
                      <a:gd name="T52" fmla="*/ 2147483647 w 28"/>
                      <a:gd name="T53" fmla="*/ 2147483647 h 17"/>
                      <a:gd name="T54" fmla="*/ 2147483647 w 28"/>
                      <a:gd name="T55" fmla="*/ 2147483647 h 17"/>
                      <a:gd name="T56" fmla="*/ 2147483647 w 28"/>
                      <a:gd name="T57" fmla="*/ 2147483647 h 17"/>
                      <a:gd name="T58" fmla="*/ 2147483647 w 28"/>
                      <a:gd name="T59" fmla="*/ 0 h 17"/>
                      <a:gd name="T60" fmla="*/ 2147483647 w 28"/>
                      <a:gd name="T61" fmla="*/ 2147483647 h 17"/>
                      <a:gd name="T62" fmla="*/ 2147483647 w 28"/>
                      <a:gd name="T63" fmla="*/ 2147483647 h 17"/>
                      <a:gd name="T64" fmla="*/ 2147483647 w 28"/>
                      <a:gd name="T65" fmla="*/ 2147483647 h 17"/>
                      <a:gd name="T66" fmla="*/ 2147483647 w 28"/>
                      <a:gd name="T67" fmla="*/ 2147483647 h 17"/>
                      <a:gd name="T68" fmla="*/ 2147483647 w 28"/>
                      <a:gd name="T69" fmla="*/ 2147483647 h 17"/>
                      <a:gd name="T70" fmla="*/ 2147483647 w 28"/>
                      <a:gd name="T71" fmla="*/ 2147483647 h 17"/>
                      <a:gd name="T72" fmla="*/ 2147483647 w 28"/>
                      <a:gd name="T73" fmla="*/ 2147483647 h 17"/>
                      <a:gd name="T74" fmla="*/ 2147483647 w 28"/>
                      <a:gd name="T75" fmla="*/ 0 h 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 h="17">
                        <a:moveTo>
                          <a:pt x="16" y="0"/>
                        </a:moveTo>
                        <a:lnTo>
                          <a:pt x="13" y="1"/>
                        </a:lnTo>
                        <a:lnTo>
                          <a:pt x="11" y="1"/>
                        </a:lnTo>
                        <a:lnTo>
                          <a:pt x="9" y="3"/>
                        </a:lnTo>
                        <a:lnTo>
                          <a:pt x="7" y="4"/>
                        </a:lnTo>
                        <a:lnTo>
                          <a:pt x="6" y="4"/>
                        </a:lnTo>
                        <a:lnTo>
                          <a:pt x="5" y="4"/>
                        </a:lnTo>
                        <a:lnTo>
                          <a:pt x="4" y="4"/>
                        </a:lnTo>
                        <a:lnTo>
                          <a:pt x="3" y="4"/>
                        </a:lnTo>
                        <a:lnTo>
                          <a:pt x="1" y="4"/>
                        </a:lnTo>
                        <a:lnTo>
                          <a:pt x="0" y="5"/>
                        </a:lnTo>
                        <a:lnTo>
                          <a:pt x="0" y="7"/>
                        </a:lnTo>
                        <a:lnTo>
                          <a:pt x="0" y="8"/>
                        </a:lnTo>
                        <a:lnTo>
                          <a:pt x="0" y="9"/>
                        </a:lnTo>
                        <a:lnTo>
                          <a:pt x="0" y="14"/>
                        </a:lnTo>
                        <a:lnTo>
                          <a:pt x="1" y="14"/>
                        </a:lnTo>
                        <a:lnTo>
                          <a:pt x="2" y="14"/>
                        </a:lnTo>
                        <a:lnTo>
                          <a:pt x="3" y="15"/>
                        </a:lnTo>
                        <a:lnTo>
                          <a:pt x="3" y="17"/>
                        </a:lnTo>
                        <a:lnTo>
                          <a:pt x="9" y="16"/>
                        </a:lnTo>
                        <a:lnTo>
                          <a:pt x="16" y="13"/>
                        </a:lnTo>
                        <a:lnTo>
                          <a:pt x="22" y="10"/>
                        </a:lnTo>
                        <a:lnTo>
                          <a:pt x="28" y="7"/>
                        </a:lnTo>
                        <a:lnTo>
                          <a:pt x="27" y="7"/>
                        </a:lnTo>
                        <a:lnTo>
                          <a:pt x="27" y="5"/>
                        </a:lnTo>
                        <a:lnTo>
                          <a:pt x="28" y="4"/>
                        </a:lnTo>
                        <a:lnTo>
                          <a:pt x="28" y="0"/>
                        </a:lnTo>
                        <a:lnTo>
                          <a:pt x="26" y="1"/>
                        </a:lnTo>
                        <a:lnTo>
                          <a:pt x="25" y="3"/>
                        </a:lnTo>
                        <a:lnTo>
                          <a:pt x="24" y="4"/>
                        </a:lnTo>
                        <a:lnTo>
                          <a:pt x="22" y="4"/>
                        </a:lnTo>
                        <a:lnTo>
                          <a:pt x="22" y="3"/>
                        </a:lnTo>
                        <a:lnTo>
                          <a:pt x="20" y="1"/>
                        </a:lnTo>
                        <a:lnTo>
                          <a:pt x="18" y="1"/>
                        </a:lnTo>
                        <a:lnTo>
                          <a:pt x="1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4" name="Freeform 1582">
                    <a:extLst>
                      <a:ext uri="{FF2B5EF4-FFF2-40B4-BE49-F238E27FC236}">
                        <a16:creationId xmlns:a16="http://schemas.microsoft.com/office/drawing/2014/main" xmlns="" id="{4380310F-C362-47A0-B56E-817CC9128FC6}"/>
                      </a:ext>
                    </a:extLst>
                  </p:cNvPr>
                  <p:cNvSpPr>
                    <a:spLocks/>
                  </p:cNvSpPr>
                  <p:nvPr/>
                </p:nvSpPr>
                <p:spPr bwMode="gray">
                  <a:xfrm>
                    <a:off x="4544362" y="2288555"/>
                    <a:ext cx="3338" cy="4450"/>
                  </a:xfrm>
                  <a:custGeom>
                    <a:avLst/>
                    <a:gdLst>
                      <a:gd name="T0" fmla="*/ 2147483647 w 3"/>
                      <a:gd name="T1" fmla="*/ 0 h 4"/>
                      <a:gd name="T2" fmla="*/ 2147483647 w 3"/>
                      <a:gd name="T3" fmla="*/ 0 h 4"/>
                      <a:gd name="T4" fmla="*/ 2147483647 w 3"/>
                      <a:gd name="T5" fmla="*/ 2147483647 h 4"/>
                      <a:gd name="T6" fmla="*/ 0 w 3"/>
                      <a:gd name="T7" fmla="*/ 2147483647 h 4"/>
                      <a:gd name="T8" fmla="*/ 0 w 3"/>
                      <a:gd name="T9" fmla="*/ 2147483647 h 4"/>
                      <a:gd name="T10" fmla="*/ 0 w 3"/>
                      <a:gd name="T11" fmla="*/ 2147483647 h 4"/>
                      <a:gd name="T12" fmla="*/ 0 w 3"/>
                      <a:gd name="T13" fmla="*/ 2147483647 h 4"/>
                      <a:gd name="T14" fmla="*/ 0 w 3"/>
                      <a:gd name="T15" fmla="*/ 2147483647 h 4"/>
                      <a:gd name="T16" fmla="*/ 0 w 3"/>
                      <a:gd name="T17" fmla="*/ 2147483647 h 4"/>
                      <a:gd name="T18" fmla="*/ 0 w 3"/>
                      <a:gd name="T19" fmla="*/ 2147483647 h 4"/>
                      <a:gd name="T20" fmla="*/ 0 w 3"/>
                      <a:gd name="T21" fmla="*/ 2147483647 h 4"/>
                      <a:gd name="T22" fmla="*/ 2147483647 w 3"/>
                      <a:gd name="T23" fmla="*/ 0 h 4"/>
                      <a:gd name="T24" fmla="*/ 2147483647 w 3"/>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 h="4">
                        <a:moveTo>
                          <a:pt x="3" y="0"/>
                        </a:moveTo>
                        <a:lnTo>
                          <a:pt x="2" y="0"/>
                        </a:lnTo>
                        <a:lnTo>
                          <a:pt x="1" y="1"/>
                        </a:lnTo>
                        <a:lnTo>
                          <a:pt x="0" y="2"/>
                        </a:lnTo>
                        <a:lnTo>
                          <a:pt x="0" y="4"/>
                        </a:lnTo>
                        <a:lnTo>
                          <a:pt x="0" y="3"/>
                        </a:lnTo>
                        <a:lnTo>
                          <a:pt x="0" y="2"/>
                        </a:lnTo>
                        <a:lnTo>
                          <a:pt x="0" y="1"/>
                        </a:lnTo>
                        <a:lnTo>
                          <a:pt x="1"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5" name="Freeform 1584">
                    <a:extLst>
                      <a:ext uri="{FF2B5EF4-FFF2-40B4-BE49-F238E27FC236}">
                        <a16:creationId xmlns:a16="http://schemas.microsoft.com/office/drawing/2014/main" xmlns="" id="{7745381C-660A-485B-A980-E9E4ABFBBD45}"/>
                      </a:ext>
                    </a:extLst>
                  </p:cNvPr>
                  <p:cNvSpPr>
                    <a:spLocks/>
                  </p:cNvSpPr>
                  <p:nvPr/>
                </p:nvSpPr>
                <p:spPr bwMode="gray">
                  <a:xfrm>
                    <a:off x="4443126" y="2284106"/>
                    <a:ext cx="22249" cy="10012"/>
                  </a:xfrm>
                  <a:custGeom>
                    <a:avLst/>
                    <a:gdLst>
                      <a:gd name="T0" fmla="*/ 2147483647 w 20"/>
                      <a:gd name="T1" fmla="*/ 0 h 9"/>
                      <a:gd name="T2" fmla="*/ 2147483647 w 20"/>
                      <a:gd name="T3" fmla="*/ 2147483647 h 9"/>
                      <a:gd name="T4" fmla="*/ 2147483647 w 20"/>
                      <a:gd name="T5" fmla="*/ 2147483647 h 9"/>
                      <a:gd name="T6" fmla="*/ 2147483647 w 20"/>
                      <a:gd name="T7" fmla="*/ 2147483647 h 9"/>
                      <a:gd name="T8" fmla="*/ 2147483647 w 20"/>
                      <a:gd name="T9" fmla="*/ 2147483647 h 9"/>
                      <a:gd name="T10" fmla="*/ 2147483647 w 20"/>
                      <a:gd name="T11" fmla="*/ 2147483647 h 9"/>
                      <a:gd name="T12" fmla="*/ 2147483647 w 20"/>
                      <a:gd name="T13" fmla="*/ 2147483647 h 9"/>
                      <a:gd name="T14" fmla="*/ 2147483647 w 20"/>
                      <a:gd name="T15" fmla="*/ 2147483647 h 9"/>
                      <a:gd name="T16" fmla="*/ 0 w 20"/>
                      <a:gd name="T17" fmla="*/ 2147483647 h 9"/>
                      <a:gd name="T18" fmla="*/ 0 w 20"/>
                      <a:gd name="T19" fmla="*/ 2147483647 h 9"/>
                      <a:gd name="T20" fmla="*/ 0 w 20"/>
                      <a:gd name="T21" fmla="*/ 2147483647 h 9"/>
                      <a:gd name="T22" fmla="*/ 0 w 20"/>
                      <a:gd name="T23" fmla="*/ 2147483647 h 9"/>
                      <a:gd name="T24" fmla="*/ 0 w 20"/>
                      <a:gd name="T25" fmla="*/ 2147483647 h 9"/>
                      <a:gd name="T26" fmla="*/ 2147483647 w 20"/>
                      <a:gd name="T27" fmla="*/ 2147483647 h 9"/>
                      <a:gd name="T28" fmla="*/ 2147483647 w 20"/>
                      <a:gd name="T29" fmla="*/ 2147483647 h 9"/>
                      <a:gd name="T30" fmla="*/ 2147483647 w 20"/>
                      <a:gd name="T31" fmla="*/ 2147483647 h 9"/>
                      <a:gd name="T32" fmla="*/ 2147483647 w 20"/>
                      <a:gd name="T33" fmla="*/ 2147483647 h 9"/>
                      <a:gd name="T34" fmla="*/ 2147483647 w 20"/>
                      <a:gd name="T35" fmla="*/ 2147483647 h 9"/>
                      <a:gd name="T36" fmla="*/ 2147483647 w 20"/>
                      <a:gd name="T37" fmla="*/ 2147483647 h 9"/>
                      <a:gd name="T38" fmla="*/ 2147483647 w 20"/>
                      <a:gd name="T39" fmla="*/ 2147483647 h 9"/>
                      <a:gd name="T40" fmla="*/ 2147483647 w 20"/>
                      <a:gd name="T41" fmla="*/ 2147483647 h 9"/>
                      <a:gd name="T42" fmla="*/ 2147483647 w 20"/>
                      <a:gd name="T43" fmla="*/ 2147483647 h 9"/>
                      <a:gd name="T44" fmla="*/ 2147483647 w 20"/>
                      <a:gd name="T45" fmla="*/ 2147483647 h 9"/>
                      <a:gd name="T46" fmla="*/ 2147483647 w 20"/>
                      <a:gd name="T47" fmla="*/ 2147483647 h 9"/>
                      <a:gd name="T48" fmla="*/ 2147483647 w 20"/>
                      <a:gd name="T49" fmla="*/ 2147483647 h 9"/>
                      <a:gd name="T50" fmla="*/ 2147483647 w 20"/>
                      <a:gd name="T51" fmla="*/ 2147483647 h 9"/>
                      <a:gd name="T52" fmla="*/ 2147483647 w 20"/>
                      <a:gd name="T53" fmla="*/ 2147483647 h 9"/>
                      <a:gd name="T54" fmla="*/ 2147483647 w 20"/>
                      <a:gd name="T55" fmla="*/ 0 h 9"/>
                      <a:gd name="T56" fmla="*/ 2147483647 w 20"/>
                      <a:gd name="T57" fmla="*/ 0 h 9"/>
                      <a:gd name="T58" fmla="*/ 2147483647 w 20"/>
                      <a:gd name="T59" fmla="*/ 0 h 9"/>
                      <a:gd name="T60" fmla="*/ 2147483647 w 20"/>
                      <a:gd name="T61" fmla="*/ 0 h 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0" h="9">
                        <a:moveTo>
                          <a:pt x="13" y="0"/>
                        </a:moveTo>
                        <a:lnTo>
                          <a:pt x="11" y="1"/>
                        </a:lnTo>
                        <a:lnTo>
                          <a:pt x="9" y="2"/>
                        </a:lnTo>
                        <a:lnTo>
                          <a:pt x="8" y="3"/>
                        </a:lnTo>
                        <a:lnTo>
                          <a:pt x="6" y="4"/>
                        </a:lnTo>
                        <a:lnTo>
                          <a:pt x="5" y="4"/>
                        </a:lnTo>
                        <a:lnTo>
                          <a:pt x="4" y="4"/>
                        </a:lnTo>
                        <a:lnTo>
                          <a:pt x="2" y="5"/>
                        </a:lnTo>
                        <a:lnTo>
                          <a:pt x="0" y="6"/>
                        </a:lnTo>
                        <a:lnTo>
                          <a:pt x="0" y="7"/>
                        </a:lnTo>
                        <a:lnTo>
                          <a:pt x="0" y="8"/>
                        </a:lnTo>
                        <a:lnTo>
                          <a:pt x="0" y="6"/>
                        </a:lnTo>
                        <a:lnTo>
                          <a:pt x="1" y="7"/>
                        </a:lnTo>
                        <a:lnTo>
                          <a:pt x="4" y="8"/>
                        </a:lnTo>
                        <a:lnTo>
                          <a:pt x="6" y="9"/>
                        </a:lnTo>
                        <a:lnTo>
                          <a:pt x="9" y="9"/>
                        </a:lnTo>
                        <a:lnTo>
                          <a:pt x="11" y="8"/>
                        </a:lnTo>
                        <a:lnTo>
                          <a:pt x="14" y="7"/>
                        </a:lnTo>
                        <a:lnTo>
                          <a:pt x="16" y="6"/>
                        </a:lnTo>
                        <a:lnTo>
                          <a:pt x="17" y="6"/>
                        </a:lnTo>
                        <a:lnTo>
                          <a:pt x="18" y="6"/>
                        </a:lnTo>
                        <a:lnTo>
                          <a:pt x="20" y="6"/>
                        </a:lnTo>
                        <a:lnTo>
                          <a:pt x="19" y="5"/>
                        </a:lnTo>
                        <a:lnTo>
                          <a:pt x="18" y="4"/>
                        </a:lnTo>
                        <a:lnTo>
                          <a:pt x="17" y="1"/>
                        </a:lnTo>
                        <a:lnTo>
                          <a:pt x="16" y="0"/>
                        </a:lnTo>
                        <a:lnTo>
                          <a:pt x="15" y="0"/>
                        </a:lnTo>
                        <a:lnTo>
                          <a:pt x="1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6" name="Freeform 1586">
                    <a:extLst>
                      <a:ext uri="{FF2B5EF4-FFF2-40B4-BE49-F238E27FC236}">
                        <a16:creationId xmlns:a16="http://schemas.microsoft.com/office/drawing/2014/main" xmlns="" id="{21F43F23-5AA5-4A0A-BB6A-4B8040A3F827}"/>
                      </a:ext>
                    </a:extLst>
                  </p:cNvPr>
                  <p:cNvSpPr>
                    <a:spLocks/>
                  </p:cNvSpPr>
                  <p:nvPr/>
                </p:nvSpPr>
                <p:spPr bwMode="gray">
                  <a:xfrm>
                    <a:off x="4544362" y="2190663"/>
                    <a:ext cx="18913" cy="11125"/>
                  </a:xfrm>
                  <a:custGeom>
                    <a:avLst/>
                    <a:gdLst>
                      <a:gd name="T0" fmla="*/ 2147483647 w 17"/>
                      <a:gd name="T1" fmla="*/ 0 h 10"/>
                      <a:gd name="T2" fmla="*/ 2147483647 w 17"/>
                      <a:gd name="T3" fmla="*/ 2147483647 h 10"/>
                      <a:gd name="T4" fmla="*/ 2147483647 w 17"/>
                      <a:gd name="T5" fmla="*/ 2147483647 h 10"/>
                      <a:gd name="T6" fmla="*/ 2147483647 w 17"/>
                      <a:gd name="T7" fmla="*/ 2147483647 h 10"/>
                      <a:gd name="T8" fmla="*/ 2147483647 w 17"/>
                      <a:gd name="T9" fmla="*/ 2147483647 h 10"/>
                      <a:gd name="T10" fmla="*/ 2147483647 w 17"/>
                      <a:gd name="T11" fmla="*/ 2147483647 h 10"/>
                      <a:gd name="T12" fmla="*/ 0 w 17"/>
                      <a:gd name="T13" fmla="*/ 2147483647 h 10"/>
                      <a:gd name="T14" fmla="*/ 2147483647 w 17"/>
                      <a:gd name="T15" fmla="*/ 2147483647 h 10"/>
                      <a:gd name="T16" fmla="*/ 2147483647 w 17"/>
                      <a:gd name="T17" fmla="*/ 2147483647 h 10"/>
                      <a:gd name="T18" fmla="*/ 2147483647 w 17"/>
                      <a:gd name="T19" fmla="*/ 2147483647 h 10"/>
                      <a:gd name="T20" fmla="*/ 2147483647 w 17"/>
                      <a:gd name="T21" fmla="*/ 2147483647 h 10"/>
                      <a:gd name="T22" fmla="*/ 2147483647 w 17"/>
                      <a:gd name="T23" fmla="*/ 2147483647 h 10"/>
                      <a:gd name="T24" fmla="*/ 2147483647 w 17"/>
                      <a:gd name="T25" fmla="*/ 2147483647 h 10"/>
                      <a:gd name="T26" fmla="*/ 2147483647 w 17"/>
                      <a:gd name="T27" fmla="*/ 2147483647 h 10"/>
                      <a:gd name="T28" fmla="*/ 2147483647 w 17"/>
                      <a:gd name="T29" fmla="*/ 2147483647 h 10"/>
                      <a:gd name="T30" fmla="*/ 2147483647 w 17"/>
                      <a:gd name="T31" fmla="*/ 2147483647 h 10"/>
                      <a:gd name="T32" fmla="*/ 2147483647 w 17"/>
                      <a:gd name="T33" fmla="*/ 2147483647 h 10"/>
                      <a:gd name="T34" fmla="*/ 2147483647 w 17"/>
                      <a:gd name="T35" fmla="*/ 2147483647 h 10"/>
                      <a:gd name="T36" fmla="*/ 2147483647 w 17"/>
                      <a:gd name="T37" fmla="*/ 2147483647 h 10"/>
                      <a:gd name="T38" fmla="*/ 2147483647 w 17"/>
                      <a:gd name="T39" fmla="*/ 0 h 10"/>
                      <a:gd name="T40" fmla="*/ 2147483647 w 17"/>
                      <a:gd name="T41" fmla="*/ 0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7" h="10">
                        <a:moveTo>
                          <a:pt x="10" y="0"/>
                        </a:moveTo>
                        <a:lnTo>
                          <a:pt x="9" y="1"/>
                        </a:lnTo>
                        <a:lnTo>
                          <a:pt x="6" y="2"/>
                        </a:lnTo>
                        <a:lnTo>
                          <a:pt x="4" y="3"/>
                        </a:lnTo>
                        <a:lnTo>
                          <a:pt x="3" y="3"/>
                        </a:lnTo>
                        <a:lnTo>
                          <a:pt x="1" y="6"/>
                        </a:lnTo>
                        <a:lnTo>
                          <a:pt x="0" y="7"/>
                        </a:lnTo>
                        <a:lnTo>
                          <a:pt x="2" y="9"/>
                        </a:lnTo>
                        <a:lnTo>
                          <a:pt x="5" y="9"/>
                        </a:lnTo>
                        <a:lnTo>
                          <a:pt x="11" y="10"/>
                        </a:lnTo>
                        <a:lnTo>
                          <a:pt x="14" y="10"/>
                        </a:lnTo>
                        <a:lnTo>
                          <a:pt x="16" y="10"/>
                        </a:lnTo>
                        <a:lnTo>
                          <a:pt x="16" y="9"/>
                        </a:lnTo>
                        <a:lnTo>
                          <a:pt x="16" y="10"/>
                        </a:lnTo>
                        <a:lnTo>
                          <a:pt x="17" y="6"/>
                        </a:lnTo>
                        <a:lnTo>
                          <a:pt x="17" y="3"/>
                        </a:lnTo>
                        <a:lnTo>
                          <a:pt x="15" y="1"/>
                        </a:lnTo>
                        <a:lnTo>
                          <a:pt x="13" y="0"/>
                        </a:lnTo>
                        <a:lnTo>
                          <a:pt x="1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7" name="Freeform 1588">
                    <a:extLst>
                      <a:ext uri="{FF2B5EF4-FFF2-40B4-BE49-F238E27FC236}">
                        <a16:creationId xmlns:a16="http://schemas.microsoft.com/office/drawing/2014/main" xmlns="" id="{E9561F5E-48AB-47D1-9D4E-B5AF9F1AF160}"/>
                      </a:ext>
                    </a:extLst>
                  </p:cNvPr>
                  <p:cNvSpPr>
                    <a:spLocks/>
                  </p:cNvSpPr>
                  <p:nvPr/>
                </p:nvSpPr>
                <p:spPr bwMode="gray">
                  <a:xfrm>
                    <a:off x="4587747" y="2137268"/>
                    <a:ext cx="3338" cy="6675"/>
                  </a:xfrm>
                  <a:custGeom>
                    <a:avLst/>
                    <a:gdLst>
                      <a:gd name="T0" fmla="*/ 0 w 3"/>
                      <a:gd name="T1" fmla="*/ 0 h 6"/>
                      <a:gd name="T2" fmla="*/ 0 w 3"/>
                      <a:gd name="T3" fmla="*/ 2147483647 h 6"/>
                      <a:gd name="T4" fmla="*/ 0 w 3"/>
                      <a:gd name="T5" fmla="*/ 2147483647 h 6"/>
                      <a:gd name="T6" fmla="*/ 2147483647 w 3"/>
                      <a:gd name="T7" fmla="*/ 2147483647 h 6"/>
                      <a:gd name="T8" fmla="*/ 2147483647 w 3"/>
                      <a:gd name="T9" fmla="*/ 2147483647 h 6"/>
                      <a:gd name="T10" fmla="*/ 2147483647 w 3"/>
                      <a:gd name="T11" fmla="*/ 2147483647 h 6"/>
                      <a:gd name="T12" fmla="*/ 2147483647 w 3"/>
                      <a:gd name="T13" fmla="*/ 2147483647 h 6"/>
                      <a:gd name="T14" fmla="*/ 2147483647 w 3"/>
                      <a:gd name="T15" fmla="*/ 2147483647 h 6"/>
                      <a:gd name="T16" fmla="*/ 2147483647 w 3"/>
                      <a:gd name="T17" fmla="*/ 0 h 6"/>
                      <a:gd name="T18" fmla="*/ 2147483647 w 3"/>
                      <a:gd name="T19" fmla="*/ 0 h 6"/>
                      <a:gd name="T20" fmla="*/ 2147483647 w 3"/>
                      <a:gd name="T21" fmla="*/ 2147483647 h 6"/>
                      <a:gd name="T22" fmla="*/ 0 w 3"/>
                      <a:gd name="T23" fmla="*/ 2147483647 h 6"/>
                      <a:gd name="T24" fmla="*/ 0 w 3"/>
                      <a:gd name="T25" fmla="*/ 0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 h="6">
                        <a:moveTo>
                          <a:pt x="0" y="0"/>
                        </a:moveTo>
                        <a:lnTo>
                          <a:pt x="0" y="6"/>
                        </a:lnTo>
                        <a:lnTo>
                          <a:pt x="2" y="6"/>
                        </a:lnTo>
                        <a:lnTo>
                          <a:pt x="3" y="6"/>
                        </a:lnTo>
                        <a:lnTo>
                          <a:pt x="3" y="5"/>
                        </a:lnTo>
                        <a:lnTo>
                          <a:pt x="3" y="4"/>
                        </a:lnTo>
                        <a:lnTo>
                          <a:pt x="3" y="0"/>
                        </a:lnTo>
                        <a:lnTo>
                          <a:pt x="2" y="1"/>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8" name="Freeform 1590">
                    <a:extLst>
                      <a:ext uri="{FF2B5EF4-FFF2-40B4-BE49-F238E27FC236}">
                        <a16:creationId xmlns:a16="http://schemas.microsoft.com/office/drawing/2014/main" xmlns="" id="{96FF21C6-7E0F-4097-8B39-C9DE9D09C76C}"/>
                      </a:ext>
                    </a:extLst>
                  </p:cNvPr>
                  <p:cNvSpPr>
                    <a:spLocks/>
                  </p:cNvSpPr>
                  <p:nvPr/>
                </p:nvSpPr>
                <p:spPr bwMode="gray">
                  <a:xfrm>
                    <a:off x="4608884" y="2099446"/>
                    <a:ext cx="8900" cy="10012"/>
                  </a:xfrm>
                  <a:custGeom>
                    <a:avLst/>
                    <a:gdLst>
                      <a:gd name="T0" fmla="*/ 2147483647 w 8"/>
                      <a:gd name="T1" fmla="*/ 2147483647 h 9"/>
                      <a:gd name="T2" fmla="*/ 2147483647 w 8"/>
                      <a:gd name="T3" fmla="*/ 2147483647 h 9"/>
                      <a:gd name="T4" fmla="*/ 0 w 8"/>
                      <a:gd name="T5" fmla="*/ 2147483647 h 9"/>
                      <a:gd name="T6" fmla="*/ 0 w 8"/>
                      <a:gd name="T7" fmla="*/ 2147483647 h 9"/>
                      <a:gd name="T8" fmla="*/ 2147483647 w 8"/>
                      <a:gd name="T9" fmla="*/ 2147483647 h 9"/>
                      <a:gd name="T10" fmla="*/ 2147483647 w 8"/>
                      <a:gd name="T11" fmla="*/ 2147483647 h 9"/>
                      <a:gd name="T12" fmla="*/ 2147483647 w 8"/>
                      <a:gd name="T13" fmla="*/ 2147483647 h 9"/>
                      <a:gd name="T14" fmla="*/ 2147483647 w 8"/>
                      <a:gd name="T15" fmla="*/ 2147483647 h 9"/>
                      <a:gd name="T16" fmla="*/ 2147483647 w 8"/>
                      <a:gd name="T17" fmla="*/ 2147483647 h 9"/>
                      <a:gd name="T18" fmla="*/ 2147483647 w 8"/>
                      <a:gd name="T19" fmla="*/ 2147483647 h 9"/>
                      <a:gd name="T20" fmla="*/ 2147483647 w 8"/>
                      <a:gd name="T21" fmla="*/ 0 h 9"/>
                      <a:gd name="T22" fmla="*/ 2147483647 w 8"/>
                      <a:gd name="T23" fmla="*/ 2147483647 h 9"/>
                      <a:gd name="T24" fmla="*/ 2147483647 w 8"/>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9">
                        <a:moveTo>
                          <a:pt x="6" y="2"/>
                        </a:moveTo>
                        <a:lnTo>
                          <a:pt x="3" y="4"/>
                        </a:lnTo>
                        <a:lnTo>
                          <a:pt x="0" y="7"/>
                        </a:lnTo>
                        <a:lnTo>
                          <a:pt x="0" y="8"/>
                        </a:lnTo>
                        <a:lnTo>
                          <a:pt x="1" y="9"/>
                        </a:lnTo>
                        <a:lnTo>
                          <a:pt x="3" y="8"/>
                        </a:lnTo>
                        <a:lnTo>
                          <a:pt x="3" y="7"/>
                        </a:lnTo>
                        <a:lnTo>
                          <a:pt x="4" y="7"/>
                        </a:lnTo>
                        <a:lnTo>
                          <a:pt x="7" y="3"/>
                        </a:lnTo>
                        <a:lnTo>
                          <a:pt x="8" y="1"/>
                        </a:lnTo>
                        <a:lnTo>
                          <a:pt x="8" y="0"/>
                        </a:lnTo>
                        <a:lnTo>
                          <a:pt x="8" y="1"/>
                        </a:lnTo>
                        <a:lnTo>
                          <a:pt x="6" y="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89" name="Freeform 1592">
                    <a:extLst>
                      <a:ext uri="{FF2B5EF4-FFF2-40B4-BE49-F238E27FC236}">
                        <a16:creationId xmlns:a16="http://schemas.microsoft.com/office/drawing/2014/main" xmlns="" id="{60CEDC74-CBCC-4563-A92A-E41D877459E4}"/>
                      </a:ext>
                    </a:extLst>
                  </p:cNvPr>
                  <p:cNvSpPr>
                    <a:spLocks/>
                  </p:cNvSpPr>
                  <p:nvPr/>
                </p:nvSpPr>
                <p:spPr bwMode="gray">
                  <a:xfrm>
                    <a:off x="4632246" y="1928135"/>
                    <a:ext cx="25587" cy="34485"/>
                  </a:xfrm>
                  <a:custGeom>
                    <a:avLst/>
                    <a:gdLst>
                      <a:gd name="T0" fmla="*/ 2147483647 w 23"/>
                      <a:gd name="T1" fmla="*/ 0 h 31"/>
                      <a:gd name="T2" fmla="*/ 2147483647 w 23"/>
                      <a:gd name="T3" fmla="*/ 2147483647 h 31"/>
                      <a:gd name="T4" fmla="*/ 2147483647 w 23"/>
                      <a:gd name="T5" fmla="*/ 2147483647 h 31"/>
                      <a:gd name="T6" fmla="*/ 2147483647 w 23"/>
                      <a:gd name="T7" fmla="*/ 2147483647 h 31"/>
                      <a:gd name="T8" fmla="*/ 2147483647 w 23"/>
                      <a:gd name="T9" fmla="*/ 2147483647 h 31"/>
                      <a:gd name="T10" fmla="*/ 2147483647 w 23"/>
                      <a:gd name="T11" fmla="*/ 2147483647 h 31"/>
                      <a:gd name="T12" fmla="*/ 2147483647 w 23"/>
                      <a:gd name="T13" fmla="*/ 2147483647 h 31"/>
                      <a:gd name="T14" fmla="*/ 2147483647 w 23"/>
                      <a:gd name="T15" fmla="*/ 2147483647 h 31"/>
                      <a:gd name="T16" fmla="*/ 2147483647 w 23"/>
                      <a:gd name="T17" fmla="*/ 2147483647 h 31"/>
                      <a:gd name="T18" fmla="*/ 2147483647 w 23"/>
                      <a:gd name="T19" fmla="*/ 2147483647 h 31"/>
                      <a:gd name="T20" fmla="*/ 2147483647 w 23"/>
                      <a:gd name="T21" fmla="*/ 2147483647 h 31"/>
                      <a:gd name="T22" fmla="*/ 2147483647 w 23"/>
                      <a:gd name="T23" fmla="*/ 2147483647 h 31"/>
                      <a:gd name="T24" fmla="*/ 2147483647 w 23"/>
                      <a:gd name="T25" fmla="*/ 2147483647 h 31"/>
                      <a:gd name="T26" fmla="*/ 2147483647 w 23"/>
                      <a:gd name="T27" fmla="*/ 2147483647 h 31"/>
                      <a:gd name="T28" fmla="*/ 2147483647 w 23"/>
                      <a:gd name="T29" fmla="*/ 2147483647 h 31"/>
                      <a:gd name="T30" fmla="*/ 0 w 23"/>
                      <a:gd name="T31" fmla="*/ 2147483647 h 31"/>
                      <a:gd name="T32" fmla="*/ 2147483647 w 23"/>
                      <a:gd name="T33" fmla="*/ 2147483647 h 31"/>
                      <a:gd name="T34" fmla="*/ 2147483647 w 23"/>
                      <a:gd name="T35" fmla="*/ 2147483647 h 31"/>
                      <a:gd name="T36" fmla="*/ 2147483647 w 23"/>
                      <a:gd name="T37" fmla="*/ 2147483647 h 31"/>
                      <a:gd name="T38" fmla="*/ 2147483647 w 23"/>
                      <a:gd name="T39" fmla="*/ 2147483647 h 31"/>
                      <a:gd name="T40" fmla="*/ 2147483647 w 23"/>
                      <a:gd name="T41" fmla="*/ 2147483647 h 31"/>
                      <a:gd name="T42" fmla="*/ 2147483647 w 23"/>
                      <a:gd name="T43" fmla="*/ 2147483647 h 31"/>
                      <a:gd name="T44" fmla="*/ 2147483647 w 23"/>
                      <a:gd name="T45" fmla="*/ 2147483647 h 31"/>
                      <a:gd name="T46" fmla="*/ 2147483647 w 23"/>
                      <a:gd name="T47" fmla="*/ 2147483647 h 31"/>
                      <a:gd name="T48" fmla="*/ 2147483647 w 23"/>
                      <a:gd name="T49" fmla="*/ 2147483647 h 31"/>
                      <a:gd name="T50" fmla="*/ 2147483647 w 23"/>
                      <a:gd name="T51" fmla="*/ 2147483647 h 31"/>
                      <a:gd name="T52" fmla="*/ 2147483647 w 23"/>
                      <a:gd name="T53" fmla="*/ 2147483647 h 31"/>
                      <a:gd name="T54" fmla="*/ 2147483647 w 23"/>
                      <a:gd name="T55" fmla="*/ 2147483647 h 31"/>
                      <a:gd name="T56" fmla="*/ 2147483647 w 23"/>
                      <a:gd name="T57" fmla="*/ 2147483647 h 31"/>
                      <a:gd name="T58" fmla="*/ 2147483647 w 23"/>
                      <a:gd name="T59" fmla="*/ 2147483647 h 31"/>
                      <a:gd name="T60" fmla="*/ 2147483647 w 23"/>
                      <a:gd name="T61" fmla="*/ 2147483647 h 31"/>
                      <a:gd name="T62" fmla="*/ 2147483647 w 23"/>
                      <a:gd name="T63" fmla="*/ 2147483647 h 31"/>
                      <a:gd name="T64" fmla="*/ 2147483647 w 23"/>
                      <a:gd name="T65" fmla="*/ 2147483647 h 31"/>
                      <a:gd name="T66" fmla="*/ 2147483647 w 23"/>
                      <a:gd name="T67" fmla="*/ 2147483647 h 31"/>
                      <a:gd name="T68" fmla="*/ 2147483647 w 23"/>
                      <a:gd name="T69" fmla="*/ 0 h 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3" h="31">
                        <a:moveTo>
                          <a:pt x="20" y="0"/>
                        </a:moveTo>
                        <a:lnTo>
                          <a:pt x="20" y="2"/>
                        </a:lnTo>
                        <a:lnTo>
                          <a:pt x="19" y="3"/>
                        </a:lnTo>
                        <a:lnTo>
                          <a:pt x="18" y="4"/>
                        </a:lnTo>
                        <a:lnTo>
                          <a:pt x="17" y="5"/>
                        </a:lnTo>
                        <a:lnTo>
                          <a:pt x="16" y="6"/>
                        </a:lnTo>
                        <a:lnTo>
                          <a:pt x="14" y="6"/>
                        </a:lnTo>
                        <a:lnTo>
                          <a:pt x="12" y="7"/>
                        </a:lnTo>
                        <a:lnTo>
                          <a:pt x="11" y="7"/>
                        </a:lnTo>
                        <a:lnTo>
                          <a:pt x="9" y="7"/>
                        </a:lnTo>
                        <a:lnTo>
                          <a:pt x="8" y="9"/>
                        </a:lnTo>
                        <a:lnTo>
                          <a:pt x="4" y="15"/>
                        </a:lnTo>
                        <a:lnTo>
                          <a:pt x="2" y="19"/>
                        </a:lnTo>
                        <a:lnTo>
                          <a:pt x="1" y="20"/>
                        </a:lnTo>
                        <a:lnTo>
                          <a:pt x="0" y="27"/>
                        </a:lnTo>
                        <a:lnTo>
                          <a:pt x="1" y="31"/>
                        </a:lnTo>
                        <a:lnTo>
                          <a:pt x="2" y="31"/>
                        </a:lnTo>
                        <a:lnTo>
                          <a:pt x="4" y="31"/>
                        </a:lnTo>
                        <a:lnTo>
                          <a:pt x="7" y="30"/>
                        </a:lnTo>
                        <a:lnTo>
                          <a:pt x="9" y="28"/>
                        </a:lnTo>
                        <a:lnTo>
                          <a:pt x="10" y="26"/>
                        </a:lnTo>
                        <a:lnTo>
                          <a:pt x="11" y="24"/>
                        </a:lnTo>
                        <a:lnTo>
                          <a:pt x="11" y="19"/>
                        </a:lnTo>
                        <a:lnTo>
                          <a:pt x="11" y="18"/>
                        </a:lnTo>
                        <a:lnTo>
                          <a:pt x="14" y="16"/>
                        </a:lnTo>
                        <a:lnTo>
                          <a:pt x="16" y="15"/>
                        </a:lnTo>
                        <a:lnTo>
                          <a:pt x="19" y="12"/>
                        </a:lnTo>
                        <a:lnTo>
                          <a:pt x="20" y="10"/>
                        </a:lnTo>
                        <a:lnTo>
                          <a:pt x="21" y="10"/>
                        </a:lnTo>
                        <a:lnTo>
                          <a:pt x="22" y="8"/>
                        </a:lnTo>
                        <a:lnTo>
                          <a:pt x="22" y="6"/>
                        </a:lnTo>
                        <a:lnTo>
                          <a:pt x="23" y="5"/>
                        </a:lnTo>
                        <a:lnTo>
                          <a:pt x="2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0" name="Freeform 1594">
                    <a:extLst>
                      <a:ext uri="{FF2B5EF4-FFF2-40B4-BE49-F238E27FC236}">
                        <a16:creationId xmlns:a16="http://schemas.microsoft.com/office/drawing/2014/main" xmlns="" id="{F0831D3A-CD7F-4F43-943F-59C95711F1AE}"/>
                      </a:ext>
                    </a:extLst>
                  </p:cNvPr>
                  <p:cNvSpPr>
                    <a:spLocks/>
                  </p:cNvSpPr>
                  <p:nvPr/>
                </p:nvSpPr>
                <p:spPr bwMode="gray">
                  <a:xfrm>
                    <a:off x="4657833" y="1918124"/>
                    <a:ext cx="22249" cy="18911"/>
                  </a:xfrm>
                  <a:custGeom>
                    <a:avLst/>
                    <a:gdLst>
                      <a:gd name="T0" fmla="*/ 2147483647 w 20"/>
                      <a:gd name="T1" fmla="*/ 0 h 17"/>
                      <a:gd name="T2" fmla="*/ 2147483647 w 20"/>
                      <a:gd name="T3" fmla="*/ 2147483647 h 17"/>
                      <a:gd name="T4" fmla="*/ 2147483647 w 20"/>
                      <a:gd name="T5" fmla="*/ 2147483647 h 17"/>
                      <a:gd name="T6" fmla="*/ 2147483647 w 20"/>
                      <a:gd name="T7" fmla="*/ 2147483647 h 17"/>
                      <a:gd name="T8" fmla="*/ 2147483647 w 20"/>
                      <a:gd name="T9" fmla="*/ 2147483647 h 17"/>
                      <a:gd name="T10" fmla="*/ 2147483647 w 20"/>
                      <a:gd name="T11" fmla="*/ 2147483647 h 17"/>
                      <a:gd name="T12" fmla="*/ 2147483647 w 20"/>
                      <a:gd name="T13" fmla="*/ 2147483647 h 17"/>
                      <a:gd name="T14" fmla="*/ 2147483647 w 20"/>
                      <a:gd name="T15" fmla="*/ 2147483647 h 17"/>
                      <a:gd name="T16" fmla="*/ 0 w 20"/>
                      <a:gd name="T17" fmla="*/ 2147483647 h 17"/>
                      <a:gd name="T18" fmla="*/ 0 w 20"/>
                      <a:gd name="T19" fmla="*/ 2147483647 h 17"/>
                      <a:gd name="T20" fmla="*/ 0 w 20"/>
                      <a:gd name="T21" fmla="*/ 2147483647 h 17"/>
                      <a:gd name="T22" fmla="*/ 0 w 20"/>
                      <a:gd name="T23" fmla="*/ 2147483647 h 17"/>
                      <a:gd name="T24" fmla="*/ 2147483647 w 20"/>
                      <a:gd name="T25" fmla="*/ 2147483647 h 17"/>
                      <a:gd name="T26" fmla="*/ 2147483647 w 20"/>
                      <a:gd name="T27" fmla="*/ 2147483647 h 17"/>
                      <a:gd name="T28" fmla="*/ 2147483647 w 20"/>
                      <a:gd name="T29" fmla="*/ 2147483647 h 17"/>
                      <a:gd name="T30" fmla="*/ 2147483647 w 20"/>
                      <a:gd name="T31" fmla="*/ 2147483647 h 17"/>
                      <a:gd name="T32" fmla="*/ 2147483647 w 20"/>
                      <a:gd name="T33" fmla="*/ 2147483647 h 17"/>
                      <a:gd name="T34" fmla="*/ 2147483647 w 20"/>
                      <a:gd name="T35" fmla="*/ 2147483647 h 17"/>
                      <a:gd name="T36" fmla="*/ 2147483647 w 20"/>
                      <a:gd name="T37" fmla="*/ 2147483647 h 17"/>
                      <a:gd name="T38" fmla="*/ 2147483647 w 20"/>
                      <a:gd name="T39" fmla="*/ 2147483647 h 17"/>
                      <a:gd name="T40" fmla="*/ 2147483647 w 20"/>
                      <a:gd name="T41" fmla="*/ 2147483647 h 17"/>
                      <a:gd name="T42" fmla="*/ 2147483647 w 20"/>
                      <a:gd name="T43" fmla="*/ 2147483647 h 17"/>
                      <a:gd name="T44" fmla="*/ 2147483647 w 20"/>
                      <a:gd name="T45" fmla="*/ 2147483647 h 17"/>
                      <a:gd name="T46" fmla="*/ 2147483647 w 20"/>
                      <a:gd name="T47" fmla="*/ 2147483647 h 17"/>
                      <a:gd name="T48" fmla="*/ 2147483647 w 20"/>
                      <a:gd name="T49" fmla="*/ 2147483647 h 17"/>
                      <a:gd name="T50" fmla="*/ 2147483647 w 20"/>
                      <a:gd name="T51" fmla="*/ 2147483647 h 17"/>
                      <a:gd name="T52" fmla="*/ 2147483647 w 20"/>
                      <a:gd name="T53" fmla="*/ 2147483647 h 17"/>
                      <a:gd name="T54" fmla="*/ 2147483647 w 20"/>
                      <a:gd name="T55" fmla="*/ 2147483647 h 17"/>
                      <a:gd name="T56" fmla="*/ 2147483647 w 20"/>
                      <a:gd name="T57" fmla="*/ 2147483647 h 17"/>
                      <a:gd name="T58" fmla="*/ 2147483647 w 20"/>
                      <a:gd name="T59" fmla="*/ 2147483647 h 17"/>
                      <a:gd name="T60" fmla="*/ 2147483647 w 20"/>
                      <a:gd name="T61" fmla="*/ 0 h 1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0" h="17">
                        <a:moveTo>
                          <a:pt x="14" y="0"/>
                        </a:moveTo>
                        <a:lnTo>
                          <a:pt x="10" y="3"/>
                        </a:lnTo>
                        <a:lnTo>
                          <a:pt x="6" y="3"/>
                        </a:lnTo>
                        <a:lnTo>
                          <a:pt x="5" y="3"/>
                        </a:lnTo>
                        <a:lnTo>
                          <a:pt x="3" y="6"/>
                        </a:lnTo>
                        <a:lnTo>
                          <a:pt x="2" y="9"/>
                        </a:lnTo>
                        <a:lnTo>
                          <a:pt x="1" y="11"/>
                        </a:lnTo>
                        <a:lnTo>
                          <a:pt x="0" y="14"/>
                        </a:lnTo>
                        <a:lnTo>
                          <a:pt x="0" y="16"/>
                        </a:lnTo>
                        <a:lnTo>
                          <a:pt x="0" y="17"/>
                        </a:lnTo>
                        <a:lnTo>
                          <a:pt x="3" y="17"/>
                        </a:lnTo>
                        <a:lnTo>
                          <a:pt x="7" y="17"/>
                        </a:lnTo>
                        <a:lnTo>
                          <a:pt x="11" y="17"/>
                        </a:lnTo>
                        <a:lnTo>
                          <a:pt x="14" y="17"/>
                        </a:lnTo>
                        <a:lnTo>
                          <a:pt x="14" y="16"/>
                        </a:lnTo>
                        <a:lnTo>
                          <a:pt x="14" y="14"/>
                        </a:lnTo>
                        <a:lnTo>
                          <a:pt x="14" y="12"/>
                        </a:lnTo>
                        <a:lnTo>
                          <a:pt x="16" y="10"/>
                        </a:lnTo>
                        <a:lnTo>
                          <a:pt x="18" y="9"/>
                        </a:lnTo>
                        <a:lnTo>
                          <a:pt x="20" y="7"/>
                        </a:lnTo>
                        <a:lnTo>
                          <a:pt x="20" y="6"/>
                        </a:lnTo>
                        <a:lnTo>
                          <a:pt x="19" y="5"/>
                        </a:lnTo>
                        <a:lnTo>
                          <a:pt x="18" y="4"/>
                        </a:lnTo>
                        <a:lnTo>
                          <a:pt x="17" y="3"/>
                        </a:lnTo>
                        <a:lnTo>
                          <a:pt x="17" y="2"/>
                        </a:lnTo>
                        <a:lnTo>
                          <a:pt x="16" y="1"/>
                        </a:lnTo>
                        <a:lnTo>
                          <a:pt x="14"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1" name="Freeform 1596">
                    <a:extLst>
                      <a:ext uri="{FF2B5EF4-FFF2-40B4-BE49-F238E27FC236}">
                        <a16:creationId xmlns:a16="http://schemas.microsoft.com/office/drawing/2014/main" xmlns="" id="{0C825390-88B4-4D5C-80FD-E8FC4E65CD72}"/>
                      </a:ext>
                    </a:extLst>
                  </p:cNvPr>
                  <p:cNvSpPr>
                    <a:spLocks/>
                  </p:cNvSpPr>
                  <p:nvPr/>
                </p:nvSpPr>
                <p:spPr bwMode="gray">
                  <a:xfrm>
                    <a:off x="4680082" y="1911449"/>
                    <a:ext cx="17799" cy="16686"/>
                  </a:xfrm>
                  <a:custGeom>
                    <a:avLst/>
                    <a:gdLst>
                      <a:gd name="T0" fmla="*/ 2147483647 w 16"/>
                      <a:gd name="T1" fmla="*/ 0 h 15"/>
                      <a:gd name="T2" fmla="*/ 2147483647 w 16"/>
                      <a:gd name="T3" fmla="*/ 2147483647 h 15"/>
                      <a:gd name="T4" fmla="*/ 2147483647 w 16"/>
                      <a:gd name="T5" fmla="*/ 2147483647 h 15"/>
                      <a:gd name="T6" fmla="*/ 2147483647 w 16"/>
                      <a:gd name="T7" fmla="*/ 2147483647 h 15"/>
                      <a:gd name="T8" fmla="*/ 2147483647 w 16"/>
                      <a:gd name="T9" fmla="*/ 2147483647 h 15"/>
                      <a:gd name="T10" fmla="*/ 2147483647 w 16"/>
                      <a:gd name="T11" fmla="*/ 2147483647 h 15"/>
                      <a:gd name="T12" fmla="*/ 2147483647 w 16"/>
                      <a:gd name="T13" fmla="*/ 2147483647 h 15"/>
                      <a:gd name="T14" fmla="*/ 2147483647 w 16"/>
                      <a:gd name="T15" fmla="*/ 2147483647 h 15"/>
                      <a:gd name="T16" fmla="*/ 0 w 16"/>
                      <a:gd name="T17" fmla="*/ 2147483647 h 15"/>
                      <a:gd name="T18" fmla="*/ 0 w 16"/>
                      <a:gd name="T19" fmla="*/ 2147483647 h 15"/>
                      <a:gd name="T20" fmla="*/ 2147483647 w 16"/>
                      <a:gd name="T21" fmla="*/ 2147483647 h 15"/>
                      <a:gd name="T22" fmla="*/ 2147483647 w 16"/>
                      <a:gd name="T23" fmla="*/ 2147483647 h 15"/>
                      <a:gd name="T24" fmla="*/ 2147483647 w 16"/>
                      <a:gd name="T25" fmla="*/ 2147483647 h 15"/>
                      <a:gd name="T26" fmla="*/ 2147483647 w 16"/>
                      <a:gd name="T27" fmla="*/ 2147483647 h 15"/>
                      <a:gd name="T28" fmla="*/ 2147483647 w 16"/>
                      <a:gd name="T29" fmla="*/ 2147483647 h 15"/>
                      <a:gd name="T30" fmla="*/ 2147483647 w 16"/>
                      <a:gd name="T31" fmla="*/ 2147483647 h 15"/>
                      <a:gd name="T32" fmla="*/ 2147483647 w 16"/>
                      <a:gd name="T33" fmla="*/ 2147483647 h 15"/>
                      <a:gd name="T34" fmla="*/ 2147483647 w 16"/>
                      <a:gd name="T35" fmla="*/ 2147483647 h 15"/>
                      <a:gd name="T36" fmla="*/ 2147483647 w 16"/>
                      <a:gd name="T37" fmla="*/ 2147483647 h 15"/>
                      <a:gd name="T38" fmla="*/ 2147483647 w 16"/>
                      <a:gd name="T39" fmla="*/ 2147483647 h 15"/>
                      <a:gd name="T40" fmla="*/ 2147483647 w 16"/>
                      <a:gd name="T41" fmla="*/ 0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6" h="15">
                        <a:moveTo>
                          <a:pt x="11" y="0"/>
                        </a:moveTo>
                        <a:lnTo>
                          <a:pt x="10" y="1"/>
                        </a:lnTo>
                        <a:lnTo>
                          <a:pt x="9" y="2"/>
                        </a:lnTo>
                        <a:lnTo>
                          <a:pt x="8" y="3"/>
                        </a:lnTo>
                        <a:lnTo>
                          <a:pt x="7" y="4"/>
                        </a:lnTo>
                        <a:lnTo>
                          <a:pt x="5" y="5"/>
                        </a:lnTo>
                        <a:lnTo>
                          <a:pt x="4" y="5"/>
                        </a:lnTo>
                        <a:lnTo>
                          <a:pt x="2" y="6"/>
                        </a:lnTo>
                        <a:lnTo>
                          <a:pt x="0" y="7"/>
                        </a:lnTo>
                        <a:lnTo>
                          <a:pt x="0" y="15"/>
                        </a:lnTo>
                        <a:lnTo>
                          <a:pt x="1" y="15"/>
                        </a:lnTo>
                        <a:lnTo>
                          <a:pt x="2" y="15"/>
                        </a:lnTo>
                        <a:lnTo>
                          <a:pt x="3" y="15"/>
                        </a:lnTo>
                        <a:lnTo>
                          <a:pt x="4" y="15"/>
                        </a:lnTo>
                        <a:lnTo>
                          <a:pt x="6" y="15"/>
                        </a:lnTo>
                        <a:lnTo>
                          <a:pt x="8" y="14"/>
                        </a:lnTo>
                        <a:lnTo>
                          <a:pt x="13" y="9"/>
                        </a:lnTo>
                        <a:lnTo>
                          <a:pt x="15" y="6"/>
                        </a:lnTo>
                        <a:lnTo>
                          <a:pt x="16" y="3"/>
                        </a:lnTo>
                        <a:lnTo>
                          <a:pt x="14" y="1"/>
                        </a:lnTo>
                        <a:lnTo>
                          <a:pt x="1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2" name="Freeform 1598">
                    <a:extLst>
                      <a:ext uri="{FF2B5EF4-FFF2-40B4-BE49-F238E27FC236}">
                        <a16:creationId xmlns:a16="http://schemas.microsoft.com/office/drawing/2014/main" xmlns="" id="{7053B927-527A-4EB8-B053-E7E6C0296159}"/>
                      </a:ext>
                    </a:extLst>
                  </p:cNvPr>
                  <p:cNvSpPr>
                    <a:spLocks/>
                  </p:cNvSpPr>
                  <p:nvPr/>
                </p:nvSpPr>
                <p:spPr bwMode="gray">
                  <a:xfrm>
                    <a:off x="4686757" y="1861391"/>
                    <a:ext cx="31149" cy="40046"/>
                  </a:xfrm>
                  <a:custGeom>
                    <a:avLst/>
                    <a:gdLst>
                      <a:gd name="T0" fmla="*/ 2147483647 w 28"/>
                      <a:gd name="T1" fmla="*/ 0 h 36"/>
                      <a:gd name="T2" fmla="*/ 2147483647 w 28"/>
                      <a:gd name="T3" fmla="*/ 2147483647 h 36"/>
                      <a:gd name="T4" fmla="*/ 2147483647 w 28"/>
                      <a:gd name="T5" fmla="*/ 2147483647 h 36"/>
                      <a:gd name="T6" fmla="*/ 2147483647 w 28"/>
                      <a:gd name="T7" fmla="*/ 2147483647 h 36"/>
                      <a:gd name="T8" fmla="*/ 2147483647 w 28"/>
                      <a:gd name="T9" fmla="*/ 2147483647 h 36"/>
                      <a:gd name="T10" fmla="*/ 2147483647 w 28"/>
                      <a:gd name="T11" fmla="*/ 2147483647 h 36"/>
                      <a:gd name="T12" fmla="*/ 2147483647 w 28"/>
                      <a:gd name="T13" fmla="*/ 2147483647 h 36"/>
                      <a:gd name="T14" fmla="*/ 2147483647 w 28"/>
                      <a:gd name="T15" fmla="*/ 2147483647 h 36"/>
                      <a:gd name="T16" fmla="*/ 0 w 28"/>
                      <a:gd name="T17" fmla="*/ 2147483647 h 36"/>
                      <a:gd name="T18" fmla="*/ 0 w 28"/>
                      <a:gd name="T19" fmla="*/ 2147483647 h 36"/>
                      <a:gd name="T20" fmla="*/ 2147483647 w 28"/>
                      <a:gd name="T21" fmla="*/ 2147483647 h 36"/>
                      <a:gd name="T22" fmla="*/ 2147483647 w 28"/>
                      <a:gd name="T23" fmla="*/ 2147483647 h 36"/>
                      <a:gd name="T24" fmla="*/ 2147483647 w 28"/>
                      <a:gd name="T25" fmla="*/ 2147483647 h 36"/>
                      <a:gd name="T26" fmla="*/ 2147483647 w 28"/>
                      <a:gd name="T27" fmla="*/ 2147483647 h 36"/>
                      <a:gd name="T28" fmla="*/ 2147483647 w 28"/>
                      <a:gd name="T29" fmla="*/ 2147483647 h 36"/>
                      <a:gd name="T30" fmla="*/ 2147483647 w 28"/>
                      <a:gd name="T31" fmla="*/ 2147483647 h 36"/>
                      <a:gd name="T32" fmla="*/ 2147483647 w 28"/>
                      <a:gd name="T33" fmla="*/ 2147483647 h 36"/>
                      <a:gd name="T34" fmla="*/ 2147483647 w 28"/>
                      <a:gd name="T35" fmla="*/ 2147483647 h 36"/>
                      <a:gd name="T36" fmla="*/ 2147483647 w 28"/>
                      <a:gd name="T37" fmla="*/ 2147483647 h 36"/>
                      <a:gd name="T38" fmla="*/ 2147483647 w 28"/>
                      <a:gd name="T39" fmla="*/ 2147483647 h 36"/>
                      <a:gd name="T40" fmla="*/ 2147483647 w 28"/>
                      <a:gd name="T41" fmla="*/ 2147483647 h 36"/>
                      <a:gd name="T42" fmla="*/ 2147483647 w 28"/>
                      <a:gd name="T43" fmla="*/ 2147483647 h 36"/>
                      <a:gd name="T44" fmla="*/ 2147483647 w 28"/>
                      <a:gd name="T45" fmla="*/ 2147483647 h 36"/>
                      <a:gd name="T46" fmla="*/ 2147483647 w 28"/>
                      <a:gd name="T47" fmla="*/ 2147483647 h 36"/>
                      <a:gd name="T48" fmla="*/ 2147483647 w 28"/>
                      <a:gd name="T49" fmla="*/ 2147483647 h 36"/>
                      <a:gd name="T50" fmla="*/ 2147483647 w 28"/>
                      <a:gd name="T51" fmla="*/ 2147483647 h 36"/>
                      <a:gd name="T52" fmla="*/ 2147483647 w 28"/>
                      <a:gd name="T53" fmla="*/ 2147483647 h 36"/>
                      <a:gd name="T54" fmla="*/ 2147483647 w 28"/>
                      <a:gd name="T55" fmla="*/ 2147483647 h 36"/>
                      <a:gd name="T56" fmla="*/ 2147483647 w 28"/>
                      <a:gd name="T57" fmla="*/ 2147483647 h 36"/>
                      <a:gd name="T58" fmla="*/ 2147483647 w 28"/>
                      <a:gd name="T59" fmla="*/ 2147483647 h 36"/>
                      <a:gd name="T60" fmla="*/ 2147483647 w 28"/>
                      <a:gd name="T61" fmla="*/ 2147483647 h 36"/>
                      <a:gd name="T62" fmla="*/ 2147483647 w 28"/>
                      <a:gd name="T63" fmla="*/ 2147483647 h 36"/>
                      <a:gd name="T64" fmla="*/ 2147483647 w 28"/>
                      <a:gd name="T65" fmla="*/ 2147483647 h 36"/>
                      <a:gd name="T66" fmla="*/ 2147483647 w 28"/>
                      <a:gd name="T67" fmla="*/ 2147483647 h 36"/>
                      <a:gd name="T68" fmla="*/ 2147483647 w 28"/>
                      <a:gd name="T69" fmla="*/ 2147483647 h 36"/>
                      <a:gd name="T70" fmla="*/ 2147483647 w 28"/>
                      <a:gd name="T71" fmla="*/ 2147483647 h 36"/>
                      <a:gd name="T72" fmla="*/ 2147483647 w 28"/>
                      <a:gd name="T73" fmla="*/ 2147483647 h 36"/>
                      <a:gd name="T74" fmla="*/ 2147483647 w 28"/>
                      <a:gd name="T75" fmla="*/ 2147483647 h 36"/>
                      <a:gd name="T76" fmla="*/ 2147483647 w 28"/>
                      <a:gd name="T77" fmla="*/ 2147483647 h 36"/>
                      <a:gd name="T78" fmla="*/ 2147483647 w 28"/>
                      <a:gd name="T79" fmla="*/ 2147483647 h 36"/>
                      <a:gd name="T80" fmla="*/ 2147483647 w 28"/>
                      <a:gd name="T81" fmla="*/ 2147483647 h 36"/>
                      <a:gd name="T82" fmla="*/ 2147483647 w 28"/>
                      <a:gd name="T83" fmla="*/ 2147483647 h 36"/>
                      <a:gd name="T84" fmla="*/ 2147483647 w 28"/>
                      <a:gd name="T85" fmla="*/ 2147483647 h 36"/>
                      <a:gd name="T86" fmla="*/ 2147483647 w 28"/>
                      <a:gd name="T87" fmla="*/ 2147483647 h 36"/>
                      <a:gd name="T88" fmla="*/ 2147483647 w 28"/>
                      <a:gd name="T89" fmla="*/ 2147483647 h 36"/>
                      <a:gd name="T90" fmla="*/ 2147483647 w 28"/>
                      <a:gd name="T91" fmla="*/ 2147483647 h 36"/>
                      <a:gd name="T92" fmla="*/ 2147483647 w 28"/>
                      <a:gd name="T93" fmla="*/ 2147483647 h 36"/>
                      <a:gd name="T94" fmla="*/ 2147483647 w 28"/>
                      <a:gd name="T95" fmla="*/ 2147483647 h 36"/>
                      <a:gd name="T96" fmla="*/ 2147483647 w 28"/>
                      <a:gd name="T97" fmla="*/ 2147483647 h 36"/>
                      <a:gd name="T98" fmla="*/ 2147483647 w 28"/>
                      <a:gd name="T99" fmla="*/ 2147483647 h 36"/>
                      <a:gd name="T100" fmla="*/ 2147483647 w 28"/>
                      <a:gd name="T101" fmla="*/ 2147483647 h 36"/>
                      <a:gd name="T102" fmla="*/ 2147483647 w 28"/>
                      <a:gd name="T103" fmla="*/ 2147483647 h 36"/>
                      <a:gd name="T104" fmla="*/ 2147483647 w 28"/>
                      <a:gd name="T105" fmla="*/ 2147483647 h 36"/>
                      <a:gd name="T106" fmla="*/ 2147483647 w 28"/>
                      <a:gd name="T107" fmla="*/ 2147483647 h 36"/>
                      <a:gd name="T108" fmla="*/ 2147483647 w 28"/>
                      <a:gd name="T109" fmla="*/ 0 h 36"/>
                      <a:gd name="T110" fmla="*/ 2147483647 w 28"/>
                      <a:gd name="T111" fmla="*/ 0 h 36"/>
                      <a:gd name="T112" fmla="*/ 2147483647 w 28"/>
                      <a:gd name="T113" fmla="*/ 0 h 36"/>
                      <a:gd name="T114" fmla="*/ 2147483647 w 28"/>
                      <a:gd name="T115" fmla="*/ 0 h 36"/>
                      <a:gd name="T116" fmla="*/ 2147483647 w 28"/>
                      <a:gd name="T117" fmla="*/ 0 h 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 h="36">
                        <a:moveTo>
                          <a:pt x="17" y="0"/>
                        </a:moveTo>
                        <a:lnTo>
                          <a:pt x="16" y="5"/>
                        </a:lnTo>
                        <a:lnTo>
                          <a:pt x="16" y="8"/>
                        </a:lnTo>
                        <a:lnTo>
                          <a:pt x="15" y="12"/>
                        </a:lnTo>
                        <a:lnTo>
                          <a:pt x="15" y="16"/>
                        </a:lnTo>
                        <a:lnTo>
                          <a:pt x="9" y="16"/>
                        </a:lnTo>
                        <a:lnTo>
                          <a:pt x="6" y="17"/>
                        </a:lnTo>
                        <a:lnTo>
                          <a:pt x="3" y="19"/>
                        </a:lnTo>
                        <a:lnTo>
                          <a:pt x="0" y="22"/>
                        </a:lnTo>
                        <a:lnTo>
                          <a:pt x="0" y="29"/>
                        </a:lnTo>
                        <a:lnTo>
                          <a:pt x="4" y="27"/>
                        </a:lnTo>
                        <a:lnTo>
                          <a:pt x="7" y="26"/>
                        </a:lnTo>
                        <a:lnTo>
                          <a:pt x="10" y="25"/>
                        </a:lnTo>
                        <a:lnTo>
                          <a:pt x="15" y="25"/>
                        </a:lnTo>
                        <a:lnTo>
                          <a:pt x="15" y="26"/>
                        </a:lnTo>
                        <a:lnTo>
                          <a:pt x="15" y="27"/>
                        </a:lnTo>
                        <a:lnTo>
                          <a:pt x="15" y="28"/>
                        </a:lnTo>
                        <a:lnTo>
                          <a:pt x="15" y="29"/>
                        </a:lnTo>
                        <a:lnTo>
                          <a:pt x="13" y="29"/>
                        </a:lnTo>
                        <a:lnTo>
                          <a:pt x="12" y="30"/>
                        </a:lnTo>
                        <a:lnTo>
                          <a:pt x="10" y="32"/>
                        </a:lnTo>
                        <a:lnTo>
                          <a:pt x="10" y="33"/>
                        </a:lnTo>
                        <a:lnTo>
                          <a:pt x="9" y="34"/>
                        </a:lnTo>
                        <a:lnTo>
                          <a:pt x="7" y="35"/>
                        </a:lnTo>
                        <a:lnTo>
                          <a:pt x="11" y="36"/>
                        </a:lnTo>
                        <a:lnTo>
                          <a:pt x="15" y="36"/>
                        </a:lnTo>
                        <a:lnTo>
                          <a:pt x="18" y="35"/>
                        </a:lnTo>
                        <a:lnTo>
                          <a:pt x="20" y="32"/>
                        </a:lnTo>
                        <a:lnTo>
                          <a:pt x="25" y="25"/>
                        </a:lnTo>
                        <a:lnTo>
                          <a:pt x="26" y="25"/>
                        </a:lnTo>
                        <a:lnTo>
                          <a:pt x="28" y="25"/>
                        </a:lnTo>
                        <a:lnTo>
                          <a:pt x="28" y="23"/>
                        </a:lnTo>
                        <a:lnTo>
                          <a:pt x="28" y="22"/>
                        </a:lnTo>
                        <a:lnTo>
                          <a:pt x="28" y="21"/>
                        </a:lnTo>
                        <a:lnTo>
                          <a:pt x="28" y="20"/>
                        </a:lnTo>
                        <a:lnTo>
                          <a:pt x="28" y="16"/>
                        </a:lnTo>
                        <a:lnTo>
                          <a:pt x="28" y="14"/>
                        </a:lnTo>
                        <a:lnTo>
                          <a:pt x="28" y="13"/>
                        </a:lnTo>
                        <a:lnTo>
                          <a:pt x="28" y="12"/>
                        </a:lnTo>
                        <a:lnTo>
                          <a:pt x="28" y="10"/>
                        </a:lnTo>
                        <a:lnTo>
                          <a:pt x="28" y="9"/>
                        </a:lnTo>
                        <a:lnTo>
                          <a:pt x="28" y="7"/>
                        </a:lnTo>
                        <a:lnTo>
                          <a:pt x="28" y="4"/>
                        </a:lnTo>
                        <a:lnTo>
                          <a:pt x="26" y="4"/>
                        </a:lnTo>
                        <a:lnTo>
                          <a:pt x="25" y="4"/>
                        </a:lnTo>
                        <a:lnTo>
                          <a:pt x="25" y="3"/>
                        </a:lnTo>
                        <a:lnTo>
                          <a:pt x="24" y="2"/>
                        </a:lnTo>
                        <a:lnTo>
                          <a:pt x="22" y="1"/>
                        </a:lnTo>
                        <a:lnTo>
                          <a:pt x="20" y="0"/>
                        </a:lnTo>
                        <a:lnTo>
                          <a:pt x="19" y="0"/>
                        </a:lnTo>
                        <a:lnTo>
                          <a:pt x="1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3" name="Freeform 1600">
                    <a:extLst>
                      <a:ext uri="{FF2B5EF4-FFF2-40B4-BE49-F238E27FC236}">
                        <a16:creationId xmlns:a16="http://schemas.microsoft.com/office/drawing/2014/main" xmlns="" id="{C8AB76C5-F8FE-4ABF-A8CA-A62AD72AF109}"/>
                      </a:ext>
                    </a:extLst>
                  </p:cNvPr>
                  <p:cNvSpPr>
                    <a:spLocks/>
                  </p:cNvSpPr>
                  <p:nvPr/>
                </p:nvSpPr>
                <p:spPr bwMode="gray">
                  <a:xfrm>
                    <a:off x="4720132" y="1843593"/>
                    <a:ext cx="21137" cy="24473"/>
                  </a:xfrm>
                  <a:custGeom>
                    <a:avLst/>
                    <a:gdLst>
                      <a:gd name="T0" fmla="*/ 2147483647 w 19"/>
                      <a:gd name="T1" fmla="*/ 0 h 22"/>
                      <a:gd name="T2" fmla="*/ 2147483647 w 19"/>
                      <a:gd name="T3" fmla="*/ 0 h 22"/>
                      <a:gd name="T4" fmla="*/ 2147483647 w 19"/>
                      <a:gd name="T5" fmla="*/ 2147483647 h 22"/>
                      <a:gd name="T6" fmla="*/ 2147483647 w 19"/>
                      <a:gd name="T7" fmla="*/ 2147483647 h 22"/>
                      <a:gd name="T8" fmla="*/ 2147483647 w 19"/>
                      <a:gd name="T9" fmla="*/ 2147483647 h 22"/>
                      <a:gd name="T10" fmla="*/ 2147483647 w 19"/>
                      <a:gd name="T11" fmla="*/ 2147483647 h 22"/>
                      <a:gd name="T12" fmla="*/ 2147483647 w 19"/>
                      <a:gd name="T13" fmla="*/ 2147483647 h 22"/>
                      <a:gd name="T14" fmla="*/ 2147483647 w 19"/>
                      <a:gd name="T15" fmla="*/ 2147483647 h 22"/>
                      <a:gd name="T16" fmla="*/ 0 w 19"/>
                      <a:gd name="T17" fmla="*/ 2147483647 h 22"/>
                      <a:gd name="T18" fmla="*/ 0 w 19"/>
                      <a:gd name="T19" fmla="*/ 2147483647 h 22"/>
                      <a:gd name="T20" fmla="*/ 0 w 19"/>
                      <a:gd name="T21" fmla="*/ 2147483647 h 22"/>
                      <a:gd name="T22" fmla="*/ 0 w 19"/>
                      <a:gd name="T23" fmla="*/ 2147483647 h 22"/>
                      <a:gd name="T24" fmla="*/ 2147483647 w 19"/>
                      <a:gd name="T25" fmla="*/ 2147483647 h 22"/>
                      <a:gd name="T26" fmla="*/ 2147483647 w 19"/>
                      <a:gd name="T27" fmla="*/ 2147483647 h 22"/>
                      <a:gd name="T28" fmla="*/ 2147483647 w 19"/>
                      <a:gd name="T29" fmla="*/ 2147483647 h 22"/>
                      <a:gd name="T30" fmla="*/ 2147483647 w 19"/>
                      <a:gd name="T31" fmla="*/ 2147483647 h 22"/>
                      <a:gd name="T32" fmla="*/ 2147483647 w 19"/>
                      <a:gd name="T33" fmla="*/ 2147483647 h 22"/>
                      <a:gd name="T34" fmla="*/ 2147483647 w 19"/>
                      <a:gd name="T35" fmla="*/ 2147483647 h 22"/>
                      <a:gd name="T36" fmla="*/ 2147483647 w 19"/>
                      <a:gd name="T37" fmla="*/ 2147483647 h 22"/>
                      <a:gd name="T38" fmla="*/ 2147483647 w 19"/>
                      <a:gd name="T39" fmla="*/ 2147483647 h 22"/>
                      <a:gd name="T40" fmla="*/ 2147483647 w 19"/>
                      <a:gd name="T41" fmla="*/ 2147483647 h 22"/>
                      <a:gd name="T42" fmla="*/ 2147483647 w 19"/>
                      <a:gd name="T43" fmla="*/ 2147483647 h 22"/>
                      <a:gd name="T44" fmla="*/ 2147483647 w 19"/>
                      <a:gd name="T45" fmla="*/ 0 h 22"/>
                      <a:gd name="T46" fmla="*/ 2147483647 w 19"/>
                      <a:gd name="T47" fmla="*/ 0 h 22"/>
                      <a:gd name="T48" fmla="*/ 2147483647 w 19"/>
                      <a:gd name="T49" fmla="*/ 0 h 22"/>
                      <a:gd name="T50" fmla="*/ 2147483647 w 19"/>
                      <a:gd name="T51" fmla="*/ 0 h 2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 h="22">
                        <a:moveTo>
                          <a:pt x="13" y="0"/>
                        </a:moveTo>
                        <a:lnTo>
                          <a:pt x="11" y="0"/>
                        </a:lnTo>
                        <a:lnTo>
                          <a:pt x="10" y="2"/>
                        </a:lnTo>
                        <a:lnTo>
                          <a:pt x="9" y="4"/>
                        </a:lnTo>
                        <a:lnTo>
                          <a:pt x="7" y="6"/>
                        </a:lnTo>
                        <a:lnTo>
                          <a:pt x="5" y="8"/>
                        </a:lnTo>
                        <a:lnTo>
                          <a:pt x="3" y="10"/>
                        </a:lnTo>
                        <a:lnTo>
                          <a:pt x="1" y="10"/>
                        </a:lnTo>
                        <a:lnTo>
                          <a:pt x="0" y="12"/>
                        </a:lnTo>
                        <a:lnTo>
                          <a:pt x="0" y="17"/>
                        </a:lnTo>
                        <a:lnTo>
                          <a:pt x="0" y="18"/>
                        </a:lnTo>
                        <a:lnTo>
                          <a:pt x="0" y="19"/>
                        </a:lnTo>
                        <a:lnTo>
                          <a:pt x="1" y="21"/>
                        </a:lnTo>
                        <a:lnTo>
                          <a:pt x="2" y="22"/>
                        </a:lnTo>
                        <a:lnTo>
                          <a:pt x="3" y="22"/>
                        </a:lnTo>
                        <a:lnTo>
                          <a:pt x="4" y="22"/>
                        </a:lnTo>
                        <a:lnTo>
                          <a:pt x="4" y="20"/>
                        </a:lnTo>
                        <a:lnTo>
                          <a:pt x="4" y="19"/>
                        </a:lnTo>
                        <a:lnTo>
                          <a:pt x="9" y="15"/>
                        </a:lnTo>
                        <a:lnTo>
                          <a:pt x="12" y="10"/>
                        </a:lnTo>
                        <a:lnTo>
                          <a:pt x="16" y="5"/>
                        </a:lnTo>
                        <a:lnTo>
                          <a:pt x="19" y="0"/>
                        </a:lnTo>
                        <a:lnTo>
                          <a:pt x="18" y="0"/>
                        </a:lnTo>
                        <a:lnTo>
                          <a:pt x="17" y="0"/>
                        </a:lnTo>
                        <a:lnTo>
                          <a:pt x="1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4" name="Freeform 1602">
                    <a:extLst>
                      <a:ext uri="{FF2B5EF4-FFF2-40B4-BE49-F238E27FC236}">
                        <a16:creationId xmlns:a16="http://schemas.microsoft.com/office/drawing/2014/main" xmlns="" id="{932691F9-5D25-409A-AF75-E1419E508B3D}"/>
                      </a:ext>
                    </a:extLst>
                  </p:cNvPr>
                  <p:cNvSpPr>
                    <a:spLocks/>
                  </p:cNvSpPr>
                  <p:nvPr/>
                </p:nvSpPr>
                <p:spPr bwMode="gray">
                  <a:xfrm>
                    <a:off x="4142760" y="3904885"/>
                    <a:ext cx="10013" cy="12237"/>
                  </a:xfrm>
                  <a:custGeom>
                    <a:avLst/>
                    <a:gdLst>
                      <a:gd name="T0" fmla="*/ 2147483647 w 9"/>
                      <a:gd name="T1" fmla="*/ 2147483647 h 11"/>
                      <a:gd name="T2" fmla="*/ 2147483647 w 9"/>
                      <a:gd name="T3" fmla="*/ 2147483647 h 11"/>
                      <a:gd name="T4" fmla="*/ 2147483647 w 9"/>
                      <a:gd name="T5" fmla="*/ 2147483647 h 11"/>
                      <a:gd name="T6" fmla="*/ 2147483647 w 9"/>
                      <a:gd name="T7" fmla="*/ 2147483647 h 11"/>
                      <a:gd name="T8" fmla="*/ 2147483647 w 9"/>
                      <a:gd name="T9" fmla="*/ 2147483647 h 11"/>
                      <a:gd name="T10" fmla="*/ 2147483647 w 9"/>
                      <a:gd name="T11" fmla="*/ 2147483647 h 11"/>
                      <a:gd name="T12" fmla="*/ 2147483647 w 9"/>
                      <a:gd name="T13" fmla="*/ 0 h 11"/>
                      <a:gd name="T14" fmla="*/ 0 w 9"/>
                      <a:gd name="T15" fmla="*/ 2147483647 h 11"/>
                      <a:gd name="T16" fmla="*/ 2147483647 w 9"/>
                      <a:gd name="T17" fmla="*/ 2147483647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 h="11">
                        <a:moveTo>
                          <a:pt x="2" y="11"/>
                        </a:moveTo>
                        <a:lnTo>
                          <a:pt x="2" y="7"/>
                        </a:lnTo>
                        <a:lnTo>
                          <a:pt x="4" y="7"/>
                        </a:lnTo>
                        <a:lnTo>
                          <a:pt x="5" y="7"/>
                        </a:lnTo>
                        <a:lnTo>
                          <a:pt x="7" y="7"/>
                        </a:lnTo>
                        <a:lnTo>
                          <a:pt x="9" y="7"/>
                        </a:lnTo>
                        <a:lnTo>
                          <a:pt x="5" y="0"/>
                        </a:lnTo>
                        <a:lnTo>
                          <a:pt x="0" y="3"/>
                        </a:lnTo>
                        <a:lnTo>
                          <a:pt x="2" y="1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5" name="Freeform 1604">
                    <a:extLst>
                      <a:ext uri="{FF2B5EF4-FFF2-40B4-BE49-F238E27FC236}">
                        <a16:creationId xmlns:a16="http://schemas.microsoft.com/office/drawing/2014/main" xmlns="" id="{CFF77926-A839-4B56-B578-9E7CE392D394}"/>
                      </a:ext>
                    </a:extLst>
                  </p:cNvPr>
                  <p:cNvSpPr>
                    <a:spLocks/>
                  </p:cNvSpPr>
                  <p:nvPr/>
                </p:nvSpPr>
                <p:spPr bwMode="gray">
                  <a:xfrm>
                    <a:off x="5271914" y="3543352"/>
                    <a:ext cx="201357" cy="240280"/>
                  </a:xfrm>
                  <a:custGeom>
                    <a:avLst/>
                    <a:gdLst>
                      <a:gd name="T0" fmla="*/ 2147483647 w 181"/>
                      <a:gd name="T1" fmla="*/ 2147483647 h 216"/>
                      <a:gd name="T2" fmla="*/ 2147483647 w 181"/>
                      <a:gd name="T3" fmla="*/ 2147483647 h 216"/>
                      <a:gd name="T4" fmla="*/ 2147483647 w 181"/>
                      <a:gd name="T5" fmla="*/ 2147483647 h 216"/>
                      <a:gd name="T6" fmla="*/ 2147483647 w 181"/>
                      <a:gd name="T7" fmla="*/ 2147483647 h 216"/>
                      <a:gd name="T8" fmla="*/ 2147483647 w 181"/>
                      <a:gd name="T9" fmla="*/ 2147483647 h 216"/>
                      <a:gd name="T10" fmla="*/ 2147483647 w 181"/>
                      <a:gd name="T11" fmla="*/ 2147483647 h 216"/>
                      <a:gd name="T12" fmla="*/ 2147483647 w 181"/>
                      <a:gd name="T13" fmla="*/ 2147483647 h 216"/>
                      <a:gd name="T14" fmla="*/ 2147483647 w 181"/>
                      <a:gd name="T15" fmla="*/ 2147483647 h 216"/>
                      <a:gd name="T16" fmla="*/ 2147483647 w 181"/>
                      <a:gd name="T17" fmla="*/ 2147483647 h 216"/>
                      <a:gd name="T18" fmla="*/ 2147483647 w 181"/>
                      <a:gd name="T19" fmla="*/ 2147483647 h 216"/>
                      <a:gd name="T20" fmla="*/ 2147483647 w 181"/>
                      <a:gd name="T21" fmla="*/ 2147483647 h 216"/>
                      <a:gd name="T22" fmla="*/ 2147483647 w 181"/>
                      <a:gd name="T23" fmla="*/ 2147483647 h 216"/>
                      <a:gd name="T24" fmla="*/ 2147483647 w 181"/>
                      <a:gd name="T25" fmla="*/ 2147483647 h 216"/>
                      <a:gd name="T26" fmla="*/ 2147483647 w 181"/>
                      <a:gd name="T27" fmla="*/ 2147483647 h 216"/>
                      <a:gd name="T28" fmla="*/ 2147483647 w 181"/>
                      <a:gd name="T29" fmla="*/ 2147483647 h 216"/>
                      <a:gd name="T30" fmla="*/ 0 w 181"/>
                      <a:gd name="T31" fmla="*/ 2147483647 h 216"/>
                      <a:gd name="T32" fmla="*/ 2147483647 w 181"/>
                      <a:gd name="T33" fmla="*/ 2147483647 h 216"/>
                      <a:gd name="T34" fmla="*/ 2147483647 w 181"/>
                      <a:gd name="T35" fmla="*/ 2147483647 h 216"/>
                      <a:gd name="T36" fmla="*/ 2147483647 w 181"/>
                      <a:gd name="T37" fmla="*/ 0 h 216"/>
                      <a:gd name="T38" fmla="*/ 2147483647 w 181"/>
                      <a:gd name="T39" fmla="*/ 2147483647 h 216"/>
                      <a:gd name="T40" fmla="*/ 2147483647 w 181"/>
                      <a:gd name="T41" fmla="*/ 2147483647 h 216"/>
                      <a:gd name="T42" fmla="*/ 2147483647 w 181"/>
                      <a:gd name="T43" fmla="*/ 2147483647 h 216"/>
                      <a:gd name="T44" fmla="*/ 2147483647 w 181"/>
                      <a:gd name="T45" fmla="*/ 2147483647 h 216"/>
                      <a:gd name="T46" fmla="*/ 2147483647 w 181"/>
                      <a:gd name="T47" fmla="*/ 2147483647 h 216"/>
                      <a:gd name="T48" fmla="*/ 2147483647 w 181"/>
                      <a:gd name="T49" fmla="*/ 2147483647 h 216"/>
                      <a:gd name="T50" fmla="*/ 2147483647 w 181"/>
                      <a:gd name="T51" fmla="*/ 2147483647 h 216"/>
                      <a:gd name="T52" fmla="*/ 2147483647 w 181"/>
                      <a:gd name="T53" fmla="*/ 2147483647 h 216"/>
                      <a:gd name="T54" fmla="*/ 2147483647 w 181"/>
                      <a:gd name="T55" fmla="*/ 2147483647 h 216"/>
                      <a:gd name="T56" fmla="*/ 2147483647 w 181"/>
                      <a:gd name="T57" fmla="*/ 2147483647 h 216"/>
                      <a:gd name="T58" fmla="*/ 2147483647 w 181"/>
                      <a:gd name="T59" fmla="*/ 2147483647 h 216"/>
                      <a:gd name="T60" fmla="*/ 2147483647 w 181"/>
                      <a:gd name="T61" fmla="*/ 2147483647 h 216"/>
                      <a:gd name="T62" fmla="*/ 2147483647 w 181"/>
                      <a:gd name="T63" fmla="*/ 2147483647 h 216"/>
                      <a:gd name="T64" fmla="*/ 2147483647 w 181"/>
                      <a:gd name="T65" fmla="*/ 2147483647 h 216"/>
                      <a:gd name="T66" fmla="*/ 2147483647 w 181"/>
                      <a:gd name="T67" fmla="*/ 2147483647 h 216"/>
                      <a:gd name="T68" fmla="*/ 2147483647 w 181"/>
                      <a:gd name="T69" fmla="*/ 2147483647 h 216"/>
                      <a:gd name="T70" fmla="*/ 2147483647 w 181"/>
                      <a:gd name="T71" fmla="*/ 2147483647 h 216"/>
                      <a:gd name="T72" fmla="*/ 2147483647 w 181"/>
                      <a:gd name="T73" fmla="*/ 2147483647 h 216"/>
                      <a:gd name="T74" fmla="*/ 2147483647 w 181"/>
                      <a:gd name="T75" fmla="*/ 2147483647 h 216"/>
                      <a:gd name="T76" fmla="*/ 2147483647 w 181"/>
                      <a:gd name="T77" fmla="*/ 2147483647 h 216"/>
                      <a:gd name="T78" fmla="*/ 2147483647 w 181"/>
                      <a:gd name="T79" fmla="*/ 2147483647 h 216"/>
                      <a:gd name="T80" fmla="*/ 2147483647 w 181"/>
                      <a:gd name="T81" fmla="*/ 2147483647 h 216"/>
                      <a:gd name="T82" fmla="*/ 2147483647 w 181"/>
                      <a:gd name="T83" fmla="*/ 2147483647 h 216"/>
                      <a:gd name="T84" fmla="*/ 2147483647 w 181"/>
                      <a:gd name="T85" fmla="*/ 2147483647 h 216"/>
                      <a:gd name="T86" fmla="*/ 2147483647 w 181"/>
                      <a:gd name="T87" fmla="*/ 2147483647 h 216"/>
                      <a:gd name="T88" fmla="*/ 2147483647 w 181"/>
                      <a:gd name="T89" fmla="*/ 2147483647 h 216"/>
                      <a:gd name="T90" fmla="*/ 2147483647 w 181"/>
                      <a:gd name="T91" fmla="*/ 2147483647 h 216"/>
                      <a:gd name="T92" fmla="*/ 2147483647 w 181"/>
                      <a:gd name="T93" fmla="*/ 2147483647 h 216"/>
                      <a:gd name="T94" fmla="*/ 2147483647 w 181"/>
                      <a:gd name="T95" fmla="*/ 2147483647 h 216"/>
                      <a:gd name="T96" fmla="*/ 2147483647 w 181"/>
                      <a:gd name="T97" fmla="*/ 2147483647 h 216"/>
                      <a:gd name="T98" fmla="*/ 2147483647 w 181"/>
                      <a:gd name="T99" fmla="*/ 2147483647 h 216"/>
                      <a:gd name="T100" fmla="*/ 2147483647 w 181"/>
                      <a:gd name="T101" fmla="*/ 2147483647 h 216"/>
                      <a:gd name="T102" fmla="*/ 2147483647 w 181"/>
                      <a:gd name="T103" fmla="*/ 2147483647 h 216"/>
                      <a:gd name="T104" fmla="*/ 2147483647 w 181"/>
                      <a:gd name="T105" fmla="*/ 2147483647 h 216"/>
                      <a:gd name="T106" fmla="*/ 2147483647 w 181"/>
                      <a:gd name="T107" fmla="*/ 2147483647 h 21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1" h="216">
                        <a:moveTo>
                          <a:pt x="89" y="216"/>
                        </a:moveTo>
                        <a:lnTo>
                          <a:pt x="89" y="213"/>
                        </a:lnTo>
                        <a:lnTo>
                          <a:pt x="89" y="209"/>
                        </a:lnTo>
                        <a:lnTo>
                          <a:pt x="88" y="205"/>
                        </a:lnTo>
                        <a:lnTo>
                          <a:pt x="87" y="203"/>
                        </a:lnTo>
                        <a:lnTo>
                          <a:pt x="88" y="202"/>
                        </a:lnTo>
                        <a:lnTo>
                          <a:pt x="89" y="203"/>
                        </a:lnTo>
                        <a:lnTo>
                          <a:pt x="89" y="202"/>
                        </a:lnTo>
                        <a:lnTo>
                          <a:pt x="89" y="200"/>
                        </a:lnTo>
                        <a:lnTo>
                          <a:pt x="89" y="197"/>
                        </a:lnTo>
                        <a:lnTo>
                          <a:pt x="89" y="193"/>
                        </a:lnTo>
                        <a:lnTo>
                          <a:pt x="89" y="190"/>
                        </a:lnTo>
                        <a:lnTo>
                          <a:pt x="89" y="187"/>
                        </a:lnTo>
                        <a:lnTo>
                          <a:pt x="89" y="184"/>
                        </a:lnTo>
                        <a:lnTo>
                          <a:pt x="89" y="179"/>
                        </a:lnTo>
                        <a:lnTo>
                          <a:pt x="89" y="174"/>
                        </a:lnTo>
                        <a:lnTo>
                          <a:pt x="89" y="171"/>
                        </a:lnTo>
                        <a:lnTo>
                          <a:pt x="89" y="168"/>
                        </a:lnTo>
                        <a:lnTo>
                          <a:pt x="89" y="166"/>
                        </a:lnTo>
                        <a:lnTo>
                          <a:pt x="89" y="163"/>
                        </a:lnTo>
                        <a:lnTo>
                          <a:pt x="89" y="158"/>
                        </a:lnTo>
                        <a:lnTo>
                          <a:pt x="89" y="155"/>
                        </a:lnTo>
                        <a:lnTo>
                          <a:pt x="89" y="152"/>
                        </a:lnTo>
                        <a:lnTo>
                          <a:pt x="89" y="149"/>
                        </a:lnTo>
                        <a:lnTo>
                          <a:pt x="89" y="148"/>
                        </a:lnTo>
                        <a:lnTo>
                          <a:pt x="89" y="145"/>
                        </a:lnTo>
                        <a:lnTo>
                          <a:pt x="89" y="143"/>
                        </a:lnTo>
                        <a:lnTo>
                          <a:pt x="88" y="141"/>
                        </a:lnTo>
                        <a:lnTo>
                          <a:pt x="87" y="139"/>
                        </a:lnTo>
                        <a:lnTo>
                          <a:pt x="87" y="136"/>
                        </a:lnTo>
                        <a:lnTo>
                          <a:pt x="86" y="134"/>
                        </a:lnTo>
                        <a:lnTo>
                          <a:pt x="85" y="133"/>
                        </a:lnTo>
                        <a:lnTo>
                          <a:pt x="83" y="132"/>
                        </a:lnTo>
                        <a:lnTo>
                          <a:pt x="81" y="130"/>
                        </a:lnTo>
                        <a:lnTo>
                          <a:pt x="81" y="129"/>
                        </a:lnTo>
                        <a:lnTo>
                          <a:pt x="80" y="126"/>
                        </a:lnTo>
                        <a:lnTo>
                          <a:pt x="80" y="122"/>
                        </a:lnTo>
                        <a:lnTo>
                          <a:pt x="80" y="120"/>
                        </a:lnTo>
                        <a:lnTo>
                          <a:pt x="80" y="118"/>
                        </a:lnTo>
                        <a:lnTo>
                          <a:pt x="80" y="117"/>
                        </a:lnTo>
                        <a:lnTo>
                          <a:pt x="80" y="113"/>
                        </a:lnTo>
                        <a:lnTo>
                          <a:pt x="80" y="110"/>
                        </a:lnTo>
                        <a:lnTo>
                          <a:pt x="78" y="106"/>
                        </a:lnTo>
                        <a:lnTo>
                          <a:pt x="75" y="103"/>
                        </a:lnTo>
                        <a:lnTo>
                          <a:pt x="70" y="100"/>
                        </a:lnTo>
                        <a:lnTo>
                          <a:pt x="66" y="97"/>
                        </a:lnTo>
                        <a:lnTo>
                          <a:pt x="63" y="95"/>
                        </a:lnTo>
                        <a:lnTo>
                          <a:pt x="59" y="94"/>
                        </a:lnTo>
                        <a:lnTo>
                          <a:pt x="55" y="94"/>
                        </a:lnTo>
                        <a:lnTo>
                          <a:pt x="51" y="92"/>
                        </a:lnTo>
                        <a:lnTo>
                          <a:pt x="48" y="90"/>
                        </a:lnTo>
                        <a:lnTo>
                          <a:pt x="45" y="88"/>
                        </a:lnTo>
                        <a:lnTo>
                          <a:pt x="41" y="84"/>
                        </a:lnTo>
                        <a:lnTo>
                          <a:pt x="40" y="81"/>
                        </a:lnTo>
                        <a:lnTo>
                          <a:pt x="39" y="77"/>
                        </a:lnTo>
                        <a:lnTo>
                          <a:pt x="37" y="72"/>
                        </a:lnTo>
                        <a:lnTo>
                          <a:pt x="35" y="68"/>
                        </a:lnTo>
                        <a:lnTo>
                          <a:pt x="33" y="65"/>
                        </a:lnTo>
                        <a:lnTo>
                          <a:pt x="29" y="63"/>
                        </a:lnTo>
                        <a:lnTo>
                          <a:pt x="27" y="60"/>
                        </a:lnTo>
                        <a:lnTo>
                          <a:pt x="26" y="58"/>
                        </a:lnTo>
                        <a:lnTo>
                          <a:pt x="25" y="55"/>
                        </a:lnTo>
                        <a:lnTo>
                          <a:pt x="25" y="52"/>
                        </a:lnTo>
                        <a:lnTo>
                          <a:pt x="24" y="49"/>
                        </a:lnTo>
                        <a:lnTo>
                          <a:pt x="22" y="46"/>
                        </a:lnTo>
                        <a:lnTo>
                          <a:pt x="20" y="44"/>
                        </a:lnTo>
                        <a:lnTo>
                          <a:pt x="19" y="42"/>
                        </a:lnTo>
                        <a:lnTo>
                          <a:pt x="19" y="39"/>
                        </a:lnTo>
                        <a:lnTo>
                          <a:pt x="18" y="36"/>
                        </a:lnTo>
                        <a:lnTo>
                          <a:pt x="17" y="33"/>
                        </a:lnTo>
                        <a:lnTo>
                          <a:pt x="13" y="31"/>
                        </a:lnTo>
                        <a:lnTo>
                          <a:pt x="10" y="28"/>
                        </a:lnTo>
                        <a:lnTo>
                          <a:pt x="9" y="25"/>
                        </a:lnTo>
                        <a:lnTo>
                          <a:pt x="10" y="22"/>
                        </a:lnTo>
                        <a:lnTo>
                          <a:pt x="8" y="17"/>
                        </a:lnTo>
                        <a:lnTo>
                          <a:pt x="5" y="14"/>
                        </a:lnTo>
                        <a:lnTo>
                          <a:pt x="1" y="13"/>
                        </a:lnTo>
                        <a:lnTo>
                          <a:pt x="0" y="13"/>
                        </a:lnTo>
                        <a:lnTo>
                          <a:pt x="0" y="11"/>
                        </a:lnTo>
                        <a:lnTo>
                          <a:pt x="1" y="10"/>
                        </a:lnTo>
                        <a:lnTo>
                          <a:pt x="1" y="8"/>
                        </a:lnTo>
                        <a:lnTo>
                          <a:pt x="0" y="6"/>
                        </a:lnTo>
                        <a:lnTo>
                          <a:pt x="10" y="6"/>
                        </a:lnTo>
                        <a:lnTo>
                          <a:pt x="14" y="6"/>
                        </a:lnTo>
                        <a:lnTo>
                          <a:pt x="16" y="6"/>
                        </a:lnTo>
                        <a:lnTo>
                          <a:pt x="18" y="5"/>
                        </a:lnTo>
                        <a:lnTo>
                          <a:pt x="22" y="3"/>
                        </a:lnTo>
                        <a:lnTo>
                          <a:pt x="32" y="3"/>
                        </a:lnTo>
                        <a:lnTo>
                          <a:pt x="34" y="2"/>
                        </a:lnTo>
                        <a:lnTo>
                          <a:pt x="35" y="1"/>
                        </a:lnTo>
                        <a:lnTo>
                          <a:pt x="37" y="0"/>
                        </a:lnTo>
                        <a:lnTo>
                          <a:pt x="39" y="0"/>
                        </a:lnTo>
                        <a:lnTo>
                          <a:pt x="41" y="0"/>
                        </a:lnTo>
                        <a:lnTo>
                          <a:pt x="44" y="0"/>
                        </a:lnTo>
                        <a:lnTo>
                          <a:pt x="47" y="0"/>
                        </a:lnTo>
                        <a:lnTo>
                          <a:pt x="48" y="0"/>
                        </a:lnTo>
                        <a:lnTo>
                          <a:pt x="49" y="2"/>
                        </a:lnTo>
                        <a:lnTo>
                          <a:pt x="50" y="3"/>
                        </a:lnTo>
                        <a:lnTo>
                          <a:pt x="55" y="3"/>
                        </a:lnTo>
                        <a:lnTo>
                          <a:pt x="57" y="5"/>
                        </a:lnTo>
                        <a:lnTo>
                          <a:pt x="60" y="6"/>
                        </a:lnTo>
                        <a:lnTo>
                          <a:pt x="62" y="8"/>
                        </a:lnTo>
                        <a:lnTo>
                          <a:pt x="65" y="10"/>
                        </a:lnTo>
                        <a:lnTo>
                          <a:pt x="67" y="9"/>
                        </a:lnTo>
                        <a:lnTo>
                          <a:pt x="70" y="8"/>
                        </a:lnTo>
                        <a:lnTo>
                          <a:pt x="73" y="8"/>
                        </a:lnTo>
                        <a:lnTo>
                          <a:pt x="74" y="10"/>
                        </a:lnTo>
                        <a:lnTo>
                          <a:pt x="75" y="13"/>
                        </a:lnTo>
                        <a:lnTo>
                          <a:pt x="79" y="15"/>
                        </a:lnTo>
                        <a:lnTo>
                          <a:pt x="84" y="16"/>
                        </a:lnTo>
                        <a:lnTo>
                          <a:pt x="87" y="20"/>
                        </a:lnTo>
                        <a:lnTo>
                          <a:pt x="88" y="19"/>
                        </a:lnTo>
                        <a:lnTo>
                          <a:pt x="89" y="18"/>
                        </a:lnTo>
                        <a:lnTo>
                          <a:pt x="90" y="17"/>
                        </a:lnTo>
                        <a:lnTo>
                          <a:pt x="93" y="16"/>
                        </a:lnTo>
                        <a:lnTo>
                          <a:pt x="96" y="19"/>
                        </a:lnTo>
                        <a:lnTo>
                          <a:pt x="99" y="21"/>
                        </a:lnTo>
                        <a:lnTo>
                          <a:pt x="102" y="22"/>
                        </a:lnTo>
                        <a:lnTo>
                          <a:pt x="103" y="22"/>
                        </a:lnTo>
                        <a:lnTo>
                          <a:pt x="104" y="25"/>
                        </a:lnTo>
                        <a:lnTo>
                          <a:pt x="105" y="27"/>
                        </a:lnTo>
                        <a:lnTo>
                          <a:pt x="105" y="30"/>
                        </a:lnTo>
                        <a:lnTo>
                          <a:pt x="106" y="32"/>
                        </a:lnTo>
                        <a:lnTo>
                          <a:pt x="115" y="32"/>
                        </a:lnTo>
                        <a:lnTo>
                          <a:pt x="118" y="33"/>
                        </a:lnTo>
                        <a:lnTo>
                          <a:pt x="120" y="32"/>
                        </a:lnTo>
                        <a:lnTo>
                          <a:pt x="121" y="31"/>
                        </a:lnTo>
                        <a:lnTo>
                          <a:pt x="122" y="32"/>
                        </a:lnTo>
                        <a:lnTo>
                          <a:pt x="125" y="34"/>
                        </a:lnTo>
                        <a:lnTo>
                          <a:pt x="126" y="35"/>
                        </a:lnTo>
                        <a:lnTo>
                          <a:pt x="127" y="37"/>
                        </a:lnTo>
                        <a:lnTo>
                          <a:pt x="126" y="39"/>
                        </a:lnTo>
                        <a:lnTo>
                          <a:pt x="125" y="44"/>
                        </a:lnTo>
                        <a:lnTo>
                          <a:pt x="125" y="46"/>
                        </a:lnTo>
                        <a:lnTo>
                          <a:pt x="125" y="48"/>
                        </a:lnTo>
                        <a:lnTo>
                          <a:pt x="125" y="52"/>
                        </a:lnTo>
                        <a:lnTo>
                          <a:pt x="125" y="56"/>
                        </a:lnTo>
                        <a:lnTo>
                          <a:pt x="125" y="61"/>
                        </a:lnTo>
                        <a:lnTo>
                          <a:pt x="125" y="65"/>
                        </a:lnTo>
                        <a:lnTo>
                          <a:pt x="127" y="67"/>
                        </a:lnTo>
                        <a:lnTo>
                          <a:pt x="128" y="68"/>
                        </a:lnTo>
                        <a:lnTo>
                          <a:pt x="132" y="68"/>
                        </a:lnTo>
                        <a:lnTo>
                          <a:pt x="134" y="69"/>
                        </a:lnTo>
                        <a:lnTo>
                          <a:pt x="135" y="70"/>
                        </a:lnTo>
                        <a:lnTo>
                          <a:pt x="135" y="71"/>
                        </a:lnTo>
                        <a:lnTo>
                          <a:pt x="136" y="71"/>
                        </a:lnTo>
                        <a:lnTo>
                          <a:pt x="137" y="71"/>
                        </a:lnTo>
                        <a:lnTo>
                          <a:pt x="141" y="71"/>
                        </a:lnTo>
                        <a:lnTo>
                          <a:pt x="148" y="68"/>
                        </a:lnTo>
                        <a:lnTo>
                          <a:pt x="148" y="69"/>
                        </a:lnTo>
                        <a:lnTo>
                          <a:pt x="149" y="70"/>
                        </a:lnTo>
                        <a:lnTo>
                          <a:pt x="151" y="70"/>
                        </a:lnTo>
                        <a:lnTo>
                          <a:pt x="151" y="71"/>
                        </a:lnTo>
                        <a:lnTo>
                          <a:pt x="151" y="72"/>
                        </a:lnTo>
                        <a:lnTo>
                          <a:pt x="149" y="73"/>
                        </a:lnTo>
                        <a:lnTo>
                          <a:pt x="148" y="74"/>
                        </a:lnTo>
                        <a:lnTo>
                          <a:pt x="146" y="76"/>
                        </a:lnTo>
                        <a:lnTo>
                          <a:pt x="145" y="78"/>
                        </a:lnTo>
                        <a:lnTo>
                          <a:pt x="145" y="80"/>
                        </a:lnTo>
                        <a:lnTo>
                          <a:pt x="144" y="81"/>
                        </a:lnTo>
                        <a:lnTo>
                          <a:pt x="147" y="83"/>
                        </a:lnTo>
                        <a:lnTo>
                          <a:pt x="149" y="84"/>
                        </a:lnTo>
                        <a:lnTo>
                          <a:pt x="151" y="85"/>
                        </a:lnTo>
                        <a:lnTo>
                          <a:pt x="151" y="87"/>
                        </a:lnTo>
                        <a:lnTo>
                          <a:pt x="151" y="88"/>
                        </a:lnTo>
                        <a:lnTo>
                          <a:pt x="149" y="89"/>
                        </a:lnTo>
                        <a:lnTo>
                          <a:pt x="148" y="92"/>
                        </a:lnTo>
                        <a:lnTo>
                          <a:pt x="148" y="94"/>
                        </a:lnTo>
                        <a:lnTo>
                          <a:pt x="152" y="94"/>
                        </a:lnTo>
                        <a:lnTo>
                          <a:pt x="154" y="94"/>
                        </a:lnTo>
                        <a:lnTo>
                          <a:pt x="154" y="96"/>
                        </a:lnTo>
                        <a:lnTo>
                          <a:pt x="156" y="99"/>
                        </a:lnTo>
                        <a:lnTo>
                          <a:pt x="156" y="101"/>
                        </a:lnTo>
                        <a:lnTo>
                          <a:pt x="156" y="104"/>
                        </a:lnTo>
                        <a:lnTo>
                          <a:pt x="158" y="106"/>
                        </a:lnTo>
                        <a:lnTo>
                          <a:pt x="158" y="108"/>
                        </a:lnTo>
                        <a:lnTo>
                          <a:pt x="160" y="110"/>
                        </a:lnTo>
                        <a:lnTo>
                          <a:pt x="161" y="111"/>
                        </a:lnTo>
                        <a:lnTo>
                          <a:pt x="164" y="113"/>
                        </a:lnTo>
                        <a:lnTo>
                          <a:pt x="164" y="122"/>
                        </a:lnTo>
                        <a:lnTo>
                          <a:pt x="166" y="124"/>
                        </a:lnTo>
                        <a:lnTo>
                          <a:pt x="168" y="126"/>
                        </a:lnTo>
                        <a:lnTo>
                          <a:pt x="170" y="127"/>
                        </a:lnTo>
                        <a:lnTo>
                          <a:pt x="170" y="129"/>
                        </a:lnTo>
                        <a:lnTo>
                          <a:pt x="175" y="132"/>
                        </a:lnTo>
                        <a:lnTo>
                          <a:pt x="179" y="134"/>
                        </a:lnTo>
                        <a:lnTo>
                          <a:pt x="181" y="137"/>
                        </a:lnTo>
                        <a:lnTo>
                          <a:pt x="180" y="139"/>
                        </a:lnTo>
                        <a:lnTo>
                          <a:pt x="178" y="141"/>
                        </a:lnTo>
                        <a:lnTo>
                          <a:pt x="175" y="140"/>
                        </a:lnTo>
                        <a:lnTo>
                          <a:pt x="173" y="140"/>
                        </a:lnTo>
                        <a:lnTo>
                          <a:pt x="170" y="139"/>
                        </a:lnTo>
                        <a:lnTo>
                          <a:pt x="168" y="139"/>
                        </a:lnTo>
                        <a:lnTo>
                          <a:pt x="167" y="140"/>
                        </a:lnTo>
                        <a:lnTo>
                          <a:pt x="166" y="141"/>
                        </a:lnTo>
                        <a:lnTo>
                          <a:pt x="164" y="142"/>
                        </a:lnTo>
                        <a:lnTo>
                          <a:pt x="162" y="142"/>
                        </a:lnTo>
                        <a:lnTo>
                          <a:pt x="161" y="143"/>
                        </a:lnTo>
                        <a:lnTo>
                          <a:pt x="160" y="144"/>
                        </a:lnTo>
                        <a:lnTo>
                          <a:pt x="158" y="145"/>
                        </a:lnTo>
                        <a:lnTo>
                          <a:pt x="156" y="142"/>
                        </a:lnTo>
                        <a:lnTo>
                          <a:pt x="156" y="141"/>
                        </a:lnTo>
                        <a:lnTo>
                          <a:pt x="156" y="140"/>
                        </a:lnTo>
                        <a:lnTo>
                          <a:pt x="154" y="139"/>
                        </a:lnTo>
                        <a:lnTo>
                          <a:pt x="154" y="140"/>
                        </a:lnTo>
                        <a:lnTo>
                          <a:pt x="153" y="141"/>
                        </a:lnTo>
                        <a:lnTo>
                          <a:pt x="151" y="142"/>
                        </a:lnTo>
                        <a:lnTo>
                          <a:pt x="149" y="142"/>
                        </a:lnTo>
                        <a:lnTo>
                          <a:pt x="148" y="142"/>
                        </a:lnTo>
                        <a:lnTo>
                          <a:pt x="146" y="141"/>
                        </a:lnTo>
                        <a:lnTo>
                          <a:pt x="144" y="139"/>
                        </a:lnTo>
                        <a:lnTo>
                          <a:pt x="143" y="139"/>
                        </a:lnTo>
                        <a:lnTo>
                          <a:pt x="142" y="137"/>
                        </a:lnTo>
                        <a:lnTo>
                          <a:pt x="141" y="136"/>
                        </a:lnTo>
                        <a:lnTo>
                          <a:pt x="139" y="136"/>
                        </a:lnTo>
                        <a:lnTo>
                          <a:pt x="138" y="137"/>
                        </a:lnTo>
                        <a:lnTo>
                          <a:pt x="138" y="139"/>
                        </a:lnTo>
                        <a:lnTo>
                          <a:pt x="137" y="140"/>
                        </a:lnTo>
                        <a:lnTo>
                          <a:pt x="135" y="139"/>
                        </a:lnTo>
                        <a:lnTo>
                          <a:pt x="134" y="137"/>
                        </a:lnTo>
                        <a:lnTo>
                          <a:pt x="132" y="136"/>
                        </a:lnTo>
                        <a:lnTo>
                          <a:pt x="130" y="138"/>
                        </a:lnTo>
                        <a:lnTo>
                          <a:pt x="129" y="139"/>
                        </a:lnTo>
                        <a:lnTo>
                          <a:pt x="129" y="140"/>
                        </a:lnTo>
                        <a:lnTo>
                          <a:pt x="129" y="142"/>
                        </a:lnTo>
                        <a:lnTo>
                          <a:pt x="127" y="143"/>
                        </a:lnTo>
                        <a:lnTo>
                          <a:pt x="127" y="145"/>
                        </a:lnTo>
                        <a:lnTo>
                          <a:pt x="128" y="146"/>
                        </a:lnTo>
                        <a:lnTo>
                          <a:pt x="129" y="148"/>
                        </a:lnTo>
                        <a:lnTo>
                          <a:pt x="128" y="153"/>
                        </a:lnTo>
                        <a:lnTo>
                          <a:pt x="127" y="156"/>
                        </a:lnTo>
                        <a:lnTo>
                          <a:pt x="125" y="158"/>
                        </a:lnTo>
                        <a:lnTo>
                          <a:pt x="125" y="160"/>
                        </a:lnTo>
                        <a:lnTo>
                          <a:pt x="123" y="161"/>
                        </a:lnTo>
                        <a:lnTo>
                          <a:pt x="119" y="162"/>
                        </a:lnTo>
                        <a:lnTo>
                          <a:pt x="118" y="164"/>
                        </a:lnTo>
                        <a:lnTo>
                          <a:pt x="117" y="165"/>
                        </a:lnTo>
                        <a:lnTo>
                          <a:pt x="114" y="166"/>
                        </a:lnTo>
                        <a:lnTo>
                          <a:pt x="113" y="167"/>
                        </a:lnTo>
                        <a:lnTo>
                          <a:pt x="114" y="168"/>
                        </a:lnTo>
                        <a:lnTo>
                          <a:pt x="115" y="169"/>
                        </a:lnTo>
                        <a:lnTo>
                          <a:pt x="115" y="171"/>
                        </a:lnTo>
                        <a:lnTo>
                          <a:pt x="114" y="173"/>
                        </a:lnTo>
                        <a:lnTo>
                          <a:pt x="113" y="174"/>
                        </a:lnTo>
                        <a:lnTo>
                          <a:pt x="111" y="175"/>
                        </a:lnTo>
                        <a:lnTo>
                          <a:pt x="110" y="177"/>
                        </a:lnTo>
                        <a:lnTo>
                          <a:pt x="108" y="179"/>
                        </a:lnTo>
                        <a:lnTo>
                          <a:pt x="108" y="181"/>
                        </a:lnTo>
                        <a:lnTo>
                          <a:pt x="109" y="182"/>
                        </a:lnTo>
                        <a:lnTo>
                          <a:pt x="110" y="184"/>
                        </a:lnTo>
                        <a:lnTo>
                          <a:pt x="108" y="187"/>
                        </a:lnTo>
                        <a:lnTo>
                          <a:pt x="107" y="189"/>
                        </a:lnTo>
                        <a:lnTo>
                          <a:pt x="106" y="193"/>
                        </a:lnTo>
                        <a:lnTo>
                          <a:pt x="105" y="199"/>
                        </a:lnTo>
                        <a:lnTo>
                          <a:pt x="107" y="206"/>
                        </a:lnTo>
                        <a:lnTo>
                          <a:pt x="109" y="211"/>
                        </a:lnTo>
                        <a:lnTo>
                          <a:pt x="109" y="213"/>
                        </a:lnTo>
                        <a:lnTo>
                          <a:pt x="110" y="213"/>
                        </a:lnTo>
                        <a:lnTo>
                          <a:pt x="107" y="213"/>
                        </a:lnTo>
                        <a:lnTo>
                          <a:pt x="105" y="212"/>
                        </a:lnTo>
                        <a:lnTo>
                          <a:pt x="102" y="212"/>
                        </a:lnTo>
                        <a:lnTo>
                          <a:pt x="99" y="213"/>
                        </a:lnTo>
                        <a:lnTo>
                          <a:pt x="97" y="214"/>
                        </a:lnTo>
                        <a:lnTo>
                          <a:pt x="95" y="214"/>
                        </a:lnTo>
                        <a:lnTo>
                          <a:pt x="92" y="215"/>
                        </a:lnTo>
                        <a:lnTo>
                          <a:pt x="89" y="21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6" name="Freeform 1606">
                    <a:extLst>
                      <a:ext uri="{FF2B5EF4-FFF2-40B4-BE49-F238E27FC236}">
                        <a16:creationId xmlns:a16="http://schemas.microsoft.com/office/drawing/2014/main" xmlns="" id="{C328A750-3137-45EF-B2EA-022660794851}"/>
                      </a:ext>
                    </a:extLst>
                  </p:cNvPr>
                  <p:cNvSpPr>
                    <a:spLocks/>
                  </p:cNvSpPr>
                  <p:nvPr/>
                </p:nvSpPr>
                <p:spPr bwMode="gray">
                  <a:xfrm>
                    <a:off x="4508763" y="4586790"/>
                    <a:ext cx="25587" cy="25585"/>
                  </a:xfrm>
                  <a:custGeom>
                    <a:avLst/>
                    <a:gdLst>
                      <a:gd name="T0" fmla="*/ 0 w 23"/>
                      <a:gd name="T1" fmla="*/ 0 h 23"/>
                      <a:gd name="T2" fmla="*/ 2147483647 w 23"/>
                      <a:gd name="T3" fmla="*/ 2147483647 h 23"/>
                      <a:gd name="T4" fmla="*/ 2147483647 w 23"/>
                      <a:gd name="T5" fmla="*/ 2147483647 h 23"/>
                      <a:gd name="T6" fmla="*/ 0 w 23"/>
                      <a:gd name="T7" fmla="*/ 2147483647 h 23"/>
                      <a:gd name="T8" fmla="*/ 0 w 23"/>
                      <a:gd name="T9" fmla="*/ 2147483647 h 23"/>
                      <a:gd name="T10" fmla="*/ 0 w 23"/>
                      <a:gd name="T11" fmla="*/ 2147483647 h 23"/>
                      <a:gd name="T12" fmla="*/ 2147483647 w 23"/>
                      <a:gd name="T13" fmla="*/ 2147483647 h 23"/>
                      <a:gd name="T14" fmla="*/ 2147483647 w 23"/>
                      <a:gd name="T15" fmla="*/ 2147483647 h 23"/>
                      <a:gd name="T16" fmla="*/ 2147483647 w 23"/>
                      <a:gd name="T17" fmla="*/ 2147483647 h 23"/>
                      <a:gd name="T18" fmla="*/ 2147483647 w 23"/>
                      <a:gd name="T19" fmla="*/ 2147483647 h 23"/>
                      <a:gd name="T20" fmla="*/ 2147483647 w 23"/>
                      <a:gd name="T21" fmla="*/ 2147483647 h 23"/>
                      <a:gd name="T22" fmla="*/ 2147483647 w 23"/>
                      <a:gd name="T23" fmla="*/ 2147483647 h 23"/>
                      <a:gd name="T24" fmla="*/ 2147483647 w 23"/>
                      <a:gd name="T25" fmla="*/ 2147483647 h 23"/>
                      <a:gd name="T26" fmla="*/ 2147483647 w 23"/>
                      <a:gd name="T27" fmla="*/ 2147483647 h 23"/>
                      <a:gd name="T28" fmla="*/ 2147483647 w 23"/>
                      <a:gd name="T29" fmla="*/ 2147483647 h 23"/>
                      <a:gd name="T30" fmla="*/ 2147483647 w 23"/>
                      <a:gd name="T31" fmla="*/ 2147483647 h 23"/>
                      <a:gd name="T32" fmla="*/ 2147483647 w 23"/>
                      <a:gd name="T33" fmla="*/ 2147483647 h 23"/>
                      <a:gd name="T34" fmla="*/ 2147483647 w 23"/>
                      <a:gd name="T35" fmla="*/ 2147483647 h 23"/>
                      <a:gd name="T36" fmla="*/ 2147483647 w 23"/>
                      <a:gd name="T37" fmla="*/ 2147483647 h 23"/>
                      <a:gd name="T38" fmla="*/ 2147483647 w 23"/>
                      <a:gd name="T39" fmla="*/ 2147483647 h 23"/>
                      <a:gd name="T40" fmla="*/ 2147483647 w 23"/>
                      <a:gd name="T41" fmla="*/ 2147483647 h 23"/>
                      <a:gd name="T42" fmla="*/ 2147483647 w 23"/>
                      <a:gd name="T43" fmla="*/ 2147483647 h 23"/>
                      <a:gd name="T44" fmla="*/ 2147483647 w 23"/>
                      <a:gd name="T45" fmla="*/ 2147483647 h 23"/>
                      <a:gd name="T46" fmla="*/ 2147483647 w 23"/>
                      <a:gd name="T47" fmla="*/ 2147483647 h 23"/>
                      <a:gd name="T48" fmla="*/ 2147483647 w 23"/>
                      <a:gd name="T49" fmla="*/ 2147483647 h 23"/>
                      <a:gd name="T50" fmla="*/ 2147483647 w 23"/>
                      <a:gd name="T51" fmla="*/ 2147483647 h 23"/>
                      <a:gd name="T52" fmla="*/ 2147483647 w 23"/>
                      <a:gd name="T53" fmla="*/ 2147483647 h 23"/>
                      <a:gd name="T54" fmla="*/ 2147483647 w 23"/>
                      <a:gd name="T55" fmla="*/ 2147483647 h 23"/>
                      <a:gd name="T56" fmla="*/ 2147483647 w 23"/>
                      <a:gd name="T57" fmla="*/ 2147483647 h 23"/>
                      <a:gd name="T58" fmla="*/ 2147483647 w 23"/>
                      <a:gd name="T59" fmla="*/ 2147483647 h 23"/>
                      <a:gd name="T60" fmla="*/ 2147483647 w 23"/>
                      <a:gd name="T61" fmla="*/ 2147483647 h 23"/>
                      <a:gd name="T62" fmla="*/ 2147483647 w 23"/>
                      <a:gd name="T63" fmla="*/ 2147483647 h 23"/>
                      <a:gd name="T64" fmla="*/ 2147483647 w 23"/>
                      <a:gd name="T65" fmla="*/ 2147483647 h 23"/>
                      <a:gd name="T66" fmla="*/ 2147483647 w 23"/>
                      <a:gd name="T67" fmla="*/ 2147483647 h 23"/>
                      <a:gd name="T68" fmla="*/ 2147483647 w 23"/>
                      <a:gd name="T69" fmla="*/ 2147483647 h 23"/>
                      <a:gd name="T70" fmla="*/ 2147483647 w 23"/>
                      <a:gd name="T71" fmla="*/ 2147483647 h 23"/>
                      <a:gd name="T72" fmla="*/ 2147483647 w 23"/>
                      <a:gd name="T73" fmla="*/ 2147483647 h 23"/>
                      <a:gd name="T74" fmla="*/ 2147483647 w 23"/>
                      <a:gd name="T75" fmla="*/ 2147483647 h 23"/>
                      <a:gd name="T76" fmla="*/ 2147483647 w 23"/>
                      <a:gd name="T77" fmla="*/ 2147483647 h 23"/>
                      <a:gd name="T78" fmla="*/ 2147483647 w 23"/>
                      <a:gd name="T79" fmla="*/ 2147483647 h 23"/>
                      <a:gd name="T80" fmla="*/ 0 w 23"/>
                      <a:gd name="T81" fmla="*/ 0 h 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 h="23">
                        <a:moveTo>
                          <a:pt x="0" y="0"/>
                        </a:moveTo>
                        <a:lnTo>
                          <a:pt x="1" y="2"/>
                        </a:lnTo>
                        <a:lnTo>
                          <a:pt x="1" y="3"/>
                        </a:lnTo>
                        <a:lnTo>
                          <a:pt x="0" y="3"/>
                        </a:lnTo>
                        <a:lnTo>
                          <a:pt x="0" y="4"/>
                        </a:lnTo>
                        <a:lnTo>
                          <a:pt x="1" y="5"/>
                        </a:lnTo>
                        <a:lnTo>
                          <a:pt x="3" y="6"/>
                        </a:lnTo>
                        <a:lnTo>
                          <a:pt x="4" y="6"/>
                        </a:lnTo>
                        <a:lnTo>
                          <a:pt x="5" y="6"/>
                        </a:lnTo>
                        <a:lnTo>
                          <a:pt x="10" y="6"/>
                        </a:lnTo>
                        <a:lnTo>
                          <a:pt x="9" y="9"/>
                        </a:lnTo>
                        <a:lnTo>
                          <a:pt x="9" y="12"/>
                        </a:lnTo>
                        <a:lnTo>
                          <a:pt x="8" y="14"/>
                        </a:lnTo>
                        <a:lnTo>
                          <a:pt x="10" y="17"/>
                        </a:lnTo>
                        <a:lnTo>
                          <a:pt x="11" y="19"/>
                        </a:lnTo>
                        <a:lnTo>
                          <a:pt x="14" y="21"/>
                        </a:lnTo>
                        <a:lnTo>
                          <a:pt x="19" y="22"/>
                        </a:lnTo>
                        <a:lnTo>
                          <a:pt x="23" y="23"/>
                        </a:lnTo>
                        <a:lnTo>
                          <a:pt x="23" y="22"/>
                        </a:lnTo>
                        <a:lnTo>
                          <a:pt x="23" y="21"/>
                        </a:lnTo>
                        <a:lnTo>
                          <a:pt x="23" y="20"/>
                        </a:lnTo>
                        <a:lnTo>
                          <a:pt x="23" y="19"/>
                        </a:lnTo>
                        <a:lnTo>
                          <a:pt x="23" y="17"/>
                        </a:lnTo>
                        <a:lnTo>
                          <a:pt x="22" y="15"/>
                        </a:lnTo>
                        <a:lnTo>
                          <a:pt x="21" y="13"/>
                        </a:lnTo>
                        <a:lnTo>
                          <a:pt x="20" y="12"/>
                        </a:lnTo>
                        <a:lnTo>
                          <a:pt x="20" y="10"/>
                        </a:lnTo>
                        <a:lnTo>
                          <a:pt x="10" y="10"/>
                        </a:lnTo>
                        <a:lnTo>
                          <a:pt x="10" y="8"/>
                        </a:lnTo>
                        <a:lnTo>
                          <a:pt x="11" y="7"/>
                        </a:lnTo>
                        <a:lnTo>
                          <a:pt x="10" y="6"/>
                        </a:lnTo>
                        <a:lnTo>
                          <a:pt x="9" y="4"/>
                        </a:lnTo>
                        <a:lnTo>
                          <a:pt x="7" y="3"/>
                        </a:lnTo>
                        <a:lnTo>
                          <a:pt x="4"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7" name="Freeform 1608">
                    <a:extLst>
                      <a:ext uri="{FF2B5EF4-FFF2-40B4-BE49-F238E27FC236}">
                        <a16:creationId xmlns:a16="http://schemas.microsoft.com/office/drawing/2014/main" xmlns="" id="{55C175F3-B5F7-406A-AEBC-4BC65154E5EB}"/>
                      </a:ext>
                    </a:extLst>
                  </p:cNvPr>
                  <p:cNvSpPr>
                    <a:spLocks/>
                  </p:cNvSpPr>
                  <p:nvPr/>
                </p:nvSpPr>
                <p:spPr bwMode="gray">
                  <a:xfrm>
                    <a:off x="4934838" y="4078420"/>
                    <a:ext cx="175770" cy="130152"/>
                  </a:xfrm>
                  <a:custGeom>
                    <a:avLst/>
                    <a:gdLst>
                      <a:gd name="T0" fmla="*/ 2147483647 w 158"/>
                      <a:gd name="T1" fmla="*/ 2147483647 h 117"/>
                      <a:gd name="T2" fmla="*/ 2147483647 w 158"/>
                      <a:gd name="T3" fmla="*/ 2147483647 h 117"/>
                      <a:gd name="T4" fmla="*/ 2147483647 w 158"/>
                      <a:gd name="T5" fmla="*/ 2147483647 h 117"/>
                      <a:gd name="T6" fmla="*/ 2147483647 w 158"/>
                      <a:gd name="T7" fmla="*/ 2147483647 h 117"/>
                      <a:gd name="T8" fmla="*/ 2147483647 w 158"/>
                      <a:gd name="T9" fmla="*/ 2147483647 h 117"/>
                      <a:gd name="T10" fmla="*/ 2147483647 w 158"/>
                      <a:gd name="T11" fmla="*/ 2147483647 h 117"/>
                      <a:gd name="T12" fmla="*/ 2147483647 w 158"/>
                      <a:gd name="T13" fmla="*/ 2147483647 h 117"/>
                      <a:gd name="T14" fmla="*/ 2147483647 w 158"/>
                      <a:gd name="T15" fmla="*/ 2147483647 h 117"/>
                      <a:gd name="T16" fmla="*/ 2147483647 w 158"/>
                      <a:gd name="T17" fmla="*/ 2147483647 h 117"/>
                      <a:gd name="T18" fmla="*/ 2147483647 w 158"/>
                      <a:gd name="T19" fmla="*/ 2147483647 h 117"/>
                      <a:gd name="T20" fmla="*/ 2147483647 w 158"/>
                      <a:gd name="T21" fmla="*/ 2147483647 h 117"/>
                      <a:gd name="T22" fmla="*/ 2147483647 w 158"/>
                      <a:gd name="T23" fmla="*/ 2147483647 h 117"/>
                      <a:gd name="T24" fmla="*/ 2147483647 w 158"/>
                      <a:gd name="T25" fmla="*/ 2147483647 h 117"/>
                      <a:gd name="T26" fmla="*/ 2147483647 w 158"/>
                      <a:gd name="T27" fmla="*/ 2147483647 h 117"/>
                      <a:gd name="T28" fmla="*/ 2147483647 w 158"/>
                      <a:gd name="T29" fmla="*/ 2147483647 h 117"/>
                      <a:gd name="T30" fmla="*/ 2147483647 w 158"/>
                      <a:gd name="T31" fmla="*/ 2147483647 h 117"/>
                      <a:gd name="T32" fmla="*/ 2147483647 w 158"/>
                      <a:gd name="T33" fmla="*/ 2147483647 h 117"/>
                      <a:gd name="T34" fmla="*/ 2147483647 w 158"/>
                      <a:gd name="T35" fmla="*/ 2147483647 h 117"/>
                      <a:gd name="T36" fmla="*/ 2147483647 w 158"/>
                      <a:gd name="T37" fmla="*/ 2147483647 h 117"/>
                      <a:gd name="T38" fmla="*/ 2147483647 w 158"/>
                      <a:gd name="T39" fmla="*/ 2147483647 h 117"/>
                      <a:gd name="T40" fmla="*/ 2147483647 w 158"/>
                      <a:gd name="T41" fmla="*/ 2147483647 h 117"/>
                      <a:gd name="T42" fmla="*/ 2147483647 w 158"/>
                      <a:gd name="T43" fmla="*/ 2147483647 h 117"/>
                      <a:gd name="T44" fmla="*/ 2147483647 w 158"/>
                      <a:gd name="T45" fmla="*/ 2147483647 h 117"/>
                      <a:gd name="T46" fmla="*/ 2147483647 w 158"/>
                      <a:gd name="T47" fmla="*/ 2147483647 h 117"/>
                      <a:gd name="T48" fmla="*/ 2147483647 w 158"/>
                      <a:gd name="T49" fmla="*/ 2147483647 h 117"/>
                      <a:gd name="T50" fmla="*/ 2147483647 w 158"/>
                      <a:gd name="T51" fmla="*/ 2147483647 h 117"/>
                      <a:gd name="T52" fmla="*/ 2147483647 w 158"/>
                      <a:gd name="T53" fmla="*/ 2147483647 h 117"/>
                      <a:gd name="T54" fmla="*/ 2147483647 w 158"/>
                      <a:gd name="T55" fmla="*/ 2147483647 h 117"/>
                      <a:gd name="T56" fmla="*/ 2147483647 w 158"/>
                      <a:gd name="T57" fmla="*/ 2147483647 h 117"/>
                      <a:gd name="T58" fmla="*/ 2147483647 w 158"/>
                      <a:gd name="T59" fmla="*/ 2147483647 h 117"/>
                      <a:gd name="T60" fmla="*/ 2147483647 w 158"/>
                      <a:gd name="T61" fmla="*/ 2147483647 h 117"/>
                      <a:gd name="T62" fmla="*/ 2147483647 w 158"/>
                      <a:gd name="T63" fmla="*/ 2147483647 h 117"/>
                      <a:gd name="T64" fmla="*/ 2147483647 w 158"/>
                      <a:gd name="T65" fmla="*/ 2147483647 h 117"/>
                      <a:gd name="T66" fmla="*/ 2147483647 w 158"/>
                      <a:gd name="T67" fmla="*/ 0 h 117"/>
                      <a:gd name="T68" fmla="*/ 2147483647 w 158"/>
                      <a:gd name="T69" fmla="*/ 0 h 117"/>
                      <a:gd name="T70" fmla="*/ 2147483647 w 158"/>
                      <a:gd name="T71" fmla="*/ 0 h 117"/>
                      <a:gd name="T72" fmla="*/ 2147483647 w 158"/>
                      <a:gd name="T73" fmla="*/ 2147483647 h 117"/>
                      <a:gd name="T74" fmla="*/ 2147483647 w 158"/>
                      <a:gd name="T75" fmla="*/ 2147483647 h 117"/>
                      <a:gd name="T76" fmla="*/ 2147483647 w 158"/>
                      <a:gd name="T77" fmla="*/ 2147483647 h 117"/>
                      <a:gd name="T78" fmla="*/ 2147483647 w 158"/>
                      <a:gd name="T79" fmla="*/ 2147483647 h 117"/>
                      <a:gd name="T80" fmla="*/ 2147483647 w 158"/>
                      <a:gd name="T81" fmla="*/ 2147483647 h 117"/>
                      <a:gd name="T82" fmla="*/ 2147483647 w 158"/>
                      <a:gd name="T83" fmla="*/ 2147483647 h 117"/>
                      <a:gd name="T84" fmla="*/ 2147483647 w 158"/>
                      <a:gd name="T85" fmla="*/ 2147483647 h 117"/>
                      <a:gd name="T86" fmla="*/ 2147483647 w 158"/>
                      <a:gd name="T87" fmla="*/ 2147483647 h 117"/>
                      <a:gd name="T88" fmla="*/ 2147483647 w 158"/>
                      <a:gd name="T89" fmla="*/ 2147483647 h 117"/>
                      <a:gd name="T90" fmla="*/ 2147483647 w 158"/>
                      <a:gd name="T91" fmla="*/ 2147483647 h 117"/>
                      <a:gd name="T92" fmla="*/ 2147483647 w 158"/>
                      <a:gd name="T93" fmla="*/ 2147483647 h 117"/>
                      <a:gd name="T94" fmla="*/ 2147483647 w 158"/>
                      <a:gd name="T95" fmla="*/ 2147483647 h 117"/>
                      <a:gd name="T96" fmla="*/ 2147483647 w 158"/>
                      <a:gd name="T97" fmla="*/ 2147483647 h 117"/>
                      <a:gd name="T98" fmla="*/ 2147483647 w 158"/>
                      <a:gd name="T99" fmla="*/ 2147483647 h 117"/>
                      <a:gd name="T100" fmla="*/ 2147483647 w 158"/>
                      <a:gd name="T101" fmla="*/ 2147483647 h 117"/>
                      <a:gd name="T102" fmla="*/ 2147483647 w 158"/>
                      <a:gd name="T103" fmla="*/ 2147483647 h 117"/>
                      <a:gd name="T104" fmla="*/ 2147483647 w 158"/>
                      <a:gd name="T105" fmla="*/ 2147483647 h 117"/>
                      <a:gd name="T106" fmla="*/ 2147483647 w 158"/>
                      <a:gd name="T107" fmla="*/ 2147483647 h 117"/>
                      <a:gd name="T108" fmla="*/ 2147483647 w 158"/>
                      <a:gd name="T109" fmla="*/ 2147483647 h 117"/>
                      <a:gd name="T110" fmla="*/ 2147483647 w 158"/>
                      <a:gd name="T111" fmla="*/ 2147483647 h 117"/>
                      <a:gd name="T112" fmla="*/ 2147483647 w 158"/>
                      <a:gd name="T113" fmla="*/ 2147483647 h 1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8" h="117">
                        <a:moveTo>
                          <a:pt x="30" y="115"/>
                        </a:moveTo>
                        <a:lnTo>
                          <a:pt x="39" y="115"/>
                        </a:lnTo>
                        <a:lnTo>
                          <a:pt x="40" y="116"/>
                        </a:lnTo>
                        <a:lnTo>
                          <a:pt x="41" y="117"/>
                        </a:lnTo>
                        <a:lnTo>
                          <a:pt x="44" y="117"/>
                        </a:lnTo>
                        <a:lnTo>
                          <a:pt x="46" y="115"/>
                        </a:lnTo>
                        <a:lnTo>
                          <a:pt x="48" y="115"/>
                        </a:lnTo>
                        <a:lnTo>
                          <a:pt x="48" y="113"/>
                        </a:lnTo>
                        <a:lnTo>
                          <a:pt x="48" y="111"/>
                        </a:lnTo>
                        <a:lnTo>
                          <a:pt x="49" y="109"/>
                        </a:lnTo>
                        <a:lnTo>
                          <a:pt x="50" y="109"/>
                        </a:lnTo>
                        <a:lnTo>
                          <a:pt x="52" y="110"/>
                        </a:lnTo>
                        <a:lnTo>
                          <a:pt x="54" y="111"/>
                        </a:lnTo>
                        <a:lnTo>
                          <a:pt x="56" y="112"/>
                        </a:lnTo>
                        <a:lnTo>
                          <a:pt x="57" y="111"/>
                        </a:lnTo>
                        <a:lnTo>
                          <a:pt x="57" y="110"/>
                        </a:lnTo>
                        <a:lnTo>
                          <a:pt x="59" y="109"/>
                        </a:lnTo>
                        <a:lnTo>
                          <a:pt x="62" y="109"/>
                        </a:lnTo>
                        <a:lnTo>
                          <a:pt x="64" y="109"/>
                        </a:lnTo>
                        <a:lnTo>
                          <a:pt x="65" y="110"/>
                        </a:lnTo>
                        <a:lnTo>
                          <a:pt x="67" y="111"/>
                        </a:lnTo>
                        <a:lnTo>
                          <a:pt x="69" y="112"/>
                        </a:lnTo>
                        <a:lnTo>
                          <a:pt x="71" y="110"/>
                        </a:lnTo>
                        <a:lnTo>
                          <a:pt x="72" y="109"/>
                        </a:lnTo>
                        <a:lnTo>
                          <a:pt x="73" y="109"/>
                        </a:lnTo>
                        <a:lnTo>
                          <a:pt x="75" y="109"/>
                        </a:lnTo>
                        <a:lnTo>
                          <a:pt x="77" y="109"/>
                        </a:lnTo>
                        <a:lnTo>
                          <a:pt x="79" y="109"/>
                        </a:lnTo>
                        <a:lnTo>
                          <a:pt x="80" y="107"/>
                        </a:lnTo>
                        <a:lnTo>
                          <a:pt x="81" y="107"/>
                        </a:lnTo>
                        <a:lnTo>
                          <a:pt x="83" y="107"/>
                        </a:lnTo>
                        <a:lnTo>
                          <a:pt x="84" y="105"/>
                        </a:lnTo>
                        <a:lnTo>
                          <a:pt x="84" y="104"/>
                        </a:lnTo>
                        <a:lnTo>
                          <a:pt x="84" y="100"/>
                        </a:lnTo>
                        <a:lnTo>
                          <a:pt x="85" y="100"/>
                        </a:lnTo>
                        <a:lnTo>
                          <a:pt x="86" y="100"/>
                        </a:lnTo>
                        <a:lnTo>
                          <a:pt x="87" y="100"/>
                        </a:lnTo>
                        <a:lnTo>
                          <a:pt x="88" y="100"/>
                        </a:lnTo>
                        <a:lnTo>
                          <a:pt x="89" y="97"/>
                        </a:lnTo>
                        <a:lnTo>
                          <a:pt x="89" y="95"/>
                        </a:lnTo>
                        <a:lnTo>
                          <a:pt x="90" y="93"/>
                        </a:lnTo>
                        <a:lnTo>
                          <a:pt x="91" y="93"/>
                        </a:lnTo>
                        <a:lnTo>
                          <a:pt x="92" y="92"/>
                        </a:lnTo>
                        <a:lnTo>
                          <a:pt x="93" y="91"/>
                        </a:lnTo>
                        <a:lnTo>
                          <a:pt x="95" y="90"/>
                        </a:lnTo>
                        <a:lnTo>
                          <a:pt x="97" y="89"/>
                        </a:lnTo>
                        <a:lnTo>
                          <a:pt x="99" y="90"/>
                        </a:lnTo>
                        <a:lnTo>
                          <a:pt x="100" y="91"/>
                        </a:lnTo>
                        <a:lnTo>
                          <a:pt x="100" y="92"/>
                        </a:lnTo>
                        <a:lnTo>
                          <a:pt x="100" y="93"/>
                        </a:lnTo>
                        <a:lnTo>
                          <a:pt x="105" y="88"/>
                        </a:lnTo>
                        <a:lnTo>
                          <a:pt x="106" y="87"/>
                        </a:lnTo>
                        <a:lnTo>
                          <a:pt x="107" y="86"/>
                        </a:lnTo>
                        <a:lnTo>
                          <a:pt x="109" y="87"/>
                        </a:lnTo>
                        <a:lnTo>
                          <a:pt x="111" y="88"/>
                        </a:lnTo>
                        <a:lnTo>
                          <a:pt x="114" y="89"/>
                        </a:lnTo>
                        <a:lnTo>
                          <a:pt x="116" y="88"/>
                        </a:lnTo>
                        <a:lnTo>
                          <a:pt x="117" y="88"/>
                        </a:lnTo>
                        <a:lnTo>
                          <a:pt x="119" y="89"/>
                        </a:lnTo>
                        <a:lnTo>
                          <a:pt x="120" y="89"/>
                        </a:lnTo>
                        <a:lnTo>
                          <a:pt x="121" y="89"/>
                        </a:lnTo>
                        <a:lnTo>
                          <a:pt x="123" y="89"/>
                        </a:lnTo>
                        <a:lnTo>
                          <a:pt x="125" y="89"/>
                        </a:lnTo>
                        <a:lnTo>
                          <a:pt x="126" y="89"/>
                        </a:lnTo>
                        <a:lnTo>
                          <a:pt x="127" y="89"/>
                        </a:lnTo>
                        <a:lnTo>
                          <a:pt x="129" y="89"/>
                        </a:lnTo>
                        <a:lnTo>
                          <a:pt x="130" y="89"/>
                        </a:lnTo>
                        <a:lnTo>
                          <a:pt x="131" y="89"/>
                        </a:lnTo>
                        <a:lnTo>
                          <a:pt x="132" y="89"/>
                        </a:lnTo>
                        <a:lnTo>
                          <a:pt x="133" y="89"/>
                        </a:lnTo>
                        <a:lnTo>
                          <a:pt x="133" y="88"/>
                        </a:lnTo>
                        <a:lnTo>
                          <a:pt x="134" y="87"/>
                        </a:lnTo>
                        <a:lnTo>
                          <a:pt x="136" y="86"/>
                        </a:lnTo>
                        <a:lnTo>
                          <a:pt x="137" y="86"/>
                        </a:lnTo>
                        <a:lnTo>
                          <a:pt x="138" y="86"/>
                        </a:lnTo>
                        <a:lnTo>
                          <a:pt x="139" y="86"/>
                        </a:lnTo>
                        <a:lnTo>
                          <a:pt x="140" y="86"/>
                        </a:lnTo>
                        <a:lnTo>
                          <a:pt x="141" y="86"/>
                        </a:lnTo>
                        <a:lnTo>
                          <a:pt x="142" y="86"/>
                        </a:lnTo>
                        <a:lnTo>
                          <a:pt x="142" y="84"/>
                        </a:lnTo>
                        <a:lnTo>
                          <a:pt x="142" y="83"/>
                        </a:lnTo>
                        <a:lnTo>
                          <a:pt x="142" y="81"/>
                        </a:lnTo>
                        <a:lnTo>
                          <a:pt x="142" y="80"/>
                        </a:lnTo>
                        <a:lnTo>
                          <a:pt x="142" y="76"/>
                        </a:lnTo>
                        <a:lnTo>
                          <a:pt x="142" y="74"/>
                        </a:lnTo>
                        <a:lnTo>
                          <a:pt x="144" y="74"/>
                        </a:lnTo>
                        <a:lnTo>
                          <a:pt x="145" y="74"/>
                        </a:lnTo>
                        <a:lnTo>
                          <a:pt x="147" y="74"/>
                        </a:lnTo>
                        <a:lnTo>
                          <a:pt x="149" y="74"/>
                        </a:lnTo>
                        <a:lnTo>
                          <a:pt x="153" y="74"/>
                        </a:lnTo>
                        <a:lnTo>
                          <a:pt x="154" y="74"/>
                        </a:lnTo>
                        <a:lnTo>
                          <a:pt x="154" y="73"/>
                        </a:lnTo>
                        <a:lnTo>
                          <a:pt x="154" y="70"/>
                        </a:lnTo>
                        <a:lnTo>
                          <a:pt x="154" y="68"/>
                        </a:lnTo>
                        <a:lnTo>
                          <a:pt x="154" y="67"/>
                        </a:lnTo>
                        <a:lnTo>
                          <a:pt x="154" y="65"/>
                        </a:lnTo>
                        <a:lnTo>
                          <a:pt x="154" y="64"/>
                        </a:lnTo>
                        <a:lnTo>
                          <a:pt x="154" y="62"/>
                        </a:lnTo>
                        <a:lnTo>
                          <a:pt x="154" y="60"/>
                        </a:lnTo>
                        <a:lnTo>
                          <a:pt x="154" y="59"/>
                        </a:lnTo>
                        <a:lnTo>
                          <a:pt x="154" y="57"/>
                        </a:lnTo>
                        <a:lnTo>
                          <a:pt x="154" y="56"/>
                        </a:lnTo>
                        <a:lnTo>
                          <a:pt x="154" y="55"/>
                        </a:lnTo>
                        <a:lnTo>
                          <a:pt x="154" y="53"/>
                        </a:lnTo>
                        <a:lnTo>
                          <a:pt x="154" y="51"/>
                        </a:lnTo>
                        <a:lnTo>
                          <a:pt x="154" y="49"/>
                        </a:lnTo>
                        <a:lnTo>
                          <a:pt x="154" y="48"/>
                        </a:lnTo>
                        <a:lnTo>
                          <a:pt x="154" y="46"/>
                        </a:lnTo>
                        <a:lnTo>
                          <a:pt x="154" y="45"/>
                        </a:lnTo>
                        <a:lnTo>
                          <a:pt x="156" y="45"/>
                        </a:lnTo>
                        <a:lnTo>
                          <a:pt x="157" y="44"/>
                        </a:lnTo>
                        <a:lnTo>
                          <a:pt x="157" y="43"/>
                        </a:lnTo>
                        <a:lnTo>
                          <a:pt x="158" y="41"/>
                        </a:lnTo>
                        <a:lnTo>
                          <a:pt x="157" y="40"/>
                        </a:lnTo>
                        <a:lnTo>
                          <a:pt x="154" y="38"/>
                        </a:lnTo>
                        <a:lnTo>
                          <a:pt x="152" y="38"/>
                        </a:lnTo>
                        <a:lnTo>
                          <a:pt x="152" y="37"/>
                        </a:lnTo>
                        <a:lnTo>
                          <a:pt x="152" y="35"/>
                        </a:lnTo>
                        <a:lnTo>
                          <a:pt x="152" y="34"/>
                        </a:lnTo>
                        <a:lnTo>
                          <a:pt x="152" y="33"/>
                        </a:lnTo>
                        <a:lnTo>
                          <a:pt x="152" y="32"/>
                        </a:lnTo>
                        <a:lnTo>
                          <a:pt x="151" y="31"/>
                        </a:lnTo>
                        <a:lnTo>
                          <a:pt x="150" y="30"/>
                        </a:lnTo>
                        <a:lnTo>
                          <a:pt x="149" y="29"/>
                        </a:lnTo>
                        <a:lnTo>
                          <a:pt x="149" y="25"/>
                        </a:lnTo>
                        <a:lnTo>
                          <a:pt x="148" y="25"/>
                        </a:lnTo>
                        <a:lnTo>
                          <a:pt x="147" y="24"/>
                        </a:lnTo>
                        <a:lnTo>
                          <a:pt x="145" y="22"/>
                        </a:lnTo>
                        <a:lnTo>
                          <a:pt x="145" y="19"/>
                        </a:lnTo>
                        <a:lnTo>
                          <a:pt x="143" y="19"/>
                        </a:lnTo>
                        <a:lnTo>
                          <a:pt x="139" y="19"/>
                        </a:lnTo>
                        <a:lnTo>
                          <a:pt x="138" y="19"/>
                        </a:lnTo>
                        <a:lnTo>
                          <a:pt x="136" y="19"/>
                        </a:lnTo>
                        <a:lnTo>
                          <a:pt x="134" y="18"/>
                        </a:lnTo>
                        <a:lnTo>
                          <a:pt x="133" y="17"/>
                        </a:lnTo>
                        <a:lnTo>
                          <a:pt x="131" y="17"/>
                        </a:lnTo>
                        <a:lnTo>
                          <a:pt x="129" y="16"/>
                        </a:lnTo>
                        <a:lnTo>
                          <a:pt x="127" y="14"/>
                        </a:lnTo>
                        <a:lnTo>
                          <a:pt x="126" y="13"/>
                        </a:lnTo>
                        <a:lnTo>
                          <a:pt x="125" y="12"/>
                        </a:lnTo>
                        <a:lnTo>
                          <a:pt x="123" y="10"/>
                        </a:lnTo>
                        <a:lnTo>
                          <a:pt x="121" y="7"/>
                        </a:lnTo>
                        <a:lnTo>
                          <a:pt x="119" y="5"/>
                        </a:lnTo>
                        <a:lnTo>
                          <a:pt x="118" y="2"/>
                        </a:lnTo>
                        <a:lnTo>
                          <a:pt x="116" y="0"/>
                        </a:lnTo>
                        <a:lnTo>
                          <a:pt x="115" y="0"/>
                        </a:lnTo>
                        <a:lnTo>
                          <a:pt x="114" y="0"/>
                        </a:lnTo>
                        <a:lnTo>
                          <a:pt x="104" y="0"/>
                        </a:lnTo>
                        <a:lnTo>
                          <a:pt x="102" y="0"/>
                        </a:lnTo>
                        <a:lnTo>
                          <a:pt x="100" y="0"/>
                        </a:lnTo>
                        <a:lnTo>
                          <a:pt x="99" y="0"/>
                        </a:lnTo>
                        <a:lnTo>
                          <a:pt x="97" y="0"/>
                        </a:lnTo>
                        <a:lnTo>
                          <a:pt x="95" y="0"/>
                        </a:lnTo>
                        <a:lnTo>
                          <a:pt x="93" y="0"/>
                        </a:lnTo>
                        <a:lnTo>
                          <a:pt x="92" y="0"/>
                        </a:lnTo>
                        <a:lnTo>
                          <a:pt x="91" y="0"/>
                        </a:lnTo>
                        <a:lnTo>
                          <a:pt x="89" y="0"/>
                        </a:lnTo>
                        <a:lnTo>
                          <a:pt x="88" y="0"/>
                        </a:lnTo>
                        <a:lnTo>
                          <a:pt x="86" y="0"/>
                        </a:lnTo>
                        <a:lnTo>
                          <a:pt x="85" y="0"/>
                        </a:lnTo>
                        <a:lnTo>
                          <a:pt x="84" y="1"/>
                        </a:lnTo>
                        <a:lnTo>
                          <a:pt x="84" y="3"/>
                        </a:lnTo>
                        <a:lnTo>
                          <a:pt x="82" y="3"/>
                        </a:lnTo>
                        <a:lnTo>
                          <a:pt x="81" y="3"/>
                        </a:lnTo>
                        <a:lnTo>
                          <a:pt x="79" y="3"/>
                        </a:lnTo>
                        <a:lnTo>
                          <a:pt x="77" y="5"/>
                        </a:lnTo>
                        <a:lnTo>
                          <a:pt x="74" y="6"/>
                        </a:lnTo>
                        <a:lnTo>
                          <a:pt x="72" y="6"/>
                        </a:lnTo>
                        <a:lnTo>
                          <a:pt x="69" y="6"/>
                        </a:lnTo>
                        <a:lnTo>
                          <a:pt x="67" y="5"/>
                        </a:lnTo>
                        <a:lnTo>
                          <a:pt x="64" y="3"/>
                        </a:lnTo>
                        <a:lnTo>
                          <a:pt x="62" y="3"/>
                        </a:lnTo>
                        <a:lnTo>
                          <a:pt x="60" y="3"/>
                        </a:lnTo>
                        <a:lnTo>
                          <a:pt x="58" y="3"/>
                        </a:lnTo>
                        <a:lnTo>
                          <a:pt x="57" y="3"/>
                        </a:lnTo>
                        <a:lnTo>
                          <a:pt x="56" y="3"/>
                        </a:lnTo>
                        <a:lnTo>
                          <a:pt x="55" y="4"/>
                        </a:lnTo>
                        <a:lnTo>
                          <a:pt x="53" y="6"/>
                        </a:lnTo>
                        <a:lnTo>
                          <a:pt x="53" y="7"/>
                        </a:lnTo>
                        <a:lnTo>
                          <a:pt x="52" y="10"/>
                        </a:lnTo>
                        <a:lnTo>
                          <a:pt x="51" y="12"/>
                        </a:lnTo>
                        <a:lnTo>
                          <a:pt x="49" y="13"/>
                        </a:lnTo>
                        <a:lnTo>
                          <a:pt x="47" y="13"/>
                        </a:lnTo>
                        <a:lnTo>
                          <a:pt x="46" y="13"/>
                        </a:lnTo>
                        <a:lnTo>
                          <a:pt x="45" y="12"/>
                        </a:lnTo>
                        <a:lnTo>
                          <a:pt x="43" y="10"/>
                        </a:lnTo>
                        <a:lnTo>
                          <a:pt x="43" y="9"/>
                        </a:lnTo>
                        <a:lnTo>
                          <a:pt x="42" y="8"/>
                        </a:lnTo>
                        <a:lnTo>
                          <a:pt x="41" y="7"/>
                        </a:lnTo>
                        <a:lnTo>
                          <a:pt x="39" y="6"/>
                        </a:lnTo>
                        <a:lnTo>
                          <a:pt x="39" y="7"/>
                        </a:lnTo>
                        <a:lnTo>
                          <a:pt x="39" y="8"/>
                        </a:lnTo>
                        <a:lnTo>
                          <a:pt x="38" y="9"/>
                        </a:lnTo>
                        <a:lnTo>
                          <a:pt x="36" y="10"/>
                        </a:lnTo>
                        <a:lnTo>
                          <a:pt x="35" y="11"/>
                        </a:lnTo>
                        <a:lnTo>
                          <a:pt x="33" y="13"/>
                        </a:lnTo>
                        <a:lnTo>
                          <a:pt x="33" y="14"/>
                        </a:lnTo>
                        <a:lnTo>
                          <a:pt x="33" y="15"/>
                        </a:lnTo>
                        <a:lnTo>
                          <a:pt x="33" y="16"/>
                        </a:lnTo>
                        <a:lnTo>
                          <a:pt x="32" y="18"/>
                        </a:lnTo>
                        <a:lnTo>
                          <a:pt x="31" y="19"/>
                        </a:lnTo>
                        <a:lnTo>
                          <a:pt x="30" y="19"/>
                        </a:lnTo>
                        <a:lnTo>
                          <a:pt x="28" y="22"/>
                        </a:lnTo>
                        <a:lnTo>
                          <a:pt x="27" y="24"/>
                        </a:lnTo>
                        <a:lnTo>
                          <a:pt x="26" y="26"/>
                        </a:lnTo>
                        <a:lnTo>
                          <a:pt x="24" y="29"/>
                        </a:lnTo>
                        <a:lnTo>
                          <a:pt x="24" y="32"/>
                        </a:lnTo>
                        <a:lnTo>
                          <a:pt x="25" y="34"/>
                        </a:lnTo>
                        <a:lnTo>
                          <a:pt x="25" y="37"/>
                        </a:lnTo>
                        <a:lnTo>
                          <a:pt x="24" y="38"/>
                        </a:lnTo>
                        <a:lnTo>
                          <a:pt x="20" y="40"/>
                        </a:lnTo>
                        <a:lnTo>
                          <a:pt x="14" y="42"/>
                        </a:lnTo>
                        <a:lnTo>
                          <a:pt x="10" y="44"/>
                        </a:lnTo>
                        <a:lnTo>
                          <a:pt x="8" y="44"/>
                        </a:lnTo>
                        <a:lnTo>
                          <a:pt x="8" y="45"/>
                        </a:lnTo>
                        <a:lnTo>
                          <a:pt x="7" y="47"/>
                        </a:lnTo>
                        <a:lnTo>
                          <a:pt x="6" y="50"/>
                        </a:lnTo>
                        <a:lnTo>
                          <a:pt x="5" y="54"/>
                        </a:lnTo>
                        <a:lnTo>
                          <a:pt x="4" y="57"/>
                        </a:lnTo>
                        <a:lnTo>
                          <a:pt x="4" y="59"/>
                        </a:lnTo>
                        <a:lnTo>
                          <a:pt x="3" y="60"/>
                        </a:lnTo>
                        <a:lnTo>
                          <a:pt x="1" y="62"/>
                        </a:lnTo>
                        <a:lnTo>
                          <a:pt x="1" y="64"/>
                        </a:lnTo>
                        <a:lnTo>
                          <a:pt x="1" y="66"/>
                        </a:lnTo>
                        <a:lnTo>
                          <a:pt x="1" y="67"/>
                        </a:lnTo>
                        <a:lnTo>
                          <a:pt x="2" y="70"/>
                        </a:lnTo>
                        <a:lnTo>
                          <a:pt x="4" y="74"/>
                        </a:lnTo>
                        <a:lnTo>
                          <a:pt x="4" y="76"/>
                        </a:lnTo>
                        <a:lnTo>
                          <a:pt x="4" y="80"/>
                        </a:lnTo>
                        <a:lnTo>
                          <a:pt x="4" y="81"/>
                        </a:lnTo>
                        <a:lnTo>
                          <a:pt x="3" y="81"/>
                        </a:lnTo>
                        <a:lnTo>
                          <a:pt x="1" y="81"/>
                        </a:lnTo>
                        <a:lnTo>
                          <a:pt x="1" y="83"/>
                        </a:lnTo>
                        <a:lnTo>
                          <a:pt x="0" y="85"/>
                        </a:lnTo>
                        <a:lnTo>
                          <a:pt x="0" y="87"/>
                        </a:lnTo>
                        <a:lnTo>
                          <a:pt x="2" y="89"/>
                        </a:lnTo>
                        <a:lnTo>
                          <a:pt x="4" y="93"/>
                        </a:lnTo>
                        <a:lnTo>
                          <a:pt x="5" y="95"/>
                        </a:lnTo>
                        <a:lnTo>
                          <a:pt x="6" y="97"/>
                        </a:lnTo>
                        <a:lnTo>
                          <a:pt x="8" y="100"/>
                        </a:lnTo>
                        <a:lnTo>
                          <a:pt x="8" y="99"/>
                        </a:lnTo>
                        <a:lnTo>
                          <a:pt x="9" y="98"/>
                        </a:lnTo>
                        <a:lnTo>
                          <a:pt x="11" y="98"/>
                        </a:lnTo>
                        <a:lnTo>
                          <a:pt x="11" y="100"/>
                        </a:lnTo>
                        <a:lnTo>
                          <a:pt x="13" y="101"/>
                        </a:lnTo>
                        <a:lnTo>
                          <a:pt x="14" y="103"/>
                        </a:lnTo>
                        <a:lnTo>
                          <a:pt x="16" y="106"/>
                        </a:lnTo>
                        <a:lnTo>
                          <a:pt x="17" y="109"/>
                        </a:lnTo>
                        <a:lnTo>
                          <a:pt x="19" y="110"/>
                        </a:lnTo>
                        <a:lnTo>
                          <a:pt x="21" y="110"/>
                        </a:lnTo>
                        <a:lnTo>
                          <a:pt x="24" y="110"/>
                        </a:lnTo>
                        <a:lnTo>
                          <a:pt x="27" y="112"/>
                        </a:lnTo>
                        <a:lnTo>
                          <a:pt x="29" y="114"/>
                        </a:lnTo>
                        <a:lnTo>
                          <a:pt x="30" y="11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8" name="Freeform 1610">
                    <a:extLst>
                      <a:ext uri="{FF2B5EF4-FFF2-40B4-BE49-F238E27FC236}">
                        <a16:creationId xmlns:a16="http://schemas.microsoft.com/office/drawing/2014/main" xmlns="" id="{13DDD006-5101-43C6-8A5E-80F18EDA2C9E}"/>
                      </a:ext>
                    </a:extLst>
                  </p:cNvPr>
                  <p:cNvSpPr>
                    <a:spLocks/>
                  </p:cNvSpPr>
                  <p:nvPr/>
                </p:nvSpPr>
                <p:spPr bwMode="gray">
                  <a:xfrm>
                    <a:off x="4938175" y="2989373"/>
                    <a:ext cx="4450" cy="15574"/>
                  </a:xfrm>
                  <a:custGeom>
                    <a:avLst/>
                    <a:gdLst>
                      <a:gd name="T0" fmla="*/ 2147483647 w 4"/>
                      <a:gd name="T1" fmla="*/ 2147483647 h 14"/>
                      <a:gd name="T2" fmla="*/ 2147483647 w 4"/>
                      <a:gd name="T3" fmla="*/ 2147483647 h 14"/>
                      <a:gd name="T4" fmla="*/ 2147483647 w 4"/>
                      <a:gd name="T5" fmla="*/ 2147483647 h 14"/>
                      <a:gd name="T6" fmla="*/ 2147483647 w 4"/>
                      <a:gd name="T7" fmla="*/ 2147483647 h 14"/>
                      <a:gd name="T8" fmla="*/ 2147483647 w 4"/>
                      <a:gd name="T9" fmla="*/ 2147483647 h 14"/>
                      <a:gd name="T10" fmla="*/ 2147483647 w 4"/>
                      <a:gd name="T11" fmla="*/ 0 h 14"/>
                      <a:gd name="T12" fmla="*/ 2147483647 w 4"/>
                      <a:gd name="T13" fmla="*/ 2147483647 h 14"/>
                      <a:gd name="T14" fmla="*/ 2147483647 w 4"/>
                      <a:gd name="T15" fmla="*/ 2147483647 h 14"/>
                      <a:gd name="T16" fmla="*/ 2147483647 w 4"/>
                      <a:gd name="T17" fmla="*/ 2147483647 h 14"/>
                      <a:gd name="T18" fmla="*/ 2147483647 w 4"/>
                      <a:gd name="T19" fmla="*/ 2147483647 h 14"/>
                      <a:gd name="T20" fmla="*/ 2147483647 w 4"/>
                      <a:gd name="T21" fmla="*/ 2147483647 h 14"/>
                      <a:gd name="T22" fmla="*/ 2147483647 w 4"/>
                      <a:gd name="T23" fmla="*/ 2147483647 h 14"/>
                      <a:gd name="T24" fmla="*/ 2147483647 w 4"/>
                      <a:gd name="T25" fmla="*/ 2147483647 h 14"/>
                      <a:gd name="T26" fmla="*/ 0 w 4"/>
                      <a:gd name="T27" fmla="*/ 2147483647 h 14"/>
                      <a:gd name="T28" fmla="*/ 0 w 4"/>
                      <a:gd name="T29" fmla="*/ 2147483647 h 14"/>
                      <a:gd name="T30" fmla="*/ 0 w 4"/>
                      <a:gd name="T31" fmla="*/ 2147483647 h 14"/>
                      <a:gd name="T32" fmla="*/ 2147483647 w 4"/>
                      <a:gd name="T33" fmla="*/ 2147483647 h 14"/>
                      <a:gd name="T34" fmla="*/ 2147483647 w 4"/>
                      <a:gd name="T35" fmla="*/ 2147483647 h 14"/>
                      <a:gd name="T36" fmla="*/ 2147483647 w 4"/>
                      <a:gd name="T37" fmla="*/ 2147483647 h 14"/>
                      <a:gd name="T38" fmla="*/ 2147483647 w 4"/>
                      <a:gd name="T39" fmla="*/ 2147483647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 h="14">
                        <a:moveTo>
                          <a:pt x="3" y="14"/>
                        </a:moveTo>
                        <a:lnTo>
                          <a:pt x="3" y="14"/>
                        </a:lnTo>
                        <a:lnTo>
                          <a:pt x="3" y="10"/>
                        </a:lnTo>
                        <a:lnTo>
                          <a:pt x="4" y="5"/>
                        </a:lnTo>
                        <a:lnTo>
                          <a:pt x="4" y="1"/>
                        </a:lnTo>
                        <a:lnTo>
                          <a:pt x="4" y="0"/>
                        </a:lnTo>
                        <a:lnTo>
                          <a:pt x="3" y="1"/>
                        </a:lnTo>
                        <a:lnTo>
                          <a:pt x="3" y="2"/>
                        </a:lnTo>
                        <a:lnTo>
                          <a:pt x="3" y="4"/>
                        </a:lnTo>
                        <a:lnTo>
                          <a:pt x="2" y="7"/>
                        </a:lnTo>
                        <a:lnTo>
                          <a:pt x="1" y="9"/>
                        </a:lnTo>
                        <a:lnTo>
                          <a:pt x="0" y="12"/>
                        </a:lnTo>
                        <a:lnTo>
                          <a:pt x="0" y="14"/>
                        </a:lnTo>
                        <a:lnTo>
                          <a:pt x="1" y="14"/>
                        </a:lnTo>
                        <a:lnTo>
                          <a:pt x="2" y="14"/>
                        </a:lnTo>
                        <a:lnTo>
                          <a:pt x="3" y="1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499" name="Freeform 1612">
                    <a:extLst>
                      <a:ext uri="{FF2B5EF4-FFF2-40B4-BE49-F238E27FC236}">
                        <a16:creationId xmlns:a16="http://schemas.microsoft.com/office/drawing/2014/main" xmlns="" id="{9B5F57FA-E086-4D2D-BCAB-5CD9E8017CF6}"/>
                      </a:ext>
                    </a:extLst>
                  </p:cNvPr>
                  <p:cNvSpPr>
                    <a:spLocks/>
                  </p:cNvSpPr>
                  <p:nvPr/>
                </p:nvSpPr>
                <p:spPr bwMode="gray">
                  <a:xfrm>
                    <a:off x="4938175" y="2900380"/>
                    <a:ext cx="280341" cy="210246"/>
                  </a:xfrm>
                  <a:custGeom>
                    <a:avLst/>
                    <a:gdLst>
                      <a:gd name="T0" fmla="*/ 2147483647 w 252"/>
                      <a:gd name="T1" fmla="*/ 2147483647 h 189"/>
                      <a:gd name="T2" fmla="*/ 2147483647 w 252"/>
                      <a:gd name="T3" fmla="*/ 2147483647 h 189"/>
                      <a:gd name="T4" fmla="*/ 2147483647 w 252"/>
                      <a:gd name="T5" fmla="*/ 2147483647 h 189"/>
                      <a:gd name="T6" fmla="*/ 2147483647 w 252"/>
                      <a:gd name="T7" fmla="*/ 2147483647 h 189"/>
                      <a:gd name="T8" fmla="*/ 2147483647 w 252"/>
                      <a:gd name="T9" fmla="*/ 2147483647 h 189"/>
                      <a:gd name="T10" fmla="*/ 2147483647 w 252"/>
                      <a:gd name="T11" fmla="*/ 2147483647 h 189"/>
                      <a:gd name="T12" fmla="*/ 2147483647 w 252"/>
                      <a:gd name="T13" fmla="*/ 2147483647 h 189"/>
                      <a:gd name="T14" fmla="*/ 2147483647 w 252"/>
                      <a:gd name="T15" fmla="*/ 2147483647 h 189"/>
                      <a:gd name="T16" fmla="*/ 2147483647 w 252"/>
                      <a:gd name="T17" fmla="*/ 2147483647 h 189"/>
                      <a:gd name="T18" fmla="*/ 2147483647 w 252"/>
                      <a:gd name="T19" fmla="*/ 2147483647 h 189"/>
                      <a:gd name="T20" fmla="*/ 2147483647 w 252"/>
                      <a:gd name="T21" fmla="*/ 2147483647 h 189"/>
                      <a:gd name="T22" fmla="*/ 2147483647 w 252"/>
                      <a:gd name="T23" fmla="*/ 2147483647 h 189"/>
                      <a:gd name="T24" fmla="*/ 2147483647 w 252"/>
                      <a:gd name="T25" fmla="*/ 2147483647 h 189"/>
                      <a:gd name="T26" fmla="*/ 2147483647 w 252"/>
                      <a:gd name="T27" fmla="*/ 2147483647 h 189"/>
                      <a:gd name="T28" fmla="*/ 2147483647 w 252"/>
                      <a:gd name="T29" fmla="*/ 2147483647 h 189"/>
                      <a:gd name="T30" fmla="*/ 2147483647 w 252"/>
                      <a:gd name="T31" fmla="*/ 2147483647 h 189"/>
                      <a:gd name="T32" fmla="*/ 2147483647 w 252"/>
                      <a:gd name="T33" fmla="*/ 2147483647 h 189"/>
                      <a:gd name="T34" fmla="*/ 2147483647 w 252"/>
                      <a:gd name="T35" fmla="*/ 2147483647 h 189"/>
                      <a:gd name="T36" fmla="*/ 2147483647 w 252"/>
                      <a:gd name="T37" fmla="*/ 2147483647 h 189"/>
                      <a:gd name="T38" fmla="*/ 2147483647 w 252"/>
                      <a:gd name="T39" fmla="*/ 2147483647 h 189"/>
                      <a:gd name="T40" fmla="*/ 2147483647 w 252"/>
                      <a:gd name="T41" fmla="*/ 2147483647 h 189"/>
                      <a:gd name="T42" fmla="*/ 2147483647 w 252"/>
                      <a:gd name="T43" fmla="*/ 2147483647 h 189"/>
                      <a:gd name="T44" fmla="*/ 2147483647 w 252"/>
                      <a:gd name="T45" fmla="*/ 2147483647 h 189"/>
                      <a:gd name="T46" fmla="*/ 2147483647 w 252"/>
                      <a:gd name="T47" fmla="*/ 2147483647 h 189"/>
                      <a:gd name="T48" fmla="*/ 2147483647 w 252"/>
                      <a:gd name="T49" fmla="*/ 2147483647 h 189"/>
                      <a:gd name="T50" fmla="*/ 2147483647 w 252"/>
                      <a:gd name="T51" fmla="*/ 2147483647 h 189"/>
                      <a:gd name="T52" fmla="*/ 2147483647 w 252"/>
                      <a:gd name="T53" fmla="*/ 2147483647 h 189"/>
                      <a:gd name="T54" fmla="*/ 2147483647 w 252"/>
                      <a:gd name="T55" fmla="*/ 2147483647 h 189"/>
                      <a:gd name="T56" fmla="*/ 2147483647 w 252"/>
                      <a:gd name="T57" fmla="*/ 2147483647 h 189"/>
                      <a:gd name="T58" fmla="*/ 2147483647 w 252"/>
                      <a:gd name="T59" fmla="*/ 2147483647 h 189"/>
                      <a:gd name="T60" fmla="*/ 2147483647 w 252"/>
                      <a:gd name="T61" fmla="*/ 2147483647 h 189"/>
                      <a:gd name="T62" fmla="*/ 2147483647 w 252"/>
                      <a:gd name="T63" fmla="*/ 2147483647 h 189"/>
                      <a:gd name="T64" fmla="*/ 2147483647 w 252"/>
                      <a:gd name="T65" fmla="*/ 2147483647 h 189"/>
                      <a:gd name="T66" fmla="*/ 2147483647 w 252"/>
                      <a:gd name="T67" fmla="*/ 2147483647 h 189"/>
                      <a:gd name="T68" fmla="*/ 2147483647 w 252"/>
                      <a:gd name="T69" fmla="*/ 2147483647 h 189"/>
                      <a:gd name="T70" fmla="*/ 2147483647 w 252"/>
                      <a:gd name="T71" fmla="*/ 2147483647 h 189"/>
                      <a:gd name="T72" fmla="*/ 2147483647 w 252"/>
                      <a:gd name="T73" fmla="*/ 2147483647 h 189"/>
                      <a:gd name="T74" fmla="*/ 2147483647 w 252"/>
                      <a:gd name="T75" fmla="*/ 2147483647 h 189"/>
                      <a:gd name="T76" fmla="*/ 2147483647 w 252"/>
                      <a:gd name="T77" fmla="*/ 2147483647 h 189"/>
                      <a:gd name="T78" fmla="*/ 2147483647 w 252"/>
                      <a:gd name="T79" fmla="*/ 2147483647 h 189"/>
                      <a:gd name="T80" fmla="*/ 2147483647 w 252"/>
                      <a:gd name="T81" fmla="*/ 2147483647 h 189"/>
                      <a:gd name="T82" fmla="*/ 2147483647 w 252"/>
                      <a:gd name="T83" fmla="*/ 2147483647 h 189"/>
                      <a:gd name="T84" fmla="*/ 2147483647 w 252"/>
                      <a:gd name="T85" fmla="*/ 2147483647 h 189"/>
                      <a:gd name="T86" fmla="*/ 2147483647 w 252"/>
                      <a:gd name="T87" fmla="*/ 2147483647 h 189"/>
                      <a:gd name="T88" fmla="*/ 2147483647 w 252"/>
                      <a:gd name="T89" fmla="*/ 0 h 189"/>
                      <a:gd name="T90" fmla="*/ 2147483647 w 252"/>
                      <a:gd name="T91" fmla="*/ 2147483647 h 189"/>
                      <a:gd name="T92" fmla="*/ 2147483647 w 252"/>
                      <a:gd name="T93" fmla="*/ 2147483647 h 189"/>
                      <a:gd name="T94" fmla="*/ 2147483647 w 252"/>
                      <a:gd name="T95" fmla="*/ 2147483647 h 189"/>
                      <a:gd name="T96" fmla="*/ 2147483647 w 252"/>
                      <a:gd name="T97" fmla="*/ 2147483647 h 189"/>
                      <a:gd name="T98" fmla="*/ 2147483647 w 252"/>
                      <a:gd name="T99" fmla="*/ 2147483647 h 189"/>
                      <a:gd name="T100" fmla="*/ 2147483647 w 252"/>
                      <a:gd name="T101" fmla="*/ 2147483647 h 189"/>
                      <a:gd name="T102" fmla="*/ 2147483647 w 252"/>
                      <a:gd name="T103" fmla="*/ 2147483647 h 189"/>
                      <a:gd name="T104" fmla="*/ 2147483647 w 252"/>
                      <a:gd name="T105" fmla="*/ 2147483647 h 189"/>
                      <a:gd name="T106" fmla="*/ 2147483647 w 252"/>
                      <a:gd name="T107" fmla="*/ 2147483647 h 189"/>
                      <a:gd name="T108" fmla="*/ 2147483647 w 252"/>
                      <a:gd name="T109" fmla="*/ 2147483647 h 189"/>
                      <a:gd name="T110" fmla="*/ 2147483647 w 252"/>
                      <a:gd name="T111" fmla="*/ 2147483647 h 189"/>
                      <a:gd name="T112" fmla="*/ 0 w 252"/>
                      <a:gd name="T113" fmla="*/ 2147483647 h 189"/>
                      <a:gd name="T114" fmla="*/ 2147483647 w 252"/>
                      <a:gd name="T115" fmla="*/ 2147483647 h 189"/>
                      <a:gd name="T116" fmla="*/ 2147483647 w 252"/>
                      <a:gd name="T117" fmla="*/ 2147483647 h 189"/>
                      <a:gd name="T118" fmla="*/ 2147483647 w 252"/>
                      <a:gd name="T119" fmla="*/ 2147483647 h 1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52" h="189">
                        <a:moveTo>
                          <a:pt x="13" y="94"/>
                        </a:moveTo>
                        <a:lnTo>
                          <a:pt x="14" y="94"/>
                        </a:lnTo>
                        <a:lnTo>
                          <a:pt x="16" y="94"/>
                        </a:lnTo>
                        <a:lnTo>
                          <a:pt x="16" y="93"/>
                        </a:lnTo>
                        <a:lnTo>
                          <a:pt x="16" y="91"/>
                        </a:lnTo>
                        <a:lnTo>
                          <a:pt x="18" y="91"/>
                        </a:lnTo>
                        <a:lnTo>
                          <a:pt x="20" y="93"/>
                        </a:lnTo>
                        <a:lnTo>
                          <a:pt x="22" y="95"/>
                        </a:lnTo>
                        <a:lnTo>
                          <a:pt x="22" y="97"/>
                        </a:lnTo>
                        <a:lnTo>
                          <a:pt x="24" y="98"/>
                        </a:lnTo>
                        <a:lnTo>
                          <a:pt x="26" y="99"/>
                        </a:lnTo>
                        <a:lnTo>
                          <a:pt x="27" y="100"/>
                        </a:lnTo>
                        <a:lnTo>
                          <a:pt x="29" y="101"/>
                        </a:lnTo>
                        <a:lnTo>
                          <a:pt x="32" y="103"/>
                        </a:lnTo>
                        <a:lnTo>
                          <a:pt x="34" y="104"/>
                        </a:lnTo>
                        <a:lnTo>
                          <a:pt x="37" y="106"/>
                        </a:lnTo>
                        <a:lnTo>
                          <a:pt x="38" y="108"/>
                        </a:lnTo>
                        <a:lnTo>
                          <a:pt x="41" y="108"/>
                        </a:lnTo>
                        <a:lnTo>
                          <a:pt x="45" y="108"/>
                        </a:lnTo>
                        <a:lnTo>
                          <a:pt x="49" y="108"/>
                        </a:lnTo>
                        <a:lnTo>
                          <a:pt x="52" y="108"/>
                        </a:lnTo>
                        <a:lnTo>
                          <a:pt x="53" y="108"/>
                        </a:lnTo>
                        <a:lnTo>
                          <a:pt x="53" y="109"/>
                        </a:lnTo>
                        <a:lnTo>
                          <a:pt x="55" y="110"/>
                        </a:lnTo>
                        <a:lnTo>
                          <a:pt x="56" y="110"/>
                        </a:lnTo>
                        <a:lnTo>
                          <a:pt x="58" y="110"/>
                        </a:lnTo>
                        <a:lnTo>
                          <a:pt x="59" y="110"/>
                        </a:lnTo>
                        <a:lnTo>
                          <a:pt x="61" y="110"/>
                        </a:lnTo>
                        <a:lnTo>
                          <a:pt x="61" y="109"/>
                        </a:lnTo>
                        <a:lnTo>
                          <a:pt x="61" y="108"/>
                        </a:lnTo>
                        <a:lnTo>
                          <a:pt x="62" y="108"/>
                        </a:lnTo>
                        <a:lnTo>
                          <a:pt x="64" y="108"/>
                        </a:lnTo>
                        <a:lnTo>
                          <a:pt x="65" y="108"/>
                        </a:lnTo>
                        <a:lnTo>
                          <a:pt x="66" y="108"/>
                        </a:lnTo>
                        <a:lnTo>
                          <a:pt x="67" y="108"/>
                        </a:lnTo>
                        <a:lnTo>
                          <a:pt x="70" y="108"/>
                        </a:lnTo>
                        <a:lnTo>
                          <a:pt x="74" y="108"/>
                        </a:lnTo>
                        <a:lnTo>
                          <a:pt x="76" y="108"/>
                        </a:lnTo>
                        <a:lnTo>
                          <a:pt x="77" y="108"/>
                        </a:lnTo>
                        <a:lnTo>
                          <a:pt x="79" y="108"/>
                        </a:lnTo>
                        <a:lnTo>
                          <a:pt x="80" y="108"/>
                        </a:lnTo>
                        <a:lnTo>
                          <a:pt x="80" y="109"/>
                        </a:lnTo>
                        <a:lnTo>
                          <a:pt x="80" y="110"/>
                        </a:lnTo>
                        <a:lnTo>
                          <a:pt x="82" y="111"/>
                        </a:lnTo>
                        <a:lnTo>
                          <a:pt x="83" y="112"/>
                        </a:lnTo>
                        <a:lnTo>
                          <a:pt x="83" y="113"/>
                        </a:lnTo>
                        <a:lnTo>
                          <a:pt x="85" y="116"/>
                        </a:lnTo>
                        <a:lnTo>
                          <a:pt x="86" y="118"/>
                        </a:lnTo>
                        <a:lnTo>
                          <a:pt x="88" y="119"/>
                        </a:lnTo>
                        <a:lnTo>
                          <a:pt x="88" y="120"/>
                        </a:lnTo>
                        <a:lnTo>
                          <a:pt x="86" y="122"/>
                        </a:lnTo>
                        <a:lnTo>
                          <a:pt x="85" y="125"/>
                        </a:lnTo>
                        <a:lnTo>
                          <a:pt x="80" y="130"/>
                        </a:lnTo>
                        <a:lnTo>
                          <a:pt x="79" y="131"/>
                        </a:lnTo>
                        <a:lnTo>
                          <a:pt x="77" y="134"/>
                        </a:lnTo>
                        <a:lnTo>
                          <a:pt x="77" y="139"/>
                        </a:lnTo>
                        <a:lnTo>
                          <a:pt x="79" y="143"/>
                        </a:lnTo>
                        <a:lnTo>
                          <a:pt x="77" y="146"/>
                        </a:lnTo>
                        <a:lnTo>
                          <a:pt x="77" y="150"/>
                        </a:lnTo>
                        <a:lnTo>
                          <a:pt x="79" y="152"/>
                        </a:lnTo>
                        <a:lnTo>
                          <a:pt x="80" y="152"/>
                        </a:lnTo>
                        <a:lnTo>
                          <a:pt x="83" y="152"/>
                        </a:lnTo>
                        <a:lnTo>
                          <a:pt x="85" y="152"/>
                        </a:lnTo>
                        <a:lnTo>
                          <a:pt x="88" y="152"/>
                        </a:lnTo>
                        <a:lnTo>
                          <a:pt x="90" y="152"/>
                        </a:lnTo>
                        <a:lnTo>
                          <a:pt x="91" y="151"/>
                        </a:lnTo>
                        <a:lnTo>
                          <a:pt x="92" y="150"/>
                        </a:lnTo>
                        <a:lnTo>
                          <a:pt x="93" y="149"/>
                        </a:lnTo>
                        <a:lnTo>
                          <a:pt x="96" y="150"/>
                        </a:lnTo>
                        <a:lnTo>
                          <a:pt x="98" y="151"/>
                        </a:lnTo>
                        <a:lnTo>
                          <a:pt x="100" y="152"/>
                        </a:lnTo>
                        <a:lnTo>
                          <a:pt x="101" y="153"/>
                        </a:lnTo>
                        <a:lnTo>
                          <a:pt x="103" y="154"/>
                        </a:lnTo>
                        <a:lnTo>
                          <a:pt x="104" y="155"/>
                        </a:lnTo>
                        <a:lnTo>
                          <a:pt x="106" y="155"/>
                        </a:lnTo>
                        <a:lnTo>
                          <a:pt x="109" y="155"/>
                        </a:lnTo>
                        <a:lnTo>
                          <a:pt x="112" y="157"/>
                        </a:lnTo>
                        <a:lnTo>
                          <a:pt x="112" y="158"/>
                        </a:lnTo>
                        <a:lnTo>
                          <a:pt x="113" y="158"/>
                        </a:lnTo>
                        <a:lnTo>
                          <a:pt x="117" y="163"/>
                        </a:lnTo>
                        <a:lnTo>
                          <a:pt x="119" y="166"/>
                        </a:lnTo>
                        <a:lnTo>
                          <a:pt x="119" y="168"/>
                        </a:lnTo>
                        <a:lnTo>
                          <a:pt x="121" y="172"/>
                        </a:lnTo>
                        <a:lnTo>
                          <a:pt x="122" y="175"/>
                        </a:lnTo>
                        <a:lnTo>
                          <a:pt x="121" y="178"/>
                        </a:lnTo>
                        <a:lnTo>
                          <a:pt x="119" y="181"/>
                        </a:lnTo>
                        <a:lnTo>
                          <a:pt x="119" y="183"/>
                        </a:lnTo>
                        <a:lnTo>
                          <a:pt x="119" y="184"/>
                        </a:lnTo>
                        <a:lnTo>
                          <a:pt x="119" y="185"/>
                        </a:lnTo>
                        <a:lnTo>
                          <a:pt x="119" y="187"/>
                        </a:lnTo>
                        <a:lnTo>
                          <a:pt x="122" y="187"/>
                        </a:lnTo>
                        <a:lnTo>
                          <a:pt x="125" y="187"/>
                        </a:lnTo>
                        <a:lnTo>
                          <a:pt x="130" y="187"/>
                        </a:lnTo>
                        <a:lnTo>
                          <a:pt x="133" y="187"/>
                        </a:lnTo>
                        <a:lnTo>
                          <a:pt x="134" y="189"/>
                        </a:lnTo>
                        <a:lnTo>
                          <a:pt x="136" y="188"/>
                        </a:lnTo>
                        <a:lnTo>
                          <a:pt x="137" y="186"/>
                        </a:lnTo>
                        <a:lnTo>
                          <a:pt x="139" y="184"/>
                        </a:lnTo>
                        <a:lnTo>
                          <a:pt x="144" y="184"/>
                        </a:lnTo>
                        <a:lnTo>
                          <a:pt x="146" y="183"/>
                        </a:lnTo>
                        <a:lnTo>
                          <a:pt x="149" y="181"/>
                        </a:lnTo>
                        <a:lnTo>
                          <a:pt x="151" y="181"/>
                        </a:lnTo>
                        <a:lnTo>
                          <a:pt x="151" y="182"/>
                        </a:lnTo>
                        <a:lnTo>
                          <a:pt x="152" y="183"/>
                        </a:lnTo>
                        <a:lnTo>
                          <a:pt x="154" y="184"/>
                        </a:lnTo>
                        <a:lnTo>
                          <a:pt x="157" y="182"/>
                        </a:lnTo>
                        <a:lnTo>
                          <a:pt x="158" y="181"/>
                        </a:lnTo>
                        <a:lnTo>
                          <a:pt x="160" y="179"/>
                        </a:lnTo>
                        <a:lnTo>
                          <a:pt x="161" y="178"/>
                        </a:lnTo>
                        <a:lnTo>
                          <a:pt x="165" y="176"/>
                        </a:lnTo>
                        <a:lnTo>
                          <a:pt x="166" y="174"/>
                        </a:lnTo>
                        <a:lnTo>
                          <a:pt x="166" y="172"/>
                        </a:lnTo>
                        <a:lnTo>
                          <a:pt x="168" y="172"/>
                        </a:lnTo>
                        <a:lnTo>
                          <a:pt x="170" y="172"/>
                        </a:lnTo>
                        <a:lnTo>
                          <a:pt x="171" y="173"/>
                        </a:lnTo>
                        <a:lnTo>
                          <a:pt x="173" y="173"/>
                        </a:lnTo>
                        <a:lnTo>
                          <a:pt x="175" y="172"/>
                        </a:lnTo>
                        <a:lnTo>
                          <a:pt x="175" y="171"/>
                        </a:lnTo>
                        <a:lnTo>
                          <a:pt x="175" y="170"/>
                        </a:lnTo>
                        <a:lnTo>
                          <a:pt x="175" y="168"/>
                        </a:lnTo>
                        <a:lnTo>
                          <a:pt x="176" y="166"/>
                        </a:lnTo>
                        <a:lnTo>
                          <a:pt x="178" y="165"/>
                        </a:lnTo>
                        <a:lnTo>
                          <a:pt x="178" y="163"/>
                        </a:lnTo>
                        <a:lnTo>
                          <a:pt x="181" y="161"/>
                        </a:lnTo>
                        <a:lnTo>
                          <a:pt x="181" y="162"/>
                        </a:lnTo>
                        <a:lnTo>
                          <a:pt x="184" y="163"/>
                        </a:lnTo>
                        <a:lnTo>
                          <a:pt x="185" y="164"/>
                        </a:lnTo>
                        <a:lnTo>
                          <a:pt x="187" y="165"/>
                        </a:lnTo>
                        <a:lnTo>
                          <a:pt x="188" y="164"/>
                        </a:lnTo>
                        <a:lnTo>
                          <a:pt x="189" y="161"/>
                        </a:lnTo>
                        <a:lnTo>
                          <a:pt x="190" y="159"/>
                        </a:lnTo>
                        <a:lnTo>
                          <a:pt x="191" y="158"/>
                        </a:lnTo>
                        <a:lnTo>
                          <a:pt x="193" y="158"/>
                        </a:lnTo>
                        <a:lnTo>
                          <a:pt x="195" y="156"/>
                        </a:lnTo>
                        <a:lnTo>
                          <a:pt x="197" y="155"/>
                        </a:lnTo>
                        <a:lnTo>
                          <a:pt x="197" y="152"/>
                        </a:lnTo>
                        <a:lnTo>
                          <a:pt x="197" y="151"/>
                        </a:lnTo>
                        <a:lnTo>
                          <a:pt x="199" y="150"/>
                        </a:lnTo>
                        <a:lnTo>
                          <a:pt x="203" y="149"/>
                        </a:lnTo>
                        <a:lnTo>
                          <a:pt x="203" y="148"/>
                        </a:lnTo>
                        <a:lnTo>
                          <a:pt x="205" y="148"/>
                        </a:lnTo>
                        <a:lnTo>
                          <a:pt x="205" y="149"/>
                        </a:lnTo>
                        <a:lnTo>
                          <a:pt x="206" y="149"/>
                        </a:lnTo>
                        <a:lnTo>
                          <a:pt x="207" y="147"/>
                        </a:lnTo>
                        <a:lnTo>
                          <a:pt x="207" y="146"/>
                        </a:lnTo>
                        <a:lnTo>
                          <a:pt x="208" y="146"/>
                        </a:lnTo>
                        <a:lnTo>
                          <a:pt x="210" y="146"/>
                        </a:lnTo>
                        <a:lnTo>
                          <a:pt x="212" y="147"/>
                        </a:lnTo>
                        <a:lnTo>
                          <a:pt x="214" y="151"/>
                        </a:lnTo>
                        <a:lnTo>
                          <a:pt x="215" y="155"/>
                        </a:lnTo>
                        <a:lnTo>
                          <a:pt x="213" y="158"/>
                        </a:lnTo>
                        <a:lnTo>
                          <a:pt x="212" y="158"/>
                        </a:lnTo>
                        <a:lnTo>
                          <a:pt x="214" y="158"/>
                        </a:lnTo>
                        <a:lnTo>
                          <a:pt x="216" y="158"/>
                        </a:lnTo>
                        <a:lnTo>
                          <a:pt x="217" y="158"/>
                        </a:lnTo>
                        <a:lnTo>
                          <a:pt x="219" y="158"/>
                        </a:lnTo>
                        <a:lnTo>
                          <a:pt x="221" y="156"/>
                        </a:lnTo>
                        <a:lnTo>
                          <a:pt x="222" y="155"/>
                        </a:lnTo>
                        <a:lnTo>
                          <a:pt x="222" y="152"/>
                        </a:lnTo>
                        <a:lnTo>
                          <a:pt x="222" y="151"/>
                        </a:lnTo>
                        <a:lnTo>
                          <a:pt x="222" y="150"/>
                        </a:lnTo>
                        <a:lnTo>
                          <a:pt x="222" y="149"/>
                        </a:lnTo>
                        <a:lnTo>
                          <a:pt x="221" y="147"/>
                        </a:lnTo>
                        <a:lnTo>
                          <a:pt x="220" y="146"/>
                        </a:lnTo>
                        <a:lnTo>
                          <a:pt x="219" y="146"/>
                        </a:lnTo>
                        <a:lnTo>
                          <a:pt x="217" y="146"/>
                        </a:lnTo>
                        <a:lnTo>
                          <a:pt x="216" y="144"/>
                        </a:lnTo>
                        <a:lnTo>
                          <a:pt x="215" y="143"/>
                        </a:lnTo>
                        <a:lnTo>
                          <a:pt x="214" y="142"/>
                        </a:lnTo>
                        <a:lnTo>
                          <a:pt x="213" y="142"/>
                        </a:lnTo>
                        <a:lnTo>
                          <a:pt x="212" y="139"/>
                        </a:lnTo>
                        <a:lnTo>
                          <a:pt x="212" y="136"/>
                        </a:lnTo>
                        <a:lnTo>
                          <a:pt x="213" y="132"/>
                        </a:lnTo>
                        <a:lnTo>
                          <a:pt x="213" y="130"/>
                        </a:lnTo>
                        <a:lnTo>
                          <a:pt x="215" y="128"/>
                        </a:lnTo>
                        <a:lnTo>
                          <a:pt x="216" y="126"/>
                        </a:lnTo>
                        <a:lnTo>
                          <a:pt x="217" y="124"/>
                        </a:lnTo>
                        <a:lnTo>
                          <a:pt x="217" y="120"/>
                        </a:lnTo>
                        <a:lnTo>
                          <a:pt x="217" y="118"/>
                        </a:lnTo>
                        <a:lnTo>
                          <a:pt x="218" y="118"/>
                        </a:lnTo>
                        <a:lnTo>
                          <a:pt x="219" y="118"/>
                        </a:lnTo>
                        <a:lnTo>
                          <a:pt x="220" y="117"/>
                        </a:lnTo>
                        <a:lnTo>
                          <a:pt x="219" y="113"/>
                        </a:lnTo>
                        <a:lnTo>
                          <a:pt x="219" y="109"/>
                        </a:lnTo>
                        <a:lnTo>
                          <a:pt x="219" y="106"/>
                        </a:lnTo>
                        <a:lnTo>
                          <a:pt x="220" y="104"/>
                        </a:lnTo>
                        <a:lnTo>
                          <a:pt x="220" y="102"/>
                        </a:lnTo>
                        <a:lnTo>
                          <a:pt x="221" y="100"/>
                        </a:lnTo>
                        <a:lnTo>
                          <a:pt x="222" y="98"/>
                        </a:lnTo>
                        <a:lnTo>
                          <a:pt x="222" y="97"/>
                        </a:lnTo>
                        <a:lnTo>
                          <a:pt x="222" y="95"/>
                        </a:lnTo>
                        <a:lnTo>
                          <a:pt x="223" y="94"/>
                        </a:lnTo>
                        <a:lnTo>
                          <a:pt x="224" y="93"/>
                        </a:lnTo>
                        <a:lnTo>
                          <a:pt x="226" y="91"/>
                        </a:lnTo>
                        <a:lnTo>
                          <a:pt x="229" y="90"/>
                        </a:lnTo>
                        <a:lnTo>
                          <a:pt x="232" y="87"/>
                        </a:lnTo>
                        <a:lnTo>
                          <a:pt x="235" y="87"/>
                        </a:lnTo>
                        <a:lnTo>
                          <a:pt x="236" y="84"/>
                        </a:lnTo>
                        <a:lnTo>
                          <a:pt x="236" y="82"/>
                        </a:lnTo>
                        <a:lnTo>
                          <a:pt x="236" y="80"/>
                        </a:lnTo>
                        <a:lnTo>
                          <a:pt x="236" y="79"/>
                        </a:lnTo>
                        <a:lnTo>
                          <a:pt x="237" y="78"/>
                        </a:lnTo>
                        <a:lnTo>
                          <a:pt x="239" y="78"/>
                        </a:lnTo>
                        <a:lnTo>
                          <a:pt x="242" y="77"/>
                        </a:lnTo>
                        <a:lnTo>
                          <a:pt x="244" y="77"/>
                        </a:lnTo>
                        <a:lnTo>
                          <a:pt x="246" y="77"/>
                        </a:lnTo>
                        <a:lnTo>
                          <a:pt x="248" y="75"/>
                        </a:lnTo>
                        <a:lnTo>
                          <a:pt x="248" y="73"/>
                        </a:lnTo>
                        <a:lnTo>
                          <a:pt x="248" y="69"/>
                        </a:lnTo>
                        <a:lnTo>
                          <a:pt x="249" y="67"/>
                        </a:lnTo>
                        <a:lnTo>
                          <a:pt x="250" y="64"/>
                        </a:lnTo>
                        <a:lnTo>
                          <a:pt x="251" y="60"/>
                        </a:lnTo>
                        <a:lnTo>
                          <a:pt x="252" y="56"/>
                        </a:lnTo>
                        <a:lnTo>
                          <a:pt x="249" y="55"/>
                        </a:lnTo>
                        <a:lnTo>
                          <a:pt x="247" y="56"/>
                        </a:lnTo>
                        <a:lnTo>
                          <a:pt x="245" y="58"/>
                        </a:lnTo>
                        <a:lnTo>
                          <a:pt x="243" y="59"/>
                        </a:lnTo>
                        <a:lnTo>
                          <a:pt x="241" y="57"/>
                        </a:lnTo>
                        <a:lnTo>
                          <a:pt x="240" y="54"/>
                        </a:lnTo>
                        <a:lnTo>
                          <a:pt x="239" y="49"/>
                        </a:lnTo>
                        <a:lnTo>
                          <a:pt x="239" y="47"/>
                        </a:lnTo>
                        <a:lnTo>
                          <a:pt x="239" y="46"/>
                        </a:lnTo>
                        <a:lnTo>
                          <a:pt x="239" y="44"/>
                        </a:lnTo>
                        <a:lnTo>
                          <a:pt x="229" y="44"/>
                        </a:lnTo>
                        <a:lnTo>
                          <a:pt x="225" y="44"/>
                        </a:lnTo>
                        <a:lnTo>
                          <a:pt x="221" y="43"/>
                        </a:lnTo>
                        <a:lnTo>
                          <a:pt x="219" y="42"/>
                        </a:lnTo>
                        <a:lnTo>
                          <a:pt x="217" y="40"/>
                        </a:lnTo>
                        <a:lnTo>
                          <a:pt x="215" y="38"/>
                        </a:lnTo>
                        <a:lnTo>
                          <a:pt x="213" y="37"/>
                        </a:lnTo>
                        <a:lnTo>
                          <a:pt x="210" y="37"/>
                        </a:lnTo>
                        <a:lnTo>
                          <a:pt x="206" y="37"/>
                        </a:lnTo>
                        <a:lnTo>
                          <a:pt x="205" y="36"/>
                        </a:lnTo>
                        <a:lnTo>
                          <a:pt x="203" y="33"/>
                        </a:lnTo>
                        <a:lnTo>
                          <a:pt x="202" y="31"/>
                        </a:lnTo>
                        <a:lnTo>
                          <a:pt x="200" y="30"/>
                        </a:lnTo>
                        <a:lnTo>
                          <a:pt x="197" y="27"/>
                        </a:lnTo>
                        <a:lnTo>
                          <a:pt x="194" y="24"/>
                        </a:lnTo>
                        <a:lnTo>
                          <a:pt x="190" y="22"/>
                        </a:lnTo>
                        <a:lnTo>
                          <a:pt x="187" y="21"/>
                        </a:lnTo>
                        <a:lnTo>
                          <a:pt x="181" y="20"/>
                        </a:lnTo>
                        <a:lnTo>
                          <a:pt x="178" y="19"/>
                        </a:lnTo>
                        <a:lnTo>
                          <a:pt x="173" y="19"/>
                        </a:lnTo>
                        <a:lnTo>
                          <a:pt x="168" y="18"/>
                        </a:lnTo>
                        <a:lnTo>
                          <a:pt x="166" y="17"/>
                        </a:lnTo>
                        <a:lnTo>
                          <a:pt x="165" y="15"/>
                        </a:lnTo>
                        <a:lnTo>
                          <a:pt x="163" y="12"/>
                        </a:lnTo>
                        <a:lnTo>
                          <a:pt x="161" y="8"/>
                        </a:lnTo>
                        <a:lnTo>
                          <a:pt x="160" y="8"/>
                        </a:lnTo>
                        <a:lnTo>
                          <a:pt x="158" y="7"/>
                        </a:lnTo>
                        <a:lnTo>
                          <a:pt x="157" y="5"/>
                        </a:lnTo>
                        <a:lnTo>
                          <a:pt x="154" y="1"/>
                        </a:lnTo>
                        <a:lnTo>
                          <a:pt x="154" y="0"/>
                        </a:lnTo>
                        <a:lnTo>
                          <a:pt x="151" y="1"/>
                        </a:lnTo>
                        <a:lnTo>
                          <a:pt x="148" y="5"/>
                        </a:lnTo>
                        <a:lnTo>
                          <a:pt x="144" y="9"/>
                        </a:lnTo>
                        <a:lnTo>
                          <a:pt x="141" y="11"/>
                        </a:lnTo>
                        <a:lnTo>
                          <a:pt x="139" y="11"/>
                        </a:lnTo>
                        <a:lnTo>
                          <a:pt x="128" y="11"/>
                        </a:lnTo>
                        <a:lnTo>
                          <a:pt x="127" y="11"/>
                        </a:lnTo>
                        <a:lnTo>
                          <a:pt x="124" y="10"/>
                        </a:lnTo>
                        <a:lnTo>
                          <a:pt x="122" y="10"/>
                        </a:lnTo>
                        <a:lnTo>
                          <a:pt x="119" y="11"/>
                        </a:lnTo>
                        <a:lnTo>
                          <a:pt x="118" y="11"/>
                        </a:lnTo>
                        <a:lnTo>
                          <a:pt x="115" y="11"/>
                        </a:lnTo>
                        <a:lnTo>
                          <a:pt x="109" y="10"/>
                        </a:lnTo>
                        <a:lnTo>
                          <a:pt x="106" y="10"/>
                        </a:lnTo>
                        <a:lnTo>
                          <a:pt x="103" y="10"/>
                        </a:lnTo>
                        <a:lnTo>
                          <a:pt x="103" y="11"/>
                        </a:lnTo>
                        <a:lnTo>
                          <a:pt x="100" y="10"/>
                        </a:lnTo>
                        <a:lnTo>
                          <a:pt x="97" y="8"/>
                        </a:lnTo>
                        <a:lnTo>
                          <a:pt x="96" y="6"/>
                        </a:lnTo>
                        <a:lnTo>
                          <a:pt x="95" y="6"/>
                        </a:lnTo>
                        <a:lnTo>
                          <a:pt x="93" y="6"/>
                        </a:lnTo>
                        <a:lnTo>
                          <a:pt x="90" y="4"/>
                        </a:lnTo>
                        <a:lnTo>
                          <a:pt x="90" y="5"/>
                        </a:lnTo>
                        <a:lnTo>
                          <a:pt x="88" y="8"/>
                        </a:lnTo>
                        <a:lnTo>
                          <a:pt x="88" y="10"/>
                        </a:lnTo>
                        <a:lnTo>
                          <a:pt x="88" y="11"/>
                        </a:lnTo>
                        <a:lnTo>
                          <a:pt x="85" y="11"/>
                        </a:lnTo>
                        <a:lnTo>
                          <a:pt x="83" y="10"/>
                        </a:lnTo>
                        <a:lnTo>
                          <a:pt x="82" y="8"/>
                        </a:lnTo>
                        <a:lnTo>
                          <a:pt x="80" y="4"/>
                        </a:lnTo>
                        <a:lnTo>
                          <a:pt x="79" y="4"/>
                        </a:lnTo>
                        <a:lnTo>
                          <a:pt x="77" y="4"/>
                        </a:lnTo>
                        <a:lnTo>
                          <a:pt x="74" y="6"/>
                        </a:lnTo>
                        <a:lnTo>
                          <a:pt x="71" y="10"/>
                        </a:lnTo>
                        <a:lnTo>
                          <a:pt x="67" y="11"/>
                        </a:lnTo>
                        <a:lnTo>
                          <a:pt x="66" y="9"/>
                        </a:lnTo>
                        <a:lnTo>
                          <a:pt x="65" y="8"/>
                        </a:lnTo>
                        <a:lnTo>
                          <a:pt x="64" y="8"/>
                        </a:lnTo>
                        <a:lnTo>
                          <a:pt x="61" y="8"/>
                        </a:lnTo>
                        <a:lnTo>
                          <a:pt x="58" y="7"/>
                        </a:lnTo>
                        <a:lnTo>
                          <a:pt x="56" y="6"/>
                        </a:lnTo>
                        <a:lnTo>
                          <a:pt x="53" y="5"/>
                        </a:lnTo>
                        <a:lnTo>
                          <a:pt x="52" y="4"/>
                        </a:lnTo>
                        <a:lnTo>
                          <a:pt x="41" y="4"/>
                        </a:lnTo>
                        <a:lnTo>
                          <a:pt x="40" y="6"/>
                        </a:lnTo>
                        <a:lnTo>
                          <a:pt x="37" y="7"/>
                        </a:lnTo>
                        <a:lnTo>
                          <a:pt x="35" y="8"/>
                        </a:lnTo>
                        <a:lnTo>
                          <a:pt x="32" y="9"/>
                        </a:lnTo>
                        <a:lnTo>
                          <a:pt x="31" y="9"/>
                        </a:lnTo>
                        <a:lnTo>
                          <a:pt x="29" y="8"/>
                        </a:lnTo>
                        <a:lnTo>
                          <a:pt x="27" y="10"/>
                        </a:lnTo>
                        <a:lnTo>
                          <a:pt x="26" y="13"/>
                        </a:lnTo>
                        <a:lnTo>
                          <a:pt x="24" y="15"/>
                        </a:lnTo>
                        <a:lnTo>
                          <a:pt x="22" y="18"/>
                        </a:lnTo>
                        <a:lnTo>
                          <a:pt x="20" y="19"/>
                        </a:lnTo>
                        <a:lnTo>
                          <a:pt x="18" y="21"/>
                        </a:lnTo>
                        <a:lnTo>
                          <a:pt x="16" y="22"/>
                        </a:lnTo>
                        <a:lnTo>
                          <a:pt x="16" y="21"/>
                        </a:lnTo>
                        <a:lnTo>
                          <a:pt x="13" y="22"/>
                        </a:lnTo>
                        <a:lnTo>
                          <a:pt x="11" y="23"/>
                        </a:lnTo>
                        <a:lnTo>
                          <a:pt x="10" y="24"/>
                        </a:lnTo>
                        <a:lnTo>
                          <a:pt x="10" y="27"/>
                        </a:lnTo>
                        <a:lnTo>
                          <a:pt x="8" y="30"/>
                        </a:lnTo>
                        <a:lnTo>
                          <a:pt x="5" y="33"/>
                        </a:lnTo>
                        <a:lnTo>
                          <a:pt x="5" y="36"/>
                        </a:lnTo>
                        <a:lnTo>
                          <a:pt x="3" y="37"/>
                        </a:lnTo>
                        <a:lnTo>
                          <a:pt x="0" y="37"/>
                        </a:lnTo>
                        <a:lnTo>
                          <a:pt x="1" y="39"/>
                        </a:lnTo>
                        <a:lnTo>
                          <a:pt x="2" y="40"/>
                        </a:lnTo>
                        <a:lnTo>
                          <a:pt x="3" y="40"/>
                        </a:lnTo>
                        <a:lnTo>
                          <a:pt x="3" y="46"/>
                        </a:lnTo>
                        <a:lnTo>
                          <a:pt x="3" y="48"/>
                        </a:lnTo>
                        <a:lnTo>
                          <a:pt x="3" y="53"/>
                        </a:lnTo>
                        <a:lnTo>
                          <a:pt x="3" y="56"/>
                        </a:lnTo>
                        <a:lnTo>
                          <a:pt x="5" y="59"/>
                        </a:lnTo>
                        <a:lnTo>
                          <a:pt x="5" y="63"/>
                        </a:lnTo>
                        <a:lnTo>
                          <a:pt x="5" y="66"/>
                        </a:lnTo>
                        <a:lnTo>
                          <a:pt x="5" y="68"/>
                        </a:lnTo>
                        <a:lnTo>
                          <a:pt x="5" y="69"/>
                        </a:lnTo>
                        <a:lnTo>
                          <a:pt x="5" y="71"/>
                        </a:lnTo>
                        <a:lnTo>
                          <a:pt x="5" y="72"/>
                        </a:lnTo>
                        <a:lnTo>
                          <a:pt x="10" y="72"/>
                        </a:lnTo>
                        <a:lnTo>
                          <a:pt x="10" y="79"/>
                        </a:lnTo>
                        <a:lnTo>
                          <a:pt x="10" y="84"/>
                        </a:lnTo>
                        <a:lnTo>
                          <a:pt x="11" y="90"/>
                        </a:lnTo>
                        <a:lnTo>
                          <a:pt x="13" y="94"/>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0" name="Freeform 1614">
                    <a:extLst>
                      <a:ext uri="{FF2B5EF4-FFF2-40B4-BE49-F238E27FC236}">
                        <a16:creationId xmlns:a16="http://schemas.microsoft.com/office/drawing/2014/main" xmlns="" id="{DFC73017-9469-4594-A630-60C70E8CAE37}"/>
                      </a:ext>
                    </a:extLst>
                  </p:cNvPr>
                  <p:cNvSpPr>
                    <a:spLocks/>
                  </p:cNvSpPr>
                  <p:nvPr/>
                </p:nvSpPr>
                <p:spPr bwMode="gray">
                  <a:xfrm>
                    <a:off x="4319642" y="3643469"/>
                    <a:ext cx="8900" cy="17798"/>
                  </a:xfrm>
                  <a:custGeom>
                    <a:avLst/>
                    <a:gdLst>
                      <a:gd name="T0" fmla="*/ 2147483647 w 8"/>
                      <a:gd name="T1" fmla="*/ 0 h 16"/>
                      <a:gd name="T2" fmla="*/ 2147483647 w 8"/>
                      <a:gd name="T3" fmla="*/ 0 h 16"/>
                      <a:gd name="T4" fmla="*/ 2147483647 w 8"/>
                      <a:gd name="T5" fmla="*/ 0 h 16"/>
                      <a:gd name="T6" fmla="*/ 2147483647 w 8"/>
                      <a:gd name="T7" fmla="*/ 2147483647 h 16"/>
                      <a:gd name="T8" fmla="*/ 2147483647 w 8"/>
                      <a:gd name="T9" fmla="*/ 2147483647 h 16"/>
                      <a:gd name="T10" fmla="*/ 2147483647 w 8"/>
                      <a:gd name="T11" fmla="*/ 2147483647 h 16"/>
                      <a:gd name="T12" fmla="*/ 2147483647 w 8"/>
                      <a:gd name="T13" fmla="*/ 2147483647 h 16"/>
                      <a:gd name="T14" fmla="*/ 2147483647 w 8"/>
                      <a:gd name="T15" fmla="*/ 2147483647 h 16"/>
                      <a:gd name="T16" fmla="*/ 2147483647 w 8"/>
                      <a:gd name="T17" fmla="*/ 2147483647 h 16"/>
                      <a:gd name="T18" fmla="*/ 2147483647 w 8"/>
                      <a:gd name="T19" fmla="*/ 2147483647 h 16"/>
                      <a:gd name="T20" fmla="*/ 2147483647 w 8"/>
                      <a:gd name="T21" fmla="*/ 2147483647 h 16"/>
                      <a:gd name="T22" fmla="*/ 2147483647 w 8"/>
                      <a:gd name="T23" fmla="*/ 2147483647 h 16"/>
                      <a:gd name="T24" fmla="*/ 2147483647 w 8"/>
                      <a:gd name="T25" fmla="*/ 2147483647 h 16"/>
                      <a:gd name="T26" fmla="*/ 2147483647 w 8"/>
                      <a:gd name="T27" fmla="*/ 2147483647 h 16"/>
                      <a:gd name="T28" fmla="*/ 2147483647 w 8"/>
                      <a:gd name="T29" fmla="*/ 2147483647 h 16"/>
                      <a:gd name="T30" fmla="*/ 2147483647 w 8"/>
                      <a:gd name="T31" fmla="*/ 2147483647 h 16"/>
                      <a:gd name="T32" fmla="*/ 2147483647 w 8"/>
                      <a:gd name="T33" fmla="*/ 2147483647 h 16"/>
                      <a:gd name="T34" fmla="*/ 2147483647 w 8"/>
                      <a:gd name="T35" fmla="*/ 2147483647 h 16"/>
                      <a:gd name="T36" fmla="*/ 2147483647 w 8"/>
                      <a:gd name="T37" fmla="*/ 2147483647 h 16"/>
                      <a:gd name="T38" fmla="*/ 2147483647 w 8"/>
                      <a:gd name="T39" fmla="*/ 2147483647 h 16"/>
                      <a:gd name="T40" fmla="*/ 2147483647 w 8"/>
                      <a:gd name="T41" fmla="*/ 2147483647 h 16"/>
                      <a:gd name="T42" fmla="*/ 2147483647 w 8"/>
                      <a:gd name="T43" fmla="*/ 2147483647 h 16"/>
                      <a:gd name="T44" fmla="*/ 2147483647 w 8"/>
                      <a:gd name="T45" fmla="*/ 2147483647 h 16"/>
                      <a:gd name="T46" fmla="*/ 2147483647 w 8"/>
                      <a:gd name="T47" fmla="*/ 2147483647 h 16"/>
                      <a:gd name="T48" fmla="*/ 0 w 8"/>
                      <a:gd name="T49" fmla="*/ 2147483647 h 16"/>
                      <a:gd name="T50" fmla="*/ 0 w 8"/>
                      <a:gd name="T51" fmla="*/ 2147483647 h 16"/>
                      <a:gd name="T52" fmla="*/ 0 w 8"/>
                      <a:gd name="T53" fmla="*/ 2147483647 h 16"/>
                      <a:gd name="T54" fmla="*/ 2147483647 w 8"/>
                      <a:gd name="T55" fmla="*/ 2147483647 h 16"/>
                      <a:gd name="T56" fmla="*/ 2147483647 w 8"/>
                      <a:gd name="T57" fmla="*/ 2147483647 h 16"/>
                      <a:gd name="T58" fmla="*/ 2147483647 w 8"/>
                      <a:gd name="T59" fmla="*/ 2147483647 h 16"/>
                      <a:gd name="T60" fmla="*/ 2147483647 w 8"/>
                      <a:gd name="T61" fmla="*/ 2147483647 h 16"/>
                      <a:gd name="T62" fmla="*/ 2147483647 w 8"/>
                      <a:gd name="T63" fmla="*/ 2147483647 h 16"/>
                      <a:gd name="T64" fmla="*/ 2147483647 w 8"/>
                      <a:gd name="T65" fmla="*/ 2147483647 h 16"/>
                      <a:gd name="T66" fmla="*/ 2147483647 w 8"/>
                      <a:gd name="T67" fmla="*/ 2147483647 h 16"/>
                      <a:gd name="T68" fmla="*/ 2147483647 w 8"/>
                      <a:gd name="T69" fmla="*/ 2147483647 h 16"/>
                      <a:gd name="T70" fmla="*/ 2147483647 w 8"/>
                      <a:gd name="T71" fmla="*/ 2147483647 h 16"/>
                      <a:gd name="T72" fmla="*/ 2147483647 w 8"/>
                      <a:gd name="T73" fmla="*/ 2147483647 h 16"/>
                      <a:gd name="T74" fmla="*/ 2147483647 w 8"/>
                      <a:gd name="T75" fmla="*/ 0 h 1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8" h="16">
                        <a:moveTo>
                          <a:pt x="5" y="0"/>
                        </a:moveTo>
                        <a:lnTo>
                          <a:pt x="5" y="0"/>
                        </a:lnTo>
                        <a:lnTo>
                          <a:pt x="6" y="0"/>
                        </a:lnTo>
                        <a:lnTo>
                          <a:pt x="7" y="1"/>
                        </a:lnTo>
                        <a:lnTo>
                          <a:pt x="8" y="3"/>
                        </a:lnTo>
                        <a:lnTo>
                          <a:pt x="8" y="4"/>
                        </a:lnTo>
                        <a:lnTo>
                          <a:pt x="8" y="6"/>
                        </a:lnTo>
                        <a:lnTo>
                          <a:pt x="8" y="8"/>
                        </a:lnTo>
                        <a:lnTo>
                          <a:pt x="8" y="9"/>
                        </a:lnTo>
                        <a:lnTo>
                          <a:pt x="8" y="11"/>
                        </a:lnTo>
                        <a:lnTo>
                          <a:pt x="8" y="12"/>
                        </a:lnTo>
                        <a:lnTo>
                          <a:pt x="8" y="14"/>
                        </a:lnTo>
                        <a:lnTo>
                          <a:pt x="8" y="15"/>
                        </a:lnTo>
                        <a:lnTo>
                          <a:pt x="8" y="16"/>
                        </a:lnTo>
                        <a:lnTo>
                          <a:pt x="6" y="16"/>
                        </a:lnTo>
                        <a:lnTo>
                          <a:pt x="5" y="16"/>
                        </a:lnTo>
                        <a:lnTo>
                          <a:pt x="3" y="14"/>
                        </a:lnTo>
                        <a:lnTo>
                          <a:pt x="1" y="14"/>
                        </a:lnTo>
                        <a:lnTo>
                          <a:pt x="0" y="14"/>
                        </a:lnTo>
                        <a:lnTo>
                          <a:pt x="0" y="12"/>
                        </a:lnTo>
                        <a:lnTo>
                          <a:pt x="1" y="12"/>
                        </a:lnTo>
                        <a:lnTo>
                          <a:pt x="2" y="11"/>
                        </a:lnTo>
                        <a:lnTo>
                          <a:pt x="3" y="9"/>
                        </a:lnTo>
                        <a:lnTo>
                          <a:pt x="3" y="8"/>
                        </a:lnTo>
                        <a:lnTo>
                          <a:pt x="3" y="7"/>
                        </a:lnTo>
                        <a:lnTo>
                          <a:pt x="3" y="6"/>
                        </a:lnTo>
                        <a:lnTo>
                          <a:pt x="3" y="4"/>
                        </a:lnTo>
                        <a:lnTo>
                          <a:pt x="3" y="3"/>
                        </a:lnTo>
                        <a:lnTo>
                          <a:pt x="4" y="2"/>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1" name="Freeform 1616">
                    <a:extLst>
                      <a:ext uri="{FF2B5EF4-FFF2-40B4-BE49-F238E27FC236}">
                        <a16:creationId xmlns:a16="http://schemas.microsoft.com/office/drawing/2014/main" xmlns="" id="{44644682-AFE6-42B7-B506-7B8AB99E48B3}"/>
                      </a:ext>
                    </a:extLst>
                  </p:cNvPr>
                  <p:cNvSpPr>
                    <a:spLocks/>
                  </p:cNvSpPr>
                  <p:nvPr/>
                </p:nvSpPr>
                <p:spPr bwMode="gray">
                  <a:xfrm>
                    <a:off x="4935949" y="2754656"/>
                    <a:ext cx="335965" cy="192447"/>
                  </a:xfrm>
                  <a:custGeom>
                    <a:avLst/>
                    <a:gdLst>
                      <a:gd name="T0" fmla="*/ 2147483647 w 302"/>
                      <a:gd name="T1" fmla="*/ 2147483647 h 173"/>
                      <a:gd name="T2" fmla="*/ 2147483647 w 302"/>
                      <a:gd name="T3" fmla="*/ 2147483647 h 173"/>
                      <a:gd name="T4" fmla="*/ 2147483647 w 302"/>
                      <a:gd name="T5" fmla="*/ 2147483647 h 173"/>
                      <a:gd name="T6" fmla="*/ 2147483647 w 302"/>
                      <a:gd name="T7" fmla="*/ 2147483647 h 173"/>
                      <a:gd name="T8" fmla="*/ 2147483647 w 302"/>
                      <a:gd name="T9" fmla="*/ 2147483647 h 173"/>
                      <a:gd name="T10" fmla="*/ 2147483647 w 302"/>
                      <a:gd name="T11" fmla="*/ 2147483647 h 173"/>
                      <a:gd name="T12" fmla="*/ 2147483647 w 302"/>
                      <a:gd name="T13" fmla="*/ 2147483647 h 173"/>
                      <a:gd name="T14" fmla="*/ 2147483647 w 302"/>
                      <a:gd name="T15" fmla="*/ 2147483647 h 173"/>
                      <a:gd name="T16" fmla="*/ 2147483647 w 302"/>
                      <a:gd name="T17" fmla="*/ 2147483647 h 173"/>
                      <a:gd name="T18" fmla="*/ 2147483647 w 302"/>
                      <a:gd name="T19" fmla="*/ 2147483647 h 173"/>
                      <a:gd name="T20" fmla="*/ 2147483647 w 302"/>
                      <a:gd name="T21" fmla="*/ 2147483647 h 173"/>
                      <a:gd name="T22" fmla="*/ 2147483647 w 302"/>
                      <a:gd name="T23" fmla="*/ 2147483647 h 173"/>
                      <a:gd name="T24" fmla="*/ 2147483647 w 302"/>
                      <a:gd name="T25" fmla="*/ 2147483647 h 173"/>
                      <a:gd name="T26" fmla="*/ 2147483647 w 302"/>
                      <a:gd name="T27" fmla="*/ 2147483647 h 173"/>
                      <a:gd name="T28" fmla="*/ 2147483647 w 302"/>
                      <a:gd name="T29" fmla="*/ 2147483647 h 173"/>
                      <a:gd name="T30" fmla="*/ 2147483647 w 302"/>
                      <a:gd name="T31" fmla="*/ 2147483647 h 173"/>
                      <a:gd name="T32" fmla="*/ 2147483647 w 302"/>
                      <a:gd name="T33" fmla="*/ 2147483647 h 173"/>
                      <a:gd name="T34" fmla="*/ 2147483647 w 302"/>
                      <a:gd name="T35" fmla="*/ 2147483647 h 173"/>
                      <a:gd name="T36" fmla="*/ 2147483647 w 302"/>
                      <a:gd name="T37" fmla="*/ 2147483647 h 173"/>
                      <a:gd name="T38" fmla="*/ 2147483647 w 302"/>
                      <a:gd name="T39" fmla="*/ 2147483647 h 173"/>
                      <a:gd name="T40" fmla="*/ 2147483647 w 302"/>
                      <a:gd name="T41" fmla="*/ 2147483647 h 173"/>
                      <a:gd name="T42" fmla="*/ 2147483647 w 302"/>
                      <a:gd name="T43" fmla="*/ 2147483647 h 173"/>
                      <a:gd name="T44" fmla="*/ 2147483647 w 302"/>
                      <a:gd name="T45" fmla="*/ 2147483647 h 173"/>
                      <a:gd name="T46" fmla="*/ 2147483647 w 302"/>
                      <a:gd name="T47" fmla="*/ 2147483647 h 173"/>
                      <a:gd name="T48" fmla="*/ 2147483647 w 302"/>
                      <a:gd name="T49" fmla="*/ 2147483647 h 173"/>
                      <a:gd name="T50" fmla="*/ 2147483647 w 302"/>
                      <a:gd name="T51" fmla="*/ 2147483647 h 173"/>
                      <a:gd name="T52" fmla="*/ 2147483647 w 302"/>
                      <a:gd name="T53" fmla="*/ 2147483647 h 173"/>
                      <a:gd name="T54" fmla="*/ 2147483647 w 302"/>
                      <a:gd name="T55" fmla="*/ 2147483647 h 173"/>
                      <a:gd name="T56" fmla="*/ 2147483647 w 302"/>
                      <a:gd name="T57" fmla="*/ 2147483647 h 173"/>
                      <a:gd name="T58" fmla="*/ 2147483647 w 302"/>
                      <a:gd name="T59" fmla="*/ 2147483647 h 173"/>
                      <a:gd name="T60" fmla="*/ 2147483647 w 302"/>
                      <a:gd name="T61" fmla="*/ 2147483647 h 173"/>
                      <a:gd name="T62" fmla="*/ 2147483647 w 302"/>
                      <a:gd name="T63" fmla="*/ 2147483647 h 173"/>
                      <a:gd name="T64" fmla="*/ 2147483647 w 302"/>
                      <a:gd name="T65" fmla="*/ 2147483647 h 173"/>
                      <a:gd name="T66" fmla="*/ 2147483647 w 302"/>
                      <a:gd name="T67" fmla="*/ 2147483647 h 173"/>
                      <a:gd name="T68" fmla="*/ 2147483647 w 302"/>
                      <a:gd name="T69" fmla="*/ 2147483647 h 173"/>
                      <a:gd name="T70" fmla="*/ 2147483647 w 302"/>
                      <a:gd name="T71" fmla="*/ 0 h 173"/>
                      <a:gd name="T72" fmla="*/ 2147483647 w 302"/>
                      <a:gd name="T73" fmla="*/ 0 h 173"/>
                      <a:gd name="T74" fmla="*/ 2147483647 w 302"/>
                      <a:gd name="T75" fmla="*/ 2147483647 h 173"/>
                      <a:gd name="T76" fmla="*/ 2147483647 w 302"/>
                      <a:gd name="T77" fmla="*/ 2147483647 h 173"/>
                      <a:gd name="T78" fmla="*/ 2147483647 w 302"/>
                      <a:gd name="T79" fmla="*/ 2147483647 h 173"/>
                      <a:gd name="T80" fmla="*/ 2147483647 w 302"/>
                      <a:gd name="T81" fmla="*/ 2147483647 h 173"/>
                      <a:gd name="T82" fmla="*/ 2147483647 w 302"/>
                      <a:gd name="T83" fmla="*/ 2147483647 h 173"/>
                      <a:gd name="T84" fmla="*/ 2147483647 w 302"/>
                      <a:gd name="T85" fmla="*/ 2147483647 h 173"/>
                      <a:gd name="T86" fmla="*/ 2147483647 w 302"/>
                      <a:gd name="T87" fmla="*/ 2147483647 h 173"/>
                      <a:gd name="T88" fmla="*/ 2147483647 w 302"/>
                      <a:gd name="T89" fmla="*/ 2147483647 h 173"/>
                      <a:gd name="T90" fmla="*/ 2147483647 w 302"/>
                      <a:gd name="T91" fmla="*/ 2147483647 h 173"/>
                      <a:gd name="T92" fmla="*/ 2147483647 w 302"/>
                      <a:gd name="T93" fmla="*/ 2147483647 h 173"/>
                      <a:gd name="T94" fmla="*/ 2147483647 w 302"/>
                      <a:gd name="T95" fmla="*/ 2147483647 h 173"/>
                      <a:gd name="T96" fmla="*/ 2147483647 w 302"/>
                      <a:gd name="T97" fmla="*/ 2147483647 h 173"/>
                      <a:gd name="T98" fmla="*/ 2147483647 w 302"/>
                      <a:gd name="T99" fmla="*/ 2147483647 h 173"/>
                      <a:gd name="T100" fmla="*/ 2147483647 w 302"/>
                      <a:gd name="T101" fmla="*/ 2147483647 h 173"/>
                      <a:gd name="T102" fmla="*/ 2147483647 w 302"/>
                      <a:gd name="T103" fmla="*/ 2147483647 h 173"/>
                      <a:gd name="T104" fmla="*/ 2147483647 w 302"/>
                      <a:gd name="T105" fmla="*/ 2147483647 h 173"/>
                      <a:gd name="T106" fmla="*/ 2147483647 w 302"/>
                      <a:gd name="T107" fmla="*/ 2147483647 h 173"/>
                      <a:gd name="T108" fmla="*/ 0 w 302"/>
                      <a:gd name="T109" fmla="*/ 2147483647 h 173"/>
                      <a:gd name="T110" fmla="*/ 0 w 302"/>
                      <a:gd name="T111" fmla="*/ 2147483647 h 173"/>
                      <a:gd name="T112" fmla="*/ 0 w 302"/>
                      <a:gd name="T113" fmla="*/ 2147483647 h 1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2" h="173">
                        <a:moveTo>
                          <a:pt x="3" y="166"/>
                        </a:moveTo>
                        <a:lnTo>
                          <a:pt x="3" y="166"/>
                        </a:lnTo>
                        <a:lnTo>
                          <a:pt x="5" y="166"/>
                        </a:lnTo>
                        <a:lnTo>
                          <a:pt x="6" y="166"/>
                        </a:lnTo>
                        <a:lnTo>
                          <a:pt x="8" y="165"/>
                        </a:lnTo>
                        <a:lnTo>
                          <a:pt x="10" y="163"/>
                        </a:lnTo>
                        <a:lnTo>
                          <a:pt x="11" y="160"/>
                        </a:lnTo>
                        <a:lnTo>
                          <a:pt x="13" y="157"/>
                        </a:lnTo>
                        <a:lnTo>
                          <a:pt x="14" y="154"/>
                        </a:lnTo>
                        <a:lnTo>
                          <a:pt x="15" y="152"/>
                        </a:lnTo>
                        <a:lnTo>
                          <a:pt x="16" y="151"/>
                        </a:lnTo>
                        <a:lnTo>
                          <a:pt x="19" y="150"/>
                        </a:lnTo>
                        <a:lnTo>
                          <a:pt x="19" y="151"/>
                        </a:lnTo>
                        <a:lnTo>
                          <a:pt x="21" y="150"/>
                        </a:lnTo>
                        <a:lnTo>
                          <a:pt x="23" y="148"/>
                        </a:lnTo>
                        <a:lnTo>
                          <a:pt x="26" y="147"/>
                        </a:lnTo>
                        <a:lnTo>
                          <a:pt x="28" y="144"/>
                        </a:lnTo>
                        <a:lnTo>
                          <a:pt x="29" y="142"/>
                        </a:lnTo>
                        <a:lnTo>
                          <a:pt x="30" y="140"/>
                        </a:lnTo>
                        <a:lnTo>
                          <a:pt x="32" y="138"/>
                        </a:lnTo>
                        <a:lnTo>
                          <a:pt x="33" y="139"/>
                        </a:lnTo>
                        <a:lnTo>
                          <a:pt x="35" y="139"/>
                        </a:lnTo>
                        <a:lnTo>
                          <a:pt x="38" y="138"/>
                        </a:lnTo>
                        <a:lnTo>
                          <a:pt x="39" y="138"/>
                        </a:lnTo>
                        <a:lnTo>
                          <a:pt x="40" y="137"/>
                        </a:lnTo>
                        <a:lnTo>
                          <a:pt x="42" y="136"/>
                        </a:lnTo>
                        <a:lnTo>
                          <a:pt x="45" y="134"/>
                        </a:lnTo>
                        <a:lnTo>
                          <a:pt x="55" y="134"/>
                        </a:lnTo>
                        <a:lnTo>
                          <a:pt x="56" y="135"/>
                        </a:lnTo>
                        <a:lnTo>
                          <a:pt x="59" y="136"/>
                        </a:lnTo>
                        <a:lnTo>
                          <a:pt x="61" y="137"/>
                        </a:lnTo>
                        <a:lnTo>
                          <a:pt x="64" y="138"/>
                        </a:lnTo>
                        <a:lnTo>
                          <a:pt x="67" y="138"/>
                        </a:lnTo>
                        <a:lnTo>
                          <a:pt x="68" y="138"/>
                        </a:lnTo>
                        <a:lnTo>
                          <a:pt x="69" y="139"/>
                        </a:lnTo>
                        <a:lnTo>
                          <a:pt x="71" y="140"/>
                        </a:lnTo>
                        <a:lnTo>
                          <a:pt x="74" y="140"/>
                        </a:lnTo>
                        <a:lnTo>
                          <a:pt x="77" y="137"/>
                        </a:lnTo>
                        <a:lnTo>
                          <a:pt x="80" y="134"/>
                        </a:lnTo>
                        <a:lnTo>
                          <a:pt x="82" y="134"/>
                        </a:lnTo>
                        <a:lnTo>
                          <a:pt x="83" y="134"/>
                        </a:lnTo>
                        <a:lnTo>
                          <a:pt x="85" y="138"/>
                        </a:lnTo>
                        <a:lnTo>
                          <a:pt x="86" y="140"/>
                        </a:lnTo>
                        <a:lnTo>
                          <a:pt x="88" y="140"/>
                        </a:lnTo>
                        <a:lnTo>
                          <a:pt x="90" y="140"/>
                        </a:lnTo>
                        <a:lnTo>
                          <a:pt x="91" y="138"/>
                        </a:lnTo>
                        <a:lnTo>
                          <a:pt x="93" y="136"/>
                        </a:lnTo>
                        <a:lnTo>
                          <a:pt x="93" y="134"/>
                        </a:lnTo>
                        <a:lnTo>
                          <a:pt x="96" y="136"/>
                        </a:lnTo>
                        <a:lnTo>
                          <a:pt x="98" y="136"/>
                        </a:lnTo>
                        <a:lnTo>
                          <a:pt x="99" y="136"/>
                        </a:lnTo>
                        <a:lnTo>
                          <a:pt x="100" y="138"/>
                        </a:lnTo>
                        <a:lnTo>
                          <a:pt x="103" y="140"/>
                        </a:lnTo>
                        <a:lnTo>
                          <a:pt x="105" y="140"/>
                        </a:lnTo>
                        <a:lnTo>
                          <a:pt x="106" y="140"/>
                        </a:lnTo>
                        <a:lnTo>
                          <a:pt x="105" y="140"/>
                        </a:lnTo>
                        <a:lnTo>
                          <a:pt x="106" y="140"/>
                        </a:lnTo>
                        <a:lnTo>
                          <a:pt x="109" y="140"/>
                        </a:lnTo>
                        <a:lnTo>
                          <a:pt x="111" y="140"/>
                        </a:lnTo>
                        <a:lnTo>
                          <a:pt x="118" y="140"/>
                        </a:lnTo>
                        <a:lnTo>
                          <a:pt x="121" y="140"/>
                        </a:lnTo>
                        <a:lnTo>
                          <a:pt x="122" y="140"/>
                        </a:lnTo>
                        <a:lnTo>
                          <a:pt x="125" y="140"/>
                        </a:lnTo>
                        <a:lnTo>
                          <a:pt x="127" y="140"/>
                        </a:lnTo>
                        <a:lnTo>
                          <a:pt x="129" y="140"/>
                        </a:lnTo>
                        <a:lnTo>
                          <a:pt x="131" y="140"/>
                        </a:lnTo>
                        <a:lnTo>
                          <a:pt x="142" y="140"/>
                        </a:lnTo>
                        <a:lnTo>
                          <a:pt x="144" y="140"/>
                        </a:lnTo>
                        <a:lnTo>
                          <a:pt x="147" y="139"/>
                        </a:lnTo>
                        <a:lnTo>
                          <a:pt x="150" y="135"/>
                        </a:lnTo>
                        <a:lnTo>
                          <a:pt x="154" y="131"/>
                        </a:lnTo>
                        <a:lnTo>
                          <a:pt x="156" y="131"/>
                        </a:lnTo>
                        <a:lnTo>
                          <a:pt x="157" y="131"/>
                        </a:lnTo>
                        <a:lnTo>
                          <a:pt x="158" y="135"/>
                        </a:lnTo>
                        <a:lnTo>
                          <a:pt x="161" y="137"/>
                        </a:lnTo>
                        <a:lnTo>
                          <a:pt x="163" y="138"/>
                        </a:lnTo>
                        <a:lnTo>
                          <a:pt x="165" y="141"/>
                        </a:lnTo>
                        <a:lnTo>
                          <a:pt x="166" y="144"/>
                        </a:lnTo>
                        <a:lnTo>
                          <a:pt x="168" y="146"/>
                        </a:lnTo>
                        <a:lnTo>
                          <a:pt x="170" y="147"/>
                        </a:lnTo>
                        <a:lnTo>
                          <a:pt x="176" y="148"/>
                        </a:lnTo>
                        <a:lnTo>
                          <a:pt x="180" y="149"/>
                        </a:lnTo>
                        <a:lnTo>
                          <a:pt x="184" y="149"/>
                        </a:lnTo>
                        <a:lnTo>
                          <a:pt x="189" y="150"/>
                        </a:lnTo>
                        <a:lnTo>
                          <a:pt x="192" y="151"/>
                        </a:lnTo>
                        <a:lnTo>
                          <a:pt x="196" y="154"/>
                        </a:lnTo>
                        <a:lnTo>
                          <a:pt x="199" y="157"/>
                        </a:lnTo>
                        <a:lnTo>
                          <a:pt x="202" y="160"/>
                        </a:lnTo>
                        <a:lnTo>
                          <a:pt x="204" y="161"/>
                        </a:lnTo>
                        <a:lnTo>
                          <a:pt x="206" y="164"/>
                        </a:lnTo>
                        <a:lnTo>
                          <a:pt x="207" y="165"/>
                        </a:lnTo>
                        <a:lnTo>
                          <a:pt x="209" y="166"/>
                        </a:lnTo>
                        <a:lnTo>
                          <a:pt x="212" y="166"/>
                        </a:lnTo>
                        <a:lnTo>
                          <a:pt x="214" y="166"/>
                        </a:lnTo>
                        <a:lnTo>
                          <a:pt x="216" y="167"/>
                        </a:lnTo>
                        <a:lnTo>
                          <a:pt x="218" y="169"/>
                        </a:lnTo>
                        <a:lnTo>
                          <a:pt x="221" y="171"/>
                        </a:lnTo>
                        <a:lnTo>
                          <a:pt x="224" y="172"/>
                        </a:lnTo>
                        <a:lnTo>
                          <a:pt x="227" y="173"/>
                        </a:lnTo>
                        <a:lnTo>
                          <a:pt x="232" y="173"/>
                        </a:lnTo>
                        <a:lnTo>
                          <a:pt x="241" y="173"/>
                        </a:lnTo>
                        <a:lnTo>
                          <a:pt x="241" y="171"/>
                        </a:lnTo>
                        <a:lnTo>
                          <a:pt x="241" y="169"/>
                        </a:lnTo>
                        <a:lnTo>
                          <a:pt x="242" y="168"/>
                        </a:lnTo>
                        <a:lnTo>
                          <a:pt x="244" y="166"/>
                        </a:lnTo>
                        <a:lnTo>
                          <a:pt x="245" y="168"/>
                        </a:lnTo>
                        <a:lnTo>
                          <a:pt x="246" y="169"/>
                        </a:lnTo>
                        <a:lnTo>
                          <a:pt x="247" y="169"/>
                        </a:lnTo>
                        <a:lnTo>
                          <a:pt x="251" y="166"/>
                        </a:lnTo>
                        <a:lnTo>
                          <a:pt x="253" y="164"/>
                        </a:lnTo>
                        <a:lnTo>
                          <a:pt x="254" y="160"/>
                        </a:lnTo>
                        <a:lnTo>
                          <a:pt x="258" y="157"/>
                        </a:lnTo>
                        <a:lnTo>
                          <a:pt x="259" y="157"/>
                        </a:lnTo>
                        <a:lnTo>
                          <a:pt x="263" y="157"/>
                        </a:lnTo>
                        <a:lnTo>
                          <a:pt x="267" y="156"/>
                        </a:lnTo>
                        <a:lnTo>
                          <a:pt x="270" y="155"/>
                        </a:lnTo>
                        <a:lnTo>
                          <a:pt x="273" y="154"/>
                        </a:lnTo>
                        <a:lnTo>
                          <a:pt x="277" y="154"/>
                        </a:lnTo>
                        <a:lnTo>
                          <a:pt x="279" y="153"/>
                        </a:lnTo>
                        <a:lnTo>
                          <a:pt x="282" y="152"/>
                        </a:lnTo>
                        <a:lnTo>
                          <a:pt x="283" y="151"/>
                        </a:lnTo>
                        <a:lnTo>
                          <a:pt x="286" y="150"/>
                        </a:lnTo>
                        <a:lnTo>
                          <a:pt x="287" y="150"/>
                        </a:lnTo>
                        <a:lnTo>
                          <a:pt x="288" y="148"/>
                        </a:lnTo>
                        <a:lnTo>
                          <a:pt x="288" y="146"/>
                        </a:lnTo>
                        <a:lnTo>
                          <a:pt x="289" y="143"/>
                        </a:lnTo>
                        <a:lnTo>
                          <a:pt x="289" y="140"/>
                        </a:lnTo>
                        <a:lnTo>
                          <a:pt x="290" y="137"/>
                        </a:lnTo>
                        <a:lnTo>
                          <a:pt x="291" y="134"/>
                        </a:lnTo>
                        <a:lnTo>
                          <a:pt x="293" y="131"/>
                        </a:lnTo>
                        <a:lnTo>
                          <a:pt x="295" y="131"/>
                        </a:lnTo>
                        <a:lnTo>
                          <a:pt x="295" y="130"/>
                        </a:lnTo>
                        <a:lnTo>
                          <a:pt x="295" y="128"/>
                        </a:lnTo>
                        <a:lnTo>
                          <a:pt x="297" y="128"/>
                        </a:lnTo>
                        <a:lnTo>
                          <a:pt x="298" y="126"/>
                        </a:lnTo>
                        <a:lnTo>
                          <a:pt x="298" y="125"/>
                        </a:lnTo>
                        <a:lnTo>
                          <a:pt x="300" y="125"/>
                        </a:lnTo>
                        <a:lnTo>
                          <a:pt x="301" y="123"/>
                        </a:lnTo>
                        <a:lnTo>
                          <a:pt x="302" y="122"/>
                        </a:lnTo>
                        <a:lnTo>
                          <a:pt x="302" y="119"/>
                        </a:lnTo>
                        <a:lnTo>
                          <a:pt x="302" y="116"/>
                        </a:lnTo>
                        <a:lnTo>
                          <a:pt x="302" y="115"/>
                        </a:lnTo>
                        <a:lnTo>
                          <a:pt x="300" y="113"/>
                        </a:lnTo>
                        <a:lnTo>
                          <a:pt x="300" y="111"/>
                        </a:lnTo>
                        <a:lnTo>
                          <a:pt x="298" y="109"/>
                        </a:lnTo>
                        <a:lnTo>
                          <a:pt x="298" y="106"/>
                        </a:lnTo>
                        <a:lnTo>
                          <a:pt x="297" y="104"/>
                        </a:lnTo>
                        <a:lnTo>
                          <a:pt x="295" y="101"/>
                        </a:lnTo>
                        <a:lnTo>
                          <a:pt x="295" y="100"/>
                        </a:lnTo>
                        <a:lnTo>
                          <a:pt x="295" y="97"/>
                        </a:lnTo>
                        <a:lnTo>
                          <a:pt x="294" y="95"/>
                        </a:lnTo>
                        <a:lnTo>
                          <a:pt x="293" y="92"/>
                        </a:lnTo>
                        <a:lnTo>
                          <a:pt x="293" y="89"/>
                        </a:lnTo>
                        <a:lnTo>
                          <a:pt x="292" y="86"/>
                        </a:lnTo>
                        <a:lnTo>
                          <a:pt x="291" y="85"/>
                        </a:lnTo>
                        <a:lnTo>
                          <a:pt x="290" y="84"/>
                        </a:lnTo>
                        <a:lnTo>
                          <a:pt x="289" y="84"/>
                        </a:lnTo>
                        <a:lnTo>
                          <a:pt x="286" y="83"/>
                        </a:lnTo>
                        <a:lnTo>
                          <a:pt x="285" y="81"/>
                        </a:lnTo>
                        <a:lnTo>
                          <a:pt x="285" y="80"/>
                        </a:lnTo>
                        <a:lnTo>
                          <a:pt x="285" y="79"/>
                        </a:lnTo>
                        <a:lnTo>
                          <a:pt x="284" y="78"/>
                        </a:lnTo>
                        <a:lnTo>
                          <a:pt x="282" y="77"/>
                        </a:lnTo>
                        <a:lnTo>
                          <a:pt x="282" y="76"/>
                        </a:lnTo>
                        <a:lnTo>
                          <a:pt x="281" y="77"/>
                        </a:lnTo>
                        <a:lnTo>
                          <a:pt x="279" y="78"/>
                        </a:lnTo>
                        <a:lnTo>
                          <a:pt x="277" y="79"/>
                        </a:lnTo>
                        <a:lnTo>
                          <a:pt x="277" y="77"/>
                        </a:lnTo>
                        <a:lnTo>
                          <a:pt x="276" y="75"/>
                        </a:lnTo>
                        <a:lnTo>
                          <a:pt x="277" y="73"/>
                        </a:lnTo>
                        <a:lnTo>
                          <a:pt x="279" y="71"/>
                        </a:lnTo>
                        <a:lnTo>
                          <a:pt x="279" y="67"/>
                        </a:lnTo>
                        <a:lnTo>
                          <a:pt x="279" y="65"/>
                        </a:lnTo>
                        <a:lnTo>
                          <a:pt x="278" y="64"/>
                        </a:lnTo>
                        <a:lnTo>
                          <a:pt x="277" y="62"/>
                        </a:lnTo>
                        <a:lnTo>
                          <a:pt x="277" y="60"/>
                        </a:lnTo>
                        <a:lnTo>
                          <a:pt x="276" y="60"/>
                        </a:lnTo>
                        <a:lnTo>
                          <a:pt x="275" y="58"/>
                        </a:lnTo>
                        <a:lnTo>
                          <a:pt x="274" y="57"/>
                        </a:lnTo>
                        <a:lnTo>
                          <a:pt x="273" y="55"/>
                        </a:lnTo>
                        <a:lnTo>
                          <a:pt x="272" y="53"/>
                        </a:lnTo>
                        <a:lnTo>
                          <a:pt x="273" y="51"/>
                        </a:lnTo>
                        <a:lnTo>
                          <a:pt x="274" y="50"/>
                        </a:lnTo>
                        <a:lnTo>
                          <a:pt x="273" y="48"/>
                        </a:lnTo>
                        <a:lnTo>
                          <a:pt x="273" y="51"/>
                        </a:lnTo>
                        <a:lnTo>
                          <a:pt x="273" y="48"/>
                        </a:lnTo>
                        <a:lnTo>
                          <a:pt x="272" y="45"/>
                        </a:lnTo>
                        <a:lnTo>
                          <a:pt x="271" y="42"/>
                        </a:lnTo>
                        <a:lnTo>
                          <a:pt x="270" y="41"/>
                        </a:lnTo>
                        <a:lnTo>
                          <a:pt x="267" y="39"/>
                        </a:lnTo>
                        <a:lnTo>
                          <a:pt x="262" y="38"/>
                        </a:lnTo>
                        <a:lnTo>
                          <a:pt x="259" y="36"/>
                        </a:lnTo>
                        <a:lnTo>
                          <a:pt x="258" y="34"/>
                        </a:lnTo>
                        <a:lnTo>
                          <a:pt x="256" y="33"/>
                        </a:lnTo>
                        <a:lnTo>
                          <a:pt x="256" y="31"/>
                        </a:lnTo>
                        <a:lnTo>
                          <a:pt x="256" y="28"/>
                        </a:lnTo>
                        <a:lnTo>
                          <a:pt x="254" y="25"/>
                        </a:lnTo>
                        <a:lnTo>
                          <a:pt x="252" y="25"/>
                        </a:lnTo>
                        <a:lnTo>
                          <a:pt x="247" y="25"/>
                        </a:lnTo>
                        <a:lnTo>
                          <a:pt x="237" y="25"/>
                        </a:lnTo>
                        <a:lnTo>
                          <a:pt x="235" y="25"/>
                        </a:lnTo>
                        <a:lnTo>
                          <a:pt x="233" y="24"/>
                        </a:lnTo>
                        <a:lnTo>
                          <a:pt x="231" y="24"/>
                        </a:lnTo>
                        <a:lnTo>
                          <a:pt x="228" y="25"/>
                        </a:lnTo>
                        <a:lnTo>
                          <a:pt x="224" y="27"/>
                        </a:lnTo>
                        <a:lnTo>
                          <a:pt x="222" y="29"/>
                        </a:lnTo>
                        <a:lnTo>
                          <a:pt x="220" y="31"/>
                        </a:lnTo>
                        <a:lnTo>
                          <a:pt x="218" y="32"/>
                        </a:lnTo>
                        <a:lnTo>
                          <a:pt x="214" y="32"/>
                        </a:lnTo>
                        <a:lnTo>
                          <a:pt x="212" y="32"/>
                        </a:lnTo>
                        <a:lnTo>
                          <a:pt x="211" y="32"/>
                        </a:lnTo>
                        <a:lnTo>
                          <a:pt x="209" y="32"/>
                        </a:lnTo>
                        <a:lnTo>
                          <a:pt x="208" y="32"/>
                        </a:lnTo>
                        <a:lnTo>
                          <a:pt x="206" y="32"/>
                        </a:lnTo>
                        <a:lnTo>
                          <a:pt x="206" y="30"/>
                        </a:lnTo>
                        <a:lnTo>
                          <a:pt x="205" y="29"/>
                        </a:lnTo>
                        <a:lnTo>
                          <a:pt x="204" y="29"/>
                        </a:lnTo>
                        <a:lnTo>
                          <a:pt x="202" y="29"/>
                        </a:lnTo>
                        <a:lnTo>
                          <a:pt x="200" y="27"/>
                        </a:lnTo>
                        <a:lnTo>
                          <a:pt x="199" y="25"/>
                        </a:lnTo>
                        <a:lnTo>
                          <a:pt x="198" y="24"/>
                        </a:lnTo>
                        <a:lnTo>
                          <a:pt x="196" y="22"/>
                        </a:lnTo>
                        <a:lnTo>
                          <a:pt x="196" y="20"/>
                        </a:lnTo>
                        <a:lnTo>
                          <a:pt x="196" y="19"/>
                        </a:lnTo>
                        <a:lnTo>
                          <a:pt x="194" y="17"/>
                        </a:lnTo>
                        <a:lnTo>
                          <a:pt x="192" y="15"/>
                        </a:lnTo>
                        <a:lnTo>
                          <a:pt x="191" y="14"/>
                        </a:lnTo>
                        <a:lnTo>
                          <a:pt x="189" y="12"/>
                        </a:lnTo>
                        <a:lnTo>
                          <a:pt x="185" y="12"/>
                        </a:lnTo>
                        <a:lnTo>
                          <a:pt x="182" y="11"/>
                        </a:lnTo>
                        <a:lnTo>
                          <a:pt x="180" y="9"/>
                        </a:lnTo>
                        <a:lnTo>
                          <a:pt x="177" y="7"/>
                        </a:lnTo>
                        <a:lnTo>
                          <a:pt x="173" y="3"/>
                        </a:lnTo>
                        <a:lnTo>
                          <a:pt x="170" y="1"/>
                        </a:lnTo>
                        <a:lnTo>
                          <a:pt x="166" y="0"/>
                        </a:lnTo>
                        <a:lnTo>
                          <a:pt x="166" y="1"/>
                        </a:lnTo>
                        <a:lnTo>
                          <a:pt x="165" y="2"/>
                        </a:lnTo>
                        <a:lnTo>
                          <a:pt x="163" y="3"/>
                        </a:lnTo>
                        <a:lnTo>
                          <a:pt x="163" y="2"/>
                        </a:lnTo>
                        <a:lnTo>
                          <a:pt x="163" y="1"/>
                        </a:lnTo>
                        <a:lnTo>
                          <a:pt x="163" y="0"/>
                        </a:lnTo>
                        <a:lnTo>
                          <a:pt x="161" y="0"/>
                        </a:lnTo>
                        <a:lnTo>
                          <a:pt x="160" y="0"/>
                        </a:lnTo>
                        <a:lnTo>
                          <a:pt x="159" y="0"/>
                        </a:lnTo>
                        <a:lnTo>
                          <a:pt x="158" y="0"/>
                        </a:lnTo>
                        <a:lnTo>
                          <a:pt x="157" y="0"/>
                        </a:lnTo>
                        <a:lnTo>
                          <a:pt x="155" y="0"/>
                        </a:lnTo>
                        <a:lnTo>
                          <a:pt x="154" y="0"/>
                        </a:lnTo>
                        <a:lnTo>
                          <a:pt x="153" y="1"/>
                        </a:lnTo>
                        <a:lnTo>
                          <a:pt x="152" y="3"/>
                        </a:lnTo>
                        <a:lnTo>
                          <a:pt x="150" y="3"/>
                        </a:lnTo>
                        <a:lnTo>
                          <a:pt x="149" y="3"/>
                        </a:lnTo>
                        <a:lnTo>
                          <a:pt x="147" y="3"/>
                        </a:lnTo>
                        <a:lnTo>
                          <a:pt x="146" y="4"/>
                        </a:lnTo>
                        <a:lnTo>
                          <a:pt x="143" y="5"/>
                        </a:lnTo>
                        <a:lnTo>
                          <a:pt x="141" y="5"/>
                        </a:lnTo>
                        <a:lnTo>
                          <a:pt x="138" y="6"/>
                        </a:lnTo>
                        <a:lnTo>
                          <a:pt x="135" y="8"/>
                        </a:lnTo>
                        <a:lnTo>
                          <a:pt x="131" y="9"/>
                        </a:lnTo>
                        <a:lnTo>
                          <a:pt x="128" y="10"/>
                        </a:lnTo>
                        <a:lnTo>
                          <a:pt x="126" y="12"/>
                        </a:lnTo>
                        <a:lnTo>
                          <a:pt x="126" y="13"/>
                        </a:lnTo>
                        <a:lnTo>
                          <a:pt x="127" y="14"/>
                        </a:lnTo>
                        <a:lnTo>
                          <a:pt x="128" y="16"/>
                        </a:lnTo>
                        <a:lnTo>
                          <a:pt x="128" y="19"/>
                        </a:lnTo>
                        <a:lnTo>
                          <a:pt x="127" y="21"/>
                        </a:lnTo>
                        <a:lnTo>
                          <a:pt x="126" y="24"/>
                        </a:lnTo>
                        <a:lnTo>
                          <a:pt x="126" y="28"/>
                        </a:lnTo>
                        <a:lnTo>
                          <a:pt x="126" y="32"/>
                        </a:lnTo>
                        <a:lnTo>
                          <a:pt x="126" y="34"/>
                        </a:lnTo>
                        <a:lnTo>
                          <a:pt x="127" y="38"/>
                        </a:lnTo>
                        <a:lnTo>
                          <a:pt x="128" y="42"/>
                        </a:lnTo>
                        <a:lnTo>
                          <a:pt x="128" y="45"/>
                        </a:lnTo>
                        <a:lnTo>
                          <a:pt x="130" y="49"/>
                        </a:lnTo>
                        <a:lnTo>
                          <a:pt x="131" y="53"/>
                        </a:lnTo>
                        <a:lnTo>
                          <a:pt x="131" y="57"/>
                        </a:lnTo>
                        <a:lnTo>
                          <a:pt x="132" y="57"/>
                        </a:lnTo>
                        <a:lnTo>
                          <a:pt x="133" y="59"/>
                        </a:lnTo>
                        <a:lnTo>
                          <a:pt x="134" y="60"/>
                        </a:lnTo>
                        <a:lnTo>
                          <a:pt x="135" y="60"/>
                        </a:lnTo>
                        <a:lnTo>
                          <a:pt x="135" y="63"/>
                        </a:lnTo>
                        <a:lnTo>
                          <a:pt x="136" y="67"/>
                        </a:lnTo>
                        <a:lnTo>
                          <a:pt x="136" y="72"/>
                        </a:lnTo>
                        <a:lnTo>
                          <a:pt x="135" y="77"/>
                        </a:lnTo>
                        <a:lnTo>
                          <a:pt x="134" y="78"/>
                        </a:lnTo>
                        <a:lnTo>
                          <a:pt x="131" y="79"/>
                        </a:lnTo>
                        <a:lnTo>
                          <a:pt x="129" y="80"/>
                        </a:lnTo>
                        <a:lnTo>
                          <a:pt x="128" y="80"/>
                        </a:lnTo>
                        <a:lnTo>
                          <a:pt x="127" y="82"/>
                        </a:lnTo>
                        <a:lnTo>
                          <a:pt x="126" y="84"/>
                        </a:lnTo>
                        <a:lnTo>
                          <a:pt x="124" y="86"/>
                        </a:lnTo>
                        <a:lnTo>
                          <a:pt x="122" y="86"/>
                        </a:lnTo>
                        <a:lnTo>
                          <a:pt x="114" y="87"/>
                        </a:lnTo>
                        <a:lnTo>
                          <a:pt x="104" y="87"/>
                        </a:lnTo>
                        <a:lnTo>
                          <a:pt x="96" y="85"/>
                        </a:lnTo>
                        <a:lnTo>
                          <a:pt x="90" y="83"/>
                        </a:lnTo>
                        <a:lnTo>
                          <a:pt x="86" y="81"/>
                        </a:lnTo>
                        <a:lnTo>
                          <a:pt x="85" y="77"/>
                        </a:lnTo>
                        <a:lnTo>
                          <a:pt x="85" y="73"/>
                        </a:lnTo>
                        <a:lnTo>
                          <a:pt x="83" y="70"/>
                        </a:lnTo>
                        <a:lnTo>
                          <a:pt x="82" y="67"/>
                        </a:lnTo>
                        <a:lnTo>
                          <a:pt x="79" y="64"/>
                        </a:lnTo>
                        <a:lnTo>
                          <a:pt x="76" y="60"/>
                        </a:lnTo>
                        <a:lnTo>
                          <a:pt x="74" y="57"/>
                        </a:lnTo>
                        <a:lnTo>
                          <a:pt x="72" y="57"/>
                        </a:lnTo>
                        <a:lnTo>
                          <a:pt x="71" y="57"/>
                        </a:lnTo>
                        <a:lnTo>
                          <a:pt x="69" y="57"/>
                        </a:lnTo>
                        <a:lnTo>
                          <a:pt x="67" y="57"/>
                        </a:lnTo>
                        <a:lnTo>
                          <a:pt x="67" y="56"/>
                        </a:lnTo>
                        <a:lnTo>
                          <a:pt x="67" y="55"/>
                        </a:lnTo>
                        <a:lnTo>
                          <a:pt x="66" y="54"/>
                        </a:lnTo>
                        <a:lnTo>
                          <a:pt x="64" y="53"/>
                        </a:lnTo>
                        <a:lnTo>
                          <a:pt x="64" y="51"/>
                        </a:lnTo>
                        <a:lnTo>
                          <a:pt x="62" y="48"/>
                        </a:lnTo>
                        <a:lnTo>
                          <a:pt x="61" y="44"/>
                        </a:lnTo>
                        <a:lnTo>
                          <a:pt x="60" y="34"/>
                        </a:lnTo>
                        <a:lnTo>
                          <a:pt x="57" y="37"/>
                        </a:lnTo>
                        <a:lnTo>
                          <a:pt x="55" y="40"/>
                        </a:lnTo>
                        <a:lnTo>
                          <a:pt x="51" y="42"/>
                        </a:lnTo>
                        <a:lnTo>
                          <a:pt x="48" y="45"/>
                        </a:lnTo>
                        <a:lnTo>
                          <a:pt x="38" y="45"/>
                        </a:lnTo>
                        <a:lnTo>
                          <a:pt x="38" y="46"/>
                        </a:lnTo>
                        <a:lnTo>
                          <a:pt x="38" y="47"/>
                        </a:lnTo>
                        <a:lnTo>
                          <a:pt x="38" y="48"/>
                        </a:lnTo>
                        <a:lnTo>
                          <a:pt x="36" y="49"/>
                        </a:lnTo>
                        <a:lnTo>
                          <a:pt x="35" y="49"/>
                        </a:lnTo>
                        <a:lnTo>
                          <a:pt x="35" y="48"/>
                        </a:lnTo>
                        <a:lnTo>
                          <a:pt x="32" y="49"/>
                        </a:lnTo>
                        <a:lnTo>
                          <a:pt x="29" y="51"/>
                        </a:lnTo>
                        <a:lnTo>
                          <a:pt x="27" y="54"/>
                        </a:lnTo>
                        <a:lnTo>
                          <a:pt x="26" y="55"/>
                        </a:lnTo>
                        <a:lnTo>
                          <a:pt x="26" y="57"/>
                        </a:lnTo>
                        <a:lnTo>
                          <a:pt x="25" y="59"/>
                        </a:lnTo>
                        <a:lnTo>
                          <a:pt x="24" y="60"/>
                        </a:lnTo>
                        <a:lnTo>
                          <a:pt x="23" y="62"/>
                        </a:lnTo>
                        <a:lnTo>
                          <a:pt x="22" y="64"/>
                        </a:lnTo>
                        <a:lnTo>
                          <a:pt x="20" y="66"/>
                        </a:lnTo>
                        <a:lnTo>
                          <a:pt x="15" y="70"/>
                        </a:lnTo>
                        <a:lnTo>
                          <a:pt x="16" y="71"/>
                        </a:lnTo>
                        <a:lnTo>
                          <a:pt x="18" y="72"/>
                        </a:lnTo>
                        <a:lnTo>
                          <a:pt x="18" y="75"/>
                        </a:lnTo>
                        <a:lnTo>
                          <a:pt x="15" y="77"/>
                        </a:lnTo>
                        <a:lnTo>
                          <a:pt x="15" y="81"/>
                        </a:lnTo>
                        <a:lnTo>
                          <a:pt x="15" y="84"/>
                        </a:lnTo>
                        <a:lnTo>
                          <a:pt x="15" y="88"/>
                        </a:lnTo>
                        <a:lnTo>
                          <a:pt x="13" y="92"/>
                        </a:lnTo>
                        <a:lnTo>
                          <a:pt x="12" y="97"/>
                        </a:lnTo>
                        <a:lnTo>
                          <a:pt x="9" y="101"/>
                        </a:lnTo>
                        <a:lnTo>
                          <a:pt x="6" y="104"/>
                        </a:lnTo>
                        <a:lnTo>
                          <a:pt x="3" y="105"/>
                        </a:lnTo>
                        <a:lnTo>
                          <a:pt x="3" y="107"/>
                        </a:lnTo>
                        <a:lnTo>
                          <a:pt x="3" y="108"/>
                        </a:lnTo>
                        <a:lnTo>
                          <a:pt x="3" y="109"/>
                        </a:lnTo>
                        <a:lnTo>
                          <a:pt x="1" y="111"/>
                        </a:lnTo>
                        <a:lnTo>
                          <a:pt x="0" y="114"/>
                        </a:lnTo>
                        <a:lnTo>
                          <a:pt x="0" y="117"/>
                        </a:lnTo>
                        <a:lnTo>
                          <a:pt x="0" y="122"/>
                        </a:lnTo>
                        <a:lnTo>
                          <a:pt x="0" y="123"/>
                        </a:lnTo>
                        <a:lnTo>
                          <a:pt x="0" y="125"/>
                        </a:lnTo>
                        <a:lnTo>
                          <a:pt x="0" y="126"/>
                        </a:lnTo>
                        <a:lnTo>
                          <a:pt x="0" y="129"/>
                        </a:lnTo>
                        <a:lnTo>
                          <a:pt x="0" y="133"/>
                        </a:lnTo>
                        <a:lnTo>
                          <a:pt x="0" y="138"/>
                        </a:lnTo>
                        <a:lnTo>
                          <a:pt x="0" y="143"/>
                        </a:lnTo>
                        <a:lnTo>
                          <a:pt x="0" y="147"/>
                        </a:lnTo>
                        <a:lnTo>
                          <a:pt x="0" y="151"/>
                        </a:lnTo>
                        <a:lnTo>
                          <a:pt x="0" y="154"/>
                        </a:lnTo>
                        <a:lnTo>
                          <a:pt x="0" y="156"/>
                        </a:lnTo>
                        <a:lnTo>
                          <a:pt x="0" y="160"/>
                        </a:lnTo>
                        <a:lnTo>
                          <a:pt x="0" y="162"/>
                        </a:lnTo>
                        <a:lnTo>
                          <a:pt x="0" y="164"/>
                        </a:lnTo>
                        <a:lnTo>
                          <a:pt x="1" y="164"/>
                        </a:lnTo>
                        <a:lnTo>
                          <a:pt x="3" y="16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2" name="Freeform 2225">
                    <a:extLst>
                      <a:ext uri="{FF2B5EF4-FFF2-40B4-BE49-F238E27FC236}">
                        <a16:creationId xmlns:a16="http://schemas.microsoft.com/office/drawing/2014/main" xmlns="" id="{5BC64ED1-5C28-4806-AEAE-AC5246142C86}"/>
                      </a:ext>
                    </a:extLst>
                  </p:cNvPr>
                  <p:cNvSpPr>
                    <a:spLocks/>
                  </p:cNvSpPr>
                  <p:nvPr/>
                </p:nvSpPr>
                <p:spPr bwMode="gray">
                  <a:xfrm>
                    <a:off x="4500973" y="3014954"/>
                    <a:ext cx="4450" cy="7787"/>
                  </a:xfrm>
                  <a:custGeom>
                    <a:avLst/>
                    <a:gdLst>
                      <a:gd name="T0" fmla="*/ 0 w 4"/>
                      <a:gd name="T1" fmla="*/ 0 h 7"/>
                      <a:gd name="T2" fmla="*/ 0 w 4"/>
                      <a:gd name="T3" fmla="*/ 2147483647 h 7"/>
                      <a:gd name="T4" fmla="*/ 0 w 4"/>
                      <a:gd name="T5" fmla="*/ 2147483647 h 7"/>
                      <a:gd name="T6" fmla="*/ 0 w 4"/>
                      <a:gd name="T7" fmla="*/ 2147483647 h 7"/>
                      <a:gd name="T8" fmla="*/ 0 w 4"/>
                      <a:gd name="T9" fmla="*/ 2147483647 h 7"/>
                      <a:gd name="T10" fmla="*/ 2147483647 w 4"/>
                      <a:gd name="T11" fmla="*/ 2147483647 h 7"/>
                      <a:gd name="T12" fmla="*/ 2147483647 w 4"/>
                      <a:gd name="T13" fmla="*/ 2147483647 h 7"/>
                      <a:gd name="T14" fmla="*/ 2147483647 w 4"/>
                      <a:gd name="T15" fmla="*/ 2147483647 h 7"/>
                      <a:gd name="T16" fmla="*/ 2147483647 w 4"/>
                      <a:gd name="T17" fmla="*/ 2147483647 h 7"/>
                      <a:gd name="T18" fmla="*/ 2147483647 w 4"/>
                      <a:gd name="T19" fmla="*/ 2147483647 h 7"/>
                      <a:gd name="T20" fmla="*/ 2147483647 w 4"/>
                      <a:gd name="T21" fmla="*/ 0 h 7"/>
                      <a:gd name="T22" fmla="*/ 2147483647 w 4"/>
                      <a:gd name="T23" fmla="*/ 0 h 7"/>
                      <a:gd name="T24" fmla="*/ 2147483647 w 4"/>
                      <a:gd name="T25" fmla="*/ 0 h 7"/>
                      <a:gd name="T26" fmla="*/ 0 w 4"/>
                      <a:gd name="T27" fmla="*/ 0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7">
                        <a:moveTo>
                          <a:pt x="0" y="0"/>
                        </a:moveTo>
                        <a:lnTo>
                          <a:pt x="0" y="1"/>
                        </a:lnTo>
                        <a:lnTo>
                          <a:pt x="0" y="2"/>
                        </a:lnTo>
                        <a:lnTo>
                          <a:pt x="0" y="7"/>
                        </a:lnTo>
                        <a:lnTo>
                          <a:pt x="0" y="6"/>
                        </a:lnTo>
                        <a:lnTo>
                          <a:pt x="2" y="6"/>
                        </a:lnTo>
                        <a:lnTo>
                          <a:pt x="3" y="7"/>
                        </a:lnTo>
                        <a:lnTo>
                          <a:pt x="4" y="7"/>
                        </a:lnTo>
                        <a:lnTo>
                          <a:pt x="4" y="6"/>
                        </a:lnTo>
                        <a:lnTo>
                          <a:pt x="4" y="5"/>
                        </a:lnTo>
                        <a:lnTo>
                          <a:pt x="4" y="0"/>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3" name="Freeform 2227">
                    <a:extLst>
                      <a:ext uri="{FF2B5EF4-FFF2-40B4-BE49-F238E27FC236}">
                        <a16:creationId xmlns:a16="http://schemas.microsoft.com/office/drawing/2014/main" xmlns="" id="{46ECBF55-0AC7-4A2C-8AD8-4070647E2473}"/>
                      </a:ext>
                    </a:extLst>
                  </p:cNvPr>
                  <p:cNvSpPr>
                    <a:spLocks/>
                  </p:cNvSpPr>
                  <p:nvPr/>
                </p:nvSpPr>
                <p:spPr bwMode="gray">
                  <a:xfrm>
                    <a:off x="4433112" y="3014954"/>
                    <a:ext cx="13350" cy="15574"/>
                  </a:xfrm>
                  <a:custGeom>
                    <a:avLst/>
                    <a:gdLst>
                      <a:gd name="T0" fmla="*/ 0 w 12"/>
                      <a:gd name="T1" fmla="*/ 0 h 14"/>
                      <a:gd name="T2" fmla="*/ 2147483647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2147483647 h 14"/>
                      <a:gd name="T14" fmla="*/ 2147483647 w 12"/>
                      <a:gd name="T15" fmla="*/ 2147483647 h 14"/>
                      <a:gd name="T16" fmla="*/ 2147483647 w 12"/>
                      <a:gd name="T17" fmla="*/ 2147483647 h 14"/>
                      <a:gd name="T18" fmla="*/ 2147483647 w 12"/>
                      <a:gd name="T19" fmla="*/ 2147483647 h 14"/>
                      <a:gd name="T20" fmla="*/ 2147483647 w 12"/>
                      <a:gd name="T21" fmla="*/ 2147483647 h 14"/>
                      <a:gd name="T22" fmla="*/ 2147483647 w 12"/>
                      <a:gd name="T23" fmla="*/ 2147483647 h 14"/>
                      <a:gd name="T24" fmla="*/ 2147483647 w 12"/>
                      <a:gd name="T25" fmla="*/ 2147483647 h 14"/>
                      <a:gd name="T26" fmla="*/ 2147483647 w 12"/>
                      <a:gd name="T27" fmla="*/ 2147483647 h 14"/>
                      <a:gd name="T28" fmla="*/ 2147483647 w 12"/>
                      <a:gd name="T29" fmla="*/ 2147483647 h 14"/>
                      <a:gd name="T30" fmla="*/ 2147483647 w 12"/>
                      <a:gd name="T31" fmla="*/ 2147483647 h 14"/>
                      <a:gd name="T32" fmla="*/ 2147483647 w 12"/>
                      <a:gd name="T33" fmla="*/ 2147483647 h 14"/>
                      <a:gd name="T34" fmla="*/ 2147483647 w 12"/>
                      <a:gd name="T35" fmla="*/ 2147483647 h 14"/>
                      <a:gd name="T36" fmla="*/ 2147483647 w 12"/>
                      <a:gd name="T37" fmla="*/ 2147483647 h 14"/>
                      <a:gd name="T38" fmla="*/ 2147483647 w 12"/>
                      <a:gd name="T39" fmla="*/ 2147483647 h 14"/>
                      <a:gd name="T40" fmla="*/ 0 w 12"/>
                      <a:gd name="T41" fmla="*/ 0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 h="14">
                        <a:moveTo>
                          <a:pt x="0" y="0"/>
                        </a:moveTo>
                        <a:lnTo>
                          <a:pt x="2" y="4"/>
                        </a:lnTo>
                        <a:lnTo>
                          <a:pt x="3" y="8"/>
                        </a:lnTo>
                        <a:lnTo>
                          <a:pt x="3" y="12"/>
                        </a:lnTo>
                        <a:lnTo>
                          <a:pt x="5" y="14"/>
                        </a:lnTo>
                        <a:lnTo>
                          <a:pt x="6" y="14"/>
                        </a:lnTo>
                        <a:lnTo>
                          <a:pt x="7" y="14"/>
                        </a:lnTo>
                        <a:lnTo>
                          <a:pt x="8" y="14"/>
                        </a:lnTo>
                        <a:lnTo>
                          <a:pt x="9" y="14"/>
                        </a:lnTo>
                        <a:lnTo>
                          <a:pt x="10" y="12"/>
                        </a:lnTo>
                        <a:lnTo>
                          <a:pt x="10" y="10"/>
                        </a:lnTo>
                        <a:lnTo>
                          <a:pt x="11" y="9"/>
                        </a:lnTo>
                        <a:lnTo>
                          <a:pt x="12" y="7"/>
                        </a:lnTo>
                        <a:lnTo>
                          <a:pt x="10" y="7"/>
                        </a:lnTo>
                        <a:lnTo>
                          <a:pt x="9" y="7"/>
                        </a:lnTo>
                        <a:lnTo>
                          <a:pt x="7" y="7"/>
                        </a:lnTo>
                        <a:lnTo>
                          <a:pt x="5" y="7"/>
                        </a:lnTo>
                        <a:lnTo>
                          <a:pt x="3" y="5"/>
                        </a:lnTo>
                        <a:lnTo>
                          <a:pt x="3" y="4"/>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4" name="Freeform 2229">
                    <a:extLst>
                      <a:ext uri="{FF2B5EF4-FFF2-40B4-BE49-F238E27FC236}">
                        <a16:creationId xmlns:a16="http://schemas.microsoft.com/office/drawing/2014/main" xmlns="" id="{9A5201DB-1356-4143-B784-5609096A6699}"/>
                      </a:ext>
                    </a:extLst>
                  </p:cNvPr>
                  <p:cNvSpPr>
                    <a:spLocks/>
                  </p:cNvSpPr>
                  <p:nvPr/>
                </p:nvSpPr>
                <p:spPr bwMode="gray">
                  <a:xfrm>
                    <a:off x="4450911" y="3009393"/>
                    <a:ext cx="17799" cy="27811"/>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2147483647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2147483647 h 25"/>
                      <a:gd name="T30" fmla="*/ 2147483647 w 16"/>
                      <a:gd name="T31" fmla="*/ 2147483647 h 25"/>
                      <a:gd name="T32" fmla="*/ 2147483647 w 16"/>
                      <a:gd name="T33" fmla="*/ 2147483647 h 25"/>
                      <a:gd name="T34" fmla="*/ 2147483647 w 16"/>
                      <a:gd name="T35" fmla="*/ 2147483647 h 25"/>
                      <a:gd name="T36" fmla="*/ 2147483647 w 16"/>
                      <a:gd name="T37" fmla="*/ 2147483647 h 25"/>
                      <a:gd name="T38" fmla="*/ 2147483647 w 16"/>
                      <a:gd name="T39" fmla="*/ 2147483647 h 25"/>
                      <a:gd name="T40" fmla="*/ 2147483647 w 16"/>
                      <a:gd name="T41" fmla="*/ 2147483647 h 25"/>
                      <a:gd name="T42" fmla="*/ 2147483647 w 16"/>
                      <a:gd name="T43" fmla="*/ 2147483647 h 25"/>
                      <a:gd name="T44" fmla="*/ 2147483647 w 16"/>
                      <a:gd name="T45" fmla="*/ 2147483647 h 25"/>
                      <a:gd name="T46" fmla="*/ 2147483647 w 16"/>
                      <a:gd name="T47" fmla="*/ 2147483647 h 25"/>
                      <a:gd name="T48" fmla="*/ 2147483647 w 16"/>
                      <a:gd name="T49" fmla="*/ 2147483647 h 25"/>
                      <a:gd name="T50" fmla="*/ 2147483647 w 16"/>
                      <a:gd name="T51" fmla="*/ 2147483647 h 25"/>
                      <a:gd name="T52" fmla="*/ 2147483647 w 16"/>
                      <a:gd name="T53" fmla="*/ 2147483647 h 25"/>
                      <a:gd name="T54" fmla="*/ 2147483647 w 16"/>
                      <a:gd name="T55" fmla="*/ 2147483647 h 25"/>
                      <a:gd name="T56" fmla="*/ 0 w 16"/>
                      <a:gd name="T57" fmla="*/ 2147483647 h 25"/>
                      <a:gd name="T58" fmla="*/ 2147483647 w 16"/>
                      <a:gd name="T59" fmla="*/ 2147483647 h 25"/>
                      <a:gd name="T60" fmla="*/ 2147483647 w 16"/>
                      <a:gd name="T61" fmla="*/ 2147483647 h 25"/>
                      <a:gd name="T62" fmla="*/ 2147483647 w 16"/>
                      <a:gd name="T63" fmla="*/ 2147483647 h 25"/>
                      <a:gd name="T64" fmla="*/ 2147483647 w 16"/>
                      <a:gd name="T65" fmla="*/ 2147483647 h 25"/>
                      <a:gd name="T66" fmla="*/ 2147483647 w 16"/>
                      <a:gd name="T67" fmla="*/ 2147483647 h 25"/>
                      <a:gd name="T68" fmla="*/ 2147483647 w 16"/>
                      <a:gd name="T69" fmla="*/ 2147483647 h 25"/>
                      <a:gd name="T70" fmla="*/ 2147483647 w 16"/>
                      <a:gd name="T71" fmla="*/ 2147483647 h 25"/>
                      <a:gd name="T72" fmla="*/ 2147483647 w 16"/>
                      <a:gd name="T73" fmla="*/ 2147483647 h 25"/>
                      <a:gd name="T74" fmla="*/ 2147483647 w 16"/>
                      <a:gd name="T75" fmla="*/ 2147483647 h 25"/>
                      <a:gd name="T76" fmla="*/ 2147483647 w 16"/>
                      <a:gd name="T77" fmla="*/ 2147483647 h 25"/>
                      <a:gd name="T78" fmla="*/ 2147483647 w 16"/>
                      <a:gd name="T79" fmla="*/ 2147483647 h 25"/>
                      <a:gd name="T80" fmla="*/ 2147483647 w 16"/>
                      <a:gd name="T81" fmla="*/ 2147483647 h 25"/>
                      <a:gd name="T82" fmla="*/ 2147483647 w 16"/>
                      <a:gd name="T83" fmla="*/ 2147483647 h 25"/>
                      <a:gd name="T84" fmla="*/ 2147483647 w 16"/>
                      <a:gd name="T85" fmla="*/ 2147483647 h 25"/>
                      <a:gd name="T86" fmla="*/ 2147483647 w 16"/>
                      <a:gd name="T87" fmla="*/ 2147483647 h 25"/>
                      <a:gd name="T88" fmla="*/ 2147483647 w 16"/>
                      <a:gd name="T89" fmla="*/ 2147483647 h 25"/>
                      <a:gd name="T90" fmla="*/ 2147483647 w 16"/>
                      <a:gd name="T91" fmla="*/ 2147483647 h 25"/>
                      <a:gd name="T92" fmla="*/ 2147483647 w 16"/>
                      <a:gd name="T93" fmla="*/ 0 h 25"/>
                      <a:gd name="T94" fmla="*/ 2147483647 w 16"/>
                      <a:gd name="T95" fmla="*/ 0 h 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6" h="25">
                        <a:moveTo>
                          <a:pt x="16" y="0"/>
                        </a:moveTo>
                        <a:lnTo>
                          <a:pt x="14" y="2"/>
                        </a:lnTo>
                        <a:lnTo>
                          <a:pt x="13" y="5"/>
                        </a:lnTo>
                        <a:lnTo>
                          <a:pt x="12" y="7"/>
                        </a:lnTo>
                        <a:lnTo>
                          <a:pt x="10" y="10"/>
                        </a:lnTo>
                        <a:lnTo>
                          <a:pt x="10" y="11"/>
                        </a:lnTo>
                        <a:lnTo>
                          <a:pt x="9" y="11"/>
                        </a:lnTo>
                        <a:lnTo>
                          <a:pt x="8" y="10"/>
                        </a:lnTo>
                        <a:lnTo>
                          <a:pt x="7" y="10"/>
                        </a:lnTo>
                        <a:lnTo>
                          <a:pt x="6" y="11"/>
                        </a:lnTo>
                        <a:lnTo>
                          <a:pt x="4" y="13"/>
                        </a:lnTo>
                        <a:lnTo>
                          <a:pt x="4" y="15"/>
                        </a:lnTo>
                        <a:lnTo>
                          <a:pt x="6" y="16"/>
                        </a:lnTo>
                        <a:lnTo>
                          <a:pt x="7" y="16"/>
                        </a:lnTo>
                        <a:lnTo>
                          <a:pt x="7" y="18"/>
                        </a:lnTo>
                        <a:lnTo>
                          <a:pt x="6" y="18"/>
                        </a:lnTo>
                        <a:lnTo>
                          <a:pt x="4" y="17"/>
                        </a:lnTo>
                        <a:lnTo>
                          <a:pt x="4" y="16"/>
                        </a:lnTo>
                        <a:lnTo>
                          <a:pt x="4" y="17"/>
                        </a:lnTo>
                        <a:lnTo>
                          <a:pt x="4" y="18"/>
                        </a:lnTo>
                        <a:lnTo>
                          <a:pt x="4" y="19"/>
                        </a:lnTo>
                        <a:lnTo>
                          <a:pt x="4" y="20"/>
                        </a:lnTo>
                        <a:lnTo>
                          <a:pt x="3" y="20"/>
                        </a:lnTo>
                        <a:lnTo>
                          <a:pt x="2" y="21"/>
                        </a:lnTo>
                        <a:lnTo>
                          <a:pt x="1" y="22"/>
                        </a:lnTo>
                        <a:lnTo>
                          <a:pt x="0" y="22"/>
                        </a:lnTo>
                        <a:lnTo>
                          <a:pt x="2" y="23"/>
                        </a:lnTo>
                        <a:lnTo>
                          <a:pt x="4" y="24"/>
                        </a:lnTo>
                        <a:lnTo>
                          <a:pt x="5" y="25"/>
                        </a:lnTo>
                        <a:lnTo>
                          <a:pt x="7" y="25"/>
                        </a:lnTo>
                        <a:lnTo>
                          <a:pt x="8" y="25"/>
                        </a:lnTo>
                        <a:lnTo>
                          <a:pt x="9" y="23"/>
                        </a:lnTo>
                        <a:lnTo>
                          <a:pt x="10" y="21"/>
                        </a:lnTo>
                        <a:lnTo>
                          <a:pt x="10" y="20"/>
                        </a:lnTo>
                        <a:lnTo>
                          <a:pt x="12" y="17"/>
                        </a:lnTo>
                        <a:lnTo>
                          <a:pt x="13" y="15"/>
                        </a:lnTo>
                        <a:lnTo>
                          <a:pt x="13" y="10"/>
                        </a:lnTo>
                        <a:lnTo>
                          <a:pt x="13" y="8"/>
                        </a:lnTo>
                        <a:lnTo>
                          <a:pt x="15" y="6"/>
                        </a:lnTo>
                        <a:lnTo>
                          <a:pt x="16" y="5"/>
                        </a:lnTo>
                        <a:lnTo>
                          <a:pt x="16" y="3"/>
                        </a:lnTo>
                        <a:lnTo>
                          <a:pt x="16" y="2"/>
                        </a:lnTo>
                        <a:lnTo>
                          <a:pt x="16" y="1"/>
                        </a:lnTo>
                        <a:lnTo>
                          <a:pt x="1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5" name="Freeform 2231">
                    <a:extLst>
                      <a:ext uri="{FF2B5EF4-FFF2-40B4-BE49-F238E27FC236}">
                        <a16:creationId xmlns:a16="http://schemas.microsoft.com/office/drawing/2014/main" xmlns="" id="{C6EE9E86-1D58-465B-BEF3-7D56EFB305DA}"/>
                      </a:ext>
                    </a:extLst>
                  </p:cNvPr>
                  <p:cNvSpPr>
                    <a:spLocks/>
                  </p:cNvSpPr>
                  <p:nvPr/>
                </p:nvSpPr>
                <p:spPr bwMode="gray">
                  <a:xfrm>
                    <a:off x="4647818" y="3000493"/>
                    <a:ext cx="21137" cy="24473"/>
                  </a:xfrm>
                  <a:custGeom>
                    <a:avLst/>
                    <a:gdLst>
                      <a:gd name="T0" fmla="*/ 2147483647 w 19"/>
                      <a:gd name="T1" fmla="*/ 0 h 22"/>
                      <a:gd name="T2" fmla="*/ 2147483647 w 19"/>
                      <a:gd name="T3" fmla="*/ 2147483647 h 22"/>
                      <a:gd name="T4" fmla="*/ 2147483647 w 19"/>
                      <a:gd name="T5" fmla="*/ 2147483647 h 22"/>
                      <a:gd name="T6" fmla="*/ 2147483647 w 19"/>
                      <a:gd name="T7" fmla="*/ 2147483647 h 22"/>
                      <a:gd name="T8" fmla="*/ 2147483647 w 19"/>
                      <a:gd name="T9" fmla="*/ 2147483647 h 22"/>
                      <a:gd name="T10" fmla="*/ 2147483647 w 19"/>
                      <a:gd name="T11" fmla="*/ 2147483647 h 22"/>
                      <a:gd name="T12" fmla="*/ 2147483647 w 19"/>
                      <a:gd name="T13" fmla="*/ 2147483647 h 22"/>
                      <a:gd name="T14" fmla="*/ 2147483647 w 19"/>
                      <a:gd name="T15" fmla="*/ 2147483647 h 22"/>
                      <a:gd name="T16" fmla="*/ 0 w 19"/>
                      <a:gd name="T17" fmla="*/ 2147483647 h 22"/>
                      <a:gd name="T18" fmla="*/ 0 w 19"/>
                      <a:gd name="T19" fmla="*/ 2147483647 h 22"/>
                      <a:gd name="T20" fmla="*/ 0 w 19"/>
                      <a:gd name="T21" fmla="*/ 2147483647 h 22"/>
                      <a:gd name="T22" fmla="*/ 0 w 19"/>
                      <a:gd name="T23" fmla="*/ 2147483647 h 22"/>
                      <a:gd name="T24" fmla="*/ 0 w 19"/>
                      <a:gd name="T25" fmla="*/ 2147483647 h 22"/>
                      <a:gd name="T26" fmla="*/ 2147483647 w 19"/>
                      <a:gd name="T27" fmla="*/ 2147483647 h 22"/>
                      <a:gd name="T28" fmla="*/ 2147483647 w 19"/>
                      <a:gd name="T29" fmla="*/ 2147483647 h 22"/>
                      <a:gd name="T30" fmla="*/ 2147483647 w 19"/>
                      <a:gd name="T31" fmla="*/ 2147483647 h 22"/>
                      <a:gd name="T32" fmla="*/ 2147483647 w 19"/>
                      <a:gd name="T33" fmla="*/ 2147483647 h 22"/>
                      <a:gd name="T34" fmla="*/ 2147483647 w 19"/>
                      <a:gd name="T35" fmla="*/ 2147483647 h 22"/>
                      <a:gd name="T36" fmla="*/ 2147483647 w 19"/>
                      <a:gd name="T37" fmla="*/ 2147483647 h 22"/>
                      <a:gd name="T38" fmla="*/ 2147483647 w 19"/>
                      <a:gd name="T39" fmla="*/ 2147483647 h 22"/>
                      <a:gd name="T40" fmla="*/ 2147483647 w 19"/>
                      <a:gd name="T41" fmla="*/ 2147483647 h 22"/>
                      <a:gd name="T42" fmla="*/ 2147483647 w 19"/>
                      <a:gd name="T43" fmla="*/ 2147483647 h 22"/>
                      <a:gd name="T44" fmla="*/ 2147483647 w 19"/>
                      <a:gd name="T45" fmla="*/ 2147483647 h 22"/>
                      <a:gd name="T46" fmla="*/ 2147483647 w 19"/>
                      <a:gd name="T47" fmla="*/ 2147483647 h 22"/>
                      <a:gd name="T48" fmla="*/ 2147483647 w 19"/>
                      <a:gd name="T49" fmla="*/ 2147483647 h 22"/>
                      <a:gd name="T50" fmla="*/ 2147483647 w 19"/>
                      <a:gd name="T51" fmla="*/ 2147483647 h 22"/>
                      <a:gd name="T52" fmla="*/ 2147483647 w 19"/>
                      <a:gd name="T53" fmla="*/ 2147483647 h 22"/>
                      <a:gd name="T54" fmla="*/ 2147483647 w 19"/>
                      <a:gd name="T55" fmla="*/ 2147483647 h 22"/>
                      <a:gd name="T56" fmla="*/ 2147483647 w 19"/>
                      <a:gd name="T57" fmla="*/ 2147483647 h 22"/>
                      <a:gd name="T58" fmla="*/ 2147483647 w 19"/>
                      <a:gd name="T59" fmla="*/ 2147483647 h 22"/>
                      <a:gd name="T60" fmla="*/ 2147483647 w 19"/>
                      <a:gd name="T61" fmla="*/ 2147483647 h 22"/>
                      <a:gd name="T62" fmla="*/ 2147483647 w 19"/>
                      <a:gd name="T63" fmla="*/ 2147483647 h 22"/>
                      <a:gd name="T64" fmla="*/ 2147483647 w 19"/>
                      <a:gd name="T65" fmla="*/ 2147483647 h 22"/>
                      <a:gd name="T66" fmla="*/ 2147483647 w 19"/>
                      <a:gd name="T67" fmla="*/ 0 h 22"/>
                      <a:gd name="T68" fmla="*/ 2147483647 w 19"/>
                      <a:gd name="T69" fmla="*/ 0 h 22"/>
                      <a:gd name="T70" fmla="*/ 2147483647 w 19"/>
                      <a:gd name="T71" fmla="*/ 0 h 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9" h="22">
                        <a:moveTo>
                          <a:pt x="7" y="0"/>
                        </a:moveTo>
                        <a:lnTo>
                          <a:pt x="5" y="2"/>
                        </a:lnTo>
                        <a:lnTo>
                          <a:pt x="4" y="3"/>
                        </a:lnTo>
                        <a:lnTo>
                          <a:pt x="4" y="5"/>
                        </a:lnTo>
                        <a:lnTo>
                          <a:pt x="4" y="7"/>
                        </a:lnTo>
                        <a:lnTo>
                          <a:pt x="3" y="9"/>
                        </a:lnTo>
                        <a:lnTo>
                          <a:pt x="2" y="10"/>
                        </a:lnTo>
                        <a:lnTo>
                          <a:pt x="1" y="10"/>
                        </a:lnTo>
                        <a:lnTo>
                          <a:pt x="0" y="10"/>
                        </a:lnTo>
                        <a:lnTo>
                          <a:pt x="0" y="12"/>
                        </a:lnTo>
                        <a:lnTo>
                          <a:pt x="0" y="13"/>
                        </a:lnTo>
                        <a:lnTo>
                          <a:pt x="0" y="15"/>
                        </a:lnTo>
                        <a:lnTo>
                          <a:pt x="0" y="16"/>
                        </a:lnTo>
                        <a:lnTo>
                          <a:pt x="5" y="18"/>
                        </a:lnTo>
                        <a:lnTo>
                          <a:pt x="9" y="20"/>
                        </a:lnTo>
                        <a:lnTo>
                          <a:pt x="13" y="22"/>
                        </a:lnTo>
                        <a:lnTo>
                          <a:pt x="17" y="22"/>
                        </a:lnTo>
                        <a:lnTo>
                          <a:pt x="17" y="20"/>
                        </a:lnTo>
                        <a:lnTo>
                          <a:pt x="17" y="19"/>
                        </a:lnTo>
                        <a:lnTo>
                          <a:pt x="18" y="18"/>
                        </a:lnTo>
                        <a:lnTo>
                          <a:pt x="18" y="16"/>
                        </a:lnTo>
                        <a:lnTo>
                          <a:pt x="19" y="13"/>
                        </a:lnTo>
                        <a:lnTo>
                          <a:pt x="17" y="10"/>
                        </a:lnTo>
                        <a:lnTo>
                          <a:pt x="16" y="10"/>
                        </a:lnTo>
                        <a:lnTo>
                          <a:pt x="14" y="10"/>
                        </a:lnTo>
                        <a:lnTo>
                          <a:pt x="12" y="9"/>
                        </a:lnTo>
                        <a:lnTo>
                          <a:pt x="12" y="8"/>
                        </a:lnTo>
                        <a:lnTo>
                          <a:pt x="12" y="6"/>
                        </a:lnTo>
                        <a:lnTo>
                          <a:pt x="10" y="3"/>
                        </a:lnTo>
                        <a:lnTo>
                          <a:pt x="10" y="1"/>
                        </a:lnTo>
                        <a:lnTo>
                          <a:pt x="9" y="0"/>
                        </a:lnTo>
                        <a:lnTo>
                          <a:pt x="8" y="0"/>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6" name="Freeform 2233">
                    <a:extLst>
                      <a:ext uri="{FF2B5EF4-FFF2-40B4-BE49-F238E27FC236}">
                        <a16:creationId xmlns:a16="http://schemas.microsoft.com/office/drawing/2014/main" xmlns="" id="{F6D2BCD4-A945-4054-991D-275F655542D9}"/>
                      </a:ext>
                    </a:extLst>
                  </p:cNvPr>
                  <p:cNvSpPr>
                    <a:spLocks/>
                  </p:cNvSpPr>
                  <p:nvPr/>
                </p:nvSpPr>
                <p:spPr bwMode="gray">
                  <a:xfrm>
                    <a:off x="4357464" y="2990482"/>
                    <a:ext cx="3338" cy="6675"/>
                  </a:xfrm>
                  <a:custGeom>
                    <a:avLst/>
                    <a:gdLst>
                      <a:gd name="T0" fmla="*/ 0 w 3"/>
                      <a:gd name="T1" fmla="*/ 0 h 6"/>
                      <a:gd name="T2" fmla="*/ 0 w 3"/>
                      <a:gd name="T3" fmla="*/ 0 h 6"/>
                      <a:gd name="T4" fmla="*/ 0 w 3"/>
                      <a:gd name="T5" fmla="*/ 2147483647 h 6"/>
                      <a:gd name="T6" fmla="*/ 0 w 3"/>
                      <a:gd name="T7" fmla="*/ 2147483647 h 6"/>
                      <a:gd name="T8" fmla="*/ 0 w 3"/>
                      <a:gd name="T9" fmla="*/ 2147483647 h 6"/>
                      <a:gd name="T10" fmla="*/ 2147483647 w 3"/>
                      <a:gd name="T11" fmla="*/ 2147483647 h 6"/>
                      <a:gd name="T12" fmla="*/ 2147483647 w 3"/>
                      <a:gd name="T13" fmla="*/ 2147483647 h 6"/>
                      <a:gd name="T14" fmla="*/ 2147483647 w 3"/>
                      <a:gd name="T15" fmla="*/ 2147483647 h 6"/>
                      <a:gd name="T16" fmla="*/ 2147483647 w 3"/>
                      <a:gd name="T17" fmla="*/ 2147483647 h 6"/>
                      <a:gd name="T18" fmla="*/ 2147483647 w 3"/>
                      <a:gd name="T19" fmla="*/ 2147483647 h 6"/>
                      <a:gd name="T20" fmla="*/ 2147483647 w 3"/>
                      <a:gd name="T21" fmla="*/ 2147483647 h 6"/>
                      <a:gd name="T22" fmla="*/ 2147483647 w 3"/>
                      <a:gd name="T23" fmla="*/ 2147483647 h 6"/>
                      <a:gd name="T24" fmla="*/ 2147483647 w 3"/>
                      <a:gd name="T25" fmla="*/ 2147483647 h 6"/>
                      <a:gd name="T26" fmla="*/ 2147483647 w 3"/>
                      <a:gd name="T27" fmla="*/ 2147483647 h 6"/>
                      <a:gd name="T28" fmla="*/ 2147483647 w 3"/>
                      <a:gd name="T29" fmla="*/ 0 h 6"/>
                      <a:gd name="T30" fmla="*/ 2147483647 w 3"/>
                      <a:gd name="T31" fmla="*/ 0 h 6"/>
                      <a:gd name="T32" fmla="*/ 2147483647 w 3"/>
                      <a:gd name="T33" fmla="*/ 0 h 6"/>
                      <a:gd name="T34" fmla="*/ 2147483647 w 3"/>
                      <a:gd name="T35" fmla="*/ 0 h 6"/>
                      <a:gd name="T36" fmla="*/ 2147483647 w 3"/>
                      <a:gd name="T37" fmla="*/ 0 h 6"/>
                      <a:gd name="T38" fmla="*/ 0 w 3"/>
                      <a:gd name="T39" fmla="*/ 0 h 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 h="6">
                        <a:moveTo>
                          <a:pt x="0" y="0"/>
                        </a:moveTo>
                        <a:lnTo>
                          <a:pt x="0" y="0"/>
                        </a:lnTo>
                        <a:lnTo>
                          <a:pt x="0" y="1"/>
                        </a:lnTo>
                        <a:lnTo>
                          <a:pt x="0" y="6"/>
                        </a:lnTo>
                        <a:lnTo>
                          <a:pt x="0" y="4"/>
                        </a:lnTo>
                        <a:lnTo>
                          <a:pt x="1" y="4"/>
                        </a:lnTo>
                        <a:lnTo>
                          <a:pt x="2" y="5"/>
                        </a:lnTo>
                        <a:lnTo>
                          <a:pt x="3" y="6"/>
                        </a:lnTo>
                        <a:lnTo>
                          <a:pt x="3" y="5"/>
                        </a:lnTo>
                        <a:lnTo>
                          <a:pt x="2" y="4"/>
                        </a:lnTo>
                        <a:lnTo>
                          <a:pt x="2" y="3"/>
                        </a:lnTo>
                        <a:lnTo>
                          <a:pt x="3" y="2"/>
                        </a:lnTo>
                        <a:lnTo>
                          <a:pt x="3" y="1"/>
                        </a:lnTo>
                        <a:lnTo>
                          <a:pt x="3" y="0"/>
                        </a:lnTo>
                        <a:lnTo>
                          <a:pt x="2" y="0"/>
                        </a:lnTo>
                        <a:lnTo>
                          <a:pt x="1"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7" name="Freeform 2235">
                    <a:extLst>
                      <a:ext uri="{FF2B5EF4-FFF2-40B4-BE49-F238E27FC236}">
                        <a16:creationId xmlns:a16="http://schemas.microsoft.com/office/drawing/2014/main" xmlns="" id="{87F9414D-0EA9-4C81-BB84-B5251DE13FEE}"/>
                      </a:ext>
                    </a:extLst>
                  </p:cNvPr>
                  <p:cNvSpPr>
                    <a:spLocks/>
                  </p:cNvSpPr>
                  <p:nvPr/>
                </p:nvSpPr>
                <p:spPr bwMode="gray">
                  <a:xfrm>
                    <a:off x="4360802" y="2964896"/>
                    <a:ext cx="2225" cy="7787"/>
                  </a:xfrm>
                  <a:custGeom>
                    <a:avLst/>
                    <a:gdLst>
                      <a:gd name="T0" fmla="*/ 0 w 2"/>
                      <a:gd name="T1" fmla="*/ 0 h 7"/>
                      <a:gd name="T2" fmla="*/ 0 w 2"/>
                      <a:gd name="T3" fmla="*/ 0 h 7"/>
                      <a:gd name="T4" fmla="*/ 0 w 2"/>
                      <a:gd name="T5" fmla="*/ 2147483647 h 7"/>
                      <a:gd name="T6" fmla="*/ 0 w 2"/>
                      <a:gd name="T7" fmla="*/ 2147483647 h 7"/>
                      <a:gd name="T8" fmla="*/ 0 w 2"/>
                      <a:gd name="T9" fmla="*/ 2147483647 h 7"/>
                      <a:gd name="T10" fmla="*/ 0 w 2"/>
                      <a:gd name="T11" fmla="*/ 2147483647 h 7"/>
                      <a:gd name="T12" fmla="*/ 0 w 2"/>
                      <a:gd name="T13" fmla="*/ 2147483647 h 7"/>
                      <a:gd name="T14" fmla="*/ 0 w 2"/>
                      <a:gd name="T15" fmla="*/ 2147483647 h 7"/>
                      <a:gd name="T16" fmla="*/ 0 w 2"/>
                      <a:gd name="T17" fmla="*/ 2147483647 h 7"/>
                      <a:gd name="T18" fmla="*/ 2147483647 w 2"/>
                      <a:gd name="T19" fmla="*/ 2147483647 h 7"/>
                      <a:gd name="T20" fmla="*/ 2147483647 w 2"/>
                      <a:gd name="T21" fmla="*/ 2147483647 h 7"/>
                      <a:gd name="T22" fmla="*/ 2147483647 w 2"/>
                      <a:gd name="T23" fmla="*/ 2147483647 h 7"/>
                      <a:gd name="T24" fmla="*/ 2147483647 w 2"/>
                      <a:gd name="T25" fmla="*/ 2147483647 h 7"/>
                      <a:gd name="T26" fmla="*/ 0 w 2"/>
                      <a:gd name="T27" fmla="*/ 0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 h="7">
                        <a:moveTo>
                          <a:pt x="0" y="0"/>
                        </a:moveTo>
                        <a:lnTo>
                          <a:pt x="0" y="0"/>
                        </a:lnTo>
                        <a:lnTo>
                          <a:pt x="0" y="1"/>
                        </a:lnTo>
                        <a:lnTo>
                          <a:pt x="0" y="2"/>
                        </a:lnTo>
                        <a:lnTo>
                          <a:pt x="0" y="3"/>
                        </a:lnTo>
                        <a:lnTo>
                          <a:pt x="0" y="4"/>
                        </a:lnTo>
                        <a:lnTo>
                          <a:pt x="0" y="6"/>
                        </a:lnTo>
                        <a:lnTo>
                          <a:pt x="2" y="7"/>
                        </a:lnTo>
                        <a:lnTo>
                          <a:pt x="2" y="6"/>
                        </a:lnTo>
                        <a:lnTo>
                          <a:pt x="2" y="4"/>
                        </a:lnTo>
                        <a:lnTo>
                          <a:pt x="1"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8" name="Freeform 2237">
                    <a:extLst>
                      <a:ext uri="{FF2B5EF4-FFF2-40B4-BE49-F238E27FC236}">
                        <a16:creationId xmlns:a16="http://schemas.microsoft.com/office/drawing/2014/main" xmlns="" id="{5FD84DCB-4157-4857-A217-4051F6548D44}"/>
                      </a:ext>
                    </a:extLst>
                  </p:cNvPr>
                  <p:cNvSpPr>
                    <a:spLocks/>
                  </p:cNvSpPr>
                  <p:nvPr/>
                </p:nvSpPr>
                <p:spPr bwMode="gray">
                  <a:xfrm>
                    <a:off x="4417537" y="2961559"/>
                    <a:ext cx="51174" cy="53395"/>
                  </a:xfrm>
                  <a:custGeom>
                    <a:avLst/>
                    <a:gdLst>
                      <a:gd name="T0" fmla="*/ 2147483647 w 46"/>
                      <a:gd name="T1" fmla="*/ 2147483647 h 48"/>
                      <a:gd name="T2" fmla="*/ 2147483647 w 46"/>
                      <a:gd name="T3" fmla="*/ 2147483647 h 48"/>
                      <a:gd name="T4" fmla="*/ 2147483647 w 46"/>
                      <a:gd name="T5" fmla="*/ 2147483647 h 48"/>
                      <a:gd name="T6" fmla="*/ 2147483647 w 46"/>
                      <a:gd name="T7" fmla="*/ 2147483647 h 48"/>
                      <a:gd name="T8" fmla="*/ 2147483647 w 46"/>
                      <a:gd name="T9" fmla="*/ 2147483647 h 48"/>
                      <a:gd name="T10" fmla="*/ 2147483647 w 46"/>
                      <a:gd name="T11" fmla="*/ 2147483647 h 48"/>
                      <a:gd name="T12" fmla="*/ 2147483647 w 46"/>
                      <a:gd name="T13" fmla="*/ 2147483647 h 48"/>
                      <a:gd name="T14" fmla="*/ 0 w 46"/>
                      <a:gd name="T15" fmla="*/ 2147483647 h 48"/>
                      <a:gd name="T16" fmla="*/ 0 w 46"/>
                      <a:gd name="T17" fmla="*/ 2147483647 h 48"/>
                      <a:gd name="T18" fmla="*/ 0 w 46"/>
                      <a:gd name="T19" fmla="*/ 2147483647 h 48"/>
                      <a:gd name="T20" fmla="*/ 2147483647 w 46"/>
                      <a:gd name="T21" fmla="*/ 2147483647 h 48"/>
                      <a:gd name="T22" fmla="*/ 2147483647 w 46"/>
                      <a:gd name="T23" fmla="*/ 2147483647 h 48"/>
                      <a:gd name="T24" fmla="*/ 2147483647 w 46"/>
                      <a:gd name="T25" fmla="*/ 2147483647 h 48"/>
                      <a:gd name="T26" fmla="*/ 2147483647 w 46"/>
                      <a:gd name="T27" fmla="*/ 2147483647 h 48"/>
                      <a:gd name="T28" fmla="*/ 2147483647 w 46"/>
                      <a:gd name="T29" fmla="*/ 2147483647 h 48"/>
                      <a:gd name="T30" fmla="*/ 2147483647 w 46"/>
                      <a:gd name="T31" fmla="*/ 2147483647 h 48"/>
                      <a:gd name="T32" fmla="*/ 2147483647 w 46"/>
                      <a:gd name="T33" fmla="*/ 2147483647 h 48"/>
                      <a:gd name="T34" fmla="*/ 2147483647 w 46"/>
                      <a:gd name="T35" fmla="*/ 2147483647 h 48"/>
                      <a:gd name="T36" fmla="*/ 2147483647 w 46"/>
                      <a:gd name="T37" fmla="*/ 2147483647 h 48"/>
                      <a:gd name="T38" fmla="*/ 2147483647 w 46"/>
                      <a:gd name="T39" fmla="*/ 2147483647 h 48"/>
                      <a:gd name="T40" fmla="*/ 2147483647 w 46"/>
                      <a:gd name="T41" fmla="*/ 2147483647 h 48"/>
                      <a:gd name="T42" fmla="*/ 2147483647 w 46"/>
                      <a:gd name="T43" fmla="*/ 2147483647 h 48"/>
                      <a:gd name="T44" fmla="*/ 2147483647 w 46"/>
                      <a:gd name="T45" fmla="*/ 2147483647 h 48"/>
                      <a:gd name="T46" fmla="*/ 2147483647 w 46"/>
                      <a:gd name="T47" fmla="*/ 2147483647 h 48"/>
                      <a:gd name="T48" fmla="*/ 2147483647 w 46"/>
                      <a:gd name="T49" fmla="*/ 2147483647 h 48"/>
                      <a:gd name="T50" fmla="*/ 2147483647 w 46"/>
                      <a:gd name="T51" fmla="*/ 2147483647 h 48"/>
                      <a:gd name="T52" fmla="*/ 2147483647 w 46"/>
                      <a:gd name="T53" fmla="*/ 2147483647 h 48"/>
                      <a:gd name="T54" fmla="*/ 2147483647 w 46"/>
                      <a:gd name="T55" fmla="*/ 2147483647 h 48"/>
                      <a:gd name="T56" fmla="*/ 2147483647 w 46"/>
                      <a:gd name="T57" fmla="*/ 2147483647 h 48"/>
                      <a:gd name="T58" fmla="*/ 2147483647 w 46"/>
                      <a:gd name="T59" fmla="*/ 2147483647 h 48"/>
                      <a:gd name="T60" fmla="*/ 2147483647 w 46"/>
                      <a:gd name="T61" fmla="*/ 2147483647 h 48"/>
                      <a:gd name="T62" fmla="*/ 2147483647 w 46"/>
                      <a:gd name="T63" fmla="*/ 2147483647 h 48"/>
                      <a:gd name="T64" fmla="*/ 2147483647 w 46"/>
                      <a:gd name="T65" fmla="*/ 2147483647 h 48"/>
                      <a:gd name="T66" fmla="*/ 2147483647 w 46"/>
                      <a:gd name="T67" fmla="*/ 2147483647 h 48"/>
                      <a:gd name="T68" fmla="*/ 2147483647 w 46"/>
                      <a:gd name="T69" fmla="*/ 2147483647 h 48"/>
                      <a:gd name="T70" fmla="*/ 2147483647 w 46"/>
                      <a:gd name="T71" fmla="*/ 2147483647 h 48"/>
                      <a:gd name="T72" fmla="*/ 2147483647 w 46"/>
                      <a:gd name="T73" fmla="*/ 2147483647 h 48"/>
                      <a:gd name="T74" fmla="*/ 2147483647 w 46"/>
                      <a:gd name="T75" fmla="*/ 2147483647 h 48"/>
                      <a:gd name="T76" fmla="*/ 2147483647 w 46"/>
                      <a:gd name="T77" fmla="*/ 2147483647 h 48"/>
                      <a:gd name="T78" fmla="*/ 2147483647 w 46"/>
                      <a:gd name="T79" fmla="*/ 2147483647 h 48"/>
                      <a:gd name="T80" fmla="*/ 2147483647 w 46"/>
                      <a:gd name="T81" fmla="*/ 2147483647 h 48"/>
                      <a:gd name="T82" fmla="*/ 2147483647 w 46"/>
                      <a:gd name="T83" fmla="*/ 2147483647 h 48"/>
                      <a:gd name="T84" fmla="*/ 2147483647 w 46"/>
                      <a:gd name="T85" fmla="*/ 2147483647 h 48"/>
                      <a:gd name="T86" fmla="*/ 2147483647 w 46"/>
                      <a:gd name="T87" fmla="*/ 2147483647 h 48"/>
                      <a:gd name="T88" fmla="*/ 2147483647 w 46"/>
                      <a:gd name="T89" fmla="*/ 2147483647 h 48"/>
                      <a:gd name="T90" fmla="*/ 2147483647 w 46"/>
                      <a:gd name="T91" fmla="*/ 2147483647 h 48"/>
                      <a:gd name="T92" fmla="*/ 2147483647 w 46"/>
                      <a:gd name="T93" fmla="*/ 0 h 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 h="48">
                        <a:moveTo>
                          <a:pt x="17" y="0"/>
                        </a:moveTo>
                        <a:lnTo>
                          <a:pt x="16" y="2"/>
                        </a:lnTo>
                        <a:lnTo>
                          <a:pt x="15" y="4"/>
                        </a:lnTo>
                        <a:lnTo>
                          <a:pt x="10" y="9"/>
                        </a:lnTo>
                        <a:lnTo>
                          <a:pt x="10" y="7"/>
                        </a:lnTo>
                        <a:lnTo>
                          <a:pt x="10" y="6"/>
                        </a:lnTo>
                        <a:lnTo>
                          <a:pt x="9" y="4"/>
                        </a:lnTo>
                        <a:lnTo>
                          <a:pt x="7" y="3"/>
                        </a:lnTo>
                        <a:lnTo>
                          <a:pt x="6" y="3"/>
                        </a:lnTo>
                        <a:lnTo>
                          <a:pt x="5" y="3"/>
                        </a:lnTo>
                        <a:lnTo>
                          <a:pt x="4" y="3"/>
                        </a:lnTo>
                        <a:lnTo>
                          <a:pt x="3" y="3"/>
                        </a:lnTo>
                        <a:lnTo>
                          <a:pt x="2" y="4"/>
                        </a:lnTo>
                        <a:lnTo>
                          <a:pt x="1" y="7"/>
                        </a:lnTo>
                        <a:lnTo>
                          <a:pt x="0" y="9"/>
                        </a:lnTo>
                        <a:lnTo>
                          <a:pt x="0" y="8"/>
                        </a:lnTo>
                        <a:lnTo>
                          <a:pt x="0" y="10"/>
                        </a:lnTo>
                        <a:lnTo>
                          <a:pt x="0" y="12"/>
                        </a:lnTo>
                        <a:lnTo>
                          <a:pt x="1" y="14"/>
                        </a:lnTo>
                        <a:lnTo>
                          <a:pt x="2" y="14"/>
                        </a:lnTo>
                        <a:lnTo>
                          <a:pt x="3" y="14"/>
                        </a:lnTo>
                        <a:lnTo>
                          <a:pt x="4" y="16"/>
                        </a:lnTo>
                        <a:lnTo>
                          <a:pt x="4" y="18"/>
                        </a:lnTo>
                        <a:lnTo>
                          <a:pt x="4" y="20"/>
                        </a:lnTo>
                        <a:lnTo>
                          <a:pt x="4" y="22"/>
                        </a:lnTo>
                        <a:lnTo>
                          <a:pt x="4" y="26"/>
                        </a:lnTo>
                        <a:lnTo>
                          <a:pt x="5" y="26"/>
                        </a:lnTo>
                        <a:lnTo>
                          <a:pt x="6" y="26"/>
                        </a:lnTo>
                        <a:lnTo>
                          <a:pt x="7" y="26"/>
                        </a:lnTo>
                        <a:lnTo>
                          <a:pt x="7" y="28"/>
                        </a:lnTo>
                        <a:lnTo>
                          <a:pt x="6" y="31"/>
                        </a:lnTo>
                        <a:lnTo>
                          <a:pt x="7" y="32"/>
                        </a:lnTo>
                        <a:lnTo>
                          <a:pt x="10" y="32"/>
                        </a:lnTo>
                        <a:lnTo>
                          <a:pt x="10" y="31"/>
                        </a:lnTo>
                        <a:lnTo>
                          <a:pt x="10" y="30"/>
                        </a:lnTo>
                        <a:lnTo>
                          <a:pt x="10" y="29"/>
                        </a:lnTo>
                        <a:lnTo>
                          <a:pt x="10" y="28"/>
                        </a:lnTo>
                        <a:lnTo>
                          <a:pt x="12" y="32"/>
                        </a:lnTo>
                        <a:lnTo>
                          <a:pt x="13" y="35"/>
                        </a:lnTo>
                        <a:lnTo>
                          <a:pt x="14" y="37"/>
                        </a:lnTo>
                        <a:lnTo>
                          <a:pt x="16" y="38"/>
                        </a:lnTo>
                        <a:lnTo>
                          <a:pt x="21" y="39"/>
                        </a:lnTo>
                        <a:lnTo>
                          <a:pt x="27" y="38"/>
                        </a:lnTo>
                        <a:lnTo>
                          <a:pt x="28" y="41"/>
                        </a:lnTo>
                        <a:lnTo>
                          <a:pt x="29" y="43"/>
                        </a:lnTo>
                        <a:lnTo>
                          <a:pt x="29" y="44"/>
                        </a:lnTo>
                        <a:lnTo>
                          <a:pt x="29" y="45"/>
                        </a:lnTo>
                        <a:lnTo>
                          <a:pt x="29" y="48"/>
                        </a:lnTo>
                        <a:lnTo>
                          <a:pt x="30" y="48"/>
                        </a:lnTo>
                        <a:lnTo>
                          <a:pt x="31" y="48"/>
                        </a:lnTo>
                        <a:lnTo>
                          <a:pt x="32" y="48"/>
                        </a:lnTo>
                        <a:lnTo>
                          <a:pt x="33" y="48"/>
                        </a:lnTo>
                        <a:lnTo>
                          <a:pt x="36" y="46"/>
                        </a:lnTo>
                        <a:lnTo>
                          <a:pt x="39" y="43"/>
                        </a:lnTo>
                        <a:lnTo>
                          <a:pt x="42" y="39"/>
                        </a:lnTo>
                        <a:lnTo>
                          <a:pt x="43" y="35"/>
                        </a:lnTo>
                        <a:lnTo>
                          <a:pt x="43" y="33"/>
                        </a:lnTo>
                        <a:lnTo>
                          <a:pt x="43" y="32"/>
                        </a:lnTo>
                        <a:lnTo>
                          <a:pt x="43" y="30"/>
                        </a:lnTo>
                        <a:lnTo>
                          <a:pt x="43" y="28"/>
                        </a:lnTo>
                        <a:lnTo>
                          <a:pt x="46" y="26"/>
                        </a:lnTo>
                        <a:lnTo>
                          <a:pt x="46" y="25"/>
                        </a:lnTo>
                        <a:lnTo>
                          <a:pt x="45" y="23"/>
                        </a:lnTo>
                        <a:lnTo>
                          <a:pt x="43" y="22"/>
                        </a:lnTo>
                        <a:lnTo>
                          <a:pt x="43" y="19"/>
                        </a:lnTo>
                        <a:lnTo>
                          <a:pt x="42" y="19"/>
                        </a:lnTo>
                        <a:lnTo>
                          <a:pt x="41" y="19"/>
                        </a:lnTo>
                        <a:lnTo>
                          <a:pt x="40" y="19"/>
                        </a:lnTo>
                        <a:lnTo>
                          <a:pt x="40" y="17"/>
                        </a:lnTo>
                        <a:lnTo>
                          <a:pt x="41" y="16"/>
                        </a:lnTo>
                        <a:lnTo>
                          <a:pt x="42" y="16"/>
                        </a:lnTo>
                        <a:lnTo>
                          <a:pt x="43" y="16"/>
                        </a:lnTo>
                        <a:lnTo>
                          <a:pt x="43" y="6"/>
                        </a:lnTo>
                        <a:lnTo>
                          <a:pt x="42" y="6"/>
                        </a:lnTo>
                        <a:lnTo>
                          <a:pt x="41" y="6"/>
                        </a:lnTo>
                        <a:lnTo>
                          <a:pt x="40" y="6"/>
                        </a:lnTo>
                        <a:lnTo>
                          <a:pt x="38" y="8"/>
                        </a:lnTo>
                        <a:lnTo>
                          <a:pt x="36" y="9"/>
                        </a:lnTo>
                        <a:lnTo>
                          <a:pt x="35" y="10"/>
                        </a:lnTo>
                        <a:lnTo>
                          <a:pt x="33" y="12"/>
                        </a:lnTo>
                        <a:lnTo>
                          <a:pt x="33" y="11"/>
                        </a:lnTo>
                        <a:lnTo>
                          <a:pt x="33" y="10"/>
                        </a:lnTo>
                        <a:lnTo>
                          <a:pt x="33" y="9"/>
                        </a:lnTo>
                        <a:lnTo>
                          <a:pt x="31" y="6"/>
                        </a:lnTo>
                        <a:lnTo>
                          <a:pt x="28" y="3"/>
                        </a:lnTo>
                        <a:lnTo>
                          <a:pt x="23" y="1"/>
                        </a:lnTo>
                        <a:lnTo>
                          <a:pt x="1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09" name="Freeform 2239">
                    <a:extLst>
                      <a:ext uri="{FF2B5EF4-FFF2-40B4-BE49-F238E27FC236}">
                        <a16:creationId xmlns:a16="http://schemas.microsoft.com/office/drawing/2014/main" xmlns="" id="{8DE8CC51-BB7E-4D3A-A68C-8F0ED4941815}"/>
                      </a:ext>
                    </a:extLst>
                  </p:cNvPr>
                  <p:cNvSpPr>
                    <a:spLocks/>
                  </p:cNvSpPr>
                  <p:nvPr/>
                </p:nvSpPr>
                <p:spPr bwMode="gray">
                  <a:xfrm>
                    <a:off x="4484285" y="2935973"/>
                    <a:ext cx="11125" cy="7787"/>
                  </a:xfrm>
                  <a:custGeom>
                    <a:avLst/>
                    <a:gdLst>
                      <a:gd name="T0" fmla="*/ 0 w 10"/>
                      <a:gd name="T1" fmla="*/ 0 h 7"/>
                      <a:gd name="T2" fmla="*/ 2147483647 w 10"/>
                      <a:gd name="T3" fmla="*/ 2147483647 h 7"/>
                      <a:gd name="T4" fmla="*/ 2147483647 w 10"/>
                      <a:gd name="T5" fmla="*/ 2147483647 h 7"/>
                      <a:gd name="T6" fmla="*/ 2147483647 w 10"/>
                      <a:gd name="T7" fmla="*/ 2147483647 h 7"/>
                      <a:gd name="T8" fmla="*/ 2147483647 w 10"/>
                      <a:gd name="T9" fmla="*/ 2147483647 h 7"/>
                      <a:gd name="T10" fmla="*/ 2147483647 w 10"/>
                      <a:gd name="T11" fmla="*/ 2147483647 h 7"/>
                      <a:gd name="T12" fmla="*/ 2147483647 w 10"/>
                      <a:gd name="T13" fmla="*/ 2147483647 h 7"/>
                      <a:gd name="T14" fmla="*/ 2147483647 w 10"/>
                      <a:gd name="T15" fmla="*/ 2147483647 h 7"/>
                      <a:gd name="T16" fmla="*/ 2147483647 w 10"/>
                      <a:gd name="T17" fmla="*/ 2147483647 h 7"/>
                      <a:gd name="T18" fmla="*/ 2147483647 w 10"/>
                      <a:gd name="T19" fmla="*/ 2147483647 h 7"/>
                      <a:gd name="T20" fmla="*/ 2147483647 w 10"/>
                      <a:gd name="T21" fmla="*/ 2147483647 h 7"/>
                      <a:gd name="T22" fmla="*/ 0 w 10"/>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7">
                        <a:moveTo>
                          <a:pt x="0" y="0"/>
                        </a:moveTo>
                        <a:lnTo>
                          <a:pt x="5" y="4"/>
                        </a:lnTo>
                        <a:lnTo>
                          <a:pt x="6" y="7"/>
                        </a:lnTo>
                        <a:lnTo>
                          <a:pt x="9" y="7"/>
                        </a:lnTo>
                        <a:lnTo>
                          <a:pt x="10" y="7"/>
                        </a:lnTo>
                        <a:lnTo>
                          <a:pt x="8" y="6"/>
                        </a:lnTo>
                        <a:lnTo>
                          <a:pt x="6" y="3"/>
                        </a:lnTo>
                        <a:lnTo>
                          <a:pt x="5" y="3"/>
                        </a:lnTo>
                        <a:lnTo>
                          <a:pt x="5" y="1"/>
                        </a:lnTo>
                        <a:lnTo>
                          <a:pt x="4" y="1"/>
                        </a:lnTo>
                        <a:lnTo>
                          <a:pt x="2"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0" name="Freeform 2241">
                    <a:extLst>
                      <a:ext uri="{FF2B5EF4-FFF2-40B4-BE49-F238E27FC236}">
                        <a16:creationId xmlns:a16="http://schemas.microsoft.com/office/drawing/2014/main" xmlns="" id="{DAA83F75-8C04-43A8-B186-6CBA008379BD}"/>
                      </a:ext>
                    </a:extLst>
                  </p:cNvPr>
                  <p:cNvSpPr>
                    <a:spLocks/>
                  </p:cNvSpPr>
                  <p:nvPr/>
                </p:nvSpPr>
                <p:spPr bwMode="gray">
                  <a:xfrm>
                    <a:off x="4531009" y="2932637"/>
                    <a:ext cx="3338" cy="5563"/>
                  </a:xfrm>
                  <a:custGeom>
                    <a:avLst/>
                    <a:gdLst>
                      <a:gd name="T0" fmla="*/ 2147483647 w 3"/>
                      <a:gd name="T1" fmla="*/ 0 h 5"/>
                      <a:gd name="T2" fmla="*/ 2147483647 w 3"/>
                      <a:gd name="T3" fmla="*/ 2147483647 h 5"/>
                      <a:gd name="T4" fmla="*/ 2147483647 w 3"/>
                      <a:gd name="T5" fmla="*/ 2147483647 h 5"/>
                      <a:gd name="T6" fmla="*/ 2147483647 w 3"/>
                      <a:gd name="T7" fmla="*/ 2147483647 h 5"/>
                      <a:gd name="T8" fmla="*/ 2147483647 w 3"/>
                      <a:gd name="T9" fmla="*/ 2147483647 h 5"/>
                      <a:gd name="T10" fmla="*/ 2147483647 w 3"/>
                      <a:gd name="T11" fmla="*/ 2147483647 h 5"/>
                      <a:gd name="T12" fmla="*/ 0 w 3"/>
                      <a:gd name="T13" fmla="*/ 2147483647 h 5"/>
                      <a:gd name="T14" fmla="*/ 2147483647 w 3"/>
                      <a:gd name="T15" fmla="*/ 2147483647 h 5"/>
                      <a:gd name="T16" fmla="*/ 2147483647 w 3"/>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5">
                        <a:moveTo>
                          <a:pt x="3" y="0"/>
                        </a:moveTo>
                        <a:lnTo>
                          <a:pt x="3" y="3"/>
                        </a:lnTo>
                        <a:lnTo>
                          <a:pt x="3" y="4"/>
                        </a:lnTo>
                        <a:lnTo>
                          <a:pt x="3" y="5"/>
                        </a:lnTo>
                        <a:lnTo>
                          <a:pt x="3" y="3"/>
                        </a:lnTo>
                        <a:lnTo>
                          <a:pt x="1" y="3"/>
                        </a:lnTo>
                        <a:lnTo>
                          <a:pt x="0" y="2"/>
                        </a:lnTo>
                        <a:lnTo>
                          <a:pt x="1"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1" name="Freeform 2243">
                    <a:extLst>
                      <a:ext uri="{FF2B5EF4-FFF2-40B4-BE49-F238E27FC236}">
                        <a16:creationId xmlns:a16="http://schemas.microsoft.com/office/drawing/2014/main" xmlns="" id="{8C7A6C91-156D-4C2F-B6AF-1C310B9D9C2C}"/>
                      </a:ext>
                    </a:extLst>
                  </p:cNvPr>
                  <p:cNvSpPr>
                    <a:spLocks/>
                  </p:cNvSpPr>
                  <p:nvPr/>
                </p:nvSpPr>
                <p:spPr bwMode="gray">
                  <a:xfrm>
                    <a:off x="4457586" y="2930411"/>
                    <a:ext cx="11125" cy="16686"/>
                  </a:xfrm>
                  <a:custGeom>
                    <a:avLst/>
                    <a:gdLst>
                      <a:gd name="T0" fmla="*/ 2147483647 w 10"/>
                      <a:gd name="T1" fmla="*/ 0 h 15"/>
                      <a:gd name="T2" fmla="*/ 2147483647 w 10"/>
                      <a:gd name="T3" fmla="*/ 2147483647 h 15"/>
                      <a:gd name="T4" fmla="*/ 0 w 10"/>
                      <a:gd name="T5" fmla="*/ 2147483647 h 15"/>
                      <a:gd name="T6" fmla="*/ 2147483647 w 10"/>
                      <a:gd name="T7" fmla="*/ 2147483647 h 15"/>
                      <a:gd name="T8" fmla="*/ 2147483647 w 10"/>
                      <a:gd name="T9" fmla="*/ 2147483647 h 15"/>
                      <a:gd name="T10" fmla="*/ 2147483647 w 10"/>
                      <a:gd name="T11" fmla="*/ 2147483647 h 15"/>
                      <a:gd name="T12" fmla="*/ 2147483647 w 10"/>
                      <a:gd name="T13" fmla="*/ 2147483647 h 15"/>
                      <a:gd name="T14" fmla="*/ 2147483647 w 10"/>
                      <a:gd name="T15" fmla="*/ 2147483647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2147483647 w 10"/>
                      <a:gd name="T31" fmla="*/ 2147483647 h 15"/>
                      <a:gd name="T32" fmla="*/ 2147483647 w 10"/>
                      <a:gd name="T33" fmla="*/ 2147483647 h 15"/>
                      <a:gd name="T34" fmla="*/ 2147483647 w 10"/>
                      <a:gd name="T35" fmla="*/ 2147483647 h 15"/>
                      <a:gd name="T36" fmla="*/ 2147483647 w 10"/>
                      <a:gd name="T37" fmla="*/ 2147483647 h 15"/>
                      <a:gd name="T38" fmla="*/ 2147483647 w 10"/>
                      <a:gd name="T39" fmla="*/ 2147483647 h 15"/>
                      <a:gd name="T40" fmla="*/ 2147483647 w 10"/>
                      <a:gd name="T41" fmla="*/ 2147483647 h 15"/>
                      <a:gd name="T42" fmla="*/ 2147483647 w 10"/>
                      <a:gd name="T43" fmla="*/ 2147483647 h 15"/>
                      <a:gd name="T44" fmla="*/ 2147483647 w 10"/>
                      <a:gd name="T45" fmla="*/ 0 h 15"/>
                      <a:gd name="T46" fmla="*/ 2147483647 w 10"/>
                      <a:gd name="T47" fmla="*/ 0 h 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 h="15">
                        <a:moveTo>
                          <a:pt x="1" y="0"/>
                        </a:moveTo>
                        <a:lnTo>
                          <a:pt x="1" y="6"/>
                        </a:lnTo>
                        <a:lnTo>
                          <a:pt x="0" y="11"/>
                        </a:lnTo>
                        <a:lnTo>
                          <a:pt x="1" y="13"/>
                        </a:lnTo>
                        <a:lnTo>
                          <a:pt x="1" y="14"/>
                        </a:lnTo>
                        <a:lnTo>
                          <a:pt x="3" y="15"/>
                        </a:lnTo>
                        <a:lnTo>
                          <a:pt x="5" y="15"/>
                        </a:lnTo>
                        <a:lnTo>
                          <a:pt x="6" y="14"/>
                        </a:lnTo>
                        <a:lnTo>
                          <a:pt x="7" y="14"/>
                        </a:lnTo>
                        <a:lnTo>
                          <a:pt x="8" y="13"/>
                        </a:lnTo>
                        <a:lnTo>
                          <a:pt x="10" y="12"/>
                        </a:lnTo>
                        <a:lnTo>
                          <a:pt x="8" y="12"/>
                        </a:lnTo>
                        <a:lnTo>
                          <a:pt x="7" y="12"/>
                        </a:lnTo>
                        <a:lnTo>
                          <a:pt x="7" y="11"/>
                        </a:lnTo>
                        <a:lnTo>
                          <a:pt x="7" y="9"/>
                        </a:lnTo>
                        <a:lnTo>
                          <a:pt x="5" y="9"/>
                        </a:lnTo>
                        <a:lnTo>
                          <a:pt x="5" y="8"/>
                        </a:lnTo>
                        <a:lnTo>
                          <a:pt x="5" y="6"/>
                        </a:lnTo>
                        <a:lnTo>
                          <a:pt x="5" y="3"/>
                        </a:lnTo>
                        <a:lnTo>
                          <a:pt x="5" y="0"/>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2" name="Freeform 2245">
                    <a:extLst>
                      <a:ext uri="{FF2B5EF4-FFF2-40B4-BE49-F238E27FC236}">
                        <a16:creationId xmlns:a16="http://schemas.microsoft.com/office/drawing/2014/main" xmlns="" id="{A84C50CE-F9E1-4A54-8058-84EC3AFBC116}"/>
                      </a:ext>
                    </a:extLst>
                  </p:cNvPr>
                  <p:cNvSpPr>
                    <a:spLocks/>
                  </p:cNvSpPr>
                  <p:nvPr/>
                </p:nvSpPr>
                <p:spPr bwMode="gray">
                  <a:xfrm>
                    <a:off x="4479835" y="2925961"/>
                    <a:ext cx="74535" cy="96780"/>
                  </a:xfrm>
                  <a:custGeom>
                    <a:avLst/>
                    <a:gdLst>
                      <a:gd name="T0" fmla="*/ 2147483647 w 67"/>
                      <a:gd name="T1" fmla="*/ 2147483647 h 87"/>
                      <a:gd name="T2" fmla="*/ 2147483647 w 67"/>
                      <a:gd name="T3" fmla="*/ 2147483647 h 87"/>
                      <a:gd name="T4" fmla="*/ 2147483647 w 67"/>
                      <a:gd name="T5" fmla="*/ 2147483647 h 87"/>
                      <a:gd name="T6" fmla="*/ 2147483647 w 67"/>
                      <a:gd name="T7" fmla="*/ 2147483647 h 87"/>
                      <a:gd name="T8" fmla="*/ 2147483647 w 67"/>
                      <a:gd name="T9" fmla="*/ 2147483647 h 87"/>
                      <a:gd name="T10" fmla="*/ 2147483647 w 67"/>
                      <a:gd name="T11" fmla="*/ 2147483647 h 87"/>
                      <a:gd name="T12" fmla="*/ 2147483647 w 67"/>
                      <a:gd name="T13" fmla="*/ 2147483647 h 87"/>
                      <a:gd name="T14" fmla="*/ 2147483647 w 67"/>
                      <a:gd name="T15" fmla="*/ 2147483647 h 87"/>
                      <a:gd name="T16" fmla="*/ 2147483647 w 67"/>
                      <a:gd name="T17" fmla="*/ 2147483647 h 87"/>
                      <a:gd name="T18" fmla="*/ 2147483647 w 67"/>
                      <a:gd name="T19" fmla="*/ 2147483647 h 87"/>
                      <a:gd name="T20" fmla="*/ 2147483647 w 67"/>
                      <a:gd name="T21" fmla="*/ 2147483647 h 87"/>
                      <a:gd name="T22" fmla="*/ 2147483647 w 67"/>
                      <a:gd name="T23" fmla="*/ 2147483647 h 87"/>
                      <a:gd name="T24" fmla="*/ 2147483647 w 67"/>
                      <a:gd name="T25" fmla="*/ 2147483647 h 87"/>
                      <a:gd name="T26" fmla="*/ 2147483647 w 67"/>
                      <a:gd name="T27" fmla="*/ 2147483647 h 87"/>
                      <a:gd name="T28" fmla="*/ 2147483647 w 67"/>
                      <a:gd name="T29" fmla="*/ 2147483647 h 87"/>
                      <a:gd name="T30" fmla="*/ 2147483647 w 67"/>
                      <a:gd name="T31" fmla="*/ 2147483647 h 87"/>
                      <a:gd name="T32" fmla="*/ 2147483647 w 67"/>
                      <a:gd name="T33" fmla="*/ 2147483647 h 87"/>
                      <a:gd name="T34" fmla="*/ 2147483647 w 67"/>
                      <a:gd name="T35" fmla="*/ 2147483647 h 87"/>
                      <a:gd name="T36" fmla="*/ 2147483647 w 67"/>
                      <a:gd name="T37" fmla="*/ 2147483647 h 87"/>
                      <a:gd name="T38" fmla="*/ 2147483647 w 67"/>
                      <a:gd name="T39" fmla="*/ 2147483647 h 87"/>
                      <a:gd name="T40" fmla="*/ 2147483647 w 67"/>
                      <a:gd name="T41" fmla="*/ 2147483647 h 87"/>
                      <a:gd name="T42" fmla="*/ 0 w 67"/>
                      <a:gd name="T43" fmla="*/ 2147483647 h 87"/>
                      <a:gd name="T44" fmla="*/ 2147483647 w 67"/>
                      <a:gd name="T45" fmla="*/ 2147483647 h 87"/>
                      <a:gd name="T46" fmla="*/ 2147483647 w 67"/>
                      <a:gd name="T47" fmla="*/ 2147483647 h 87"/>
                      <a:gd name="T48" fmla="*/ 2147483647 w 67"/>
                      <a:gd name="T49" fmla="*/ 2147483647 h 87"/>
                      <a:gd name="T50" fmla="*/ 2147483647 w 67"/>
                      <a:gd name="T51" fmla="*/ 2147483647 h 87"/>
                      <a:gd name="T52" fmla="*/ 2147483647 w 67"/>
                      <a:gd name="T53" fmla="*/ 2147483647 h 87"/>
                      <a:gd name="T54" fmla="*/ 2147483647 w 67"/>
                      <a:gd name="T55" fmla="*/ 2147483647 h 87"/>
                      <a:gd name="T56" fmla="*/ 2147483647 w 67"/>
                      <a:gd name="T57" fmla="*/ 2147483647 h 87"/>
                      <a:gd name="T58" fmla="*/ 2147483647 w 67"/>
                      <a:gd name="T59" fmla="*/ 2147483647 h 87"/>
                      <a:gd name="T60" fmla="*/ 2147483647 w 67"/>
                      <a:gd name="T61" fmla="*/ 2147483647 h 87"/>
                      <a:gd name="T62" fmla="*/ 2147483647 w 67"/>
                      <a:gd name="T63" fmla="*/ 2147483647 h 87"/>
                      <a:gd name="T64" fmla="*/ 2147483647 w 67"/>
                      <a:gd name="T65" fmla="*/ 2147483647 h 87"/>
                      <a:gd name="T66" fmla="*/ 2147483647 w 67"/>
                      <a:gd name="T67" fmla="*/ 2147483647 h 87"/>
                      <a:gd name="T68" fmla="*/ 2147483647 w 67"/>
                      <a:gd name="T69" fmla="*/ 2147483647 h 87"/>
                      <a:gd name="T70" fmla="*/ 2147483647 w 67"/>
                      <a:gd name="T71" fmla="*/ 2147483647 h 87"/>
                      <a:gd name="T72" fmla="*/ 2147483647 w 67"/>
                      <a:gd name="T73" fmla="*/ 2147483647 h 87"/>
                      <a:gd name="T74" fmla="*/ 2147483647 w 67"/>
                      <a:gd name="T75" fmla="*/ 2147483647 h 87"/>
                      <a:gd name="T76" fmla="*/ 2147483647 w 67"/>
                      <a:gd name="T77" fmla="*/ 2147483647 h 87"/>
                      <a:gd name="T78" fmla="*/ 2147483647 w 67"/>
                      <a:gd name="T79" fmla="*/ 2147483647 h 87"/>
                      <a:gd name="T80" fmla="*/ 2147483647 w 67"/>
                      <a:gd name="T81" fmla="*/ 2147483647 h 87"/>
                      <a:gd name="T82" fmla="*/ 2147483647 w 67"/>
                      <a:gd name="T83" fmla="*/ 2147483647 h 87"/>
                      <a:gd name="T84" fmla="*/ 2147483647 w 67"/>
                      <a:gd name="T85" fmla="*/ 2147483647 h 87"/>
                      <a:gd name="T86" fmla="*/ 2147483647 w 67"/>
                      <a:gd name="T87" fmla="*/ 2147483647 h 87"/>
                      <a:gd name="T88" fmla="*/ 2147483647 w 67"/>
                      <a:gd name="T89" fmla="*/ 2147483647 h 87"/>
                      <a:gd name="T90" fmla="*/ 2147483647 w 67"/>
                      <a:gd name="T91" fmla="*/ 2147483647 h 87"/>
                      <a:gd name="T92" fmla="*/ 2147483647 w 67"/>
                      <a:gd name="T93" fmla="*/ 2147483647 h 87"/>
                      <a:gd name="T94" fmla="*/ 2147483647 w 67"/>
                      <a:gd name="T95" fmla="*/ 2147483647 h 87"/>
                      <a:gd name="T96" fmla="*/ 2147483647 w 67"/>
                      <a:gd name="T97" fmla="*/ 2147483647 h 87"/>
                      <a:gd name="T98" fmla="*/ 2147483647 w 67"/>
                      <a:gd name="T99" fmla="*/ 2147483647 h 87"/>
                      <a:gd name="T100" fmla="*/ 2147483647 w 67"/>
                      <a:gd name="T101" fmla="*/ 2147483647 h 87"/>
                      <a:gd name="T102" fmla="*/ 2147483647 w 67"/>
                      <a:gd name="T103" fmla="*/ 2147483647 h 87"/>
                      <a:gd name="T104" fmla="*/ 2147483647 w 67"/>
                      <a:gd name="T105" fmla="*/ 2147483647 h 87"/>
                      <a:gd name="T106" fmla="*/ 2147483647 w 67"/>
                      <a:gd name="T107" fmla="*/ 2147483647 h 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7" h="87">
                        <a:moveTo>
                          <a:pt x="51" y="0"/>
                        </a:moveTo>
                        <a:lnTo>
                          <a:pt x="48" y="1"/>
                        </a:lnTo>
                        <a:lnTo>
                          <a:pt x="45" y="3"/>
                        </a:lnTo>
                        <a:lnTo>
                          <a:pt x="43" y="5"/>
                        </a:lnTo>
                        <a:lnTo>
                          <a:pt x="42" y="7"/>
                        </a:lnTo>
                        <a:lnTo>
                          <a:pt x="40" y="9"/>
                        </a:lnTo>
                        <a:lnTo>
                          <a:pt x="39" y="10"/>
                        </a:lnTo>
                        <a:lnTo>
                          <a:pt x="39" y="12"/>
                        </a:lnTo>
                        <a:lnTo>
                          <a:pt x="39" y="14"/>
                        </a:lnTo>
                        <a:lnTo>
                          <a:pt x="40" y="14"/>
                        </a:lnTo>
                        <a:lnTo>
                          <a:pt x="41" y="14"/>
                        </a:lnTo>
                        <a:lnTo>
                          <a:pt x="42" y="14"/>
                        </a:lnTo>
                        <a:lnTo>
                          <a:pt x="42" y="15"/>
                        </a:lnTo>
                        <a:lnTo>
                          <a:pt x="42" y="16"/>
                        </a:lnTo>
                        <a:lnTo>
                          <a:pt x="45" y="16"/>
                        </a:lnTo>
                        <a:lnTo>
                          <a:pt x="44" y="21"/>
                        </a:lnTo>
                        <a:lnTo>
                          <a:pt x="44" y="24"/>
                        </a:lnTo>
                        <a:lnTo>
                          <a:pt x="45" y="27"/>
                        </a:lnTo>
                        <a:lnTo>
                          <a:pt x="45" y="30"/>
                        </a:lnTo>
                        <a:lnTo>
                          <a:pt x="44" y="30"/>
                        </a:lnTo>
                        <a:lnTo>
                          <a:pt x="43" y="30"/>
                        </a:lnTo>
                        <a:lnTo>
                          <a:pt x="41" y="30"/>
                        </a:lnTo>
                        <a:lnTo>
                          <a:pt x="42" y="30"/>
                        </a:lnTo>
                        <a:lnTo>
                          <a:pt x="42" y="16"/>
                        </a:lnTo>
                        <a:lnTo>
                          <a:pt x="40" y="16"/>
                        </a:lnTo>
                        <a:lnTo>
                          <a:pt x="39" y="16"/>
                        </a:lnTo>
                        <a:lnTo>
                          <a:pt x="38" y="16"/>
                        </a:lnTo>
                        <a:lnTo>
                          <a:pt x="37" y="16"/>
                        </a:lnTo>
                        <a:lnTo>
                          <a:pt x="36" y="16"/>
                        </a:lnTo>
                        <a:lnTo>
                          <a:pt x="35" y="16"/>
                        </a:lnTo>
                        <a:lnTo>
                          <a:pt x="35" y="22"/>
                        </a:lnTo>
                        <a:lnTo>
                          <a:pt x="35" y="27"/>
                        </a:lnTo>
                        <a:lnTo>
                          <a:pt x="35" y="31"/>
                        </a:lnTo>
                        <a:lnTo>
                          <a:pt x="35" y="33"/>
                        </a:lnTo>
                        <a:lnTo>
                          <a:pt x="34" y="33"/>
                        </a:lnTo>
                        <a:lnTo>
                          <a:pt x="33" y="33"/>
                        </a:lnTo>
                        <a:lnTo>
                          <a:pt x="33" y="27"/>
                        </a:lnTo>
                        <a:lnTo>
                          <a:pt x="33" y="24"/>
                        </a:lnTo>
                        <a:lnTo>
                          <a:pt x="33" y="20"/>
                        </a:lnTo>
                        <a:lnTo>
                          <a:pt x="32" y="19"/>
                        </a:lnTo>
                        <a:lnTo>
                          <a:pt x="32" y="18"/>
                        </a:lnTo>
                        <a:lnTo>
                          <a:pt x="33" y="17"/>
                        </a:lnTo>
                        <a:lnTo>
                          <a:pt x="33" y="16"/>
                        </a:lnTo>
                        <a:lnTo>
                          <a:pt x="34" y="16"/>
                        </a:lnTo>
                        <a:lnTo>
                          <a:pt x="35" y="15"/>
                        </a:lnTo>
                        <a:lnTo>
                          <a:pt x="35" y="14"/>
                        </a:lnTo>
                        <a:lnTo>
                          <a:pt x="35" y="13"/>
                        </a:lnTo>
                        <a:lnTo>
                          <a:pt x="35" y="12"/>
                        </a:lnTo>
                        <a:lnTo>
                          <a:pt x="35" y="11"/>
                        </a:lnTo>
                        <a:lnTo>
                          <a:pt x="35" y="10"/>
                        </a:lnTo>
                        <a:lnTo>
                          <a:pt x="34" y="11"/>
                        </a:lnTo>
                        <a:lnTo>
                          <a:pt x="33" y="12"/>
                        </a:lnTo>
                        <a:lnTo>
                          <a:pt x="29" y="12"/>
                        </a:lnTo>
                        <a:lnTo>
                          <a:pt x="26" y="10"/>
                        </a:lnTo>
                        <a:lnTo>
                          <a:pt x="25" y="10"/>
                        </a:lnTo>
                        <a:lnTo>
                          <a:pt x="23" y="9"/>
                        </a:lnTo>
                        <a:lnTo>
                          <a:pt x="23" y="7"/>
                        </a:lnTo>
                        <a:lnTo>
                          <a:pt x="17" y="6"/>
                        </a:lnTo>
                        <a:lnTo>
                          <a:pt x="14" y="6"/>
                        </a:lnTo>
                        <a:lnTo>
                          <a:pt x="14" y="7"/>
                        </a:lnTo>
                        <a:lnTo>
                          <a:pt x="14" y="8"/>
                        </a:lnTo>
                        <a:lnTo>
                          <a:pt x="16" y="9"/>
                        </a:lnTo>
                        <a:lnTo>
                          <a:pt x="20" y="10"/>
                        </a:lnTo>
                        <a:lnTo>
                          <a:pt x="20" y="12"/>
                        </a:lnTo>
                        <a:lnTo>
                          <a:pt x="21" y="13"/>
                        </a:lnTo>
                        <a:lnTo>
                          <a:pt x="22" y="14"/>
                        </a:lnTo>
                        <a:lnTo>
                          <a:pt x="23" y="14"/>
                        </a:lnTo>
                        <a:lnTo>
                          <a:pt x="23" y="15"/>
                        </a:lnTo>
                        <a:lnTo>
                          <a:pt x="23" y="16"/>
                        </a:lnTo>
                        <a:lnTo>
                          <a:pt x="18" y="21"/>
                        </a:lnTo>
                        <a:lnTo>
                          <a:pt x="14" y="24"/>
                        </a:lnTo>
                        <a:lnTo>
                          <a:pt x="11" y="25"/>
                        </a:lnTo>
                        <a:lnTo>
                          <a:pt x="9" y="24"/>
                        </a:lnTo>
                        <a:lnTo>
                          <a:pt x="5" y="23"/>
                        </a:lnTo>
                        <a:lnTo>
                          <a:pt x="0" y="20"/>
                        </a:lnTo>
                        <a:lnTo>
                          <a:pt x="2" y="22"/>
                        </a:lnTo>
                        <a:lnTo>
                          <a:pt x="3" y="25"/>
                        </a:lnTo>
                        <a:lnTo>
                          <a:pt x="4" y="30"/>
                        </a:lnTo>
                        <a:lnTo>
                          <a:pt x="5" y="30"/>
                        </a:lnTo>
                        <a:lnTo>
                          <a:pt x="4" y="30"/>
                        </a:lnTo>
                        <a:lnTo>
                          <a:pt x="3" y="30"/>
                        </a:lnTo>
                        <a:lnTo>
                          <a:pt x="2" y="30"/>
                        </a:lnTo>
                        <a:lnTo>
                          <a:pt x="0" y="30"/>
                        </a:lnTo>
                        <a:lnTo>
                          <a:pt x="2" y="30"/>
                        </a:lnTo>
                        <a:lnTo>
                          <a:pt x="2" y="31"/>
                        </a:lnTo>
                        <a:lnTo>
                          <a:pt x="1" y="32"/>
                        </a:lnTo>
                        <a:lnTo>
                          <a:pt x="0" y="33"/>
                        </a:lnTo>
                        <a:lnTo>
                          <a:pt x="4" y="33"/>
                        </a:lnTo>
                        <a:lnTo>
                          <a:pt x="4" y="38"/>
                        </a:lnTo>
                        <a:lnTo>
                          <a:pt x="4" y="43"/>
                        </a:lnTo>
                        <a:lnTo>
                          <a:pt x="5" y="48"/>
                        </a:lnTo>
                        <a:lnTo>
                          <a:pt x="7" y="52"/>
                        </a:lnTo>
                        <a:lnTo>
                          <a:pt x="4" y="52"/>
                        </a:lnTo>
                        <a:lnTo>
                          <a:pt x="4" y="53"/>
                        </a:lnTo>
                        <a:lnTo>
                          <a:pt x="4" y="54"/>
                        </a:lnTo>
                        <a:lnTo>
                          <a:pt x="4" y="55"/>
                        </a:lnTo>
                        <a:lnTo>
                          <a:pt x="4" y="57"/>
                        </a:lnTo>
                        <a:lnTo>
                          <a:pt x="6" y="60"/>
                        </a:lnTo>
                        <a:lnTo>
                          <a:pt x="8" y="63"/>
                        </a:lnTo>
                        <a:lnTo>
                          <a:pt x="10" y="65"/>
                        </a:lnTo>
                        <a:lnTo>
                          <a:pt x="11" y="65"/>
                        </a:lnTo>
                        <a:lnTo>
                          <a:pt x="12" y="65"/>
                        </a:lnTo>
                        <a:lnTo>
                          <a:pt x="13" y="65"/>
                        </a:lnTo>
                        <a:lnTo>
                          <a:pt x="15" y="65"/>
                        </a:lnTo>
                        <a:lnTo>
                          <a:pt x="16" y="67"/>
                        </a:lnTo>
                        <a:lnTo>
                          <a:pt x="18" y="69"/>
                        </a:lnTo>
                        <a:lnTo>
                          <a:pt x="20" y="71"/>
                        </a:lnTo>
                        <a:lnTo>
                          <a:pt x="21" y="70"/>
                        </a:lnTo>
                        <a:lnTo>
                          <a:pt x="22" y="70"/>
                        </a:lnTo>
                        <a:lnTo>
                          <a:pt x="23" y="71"/>
                        </a:lnTo>
                        <a:lnTo>
                          <a:pt x="23" y="69"/>
                        </a:lnTo>
                        <a:lnTo>
                          <a:pt x="23" y="68"/>
                        </a:lnTo>
                        <a:lnTo>
                          <a:pt x="24" y="68"/>
                        </a:lnTo>
                        <a:lnTo>
                          <a:pt x="26" y="68"/>
                        </a:lnTo>
                        <a:lnTo>
                          <a:pt x="27" y="68"/>
                        </a:lnTo>
                        <a:lnTo>
                          <a:pt x="26" y="68"/>
                        </a:lnTo>
                        <a:lnTo>
                          <a:pt x="28" y="68"/>
                        </a:lnTo>
                        <a:lnTo>
                          <a:pt x="29" y="68"/>
                        </a:lnTo>
                        <a:lnTo>
                          <a:pt x="30" y="68"/>
                        </a:lnTo>
                        <a:lnTo>
                          <a:pt x="30" y="66"/>
                        </a:lnTo>
                        <a:lnTo>
                          <a:pt x="31" y="67"/>
                        </a:lnTo>
                        <a:lnTo>
                          <a:pt x="33" y="67"/>
                        </a:lnTo>
                        <a:lnTo>
                          <a:pt x="33" y="68"/>
                        </a:lnTo>
                        <a:lnTo>
                          <a:pt x="31" y="68"/>
                        </a:lnTo>
                        <a:lnTo>
                          <a:pt x="30" y="68"/>
                        </a:lnTo>
                        <a:lnTo>
                          <a:pt x="30" y="71"/>
                        </a:lnTo>
                        <a:lnTo>
                          <a:pt x="31" y="71"/>
                        </a:lnTo>
                        <a:lnTo>
                          <a:pt x="33" y="71"/>
                        </a:lnTo>
                        <a:lnTo>
                          <a:pt x="32" y="72"/>
                        </a:lnTo>
                        <a:lnTo>
                          <a:pt x="32" y="73"/>
                        </a:lnTo>
                        <a:lnTo>
                          <a:pt x="33" y="74"/>
                        </a:lnTo>
                        <a:lnTo>
                          <a:pt x="32" y="74"/>
                        </a:lnTo>
                        <a:lnTo>
                          <a:pt x="31" y="74"/>
                        </a:lnTo>
                        <a:lnTo>
                          <a:pt x="26" y="74"/>
                        </a:lnTo>
                        <a:lnTo>
                          <a:pt x="24" y="74"/>
                        </a:lnTo>
                        <a:lnTo>
                          <a:pt x="23" y="74"/>
                        </a:lnTo>
                        <a:lnTo>
                          <a:pt x="23" y="75"/>
                        </a:lnTo>
                        <a:lnTo>
                          <a:pt x="25" y="77"/>
                        </a:lnTo>
                        <a:lnTo>
                          <a:pt x="27" y="79"/>
                        </a:lnTo>
                        <a:lnTo>
                          <a:pt x="30" y="80"/>
                        </a:lnTo>
                        <a:lnTo>
                          <a:pt x="31" y="80"/>
                        </a:lnTo>
                        <a:lnTo>
                          <a:pt x="33" y="80"/>
                        </a:lnTo>
                        <a:lnTo>
                          <a:pt x="33" y="81"/>
                        </a:lnTo>
                        <a:lnTo>
                          <a:pt x="34" y="82"/>
                        </a:lnTo>
                        <a:lnTo>
                          <a:pt x="35" y="85"/>
                        </a:lnTo>
                        <a:lnTo>
                          <a:pt x="35" y="87"/>
                        </a:lnTo>
                        <a:lnTo>
                          <a:pt x="36" y="86"/>
                        </a:lnTo>
                        <a:lnTo>
                          <a:pt x="37" y="85"/>
                        </a:lnTo>
                        <a:lnTo>
                          <a:pt x="38" y="85"/>
                        </a:lnTo>
                        <a:lnTo>
                          <a:pt x="39" y="84"/>
                        </a:lnTo>
                        <a:lnTo>
                          <a:pt x="39" y="83"/>
                        </a:lnTo>
                        <a:lnTo>
                          <a:pt x="40" y="82"/>
                        </a:lnTo>
                        <a:lnTo>
                          <a:pt x="42" y="80"/>
                        </a:lnTo>
                        <a:lnTo>
                          <a:pt x="40" y="79"/>
                        </a:lnTo>
                        <a:lnTo>
                          <a:pt x="40" y="75"/>
                        </a:lnTo>
                        <a:lnTo>
                          <a:pt x="40" y="71"/>
                        </a:lnTo>
                        <a:lnTo>
                          <a:pt x="42" y="68"/>
                        </a:lnTo>
                        <a:lnTo>
                          <a:pt x="46" y="68"/>
                        </a:lnTo>
                        <a:lnTo>
                          <a:pt x="47" y="68"/>
                        </a:lnTo>
                        <a:lnTo>
                          <a:pt x="48" y="68"/>
                        </a:lnTo>
                        <a:lnTo>
                          <a:pt x="50" y="66"/>
                        </a:lnTo>
                        <a:lnTo>
                          <a:pt x="53" y="65"/>
                        </a:lnTo>
                        <a:lnTo>
                          <a:pt x="58" y="65"/>
                        </a:lnTo>
                        <a:lnTo>
                          <a:pt x="57" y="63"/>
                        </a:lnTo>
                        <a:lnTo>
                          <a:pt x="57" y="61"/>
                        </a:lnTo>
                        <a:lnTo>
                          <a:pt x="56" y="60"/>
                        </a:lnTo>
                        <a:lnTo>
                          <a:pt x="58" y="58"/>
                        </a:lnTo>
                        <a:lnTo>
                          <a:pt x="55" y="57"/>
                        </a:lnTo>
                        <a:lnTo>
                          <a:pt x="53" y="55"/>
                        </a:lnTo>
                        <a:lnTo>
                          <a:pt x="50" y="54"/>
                        </a:lnTo>
                        <a:lnTo>
                          <a:pt x="48" y="52"/>
                        </a:lnTo>
                        <a:lnTo>
                          <a:pt x="48" y="50"/>
                        </a:lnTo>
                        <a:lnTo>
                          <a:pt x="48" y="49"/>
                        </a:lnTo>
                        <a:lnTo>
                          <a:pt x="48" y="46"/>
                        </a:lnTo>
                        <a:lnTo>
                          <a:pt x="50" y="44"/>
                        </a:lnTo>
                        <a:lnTo>
                          <a:pt x="55" y="39"/>
                        </a:lnTo>
                        <a:lnTo>
                          <a:pt x="58" y="38"/>
                        </a:lnTo>
                        <a:lnTo>
                          <a:pt x="60" y="37"/>
                        </a:lnTo>
                        <a:lnTo>
                          <a:pt x="62" y="35"/>
                        </a:lnTo>
                        <a:lnTo>
                          <a:pt x="64" y="33"/>
                        </a:lnTo>
                        <a:lnTo>
                          <a:pt x="65" y="31"/>
                        </a:lnTo>
                        <a:lnTo>
                          <a:pt x="66" y="28"/>
                        </a:lnTo>
                        <a:lnTo>
                          <a:pt x="67" y="21"/>
                        </a:lnTo>
                        <a:lnTo>
                          <a:pt x="67" y="14"/>
                        </a:lnTo>
                        <a:lnTo>
                          <a:pt x="67" y="7"/>
                        </a:lnTo>
                        <a:lnTo>
                          <a:pt x="65" y="7"/>
                        </a:lnTo>
                        <a:lnTo>
                          <a:pt x="64" y="7"/>
                        </a:lnTo>
                        <a:lnTo>
                          <a:pt x="60" y="5"/>
                        </a:lnTo>
                        <a:lnTo>
                          <a:pt x="58" y="3"/>
                        </a:lnTo>
                        <a:lnTo>
                          <a:pt x="55" y="1"/>
                        </a:lnTo>
                        <a:lnTo>
                          <a:pt x="5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3" name="Freeform 2247">
                    <a:extLst>
                      <a:ext uri="{FF2B5EF4-FFF2-40B4-BE49-F238E27FC236}">
                        <a16:creationId xmlns:a16="http://schemas.microsoft.com/office/drawing/2014/main" xmlns="" id="{575DF5C1-10B2-4E98-8F72-A2CDB95C92B3}"/>
                      </a:ext>
                    </a:extLst>
                  </p:cNvPr>
                  <p:cNvSpPr>
                    <a:spLocks/>
                  </p:cNvSpPr>
                  <p:nvPr/>
                </p:nvSpPr>
                <p:spPr bwMode="gray">
                  <a:xfrm>
                    <a:off x="4354126" y="2908163"/>
                    <a:ext cx="12237" cy="24473"/>
                  </a:xfrm>
                  <a:custGeom>
                    <a:avLst/>
                    <a:gdLst>
                      <a:gd name="T0" fmla="*/ 2147483647 w 11"/>
                      <a:gd name="T1" fmla="*/ 0 h 22"/>
                      <a:gd name="T2" fmla="*/ 2147483647 w 11"/>
                      <a:gd name="T3" fmla="*/ 0 h 22"/>
                      <a:gd name="T4" fmla="*/ 2147483647 w 11"/>
                      <a:gd name="T5" fmla="*/ 2147483647 h 22"/>
                      <a:gd name="T6" fmla="*/ 2147483647 w 11"/>
                      <a:gd name="T7" fmla="*/ 2147483647 h 22"/>
                      <a:gd name="T8" fmla="*/ 2147483647 w 11"/>
                      <a:gd name="T9" fmla="*/ 2147483647 h 22"/>
                      <a:gd name="T10" fmla="*/ 2147483647 w 11"/>
                      <a:gd name="T11" fmla="*/ 2147483647 h 22"/>
                      <a:gd name="T12" fmla="*/ 2147483647 w 11"/>
                      <a:gd name="T13" fmla="*/ 2147483647 h 22"/>
                      <a:gd name="T14" fmla="*/ 2147483647 w 11"/>
                      <a:gd name="T15" fmla="*/ 2147483647 h 22"/>
                      <a:gd name="T16" fmla="*/ 2147483647 w 11"/>
                      <a:gd name="T17" fmla="*/ 2147483647 h 22"/>
                      <a:gd name="T18" fmla="*/ 2147483647 w 11"/>
                      <a:gd name="T19" fmla="*/ 2147483647 h 22"/>
                      <a:gd name="T20" fmla="*/ 2147483647 w 11"/>
                      <a:gd name="T21" fmla="*/ 2147483647 h 22"/>
                      <a:gd name="T22" fmla="*/ 2147483647 w 11"/>
                      <a:gd name="T23" fmla="*/ 2147483647 h 22"/>
                      <a:gd name="T24" fmla="*/ 2147483647 w 11"/>
                      <a:gd name="T25" fmla="*/ 2147483647 h 22"/>
                      <a:gd name="T26" fmla="*/ 2147483647 w 11"/>
                      <a:gd name="T27" fmla="*/ 2147483647 h 22"/>
                      <a:gd name="T28" fmla="*/ 2147483647 w 11"/>
                      <a:gd name="T29" fmla="*/ 2147483647 h 22"/>
                      <a:gd name="T30" fmla="*/ 2147483647 w 11"/>
                      <a:gd name="T31" fmla="*/ 2147483647 h 22"/>
                      <a:gd name="T32" fmla="*/ 2147483647 w 11"/>
                      <a:gd name="T33" fmla="*/ 2147483647 h 22"/>
                      <a:gd name="T34" fmla="*/ 2147483647 w 11"/>
                      <a:gd name="T35" fmla="*/ 2147483647 h 22"/>
                      <a:gd name="T36" fmla="*/ 2147483647 w 11"/>
                      <a:gd name="T37" fmla="*/ 2147483647 h 22"/>
                      <a:gd name="T38" fmla="*/ 0 w 11"/>
                      <a:gd name="T39" fmla="*/ 2147483647 h 22"/>
                      <a:gd name="T40" fmla="*/ 2147483647 w 11"/>
                      <a:gd name="T41" fmla="*/ 2147483647 h 22"/>
                      <a:gd name="T42" fmla="*/ 2147483647 w 11"/>
                      <a:gd name="T43" fmla="*/ 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1" h="22">
                        <a:moveTo>
                          <a:pt x="2" y="0"/>
                        </a:moveTo>
                        <a:lnTo>
                          <a:pt x="2" y="0"/>
                        </a:lnTo>
                        <a:lnTo>
                          <a:pt x="2" y="2"/>
                        </a:lnTo>
                        <a:lnTo>
                          <a:pt x="2" y="5"/>
                        </a:lnTo>
                        <a:lnTo>
                          <a:pt x="3" y="6"/>
                        </a:lnTo>
                        <a:lnTo>
                          <a:pt x="4" y="7"/>
                        </a:lnTo>
                        <a:lnTo>
                          <a:pt x="8" y="11"/>
                        </a:lnTo>
                        <a:lnTo>
                          <a:pt x="10" y="14"/>
                        </a:lnTo>
                        <a:lnTo>
                          <a:pt x="11" y="17"/>
                        </a:lnTo>
                        <a:lnTo>
                          <a:pt x="10" y="19"/>
                        </a:lnTo>
                        <a:lnTo>
                          <a:pt x="9" y="22"/>
                        </a:lnTo>
                        <a:lnTo>
                          <a:pt x="8" y="22"/>
                        </a:lnTo>
                        <a:lnTo>
                          <a:pt x="7" y="22"/>
                        </a:lnTo>
                        <a:lnTo>
                          <a:pt x="2" y="22"/>
                        </a:lnTo>
                        <a:lnTo>
                          <a:pt x="2" y="20"/>
                        </a:lnTo>
                        <a:lnTo>
                          <a:pt x="2" y="15"/>
                        </a:lnTo>
                        <a:lnTo>
                          <a:pt x="2" y="12"/>
                        </a:lnTo>
                        <a:lnTo>
                          <a:pt x="1" y="8"/>
                        </a:lnTo>
                        <a:lnTo>
                          <a:pt x="0" y="4"/>
                        </a:lnTo>
                        <a:lnTo>
                          <a:pt x="1" y="2"/>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4" name="Freeform 2249">
                    <a:extLst>
                      <a:ext uri="{FF2B5EF4-FFF2-40B4-BE49-F238E27FC236}">
                        <a16:creationId xmlns:a16="http://schemas.microsoft.com/office/drawing/2014/main" xmlns="" id="{116E5861-38ED-400E-9DE5-2A5874F7DF37}"/>
                      </a:ext>
                    </a:extLst>
                  </p:cNvPr>
                  <p:cNvSpPr>
                    <a:spLocks/>
                  </p:cNvSpPr>
                  <p:nvPr/>
                </p:nvSpPr>
                <p:spPr bwMode="gray">
                  <a:xfrm>
                    <a:off x="4516547" y="2872566"/>
                    <a:ext cx="4450" cy="6675"/>
                  </a:xfrm>
                  <a:custGeom>
                    <a:avLst/>
                    <a:gdLst>
                      <a:gd name="T0" fmla="*/ 2147483647 w 4"/>
                      <a:gd name="T1" fmla="*/ 0 h 6"/>
                      <a:gd name="T2" fmla="*/ 0 w 4"/>
                      <a:gd name="T3" fmla="*/ 2147483647 h 6"/>
                      <a:gd name="T4" fmla="*/ 0 w 4"/>
                      <a:gd name="T5" fmla="*/ 2147483647 h 6"/>
                      <a:gd name="T6" fmla="*/ 0 w 4"/>
                      <a:gd name="T7" fmla="*/ 2147483647 h 6"/>
                      <a:gd name="T8" fmla="*/ 2147483647 w 4"/>
                      <a:gd name="T9" fmla="*/ 2147483647 h 6"/>
                      <a:gd name="T10" fmla="*/ 2147483647 w 4"/>
                      <a:gd name="T11" fmla="*/ 2147483647 h 6"/>
                      <a:gd name="T12" fmla="*/ 2147483647 w 4"/>
                      <a:gd name="T13" fmla="*/ 2147483647 h 6"/>
                      <a:gd name="T14" fmla="*/ 2147483647 w 4"/>
                      <a:gd name="T15" fmla="*/ 2147483647 h 6"/>
                      <a:gd name="T16" fmla="*/ 2147483647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6">
                        <a:moveTo>
                          <a:pt x="1" y="0"/>
                        </a:moveTo>
                        <a:lnTo>
                          <a:pt x="0" y="3"/>
                        </a:lnTo>
                        <a:lnTo>
                          <a:pt x="0" y="4"/>
                        </a:lnTo>
                        <a:lnTo>
                          <a:pt x="0" y="5"/>
                        </a:lnTo>
                        <a:lnTo>
                          <a:pt x="1" y="6"/>
                        </a:lnTo>
                        <a:lnTo>
                          <a:pt x="3" y="5"/>
                        </a:lnTo>
                        <a:lnTo>
                          <a:pt x="4" y="3"/>
                        </a:lnTo>
                        <a:lnTo>
                          <a:pt x="4" y="1"/>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5" name="Freeform 2251">
                    <a:extLst>
                      <a:ext uri="{FF2B5EF4-FFF2-40B4-BE49-F238E27FC236}">
                        <a16:creationId xmlns:a16="http://schemas.microsoft.com/office/drawing/2014/main" xmlns="" id="{12021FC8-F3ED-42DF-BE80-E0ECEE6DA6A0}"/>
                      </a:ext>
                    </a:extLst>
                  </p:cNvPr>
                  <p:cNvSpPr>
                    <a:spLocks/>
                  </p:cNvSpPr>
                  <p:nvPr/>
                </p:nvSpPr>
                <p:spPr bwMode="gray">
                  <a:xfrm>
                    <a:off x="4486510" y="2819171"/>
                    <a:ext cx="12237" cy="10012"/>
                  </a:xfrm>
                  <a:custGeom>
                    <a:avLst/>
                    <a:gdLst>
                      <a:gd name="T0" fmla="*/ 2147483647 w 11"/>
                      <a:gd name="T1" fmla="*/ 0 h 9"/>
                      <a:gd name="T2" fmla="*/ 0 w 11"/>
                      <a:gd name="T3" fmla="*/ 2147483647 h 9"/>
                      <a:gd name="T4" fmla="*/ 0 w 11"/>
                      <a:gd name="T5" fmla="*/ 2147483647 h 9"/>
                      <a:gd name="T6" fmla="*/ 0 w 11"/>
                      <a:gd name="T7" fmla="*/ 2147483647 h 9"/>
                      <a:gd name="T8" fmla="*/ 0 w 11"/>
                      <a:gd name="T9" fmla="*/ 2147483647 h 9"/>
                      <a:gd name="T10" fmla="*/ 2147483647 w 11"/>
                      <a:gd name="T11" fmla="*/ 2147483647 h 9"/>
                      <a:gd name="T12" fmla="*/ 2147483647 w 11"/>
                      <a:gd name="T13" fmla="*/ 2147483647 h 9"/>
                      <a:gd name="T14" fmla="*/ 2147483647 w 11"/>
                      <a:gd name="T15" fmla="*/ 2147483647 h 9"/>
                      <a:gd name="T16" fmla="*/ 2147483647 w 11"/>
                      <a:gd name="T17" fmla="*/ 2147483647 h 9"/>
                      <a:gd name="T18" fmla="*/ 2147483647 w 11"/>
                      <a:gd name="T19" fmla="*/ 2147483647 h 9"/>
                      <a:gd name="T20" fmla="*/ 2147483647 w 11"/>
                      <a:gd name="T21" fmla="*/ 2147483647 h 9"/>
                      <a:gd name="T22" fmla="*/ 2147483647 w 11"/>
                      <a:gd name="T23" fmla="*/ 2147483647 h 9"/>
                      <a:gd name="T24" fmla="*/ 2147483647 w 11"/>
                      <a:gd name="T25" fmla="*/ 2147483647 h 9"/>
                      <a:gd name="T26" fmla="*/ 2147483647 w 11"/>
                      <a:gd name="T27" fmla="*/ 0 h 9"/>
                      <a:gd name="T28" fmla="*/ 2147483647 w 11"/>
                      <a:gd name="T29" fmla="*/ 0 h 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9">
                        <a:moveTo>
                          <a:pt x="6" y="0"/>
                        </a:moveTo>
                        <a:lnTo>
                          <a:pt x="0" y="3"/>
                        </a:lnTo>
                        <a:lnTo>
                          <a:pt x="0" y="4"/>
                        </a:lnTo>
                        <a:lnTo>
                          <a:pt x="0" y="5"/>
                        </a:lnTo>
                        <a:lnTo>
                          <a:pt x="1" y="6"/>
                        </a:lnTo>
                        <a:lnTo>
                          <a:pt x="2" y="6"/>
                        </a:lnTo>
                        <a:lnTo>
                          <a:pt x="3" y="7"/>
                        </a:lnTo>
                        <a:lnTo>
                          <a:pt x="6" y="9"/>
                        </a:lnTo>
                        <a:lnTo>
                          <a:pt x="9" y="6"/>
                        </a:lnTo>
                        <a:lnTo>
                          <a:pt x="11" y="4"/>
                        </a:lnTo>
                        <a:lnTo>
                          <a:pt x="11" y="2"/>
                        </a:lnTo>
                        <a:lnTo>
                          <a:pt x="11" y="1"/>
                        </a:lnTo>
                        <a:lnTo>
                          <a:pt x="9" y="0"/>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6" name="Freeform 2253">
                    <a:extLst>
                      <a:ext uri="{FF2B5EF4-FFF2-40B4-BE49-F238E27FC236}">
                        <a16:creationId xmlns:a16="http://schemas.microsoft.com/office/drawing/2014/main" xmlns="" id="{5465C185-B5A5-4986-8216-875C3D5D9BAB}"/>
                      </a:ext>
                    </a:extLst>
                  </p:cNvPr>
                  <p:cNvSpPr>
                    <a:spLocks/>
                  </p:cNvSpPr>
                  <p:nvPr/>
                </p:nvSpPr>
                <p:spPr bwMode="gray">
                  <a:xfrm>
                    <a:off x="4364139" y="2782461"/>
                    <a:ext cx="113472" cy="81206"/>
                  </a:xfrm>
                  <a:custGeom>
                    <a:avLst/>
                    <a:gdLst>
                      <a:gd name="T0" fmla="*/ 2147483647 w 102"/>
                      <a:gd name="T1" fmla="*/ 2147483647 h 73"/>
                      <a:gd name="T2" fmla="*/ 2147483647 w 102"/>
                      <a:gd name="T3" fmla="*/ 2147483647 h 73"/>
                      <a:gd name="T4" fmla="*/ 2147483647 w 102"/>
                      <a:gd name="T5" fmla="*/ 2147483647 h 73"/>
                      <a:gd name="T6" fmla="*/ 2147483647 w 102"/>
                      <a:gd name="T7" fmla="*/ 2147483647 h 73"/>
                      <a:gd name="T8" fmla="*/ 2147483647 w 102"/>
                      <a:gd name="T9" fmla="*/ 2147483647 h 73"/>
                      <a:gd name="T10" fmla="*/ 2147483647 w 102"/>
                      <a:gd name="T11" fmla="*/ 2147483647 h 73"/>
                      <a:gd name="T12" fmla="*/ 2147483647 w 102"/>
                      <a:gd name="T13" fmla="*/ 2147483647 h 73"/>
                      <a:gd name="T14" fmla="*/ 2147483647 w 102"/>
                      <a:gd name="T15" fmla="*/ 2147483647 h 73"/>
                      <a:gd name="T16" fmla="*/ 2147483647 w 102"/>
                      <a:gd name="T17" fmla="*/ 2147483647 h 73"/>
                      <a:gd name="T18" fmla="*/ 2147483647 w 102"/>
                      <a:gd name="T19" fmla="*/ 2147483647 h 73"/>
                      <a:gd name="T20" fmla="*/ 2147483647 w 102"/>
                      <a:gd name="T21" fmla="*/ 2147483647 h 73"/>
                      <a:gd name="T22" fmla="*/ 0 w 102"/>
                      <a:gd name="T23" fmla="*/ 2147483647 h 73"/>
                      <a:gd name="T24" fmla="*/ 2147483647 w 102"/>
                      <a:gd name="T25" fmla="*/ 2147483647 h 73"/>
                      <a:gd name="T26" fmla="*/ 2147483647 w 102"/>
                      <a:gd name="T27" fmla="*/ 2147483647 h 73"/>
                      <a:gd name="T28" fmla="*/ 2147483647 w 102"/>
                      <a:gd name="T29" fmla="*/ 2147483647 h 73"/>
                      <a:gd name="T30" fmla="*/ 2147483647 w 102"/>
                      <a:gd name="T31" fmla="*/ 2147483647 h 73"/>
                      <a:gd name="T32" fmla="*/ 2147483647 w 102"/>
                      <a:gd name="T33" fmla="*/ 2147483647 h 73"/>
                      <a:gd name="T34" fmla="*/ 2147483647 w 102"/>
                      <a:gd name="T35" fmla="*/ 2147483647 h 73"/>
                      <a:gd name="T36" fmla="*/ 2147483647 w 102"/>
                      <a:gd name="T37" fmla="*/ 2147483647 h 73"/>
                      <a:gd name="T38" fmla="*/ 2147483647 w 102"/>
                      <a:gd name="T39" fmla="*/ 2147483647 h 73"/>
                      <a:gd name="T40" fmla="*/ 2147483647 w 102"/>
                      <a:gd name="T41" fmla="*/ 2147483647 h 73"/>
                      <a:gd name="T42" fmla="*/ 2147483647 w 102"/>
                      <a:gd name="T43" fmla="*/ 2147483647 h 73"/>
                      <a:gd name="T44" fmla="*/ 2147483647 w 102"/>
                      <a:gd name="T45" fmla="*/ 2147483647 h 73"/>
                      <a:gd name="T46" fmla="*/ 2147483647 w 102"/>
                      <a:gd name="T47" fmla="*/ 2147483647 h 73"/>
                      <a:gd name="T48" fmla="*/ 2147483647 w 102"/>
                      <a:gd name="T49" fmla="*/ 2147483647 h 73"/>
                      <a:gd name="T50" fmla="*/ 2147483647 w 102"/>
                      <a:gd name="T51" fmla="*/ 2147483647 h 73"/>
                      <a:gd name="T52" fmla="*/ 2147483647 w 102"/>
                      <a:gd name="T53" fmla="*/ 2147483647 h 73"/>
                      <a:gd name="T54" fmla="*/ 2147483647 w 102"/>
                      <a:gd name="T55" fmla="*/ 2147483647 h 73"/>
                      <a:gd name="T56" fmla="*/ 2147483647 w 102"/>
                      <a:gd name="T57" fmla="*/ 2147483647 h 73"/>
                      <a:gd name="T58" fmla="*/ 2147483647 w 102"/>
                      <a:gd name="T59" fmla="*/ 2147483647 h 73"/>
                      <a:gd name="T60" fmla="*/ 2147483647 w 102"/>
                      <a:gd name="T61" fmla="*/ 2147483647 h 73"/>
                      <a:gd name="T62" fmla="*/ 2147483647 w 102"/>
                      <a:gd name="T63" fmla="*/ 2147483647 h 73"/>
                      <a:gd name="T64" fmla="*/ 2147483647 w 102"/>
                      <a:gd name="T65" fmla="*/ 2147483647 h 73"/>
                      <a:gd name="T66" fmla="*/ 2147483647 w 102"/>
                      <a:gd name="T67" fmla="*/ 2147483647 h 73"/>
                      <a:gd name="T68" fmla="*/ 2147483647 w 102"/>
                      <a:gd name="T69" fmla="*/ 2147483647 h 73"/>
                      <a:gd name="T70" fmla="*/ 2147483647 w 102"/>
                      <a:gd name="T71" fmla="*/ 2147483647 h 73"/>
                      <a:gd name="T72" fmla="*/ 2147483647 w 102"/>
                      <a:gd name="T73" fmla="*/ 2147483647 h 73"/>
                      <a:gd name="T74" fmla="*/ 2147483647 w 102"/>
                      <a:gd name="T75" fmla="*/ 2147483647 h 73"/>
                      <a:gd name="T76" fmla="*/ 2147483647 w 102"/>
                      <a:gd name="T77" fmla="*/ 2147483647 h 73"/>
                      <a:gd name="T78" fmla="*/ 2147483647 w 102"/>
                      <a:gd name="T79" fmla="*/ 2147483647 h 73"/>
                      <a:gd name="T80" fmla="*/ 2147483647 w 102"/>
                      <a:gd name="T81" fmla="*/ 2147483647 h 73"/>
                      <a:gd name="T82" fmla="*/ 2147483647 w 102"/>
                      <a:gd name="T83" fmla="*/ 2147483647 h 73"/>
                      <a:gd name="T84" fmla="*/ 2147483647 w 102"/>
                      <a:gd name="T85" fmla="*/ 2147483647 h 73"/>
                      <a:gd name="T86" fmla="*/ 2147483647 w 102"/>
                      <a:gd name="T87" fmla="*/ 2147483647 h 73"/>
                      <a:gd name="T88" fmla="*/ 2147483647 w 102"/>
                      <a:gd name="T89" fmla="*/ 2147483647 h 73"/>
                      <a:gd name="T90" fmla="*/ 2147483647 w 102"/>
                      <a:gd name="T91" fmla="*/ 2147483647 h 73"/>
                      <a:gd name="T92" fmla="*/ 2147483647 w 102"/>
                      <a:gd name="T93" fmla="*/ 2147483647 h 73"/>
                      <a:gd name="T94" fmla="*/ 2147483647 w 102"/>
                      <a:gd name="T95" fmla="*/ 2147483647 h 73"/>
                      <a:gd name="T96" fmla="*/ 2147483647 w 102"/>
                      <a:gd name="T97" fmla="*/ 2147483647 h 73"/>
                      <a:gd name="T98" fmla="*/ 2147483647 w 102"/>
                      <a:gd name="T99" fmla="*/ 2147483647 h 73"/>
                      <a:gd name="T100" fmla="*/ 2147483647 w 102"/>
                      <a:gd name="T101" fmla="*/ 2147483647 h 73"/>
                      <a:gd name="T102" fmla="*/ 2147483647 w 102"/>
                      <a:gd name="T103" fmla="*/ 2147483647 h 7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2" h="73">
                        <a:moveTo>
                          <a:pt x="99" y="0"/>
                        </a:moveTo>
                        <a:lnTo>
                          <a:pt x="99" y="4"/>
                        </a:lnTo>
                        <a:lnTo>
                          <a:pt x="90" y="6"/>
                        </a:lnTo>
                        <a:lnTo>
                          <a:pt x="81" y="8"/>
                        </a:lnTo>
                        <a:lnTo>
                          <a:pt x="73" y="11"/>
                        </a:lnTo>
                        <a:lnTo>
                          <a:pt x="70" y="14"/>
                        </a:lnTo>
                        <a:lnTo>
                          <a:pt x="68" y="16"/>
                        </a:lnTo>
                        <a:lnTo>
                          <a:pt x="68" y="18"/>
                        </a:lnTo>
                        <a:lnTo>
                          <a:pt x="68" y="19"/>
                        </a:lnTo>
                        <a:lnTo>
                          <a:pt x="66" y="23"/>
                        </a:lnTo>
                        <a:lnTo>
                          <a:pt x="63" y="27"/>
                        </a:lnTo>
                        <a:lnTo>
                          <a:pt x="59" y="31"/>
                        </a:lnTo>
                        <a:lnTo>
                          <a:pt x="56" y="32"/>
                        </a:lnTo>
                        <a:lnTo>
                          <a:pt x="49" y="36"/>
                        </a:lnTo>
                        <a:lnTo>
                          <a:pt x="40" y="38"/>
                        </a:lnTo>
                        <a:lnTo>
                          <a:pt x="31" y="38"/>
                        </a:lnTo>
                        <a:lnTo>
                          <a:pt x="23" y="38"/>
                        </a:lnTo>
                        <a:lnTo>
                          <a:pt x="21" y="37"/>
                        </a:lnTo>
                        <a:lnTo>
                          <a:pt x="19" y="37"/>
                        </a:lnTo>
                        <a:lnTo>
                          <a:pt x="17" y="38"/>
                        </a:lnTo>
                        <a:lnTo>
                          <a:pt x="14" y="40"/>
                        </a:lnTo>
                        <a:lnTo>
                          <a:pt x="12" y="42"/>
                        </a:lnTo>
                        <a:lnTo>
                          <a:pt x="10" y="44"/>
                        </a:lnTo>
                        <a:lnTo>
                          <a:pt x="10" y="45"/>
                        </a:lnTo>
                        <a:lnTo>
                          <a:pt x="8" y="47"/>
                        </a:lnTo>
                        <a:lnTo>
                          <a:pt x="8" y="49"/>
                        </a:lnTo>
                        <a:lnTo>
                          <a:pt x="8" y="50"/>
                        </a:lnTo>
                        <a:lnTo>
                          <a:pt x="7" y="52"/>
                        </a:lnTo>
                        <a:lnTo>
                          <a:pt x="6" y="52"/>
                        </a:lnTo>
                        <a:lnTo>
                          <a:pt x="5" y="54"/>
                        </a:lnTo>
                        <a:lnTo>
                          <a:pt x="2" y="55"/>
                        </a:lnTo>
                        <a:lnTo>
                          <a:pt x="0" y="55"/>
                        </a:lnTo>
                        <a:lnTo>
                          <a:pt x="0" y="57"/>
                        </a:lnTo>
                        <a:lnTo>
                          <a:pt x="2" y="59"/>
                        </a:lnTo>
                        <a:lnTo>
                          <a:pt x="3" y="60"/>
                        </a:lnTo>
                        <a:lnTo>
                          <a:pt x="3" y="61"/>
                        </a:lnTo>
                        <a:lnTo>
                          <a:pt x="5" y="66"/>
                        </a:lnTo>
                        <a:lnTo>
                          <a:pt x="5" y="67"/>
                        </a:lnTo>
                        <a:lnTo>
                          <a:pt x="7" y="68"/>
                        </a:lnTo>
                        <a:lnTo>
                          <a:pt x="7" y="69"/>
                        </a:lnTo>
                        <a:lnTo>
                          <a:pt x="8" y="70"/>
                        </a:lnTo>
                        <a:lnTo>
                          <a:pt x="10" y="71"/>
                        </a:lnTo>
                        <a:lnTo>
                          <a:pt x="10" y="72"/>
                        </a:lnTo>
                        <a:lnTo>
                          <a:pt x="10" y="73"/>
                        </a:lnTo>
                        <a:lnTo>
                          <a:pt x="11" y="73"/>
                        </a:lnTo>
                        <a:lnTo>
                          <a:pt x="13" y="73"/>
                        </a:lnTo>
                        <a:lnTo>
                          <a:pt x="13" y="72"/>
                        </a:lnTo>
                        <a:lnTo>
                          <a:pt x="13" y="71"/>
                        </a:lnTo>
                        <a:lnTo>
                          <a:pt x="10" y="68"/>
                        </a:lnTo>
                        <a:lnTo>
                          <a:pt x="11" y="65"/>
                        </a:lnTo>
                        <a:lnTo>
                          <a:pt x="12" y="63"/>
                        </a:lnTo>
                        <a:lnTo>
                          <a:pt x="12" y="60"/>
                        </a:lnTo>
                        <a:lnTo>
                          <a:pt x="13" y="58"/>
                        </a:lnTo>
                        <a:lnTo>
                          <a:pt x="16" y="58"/>
                        </a:lnTo>
                        <a:lnTo>
                          <a:pt x="17" y="58"/>
                        </a:lnTo>
                        <a:lnTo>
                          <a:pt x="13" y="58"/>
                        </a:lnTo>
                        <a:lnTo>
                          <a:pt x="15" y="64"/>
                        </a:lnTo>
                        <a:lnTo>
                          <a:pt x="17" y="67"/>
                        </a:lnTo>
                        <a:lnTo>
                          <a:pt x="19" y="67"/>
                        </a:lnTo>
                        <a:lnTo>
                          <a:pt x="21" y="66"/>
                        </a:lnTo>
                        <a:lnTo>
                          <a:pt x="23" y="64"/>
                        </a:lnTo>
                        <a:lnTo>
                          <a:pt x="27" y="61"/>
                        </a:lnTo>
                        <a:lnTo>
                          <a:pt x="27" y="60"/>
                        </a:lnTo>
                        <a:lnTo>
                          <a:pt x="28" y="59"/>
                        </a:lnTo>
                        <a:lnTo>
                          <a:pt x="29" y="57"/>
                        </a:lnTo>
                        <a:lnTo>
                          <a:pt x="29" y="55"/>
                        </a:lnTo>
                        <a:lnTo>
                          <a:pt x="29" y="54"/>
                        </a:lnTo>
                        <a:lnTo>
                          <a:pt x="29" y="52"/>
                        </a:lnTo>
                        <a:lnTo>
                          <a:pt x="28" y="54"/>
                        </a:lnTo>
                        <a:lnTo>
                          <a:pt x="27" y="55"/>
                        </a:lnTo>
                        <a:lnTo>
                          <a:pt x="26" y="55"/>
                        </a:lnTo>
                        <a:lnTo>
                          <a:pt x="25" y="55"/>
                        </a:lnTo>
                        <a:lnTo>
                          <a:pt x="24" y="55"/>
                        </a:lnTo>
                        <a:lnTo>
                          <a:pt x="23" y="55"/>
                        </a:lnTo>
                        <a:lnTo>
                          <a:pt x="23" y="56"/>
                        </a:lnTo>
                        <a:lnTo>
                          <a:pt x="23" y="55"/>
                        </a:lnTo>
                        <a:lnTo>
                          <a:pt x="22" y="55"/>
                        </a:lnTo>
                        <a:lnTo>
                          <a:pt x="20" y="55"/>
                        </a:lnTo>
                        <a:lnTo>
                          <a:pt x="19" y="56"/>
                        </a:lnTo>
                        <a:lnTo>
                          <a:pt x="18" y="56"/>
                        </a:lnTo>
                        <a:lnTo>
                          <a:pt x="17" y="57"/>
                        </a:lnTo>
                        <a:lnTo>
                          <a:pt x="17" y="58"/>
                        </a:lnTo>
                        <a:lnTo>
                          <a:pt x="17" y="56"/>
                        </a:lnTo>
                        <a:lnTo>
                          <a:pt x="17" y="55"/>
                        </a:lnTo>
                        <a:lnTo>
                          <a:pt x="18" y="54"/>
                        </a:lnTo>
                        <a:lnTo>
                          <a:pt x="20" y="52"/>
                        </a:lnTo>
                        <a:lnTo>
                          <a:pt x="20" y="51"/>
                        </a:lnTo>
                        <a:lnTo>
                          <a:pt x="20" y="50"/>
                        </a:lnTo>
                        <a:lnTo>
                          <a:pt x="20" y="49"/>
                        </a:lnTo>
                        <a:lnTo>
                          <a:pt x="22" y="48"/>
                        </a:lnTo>
                        <a:lnTo>
                          <a:pt x="25" y="47"/>
                        </a:lnTo>
                        <a:lnTo>
                          <a:pt x="26" y="46"/>
                        </a:lnTo>
                        <a:lnTo>
                          <a:pt x="27" y="45"/>
                        </a:lnTo>
                        <a:lnTo>
                          <a:pt x="31" y="46"/>
                        </a:lnTo>
                        <a:lnTo>
                          <a:pt x="36" y="47"/>
                        </a:lnTo>
                        <a:lnTo>
                          <a:pt x="41" y="48"/>
                        </a:lnTo>
                        <a:lnTo>
                          <a:pt x="46" y="49"/>
                        </a:lnTo>
                        <a:lnTo>
                          <a:pt x="49" y="45"/>
                        </a:lnTo>
                        <a:lnTo>
                          <a:pt x="53" y="45"/>
                        </a:lnTo>
                        <a:lnTo>
                          <a:pt x="60" y="45"/>
                        </a:lnTo>
                        <a:lnTo>
                          <a:pt x="66" y="45"/>
                        </a:lnTo>
                        <a:lnTo>
                          <a:pt x="72" y="45"/>
                        </a:lnTo>
                        <a:lnTo>
                          <a:pt x="75" y="48"/>
                        </a:lnTo>
                        <a:lnTo>
                          <a:pt x="78" y="51"/>
                        </a:lnTo>
                        <a:lnTo>
                          <a:pt x="81" y="54"/>
                        </a:lnTo>
                        <a:lnTo>
                          <a:pt x="82" y="55"/>
                        </a:lnTo>
                        <a:lnTo>
                          <a:pt x="84" y="55"/>
                        </a:lnTo>
                        <a:lnTo>
                          <a:pt x="85" y="55"/>
                        </a:lnTo>
                        <a:lnTo>
                          <a:pt x="87" y="52"/>
                        </a:lnTo>
                        <a:lnTo>
                          <a:pt x="89" y="49"/>
                        </a:lnTo>
                        <a:lnTo>
                          <a:pt x="90" y="46"/>
                        </a:lnTo>
                        <a:lnTo>
                          <a:pt x="92" y="45"/>
                        </a:lnTo>
                        <a:lnTo>
                          <a:pt x="92" y="44"/>
                        </a:lnTo>
                        <a:lnTo>
                          <a:pt x="94" y="43"/>
                        </a:lnTo>
                        <a:lnTo>
                          <a:pt x="95" y="43"/>
                        </a:lnTo>
                        <a:lnTo>
                          <a:pt x="95" y="42"/>
                        </a:lnTo>
                        <a:lnTo>
                          <a:pt x="97" y="41"/>
                        </a:lnTo>
                        <a:lnTo>
                          <a:pt x="97" y="40"/>
                        </a:lnTo>
                        <a:lnTo>
                          <a:pt x="96" y="39"/>
                        </a:lnTo>
                        <a:lnTo>
                          <a:pt x="95" y="38"/>
                        </a:lnTo>
                        <a:lnTo>
                          <a:pt x="98" y="35"/>
                        </a:lnTo>
                        <a:lnTo>
                          <a:pt x="100" y="32"/>
                        </a:lnTo>
                        <a:lnTo>
                          <a:pt x="101" y="29"/>
                        </a:lnTo>
                        <a:lnTo>
                          <a:pt x="102" y="26"/>
                        </a:lnTo>
                        <a:lnTo>
                          <a:pt x="100" y="24"/>
                        </a:lnTo>
                        <a:lnTo>
                          <a:pt x="99" y="21"/>
                        </a:lnTo>
                        <a:lnTo>
                          <a:pt x="99" y="16"/>
                        </a:lnTo>
                        <a:lnTo>
                          <a:pt x="95" y="16"/>
                        </a:lnTo>
                        <a:lnTo>
                          <a:pt x="96" y="13"/>
                        </a:lnTo>
                        <a:lnTo>
                          <a:pt x="97" y="11"/>
                        </a:lnTo>
                        <a:lnTo>
                          <a:pt x="98" y="10"/>
                        </a:lnTo>
                        <a:lnTo>
                          <a:pt x="99" y="9"/>
                        </a:lnTo>
                        <a:lnTo>
                          <a:pt x="100" y="7"/>
                        </a:lnTo>
                        <a:lnTo>
                          <a:pt x="102" y="4"/>
                        </a:lnTo>
                        <a:lnTo>
                          <a:pt x="102" y="2"/>
                        </a:lnTo>
                        <a:lnTo>
                          <a:pt x="102" y="1"/>
                        </a:lnTo>
                        <a:lnTo>
                          <a:pt x="102" y="0"/>
                        </a:lnTo>
                        <a:lnTo>
                          <a:pt x="9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7" name="Freeform 2255">
                    <a:extLst>
                      <a:ext uri="{FF2B5EF4-FFF2-40B4-BE49-F238E27FC236}">
                        <a16:creationId xmlns:a16="http://schemas.microsoft.com/office/drawing/2014/main" xmlns="" id="{92B13513-D8F2-41C6-8276-0C757EF1485C}"/>
                      </a:ext>
                    </a:extLst>
                  </p:cNvPr>
                  <p:cNvSpPr>
                    <a:spLocks/>
                  </p:cNvSpPr>
                  <p:nvPr/>
                </p:nvSpPr>
                <p:spPr bwMode="gray">
                  <a:xfrm>
                    <a:off x="3998138" y="3247448"/>
                    <a:ext cx="192457" cy="190222"/>
                  </a:xfrm>
                  <a:custGeom>
                    <a:avLst/>
                    <a:gdLst>
                      <a:gd name="T0" fmla="*/ 2147483647 w 173"/>
                      <a:gd name="T1" fmla="*/ 2147483647 h 171"/>
                      <a:gd name="T2" fmla="*/ 2147483647 w 173"/>
                      <a:gd name="T3" fmla="*/ 2147483647 h 171"/>
                      <a:gd name="T4" fmla="*/ 2147483647 w 173"/>
                      <a:gd name="T5" fmla="*/ 2147483647 h 171"/>
                      <a:gd name="T6" fmla="*/ 2147483647 w 173"/>
                      <a:gd name="T7" fmla="*/ 2147483647 h 171"/>
                      <a:gd name="T8" fmla="*/ 2147483647 w 173"/>
                      <a:gd name="T9" fmla="*/ 2147483647 h 171"/>
                      <a:gd name="T10" fmla="*/ 0 w 173"/>
                      <a:gd name="T11" fmla="*/ 2147483647 h 171"/>
                      <a:gd name="T12" fmla="*/ 2147483647 w 173"/>
                      <a:gd name="T13" fmla="*/ 2147483647 h 171"/>
                      <a:gd name="T14" fmla="*/ 2147483647 w 173"/>
                      <a:gd name="T15" fmla="*/ 2147483647 h 171"/>
                      <a:gd name="T16" fmla="*/ 2147483647 w 173"/>
                      <a:gd name="T17" fmla="*/ 2147483647 h 171"/>
                      <a:gd name="T18" fmla="*/ 2147483647 w 173"/>
                      <a:gd name="T19" fmla="*/ 2147483647 h 171"/>
                      <a:gd name="T20" fmla="*/ 2147483647 w 173"/>
                      <a:gd name="T21" fmla="*/ 2147483647 h 171"/>
                      <a:gd name="T22" fmla="*/ 2147483647 w 173"/>
                      <a:gd name="T23" fmla="*/ 2147483647 h 171"/>
                      <a:gd name="T24" fmla="*/ 2147483647 w 173"/>
                      <a:gd name="T25" fmla="*/ 2147483647 h 171"/>
                      <a:gd name="T26" fmla="*/ 2147483647 w 173"/>
                      <a:gd name="T27" fmla="*/ 2147483647 h 171"/>
                      <a:gd name="T28" fmla="*/ 2147483647 w 173"/>
                      <a:gd name="T29" fmla="*/ 2147483647 h 171"/>
                      <a:gd name="T30" fmla="*/ 2147483647 w 173"/>
                      <a:gd name="T31" fmla="*/ 2147483647 h 171"/>
                      <a:gd name="T32" fmla="*/ 2147483647 w 173"/>
                      <a:gd name="T33" fmla="*/ 2147483647 h 171"/>
                      <a:gd name="T34" fmla="*/ 2147483647 w 173"/>
                      <a:gd name="T35" fmla="*/ 2147483647 h 171"/>
                      <a:gd name="T36" fmla="*/ 2147483647 w 173"/>
                      <a:gd name="T37" fmla="*/ 2147483647 h 171"/>
                      <a:gd name="T38" fmla="*/ 2147483647 w 173"/>
                      <a:gd name="T39" fmla="*/ 2147483647 h 171"/>
                      <a:gd name="T40" fmla="*/ 2147483647 w 173"/>
                      <a:gd name="T41" fmla="*/ 2147483647 h 171"/>
                      <a:gd name="T42" fmla="*/ 2147483647 w 173"/>
                      <a:gd name="T43" fmla="*/ 2147483647 h 171"/>
                      <a:gd name="T44" fmla="*/ 2147483647 w 173"/>
                      <a:gd name="T45" fmla="*/ 2147483647 h 171"/>
                      <a:gd name="T46" fmla="*/ 2147483647 w 173"/>
                      <a:gd name="T47" fmla="*/ 2147483647 h 171"/>
                      <a:gd name="T48" fmla="*/ 2147483647 w 173"/>
                      <a:gd name="T49" fmla="*/ 2147483647 h 171"/>
                      <a:gd name="T50" fmla="*/ 2147483647 w 173"/>
                      <a:gd name="T51" fmla="*/ 2147483647 h 171"/>
                      <a:gd name="T52" fmla="*/ 2147483647 w 173"/>
                      <a:gd name="T53" fmla="*/ 2147483647 h 171"/>
                      <a:gd name="T54" fmla="*/ 2147483647 w 173"/>
                      <a:gd name="T55" fmla="*/ 2147483647 h 171"/>
                      <a:gd name="T56" fmla="*/ 2147483647 w 173"/>
                      <a:gd name="T57" fmla="*/ 2147483647 h 171"/>
                      <a:gd name="T58" fmla="*/ 2147483647 w 173"/>
                      <a:gd name="T59" fmla="*/ 2147483647 h 171"/>
                      <a:gd name="T60" fmla="*/ 2147483647 w 173"/>
                      <a:gd name="T61" fmla="*/ 2147483647 h 171"/>
                      <a:gd name="T62" fmla="*/ 2147483647 w 173"/>
                      <a:gd name="T63" fmla="*/ 2147483647 h 171"/>
                      <a:gd name="T64" fmla="*/ 2147483647 w 173"/>
                      <a:gd name="T65" fmla="*/ 2147483647 h 171"/>
                      <a:gd name="T66" fmla="*/ 2147483647 w 173"/>
                      <a:gd name="T67" fmla="*/ 2147483647 h 171"/>
                      <a:gd name="T68" fmla="*/ 2147483647 w 173"/>
                      <a:gd name="T69" fmla="*/ 2147483647 h 171"/>
                      <a:gd name="T70" fmla="*/ 2147483647 w 173"/>
                      <a:gd name="T71" fmla="*/ 2147483647 h 171"/>
                      <a:gd name="T72" fmla="*/ 2147483647 w 173"/>
                      <a:gd name="T73" fmla="*/ 2147483647 h 171"/>
                      <a:gd name="T74" fmla="*/ 2147483647 w 173"/>
                      <a:gd name="T75" fmla="*/ 2147483647 h 171"/>
                      <a:gd name="T76" fmla="*/ 2147483647 w 173"/>
                      <a:gd name="T77" fmla="*/ 2147483647 h 171"/>
                      <a:gd name="T78" fmla="*/ 2147483647 w 173"/>
                      <a:gd name="T79" fmla="*/ 2147483647 h 171"/>
                      <a:gd name="T80" fmla="*/ 2147483647 w 173"/>
                      <a:gd name="T81" fmla="*/ 2147483647 h 171"/>
                      <a:gd name="T82" fmla="*/ 2147483647 w 173"/>
                      <a:gd name="T83" fmla="*/ 2147483647 h 171"/>
                      <a:gd name="T84" fmla="*/ 2147483647 w 173"/>
                      <a:gd name="T85" fmla="*/ 2147483647 h 171"/>
                      <a:gd name="T86" fmla="*/ 2147483647 w 173"/>
                      <a:gd name="T87" fmla="*/ 2147483647 h 171"/>
                      <a:gd name="T88" fmla="*/ 2147483647 w 173"/>
                      <a:gd name="T89" fmla="*/ 2147483647 h 171"/>
                      <a:gd name="T90" fmla="*/ 2147483647 w 173"/>
                      <a:gd name="T91" fmla="*/ 2147483647 h 171"/>
                      <a:gd name="T92" fmla="*/ 2147483647 w 173"/>
                      <a:gd name="T93" fmla="*/ 2147483647 h 171"/>
                      <a:gd name="T94" fmla="*/ 2147483647 w 173"/>
                      <a:gd name="T95" fmla="*/ 2147483647 h 171"/>
                      <a:gd name="T96" fmla="*/ 2147483647 w 173"/>
                      <a:gd name="T97" fmla="*/ 2147483647 h 171"/>
                      <a:gd name="T98" fmla="*/ 2147483647 w 173"/>
                      <a:gd name="T99" fmla="*/ 2147483647 h 171"/>
                      <a:gd name="T100" fmla="*/ 2147483647 w 173"/>
                      <a:gd name="T101" fmla="*/ 2147483647 h 171"/>
                      <a:gd name="T102" fmla="*/ 2147483647 w 173"/>
                      <a:gd name="T103" fmla="*/ 2147483647 h 171"/>
                      <a:gd name="T104" fmla="*/ 2147483647 w 173"/>
                      <a:gd name="T105" fmla="*/ 2147483647 h 171"/>
                      <a:gd name="T106" fmla="*/ 2147483647 w 173"/>
                      <a:gd name="T107" fmla="*/ 2147483647 h 171"/>
                      <a:gd name="T108" fmla="*/ 2147483647 w 173"/>
                      <a:gd name="T109" fmla="*/ 2147483647 h 171"/>
                      <a:gd name="T110" fmla="*/ 2147483647 w 173"/>
                      <a:gd name="T111" fmla="*/ 2147483647 h 171"/>
                      <a:gd name="T112" fmla="*/ 2147483647 w 173"/>
                      <a:gd name="T113" fmla="*/ 2147483647 h 171"/>
                      <a:gd name="T114" fmla="*/ 2147483647 w 173"/>
                      <a:gd name="T115" fmla="*/ 2147483647 h 171"/>
                      <a:gd name="T116" fmla="*/ 2147483647 w 173"/>
                      <a:gd name="T117" fmla="*/ 2147483647 h 171"/>
                      <a:gd name="T118" fmla="*/ 2147483647 w 173"/>
                      <a:gd name="T119" fmla="*/ 2147483647 h 171"/>
                      <a:gd name="T120" fmla="*/ 2147483647 w 173"/>
                      <a:gd name="T121" fmla="*/ 2147483647 h 171"/>
                      <a:gd name="T122" fmla="*/ 2147483647 w 173"/>
                      <a:gd name="T123" fmla="*/ 2147483647 h 17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73" h="171">
                        <a:moveTo>
                          <a:pt x="56" y="1"/>
                        </a:moveTo>
                        <a:lnTo>
                          <a:pt x="56" y="1"/>
                        </a:lnTo>
                        <a:lnTo>
                          <a:pt x="54" y="1"/>
                        </a:lnTo>
                        <a:lnTo>
                          <a:pt x="53" y="1"/>
                        </a:lnTo>
                        <a:lnTo>
                          <a:pt x="48" y="0"/>
                        </a:lnTo>
                        <a:lnTo>
                          <a:pt x="44" y="1"/>
                        </a:lnTo>
                        <a:lnTo>
                          <a:pt x="40" y="3"/>
                        </a:lnTo>
                        <a:lnTo>
                          <a:pt x="36" y="4"/>
                        </a:lnTo>
                        <a:lnTo>
                          <a:pt x="34" y="6"/>
                        </a:lnTo>
                        <a:lnTo>
                          <a:pt x="32" y="6"/>
                        </a:lnTo>
                        <a:lnTo>
                          <a:pt x="31" y="6"/>
                        </a:lnTo>
                        <a:lnTo>
                          <a:pt x="30" y="8"/>
                        </a:lnTo>
                        <a:lnTo>
                          <a:pt x="28" y="8"/>
                        </a:lnTo>
                        <a:lnTo>
                          <a:pt x="27" y="9"/>
                        </a:lnTo>
                        <a:lnTo>
                          <a:pt x="27" y="11"/>
                        </a:lnTo>
                        <a:lnTo>
                          <a:pt x="22" y="14"/>
                        </a:lnTo>
                        <a:lnTo>
                          <a:pt x="16" y="16"/>
                        </a:lnTo>
                        <a:lnTo>
                          <a:pt x="8" y="17"/>
                        </a:lnTo>
                        <a:lnTo>
                          <a:pt x="1" y="18"/>
                        </a:lnTo>
                        <a:lnTo>
                          <a:pt x="1" y="21"/>
                        </a:lnTo>
                        <a:lnTo>
                          <a:pt x="0" y="23"/>
                        </a:lnTo>
                        <a:lnTo>
                          <a:pt x="0" y="26"/>
                        </a:lnTo>
                        <a:lnTo>
                          <a:pt x="1" y="30"/>
                        </a:lnTo>
                        <a:lnTo>
                          <a:pt x="4" y="34"/>
                        </a:lnTo>
                        <a:lnTo>
                          <a:pt x="5" y="35"/>
                        </a:lnTo>
                        <a:lnTo>
                          <a:pt x="6" y="38"/>
                        </a:lnTo>
                        <a:lnTo>
                          <a:pt x="6" y="44"/>
                        </a:lnTo>
                        <a:lnTo>
                          <a:pt x="7" y="47"/>
                        </a:lnTo>
                        <a:lnTo>
                          <a:pt x="8" y="48"/>
                        </a:lnTo>
                        <a:lnTo>
                          <a:pt x="9" y="48"/>
                        </a:lnTo>
                        <a:lnTo>
                          <a:pt x="11" y="47"/>
                        </a:lnTo>
                        <a:lnTo>
                          <a:pt x="13" y="48"/>
                        </a:lnTo>
                        <a:lnTo>
                          <a:pt x="13" y="52"/>
                        </a:lnTo>
                        <a:lnTo>
                          <a:pt x="14" y="56"/>
                        </a:lnTo>
                        <a:lnTo>
                          <a:pt x="18" y="60"/>
                        </a:lnTo>
                        <a:lnTo>
                          <a:pt x="19" y="59"/>
                        </a:lnTo>
                        <a:lnTo>
                          <a:pt x="19" y="56"/>
                        </a:lnTo>
                        <a:lnTo>
                          <a:pt x="20" y="55"/>
                        </a:lnTo>
                        <a:lnTo>
                          <a:pt x="21" y="54"/>
                        </a:lnTo>
                        <a:lnTo>
                          <a:pt x="23" y="53"/>
                        </a:lnTo>
                        <a:lnTo>
                          <a:pt x="27" y="53"/>
                        </a:lnTo>
                        <a:lnTo>
                          <a:pt x="29" y="55"/>
                        </a:lnTo>
                        <a:lnTo>
                          <a:pt x="30" y="58"/>
                        </a:lnTo>
                        <a:lnTo>
                          <a:pt x="32" y="60"/>
                        </a:lnTo>
                        <a:lnTo>
                          <a:pt x="34" y="63"/>
                        </a:lnTo>
                        <a:lnTo>
                          <a:pt x="34" y="68"/>
                        </a:lnTo>
                        <a:lnTo>
                          <a:pt x="35" y="71"/>
                        </a:lnTo>
                        <a:lnTo>
                          <a:pt x="36" y="72"/>
                        </a:lnTo>
                        <a:lnTo>
                          <a:pt x="36" y="74"/>
                        </a:lnTo>
                        <a:lnTo>
                          <a:pt x="38" y="73"/>
                        </a:lnTo>
                        <a:lnTo>
                          <a:pt x="40" y="73"/>
                        </a:lnTo>
                        <a:lnTo>
                          <a:pt x="43" y="72"/>
                        </a:lnTo>
                        <a:lnTo>
                          <a:pt x="44" y="76"/>
                        </a:lnTo>
                        <a:lnTo>
                          <a:pt x="44" y="80"/>
                        </a:lnTo>
                        <a:lnTo>
                          <a:pt x="45" y="84"/>
                        </a:lnTo>
                        <a:lnTo>
                          <a:pt x="46" y="86"/>
                        </a:lnTo>
                        <a:lnTo>
                          <a:pt x="49" y="88"/>
                        </a:lnTo>
                        <a:lnTo>
                          <a:pt x="51" y="89"/>
                        </a:lnTo>
                        <a:lnTo>
                          <a:pt x="52" y="90"/>
                        </a:lnTo>
                        <a:lnTo>
                          <a:pt x="53" y="92"/>
                        </a:lnTo>
                        <a:lnTo>
                          <a:pt x="55" y="94"/>
                        </a:lnTo>
                        <a:lnTo>
                          <a:pt x="56" y="96"/>
                        </a:lnTo>
                        <a:lnTo>
                          <a:pt x="55" y="99"/>
                        </a:lnTo>
                        <a:lnTo>
                          <a:pt x="54" y="103"/>
                        </a:lnTo>
                        <a:lnTo>
                          <a:pt x="53" y="105"/>
                        </a:lnTo>
                        <a:lnTo>
                          <a:pt x="53" y="106"/>
                        </a:lnTo>
                        <a:lnTo>
                          <a:pt x="56" y="110"/>
                        </a:lnTo>
                        <a:lnTo>
                          <a:pt x="59" y="115"/>
                        </a:lnTo>
                        <a:lnTo>
                          <a:pt x="65" y="118"/>
                        </a:lnTo>
                        <a:lnTo>
                          <a:pt x="69" y="119"/>
                        </a:lnTo>
                        <a:lnTo>
                          <a:pt x="71" y="119"/>
                        </a:lnTo>
                        <a:lnTo>
                          <a:pt x="75" y="116"/>
                        </a:lnTo>
                        <a:lnTo>
                          <a:pt x="78" y="113"/>
                        </a:lnTo>
                        <a:lnTo>
                          <a:pt x="82" y="112"/>
                        </a:lnTo>
                        <a:lnTo>
                          <a:pt x="83" y="111"/>
                        </a:lnTo>
                        <a:lnTo>
                          <a:pt x="83" y="109"/>
                        </a:lnTo>
                        <a:lnTo>
                          <a:pt x="85" y="105"/>
                        </a:lnTo>
                        <a:lnTo>
                          <a:pt x="87" y="102"/>
                        </a:lnTo>
                        <a:lnTo>
                          <a:pt x="89" y="101"/>
                        </a:lnTo>
                        <a:lnTo>
                          <a:pt x="91" y="101"/>
                        </a:lnTo>
                        <a:lnTo>
                          <a:pt x="93" y="102"/>
                        </a:lnTo>
                        <a:lnTo>
                          <a:pt x="94" y="104"/>
                        </a:lnTo>
                        <a:lnTo>
                          <a:pt x="93" y="109"/>
                        </a:lnTo>
                        <a:lnTo>
                          <a:pt x="92" y="114"/>
                        </a:lnTo>
                        <a:lnTo>
                          <a:pt x="93" y="117"/>
                        </a:lnTo>
                        <a:lnTo>
                          <a:pt x="94" y="118"/>
                        </a:lnTo>
                        <a:lnTo>
                          <a:pt x="98" y="120"/>
                        </a:lnTo>
                        <a:lnTo>
                          <a:pt x="98" y="121"/>
                        </a:lnTo>
                        <a:lnTo>
                          <a:pt x="97" y="122"/>
                        </a:lnTo>
                        <a:lnTo>
                          <a:pt x="94" y="124"/>
                        </a:lnTo>
                        <a:lnTo>
                          <a:pt x="94" y="127"/>
                        </a:lnTo>
                        <a:lnTo>
                          <a:pt x="94" y="129"/>
                        </a:lnTo>
                        <a:lnTo>
                          <a:pt x="95" y="130"/>
                        </a:lnTo>
                        <a:lnTo>
                          <a:pt x="98" y="130"/>
                        </a:lnTo>
                        <a:lnTo>
                          <a:pt x="100" y="131"/>
                        </a:lnTo>
                        <a:lnTo>
                          <a:pt x="100" y="135"/>
                        </a:lnTo>
                        <a:lnTo>
                          <a:pt x="100" y="137"/>
                        </a:lnTo>
                        <a:lnTo>
                          <a:pt x="103" y="139"/>
                        </a:lnTo>
                        <a:lnTo>
                          <a:pt x="105" y="139"/>
                        </a:lnTo>
                        <a:lnTo>
                          <a:pt x="106" y="138"/>
                        </a:lnTo>
                        <a:lnTo>
                          <a:pt x="107" y="137"/>
                        </a:lnTo>
                        <a:lnTo>
                          <a:pt x="109" y="140"/>
                        </a:lnTo>
                        <a:lnTo>
                          <a:pt x="110" y="143"/>
                        </a:lnTo>
                        <a:lnTo>
                          <a:pt x="110" y="147"/>
                        </a:lnTo>
                        <a:lnTo>
                          <a:pt x="112" y="149"/>
                        </a:lnTo>
                        <a:lnTo>
                          <a:pt x="113" y="150"/>
                        </a:lnTo>
                        <a:lnTo>
                          <a:pt x="114" y="151"/>
                        </a:lnTo>
                        <a:lnTo>
                          <a:pt x="114" y="153"/>
                        </a:lnTo>
                        <a:lnTo>
                          <a:pt x="116" y="158"/>
                        </a:lnTo>
                        <a:lnTo>
                          <a:pt x="117" y="162"/>
                        </a:lnTo>
                        <a:lnTo>
                          <a:pt x="117" y="166"/>
                        </a:lnTo>
                        <a:lnTo>
                          <a:pt x="117" y="169"/>
                        </a:lnTo>
                        <a:lnTo>
                          <a:pt x="118" y="171"/>
                        </a:lnTo>
                        <a:lnTo>
                          <a:pt x="119" y="170"/>
                        </a:lnTo>
                        <a:lnTo>
                          <a:pt x="122" y="170"/>
                        </a:lnTo>
                        <a:lnTo>
                          <a:pt x="126" y="169"/>
                        </a:lnTo>
                        <a:lnTo>
                          <a:pt x="128" y="169"/>
                        </a:lnTo>
                        <a:lnTo>
                          <a:pt x="129" y="168"/>
                        </a:lnTo>
                        <a:lnTo>
                          <a:pt x="131" y="166"/>
                        </a:lnTo>
                        <a:lnTo>
                          <a:pt x="133" y="163"/>
                        </a:lnTo>
                        <a:lnTo>
                          <a:pt x="133" y="162"/>
                        </a:lnTo>
                        <a:lnTo>
                          <a:pt x="135" y="161"/>
                        </a:lnTo>
                        <a:lnTo>
                          <a:pt x="136" y="160"/>
                        </a:lnTo>
                        <a:lnTo>
                          <a:pt x="135" y="158"/>
                        </a:lnTo>
                        <a:lnTo>
                          <a:pt x="133" y="154"/>
                        </a:lnTo>
                        <a:lnTo>
                          <a:pt x="132" y="147"/>
                        </a:lnTo>
                        <a:lnTo>
                          <a:pt x="133" y="141"/>
                        </a:lnTo>
                        <a:lnTo>
                          <a:pt x="134" y="139"/>
                        </a:lnTo>
                        <a:lnTo>
                          <a:pt x="136" y="136"/>
                        </a:lnTo>
                        <a:lnTo>
                          <a:pt x="142" y="129"/>
                        </a:lnTo>
                        <a:lnTo>
                          <a:pt x="149" y="123"/>
                        </a:lnTo>
                        <a:lnTo>
                          <a:pt x="151" y="121"/>
                        </a:lnTo>
                        <a:lnTo>
                          <a:pt x="152" y="121"/>
                        </a:lnTo>
                        <a:lnTo>
                          <a:pt x="159" y="121"/>
                        </a:lnTo>
                        <a:lnTo>
                          <a:pt x="159" y="120"/>
                        </a:lnTo>
                        <a:lnTo>
                          <a:pt x="161" y="118"/>
                        </a:lnTo>
                        <a:lnTo>
                          <a:pt x="163" y="115"/>
                        </a:lnTo>
                        <a:lnTo>
                          <a:pt x="165" y="112"/>
                        </a:lnTo>
                        <a:lnTo>
                          <a:pt x="167" y="111"/>
                        </a:lnTo>
                        <a:lnTo>
                          <a:pt x="169" y="109"/>
                        </a:lnTo>
                        <a:lnTo>
                          <a:pt x="171" y="107"/>
                        </a:lnTo>
                        <a:lnTo>
                          <a:pt x="171" y="105"/>
                        </a:lnTo>
                        <a:lnTo>
                          <a:pt x="171" y="102"/>
                        </a:lnTo>
                        <a:lnTo>
                          <a:pt x="170" y="100"/>
                        </a:lnTo>
                        <a:lnTo>
                          <a:pt x="168" y="97"/>
                        </a:lnTo>
                        <a:lnTo>
                          <a:pt x="168" y="96"/>
                        </a:lnTo>
                        <a:lnTo>
                          <a:pt x="168" y="95"/>
                        </a:lnTo>
                        <a:lnTo>
                          <a:pt x="168" y="94"/>
                        </a:lnTo>
                        <a:lnTo>
                          <a:pt x="169" y="91"/>
                        </a:lnTo>
                        <a:lnTo>
                          <a:pt x="171" y="89"/>
                        </a:lnTo>
                        <a:lnTo>
                          <a:pt x="173" y="86"/>
                        </a:lnTo>
                        <a:lnTo>
                          <a:pt x="172" y="84"/>
                        </a:lnTo>
                        <a:lnTo>
                          <a:pt x="170" y="81"/>
                        </a:lnTo>
                        <a:lnTo>
                          <a:pt x="168" y="79"/>
                        </a:lnTo>
                        <a:lnTo>
                          <a:pt x="166" y="76"/>
                        </a:lnTo>
                        <a:lnTo>
                          <a:pt x="163" y="73"/>
                        </a:lnTo>
                        <a:lnTo>
                          <a:pt x="160" y="71"/>
                        </a:lnTo>
                        <a:lnTo>
                          <a:pt x="159" y="70"/>
                        </a:lnTo>
                        <a:lnTo>
                          <a:pt x="158" y="71"/>
                        </a:lnTo>
                        <a:lnTo>
                          <a:pt x="157" y="71"/>
                        </a:lnTo>
                        <a:lnTo>
                          <a:pt x="155" y="70"/>
                        </a:lnTo>
                        <a:lnTo>
                          <a:pt x="152" y="70"/>
                        </a:lnTo>
                        <a:lnTo>
                          <a:pt x="147" y="70"/>
                        </a:lnTo>
                        <a:lnTo>
                          <a:pt x="143" y="69"/>
                        </a:lnTo>
                        <a:lnTo>
                          <a:pt x="141" y="67"/>
                        </a:lnTo>
                        <a:lnTo>
                          <a:pt x="140" y="63"/>
                        </a:lnTo>
                        <a:lnTo>
                          <a:pt x="140" y="61"/>
                        </a:lnTo>
                        <a:lnTo>
                          <a:pt x="141" y="60"/>
                        </a:lnTo>
                        <a:lnTo>
                          <a:pt x="142" y="60"/>
                        </a:lnTo>
                        <a:lnTo>
                          <a:pt x="142" y="57"/>
                        </a:lnTo>
                        <a:lnTo>
                          <a:pt x="144" y="55"/>
                        </a:lnTo>
                        <a:lnTo>
                          <a:pt x="145" y="52"/>
                        </a:lnTo>
                        <a:lnTo>
                          <a:pt x="145" y="49"/>
                        </a:lnTo>
                        <a:lnTo>
                          <a:pt x="145" y="46"/>
                        </a:lnTo>
                        <a:lnTo>
                          <a:pt x="145" y="44"/>
                        </a:lnTo>
                        <a:lnTo>
                          <a:pt x="146" y="41"/>
                        </a:lnTo>
                        <a:lnTo>
                          <a:pt x="147" y="39"/>
                        </a:lnTo>
                        <a:lnTo>
                          <a:pt x="147" y="36"/>
                        </a:lnTo>
                        <a:lnTo>
                          <a:pt x="145" y="34"/>
                        </a:lnTo>
                        <a:lnTo>
                          <a:pt x="143" y="35"/>
                        </a:lnTo>
                        <a:lnTo>
                          <a:pt x="142" y="35"/>
                        </a:lnTo>
                        <a:lnTo>
                          <a:pt x="140" y="34"/>
                        </a:lnTo>
                        <a:lnTo>
                          <a:pt x="140" y="32"/>
                        </a:lnTo>
                        <a:lnTo>
                          <a:pt x="140" y="30"/>
                        </a:lnTo>
                        <a:lnTo>
                          <a:pt x="140" y="29"/>
                        </a:lnTo>
                        <a:lnTo>
                          <a:pt x="140" y="27"/>
                        </a:lnTo>
                        <a:lnTo>
                          <a:pt x="139" y="25"/>
                        </a:lnTo>
                        <a:lnTo>
                          <a:pt x="137" y="24"/>
                        </a:lnTo>
                        <a:lnTo>
                          <a:pt x="131" y="25"/>
                        </a:lnTo>
                        <a:lnTo>
                          <a:pt x="125" y="26"/>
                        </a:lnTo>
                        <a:lnTo>
                          <a:pt x="123" y="25"/>
                        </a:lnTo>
                        <a:lnTo>
                          <a:pt x="123" y="24"/>
                        </a:lnTo>
                        <a:lnTo>
                          <a:pt x="123" y="23"/>
                        </a:lnTo>
                        <a:lnTo>
                          <a:pt x="123" y="21"/>
                        </a:lnTo>
                        <a:lnTo>
                          <a:pt x="123" y="20"/>
                        </a:lnTo>
                        <a:lnTo>
                          <a:pt x="123" y="18"/>
                        </a:lnTo>
                        <a:lnTo>
                          <a:pt x="121" y="16"/>
                        </a:lnTo>
                        <a:lnTo>
                          <a:pt x="119" y="15"/>
                        </a:lnTo>
                        <a:lnTo>
                          <a:pt x="118" y="14"/>
                        </a:lnTo>
                        <a:lnTo>
                          <a:pt x="117" y="14"/>
                        </a:lnTo>
                        <a:lnTo>
                          <a:pt x="116" y="17"/>
                        </a:lnTo>
                        <a:lnTo>
                          <a:pt x="116" y="19"/>
                        </a:lnTo>
                        <a:lnTo>
                          <a:pt x="117" y="21"/>
                        </a:lnTo>
                        <a:lnTo>
                          <a:pt x="112" y="21"/>
                        </a:lnTo>
                        <a:lnTo>
                          <a:pt x="111" y="20"/>
                        </a:lnTo>
                        <a:lnTo>
                          <a:pt x="110" y="18"/>
                        </a:lnTo>
                        <a:lnTo>
                          <a:pt x="109" y="17"/>
                        </a:lnTo>
                        <a:lnTo>
                          <a:pt x="109" y="16"/>
                        </a:lnTo>
                        <a:lnTo>
                          <a:pt x="110" y="15"/>
                        </a:lnTo>
                        <a:lnTo>
                          <a:pt x="110" y="14"/>
                        </a:lnTo>
                        <a:lnTo>
                          <a:pt x="108" y="12"/>
                        </a:lnTo>
                        <a:lnTo>
                          <a:pt x="107" y="11"/>
                        </a:lnTo>
                        <a:lnTo>
                          <a:pt x="106" y="11"/>
                        </a:lnTo>
                        <a:lnTo>
                          <a:pt x="104" y="11"/>
                        </a:lnTo>
                        <a:lnTo>
                          <a:pt x="103" y="12"/>
                        </a:lnTo>
                        <a:lnTo>
                          <a:pt x="103" y="14"/>
                        </a:lnTo>
                        <a:lnTo>
                          <a:pt x="102" y="17"/>
                        </a:lnTo>
                        <a:lnTo>
                          <a:pt x="100" y="18"/>
                        </a:lnTo>
                        <a:lnTo>
                          <a:pt x="99" y="18"/>
                        </a:lnTo>
                        <a:lnTo>
                          <a:pt x="98" y="18"/>
                        </a:lnTo>
                        <a:lnTo>
                          <a:pt x="93" y="17"/>
                        </a:lnTo>
                        <a:lnTo>
                          <a:pt x="89" y="18"/>
                        </a:lnTo>
                        <a:lnTo>
                          <a:pt x="86" y="20"/>
                        </a:lnTo>
                        <a:lnTo>
                          <a:pt x="82" y="21"/>
                        </a:lnTo>
                        <a:lnTo>
                          <a:pt x="77" y="21"/>
                        </a:lnTo>
                        <a:lnTo>
                          <a:pt x="73" y="20"/>
                        </a:lnTo>
                        <a:lnTo>
                          <a:pt x="70" y="17"/>
                        </a:lnTo>
                        <a:lnTo>
                          <a:pt x="69" y="11"/>
                        </a:lnTo>
                        <a:lnTo>
                          <a:pt x="68" y="11"/>
                        </a:lnTo>
                        <a:lnTo>
                          <a:pt x="65" y="11"/>
                        </a:lnTo>
                        <a:lnTo>
                          <a:pt x="62" y="11"/>
                        </a:lnTo>
                        <a:lnTo>
                          <a:pt x="61" y="11"/>
                        </a:lnTo>
                        <a:lnTo>
                          <a:pt x="60" y="11"/>
                        </a:lnTo>
                        <a:lnTo>
                          <a:pt x="59" y="10"/>
                        </a:lnTo>
                        <a:lnTo>
                          <a:pt x="59" y="8"/>
                        </a:lnTo>
                        <a:lnTo>
                          <a:pt x="58" y="7"/>
                        </a:lnTo>
                        <a:lnTo>
                          <a:pt x="57" y="6"/>
                        </a:lnTo>
                        <a:lnTo>
                          <a:pt x="56"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8" name="Freeform 2257">
                    <a:extLst>
                      <a:ext uri="{FF2B5EF4-FFF2-40B4-BE49-F238E27FC236}">
                        <a16:creationId xmlns:a16="http://schemas.microsoft.com/office/drawing/2014/main" xmlns="" id="{46E387AF-93C9-4211-BC4E-73CA8F9F9718}"/>
                      </a:ext>
                    </a:extLst>
                  </p:cNvPr>
                  <p:cNvSpPr>
                    <a:spLocks/>
                  </p:cNvSpPr>
                  <p:nvPr/>
                </p:nvSpPr>
                <p:spPr bwMode="gray">
                  <a:xfrm>
                    <a:off x="4325203" y="3521099"/>
                    <a:ext cx="424962" cy="222481"/>
                  </a:xfrm>
                  <a:custGeom>
                    <a:avLst/>
                    <a:gdLst>
                      <a:gd name="T0" fmla="*/ 2147483647 w 382"/>
                      <a:gd name="T1" fmla="*/ 2147483647 h 200"/>
                      <a:gd name="T2" fmla="*/ 2147483647 w 382"/>
                      <a:gd name="T3" fmla="*/ 2147483647 h 200"/>
                      <a:gd name="T4" fmla="*/ 2147483647 w 382"/>
                      <a:gd name="T5" fmla="*/ 2147483647 h 200"/>
                      <a:gd name="T6" fmla="*/ 2147483647 w 382"/>
                      <a:gd name="T7" fmla="*/ 2147483647 h 200"/>
                      <a:gd name="T8" fmla="*/ 2147483647 w 382"/>
                      <a:gd name="T9" fmla="*/ 2147483647 h 200"/>
                      <a:gd name="T10" fmla="*/ 2147483647 w 382"/>
                      <a:gd name="T11" fmla="*/ 2147483647 h 200"/>
                      <a:gd name="T12" fmla="*/ 2147483647 w 382"/>
                      <a:gd name="T13" fmla="*/ 2147483647 h 200"/>
                      <a:gd name="T14" fmla="*/ 2147483647 w 382"/>
                      <a:gd name="T15" fmla="*/ 2147483647 h 200"/>
                      <a:gd name="T16" fmla="*/ 2147483647 w 382"/>
                      <a:gd name="T17" fmla="*/ 2147483647 h 200"/>
                      <a:gd name="T18" fmla="*/ 2147483647 w 382"/>
                      <a:gd name="T19" fmla="*/ 2147483647 h 200"/>
                      <a:gd name="T20" fmla="*/ 2147483647 w 382"/>
                      <a:gd name="T21" fmla="*/ 2147483647 h 200"/>
                      <a:gd name="T22" fmla="*/ 2147483647 w 382"/>
                      <a:gd name="T23" fmla="*/ 0 h 200"/>
                      <a:gd name="T24" fmla="*/ 2147483647 w 382"/>
                      <a:gd name="T25" fmla="*/ 2147483647 h 200"/>
                      <a:gd name="T26" fmla="*/ 2147483647 w 382"/>
                      <a:gd name="T27" fmla="*/ 2147483647 h 200"/>
                      <a:gd name="T28" fmla="*/ 2147483647 w 382"/>
                      <a:gd name="T29" fmla="*/ 2147483647 h 200"/>
                      <a:gd name="T30" fmla="*/ 2147483647 w 382"/>
                      <a:gd name="T31" fmla="*/ 2147483647 h 200"/>
                      <a:gd name="T32" fmla="*/ 2147483647 w 382"/>
                      <a:gd name="T33" fmla="*/ 2147483647 h 200"/>
                      <a:gd name="T34" fmla="*/ 2147483647 w 382"/>
                      <a:gd name="T35" fmla="*/ 2147483647 h 200"/>
                      <a:gd name="T36" fmla="*/ 2147483647 w 382"/>
                      <a:gd name="T37" fmla="*/ 2147483647 h 200"/>
                      <a:gd name="T38" fmla="*/ 2147483647 w 382"/>
                      <a:gd name="T39" fmla="*/ 2147483647 h 200"/>
                      <a:gd name="T40" fmla="*/ 2147483647 w 382"/>
                      <a:gd name="T41" fmla="*/ 2147483647 h 200"/>
                      <a:gd name="T42" fmla="*/ 2147483647 w 382"/>
                      <a:gd name="T43" fmla="*/ 2147483647 h 200"/>
                      <a:gd name="T44" fmla="*/ 2147483647 w 382"/>
                      <a:gd name="T45" fmla="*/ 2147483647 h 200"/>
                      <a:gd name="T46" fmla="*/ 2147483647 w 382"/>
                      <a:gd name="T47" fmla="*/ 2147483647 h 200"/>
                      <a:gd name="T48" fmla="*/ 2147483647 w 382"/>
                      <a:gd name="T49" fmla="*/ 2147483647 h 200"/>
                      <a:gd name="T50" fmla="*/ 2147483647 w 382"/>
                      <a:gd name="T51" fmla="*/ 2147483647 h 200"/>
                      <a:gd name="T52" fmla="*/ 2147483647 w 382"/>
                      <a:gd name="T53" fmla="*/ 2147483647 h 200"/>
                      <a:gd name="T54" fmla="*/ 2147483647 w 382"/>
                      <a:gd name="T55" fmla="*/ 2147483647 h 200"/>
                      <a:gd name="T56" fmla="*/ 2147483647 w 382"/>
                      <a:gd name="T57" fmla="*/ 2147483647 h 200"/>
                      <a:gd name="T58" fmla="*/ 2147483647 w 382"/>
                      <a:gd name="T59" fmla="*/ 2147483647 h 200"/>
                      <a:gd name="T60" fmla="*/ 2147483647 w 382"/>
                      <a:gd name="T61" fmla="*/ 2147483647 h 200"/>
                      <a:gd name="T62" fmla="*/ 2147483647 w 382"/>
                      <a:gd name="T63" fmla="*/ 2147483647 h 200"/>
                      <a:gd name="T64" fmla="*/ 2147483647 w 382"/>
                      <a:gd name="T65" fmla="*/ 2147483647 h 200"/>
                      <a:gd name="T66" fmla="*/ 2147483647 w 382"/>
                      <a:gd name="T67" fmla="*/ 2147483647 h 200"/>
                      <a:gd name="T68" fmla="*/ 2147483647 w 382"/>
                      <a:gd name="T69" fmla="*/ 2147483647 h 200"/>
                      <a:gd name="T70" fmla="*/ 0 w 382"/>
                      <a:gd name="T71" fmla="*/ 2147483647 h 200"/>
                      <a:gd name="T72" fmla="*/ 2147483647 w 382"/>
                      <a:gd name="T73" fmla="*/ 2147483647 h 200"/>
                      <a:gd name="T74" fmla="*/ 2147483647 w 382"/>
                      <a:gd name="T75" fmla="*/ 2147483647 h 200"/>
                      <a:gd name="T76" fmla="*/ 2147483647 w 382"/>
                      <a:gd name="T77" fmla="*/ 2147483647 h 200"/>
                      <a:gd name="T78" fmla="*/ 2147483647 w 382"/>
                      <a:gd name="T79" fmla="*/ 2147483647 h 200"/>
                      <a:gd name="T80" fmla="*/ 2147483647 w 382"/>
                      <a:gd name="T81" fmla="*/ 2147483647 h 200"/>
                      <a:gd name="T82" fmla="*/ 2147483647 w 382"/>
                      <a:gd name="T83" fmla="*/ 2147483647 h 200"/>
                      <a:gd name="T84" fmla="*/ 2147483647 w 382"/>
                      <a:gd name="T85" fmla="*/ 2147483647 h 200"/>
                      <a:gd name="T86" fmla="*/ 2147483647 w 382"/>
                      <a:gd name="T87" fmla="*/ 2147483647 h 200"/>
                      <a:gd name="T88" fmla="*/ 2147483647 w 382"/>
                      <a:gd name="T89" fmla="*/ 2147483647 h 200"/>
                      <a:gd name="T90" fmla="*/ 2147483647 w 382"/>
                      <a:gd name="T91" fmla="*/ 2147483647 h 200"/>
                      <a:gd name="T92" fmla="*/ 2147483647 w 382"/>
                      <a:gd name="T93" fmla="*/ 2147483647 h 200"/>
                      <a:gd name="T94" fmla="*/ 2147483647 w 382"/>
                      <a:gd name="T95" fmla="*/ 2147483647 h 200"/>
                      <a:gd name="T96" fmla="*/ 2147483647 w 382"/>
                      <a:gd name="T97" fmla="*/ 2147483647 h 200"/>
                      <a:gd name="T98" fmla="*/ 2147483647 w 382"/>
                      <a:gd name="T99" fmla="*/ 2147483647 h 200"/>
                      <a:gd name="T100" fmla="*/ 2147483647 w 382"/>
                      <a:gd name="T101" fmla="*/ 2147483647 h 200"/>
                      <a:gd name="T102" fmla="*/ 2147483647 w 382"/>
                      <a:gd name="T103" fmla="*/ 2147483647 h 200"/>
                      <a:gd name="T104" fmla="*/ 2147483647 w 382"/>
                      <a:gd name="T105" fmla="*/ 2147483647 h 200"/>
                      <a:gd name="T106" fmla="*/ 2147483647 w 382"/>
                      <a:gd name="T107" fmla="*/ 2147483647 h 200"/>
                      <a:gd name="T108" fmla="*/ 2147483647 w 382"/>
                      <a:gd name="T109" fmla="*/ 2147483647 h 200"/>
                      <a:gd name="T110" fmla="*/ 2147483647 w 382"/>
                      <a:gd name="T111" fmla="*/ 2147483647 h 200"/>
                      <a:gd name="T112" fmla="*/ 2147483647 w 382"/>
                      <a:gd name="T113" fmla="*/ 2147483647 h 200"/>
                      <a:gd name="T114" fmla="*/ 2147483647 w 382"/>
                      <a:gd name="T115" fmla="*/ 2147483647 h 200"/>
                      <a:gd name="T116" fmla="*/ 2147483647 w 382"/>
                      <a:gd name="T117" fmla="*/ 2147483647 h 200"/>
                      <a:gd name="T118" fmla="*/ 2147483647 w 382"/>
                      <a:gd name="T119" fmla="*/ 2147483647 h 2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82" h="200">
                        <a:moveTo>
                          <a:pt x="356" y="106"/>
                        </a:moveTo>
                        <a:lnTo>
                          <a:pt x="356" y="104"/>
                        </a:lnTo>
                        <a:lnTo>
                          <a:pt x="357" y="103"/>
                        </a:lnTo>
                        <a:lnTo>
                          <a:pt x="359" y="103"/>
                        </a:lnTo>
                        <a:lnTo>
                          <a:pt x="358" y="103"/>
                        </a:lnTo>
                        <a:lnTo>
                          <a:pt x="359" y="103"/>
                        </a:lnTo>
                        <a:lnTo>
                          <a:pt x="359" y="105"/>
                        </a:lnTo>
                        <a:lnTo>
                          <a:pt x="359" y="106"/>
                        </a:lnTo>
                        <a:lnTo>
                          <a:pt x="360" y="106"/>
                        </a:lnTo>
                        <a:lnTo>
                          <a:pt x="361" y="106"/>
                        </a:lnTo>
                        <a:lnTo>
                          <a:pt x="362" y="106"/>
                        </a:lnTo>
                        <a:lnTo>
                          <a:pt x="364" y="107"/>
                        </a:lnTo>
                        <a:lnTo>
                          <a:pt x="364" y="108"/>
                        </a:lnTo>
                        <a:lnTo>
                          <a:pt x="364" y="109"/>
                        </a:lnTo>
                        <a:lnTo>
                          <a:pt x="366" y="110"/>
                        </a:lnTo>
                        <a:lnTo>
                          <a:pt x="367" y="110"/>
                        </a:lnTo>
                        <a:lnTo>
                          <a:pt x="367" y="109"/>
                        </a:lnTo>
                        <a:lnTo>
                          <a:pt x="367" y="108"/>
                        </a:lnTo>
                        <a:lnTo>
                          <a:pt x="369" y="106"/>
                        </a:lnTo>
                        <a:lnTo>
                          <a:pt x="372" y="107"/>
                        </a:lnTo>
                        <a:lnTo>
                          <a:pt x="373" y="108"/>
                        </a:lnTo>
                        <a:lnTo>
                          <a:pt x="377" y="109"/>
                        </a:lnTo>
                        <a:lnTo>
                          <a:pt x="378" y="110"/>
                        </a:lnTo>
                        <a:lnTo>
                          <a:pt x="378" y="109"/>
                        </a:lnTo>
                        <a:lnTo>
                          <a:pt x="378" y="106"/>
                        </a:lnTo>
                        <a:lnTo>
                          <a:pt x="378" y="103"/>
                        </a:lnTo>
                        <a:lnTo>
                          <a:pt x="378" y="100"/>
                        </a:lnTo>
                        <a:lnTo>
                          <a:pt x="377" y="100"/>
                        </a:lnTo>
                        <a:lnTo>
                          <a:pt x="376" y="100"/>
                        </a:lnTo>
                        <a:lnTo>
                          <a:pt x="376" y="98"/>
                        </a:lnTo>
                        <a:lnTo>
                          <a:pt x="377" y="97"/>
                        </a:lnTo>
                        <a:lnTo>
                          <a:pt x="378" y="96"/>
                        </a:lnTo>
                        <a:lnTo>
                          <a:pt x="378" y="95"/>
                        </a:lnTo>
                        <a:lnTo>
                          <a:pt x="378" y="93"/>
                        </a:lnTo>
                        <a:lnTo>
                          <a:pt x="377" y="90"/>
                        </a:lnTo>
                        <a:lnTo>
                          <a:pt x="377" y="89"/>
                        </a:lnTo>
                        <a:lnTo>
                          <a:pt x="377" y="88"/>
                        </a:lnTo>
                        <a:lnTo>
                          <a:pt x="378" y="87"/>
                        </a:lnTo>
                        <a:lnTo>
                          <a:pt x="379" y="87"/>
                        </a:lnTo>
                        <a:lnTo>
                          <a:pt x="380" y="85"/>
                        </a:lnTo>
                        <a:lnTo>
                          <a:pt x="381" y="83"/>
                        </a:lnTo>
                        <a:lnTo>
                          <a:pt x="382" y="80"/>
                        </a:lnTo>
                        <a:lnTo>
                          <a:pt x="382" y="79"/>
                        </a:lnTo>
                        <a:lnTo>
                          <a:pt x="382" y="77"/>
                        </a:lnTo>
                        <a:lnTo>
                          <a:pt x="378" y="74"/>
                        </a:lnTo>
                        <a:lnTo>
                          <a:pt x="377" y="74"/>
                        </a:lnTo>
                        <a:lnTo>
                          <a:pt x="376" y="74"/>
                        </a:lnTo>
                        <a:lnTo>
                          <a:pt x="373" y="72"/>
                        </a:lnTo>
                        <a:lnTo>
                          <a:pt x="373" y="70"/>
                        </a:lnTo>
                        <a:lnTo>
                          <a:pt x="373" y="69"/>
                        </a:lnTo>
                        <a:lnTo>
                          <a:pt x="373" y="67"/>
                        </a:lnTo>
                        <a:lnTo>
                          <a:pt x="373" y="65"/>
                        </a:lnTo>
                        <a:lnTo>
                          <a:pt x="375" y="64"/>
                        </a:lnTo>
                        <a:lnTo>
                          <a:pt x="376" y="64"/>
                        </a:lnTo>
                        <a:lnTo>
                          <a:pt x="376" y="63"/>
                        </a:lnTo>
                        <a:lnTo>
                          <a:pt x="376" y="61"/>
                        </a:lnTo>
                        <a:lnTo>
                          <a:pt x="376" y="60"/>
                        </a:lnTo>
                        <a:lnTo>
                          <a:pt x="376" y="58"/>
                        </a:lnTo>
                        <a:lnTo>
                          <a:pt x="373" y="55"/>
                        </a:lnTo>
                        <a:lnTo>
                          <a:pt x="373" y="53"/>
                        </a:lnTo>
                        <a:lnTo>
                          <a:pt x="373" y="51"/>
                        </a:lnTo>
                        <a:lnTo>
                          <a:pt x="373" y="50"/>
                        </a:lnTo>
                        <a:lnTo>
                          <a:pt x="373" y="48"/>
                        </a:lnTo>
                        <a:lnTo>
                          <a:pt x="373" y="46"/>
                        </a:lnTo>
                        <a:lnTo>
                          <a:pt x="373" y="45"/>
                        </a:lnTo>
                        <a:lnTo>
                          <a:pt x="373" y="43"/>
                        </a:lnTo>
                        <a:lnTo>
                          <a:pt x="373" y="41"/>
                        </a:lnTo>
                        <a:lnTo>
                          <a:pt x="373" y="40"/>
                        </a:lnTo>
                        <a:lnTo>
                          <a:pt x="373" y="39"/>
                        </a:lnTo>
                        <a:lnTo>
                          <a:pt x="373" y="37"/>
                        </a:lnTo>
                        <a:lnTo>
                          <a:pt x="373" y="36"/>
                        </a:lnTo>
                        <a:lnTo>
                          <a:pt x="373" y="34"/>
                        </a:lnTo>
                        <a:lnTo>
                          <a:pt x="373" y="31"/>
                        </a:lnTo>
                        <a:lnTo>
                          <a:pt x="372" y="28"/>
                        </a:lnTo>
                        <a:lnTo>
                          <a:pt x="370" y="26"/>
                        </a:lnTo>
                        <a:lnTo>
                          <a:pt x="367" y="23"/>
                        </a:lnTo>
                        <a:lnTo>
                          <a:pt x="366" y="22"/>
                        </a:lnTo>
                        <a:lnTo>
                          <a:pt x="366" y="23"/>
                        </a:lnTo>
                        <a:lnTo>
                          <a:pt x="366" y="24"/>
                        </a:lnTo>
                        <a:lnTo>
                          <a:pt x="366" y="25"/>
                        </a:lnTo>
                        <a:lnTo>
                          <a:pt x="364" y="25"/>
                        </a:lnTo>
                        <a:lnTo>
                          <a:pt x="363" y="25"/>
                        </a:lnTo>
                        <a:lnTo>
                          <a:pt x="363" y="24"/>
                        </a:lnTo>
                        <a:lnTo>
                          <a:pt x="362" y="22"/>
                        </a:lnTo>
                        <a:lnTo>
                          <a:pt x="360" y="22"/>
                        </a:lnTo>
                        <a:lnTo>
                          <a:pt x="359" y="22"/>
                        </a:lnTo>
                        <a:lnTo>
                          <a:pt x="358" y="21"/>
                        </a:lnTo>
                        <a:lnTo>
                          <a:pt x="356" y="19"/>
                        </a:lnTo>
                        <a:lnTo>
                          <a:pt x="355" y="19"/>
                        </a:lnTo>
                        <a:lnTo>
                          <a:pt x="354" y="19"/>
                        </a:lnTo>
                        <a:lnTo>
                          <a:pt x="353" y="19"/>
                        </a:lnTo>
                        <a:lnTo>
                          <a:pt x="352" y="19"/>
                        </a:lnTo>
                        <a:lnTo>
                          <a:pt x="350" y="19"/>
                        </a:lnTo>
                        <a:lnTo>
                          <a:pt x="349" y="19"/>
                        </a:lnTo>
                        <a:lnTo>
                          <a:pt x="347" y="17"/>
                        </a:lnTo>
                        <a:lnTo>
                          <a:pt x="346" y="18"/>
                        </a:lnTo>
                        <a:lnTo>
                          <a:pt x="344" y="20"/>
                        </a:lnTo>
                        <a:lnTo>
                          <a:pt x="342" y="22"/>
                        </a:lnTo>
                        <a:lnTo>
                          <a:pt x="341" y="22"/>
                        </a:lnTo>
                        <a:lnTo>
                          <a:pt x="340" y="22"/>
                        </a:lnTo>
                        <a:lnTo>
                          <a:pt x="335" y="22"/>
                        </a:lnTo>
                        <a:lnTo>
                          <a:pt x="332" y="21"/>
                        </a:lnTo>
                        <a:lnTo>
                          <a:pt x="330" y="19"/>
                        </a:lnTo>
                        <a:lnTo>
                          <a:pt x="329" y="19"/>
                        </a:lnTo>
                        <a:lnTo>
                          <a:pt x="328" y="19"/>
                        </a:lnTo>
                        <a:lnTo>
                          <a:pt x="327" y="19"/>
                        </a:lnTo>
                        <a:lnTo>
                          <a:pt x="326" y="19"/>
                        </a:lnTo>
                        <a:lnTo>
                          <a:pt x="325" y="19"/>
                        </a:lnTo>
                        <a:lnTo>
                          <a:pt x="324" y="19"/>
                        </a:lnTo>
                        <a:lnTo>
                          <a:pt x="323" y="19"/>
                        </a:lnTo>
                        <a:lnTo>
                          <a:pt x="321" y="18"/>
                        </a:lnTo>
                        <a:lnTo>
                          <a:pt x="320" y="17"/>
                        </a:lnTo>
                        <a:lnTo>
                          <a:pt x="320" y="16"/>
                        </a:lnTo>
                        <a:lnTo>
                          <a:pt x="318" y="14"/>
                        </a:lnTo>
                        <a:lnTo>
                          <a:pt x="317" y="13"/>
                        </a:lnTo>
                        <a:lnTo>
                          <a:pt x="316" y="13"/>
                        </a:lnTo>
                        <a:lnTo>
                          <a:pt x="314" y="13"/>
                        </a:lnTo>
                        <a:lnTo>
                          <a:pt x="314" y="10"/>
                        </a:lnTo>
                        <a:lnTo>
                          <a:pt x="313" y="7"/>
                        </a:lnTo>
                        <a:lnTo>
                          <a:pt x="311" y="5"/>
                        </a:lnTo>
                        <a:lnTo>
                          <a:pt x="309" y="7"/>
                        </a:lnTo>
                        <a:lnTo>
                          <a:pt x="307" y="7"/>
                        </a:lnTo>
                        <a:lnTo>
                          <a:pt x="306" y="8"/>
                        </a:lnTo>
                        <a:lnTo>
                          <a:pt x="304" y="10"/>
                        </a:lnTo>
                        <a:lnTo>
                          <a:pt x="304" y="8"/>
                        </a:lnTo>
                        <a:lnTo>
                          <a:pt x="304" y="7"/>
                        </a:lnTo>
                        <a:lnTo>
                          <a:pt x="304" y="5"/>
                        </a:lnTo>
                        <a:lnTo>
                          <a:pt x="302" y="4"/>
                        </a:lnTo>
                        <a:lnTo>
                          <a:pt x="301" y="3"/>
                        </a:lnTo>
                        <a:lnTo>
                          <a:pt x="299" y="2"/>
                        </a:lnTo>
                        <a:lnTo>
                          <a:pt x="297" y="0"/>
                        </a:lnTo>
                        <a:lnTo>
                          <a:pt x="293" y="0"/>
                        </a:lnTo>
                        <a:lnTo>
                          <a:pt x="292" y="0"/>
                        </a:lnTo>
                        <a:lnTo>
                          <a:pt x="291" y="0"/>
                        </a:lnTo>
                        <a:lnTo>
                          <a:pt x="290" y="0"/>
                        </a:lnTo>
                        <a:lnTo>
                          <a:pt x="289" y="0"/>
                        </a:lnTo>
                        <a:lnTo>
                          <a:pt x="288" y="0"/>
                        </a:lnTo>
                        <a:lnTo>
                          <a:pt x="288" y="1"/>
                        </a:lnTo>
                        <a:lnTo>
                          <a:pt x="286" y="1"/>
                        </a:lnTo>
                        <a:lnTo>
                          <a:pt x="285" y="0"/>
                        </a:lnTo>
                        <a:lnTo>
                          <a:pt x="283" y="1"/>
                        </a:lnTo>
                        <a:lnTo>
                          <a:pt x="281" y="3"/>
                        </a:lnTo>
                        <a:lnTo>
                          <a:pt x="280" y="4"/>
                        </a:lnTo>
                        <a:lnTo>
                          <a:pt x="278" y="3"/>
                        </a:lnTo>
                        <a:lnTo>
                          <a:pt x="278" y="1"/>
                        </a:lnTo>
                        <a:lnTo>
                          <a:pt x="278" y="0"/>
                        </a:lnTo>
                        <a:lnTo>
                          <a:pt x="277" y="0"/>
                        </a:lnTo>
                        <a:lnTo>
                          <a:pt x="275" y="0"/>
                        </a:lnTo>
                        <a:lnTo>
                          <a:pt x="274" y="0"/>
                        </a:lnTo>
                        <a:lnTo>
                          <a:pt x="273" y="0"/>
                        </a:lnTo>
                        <a:lnTo>
                          <a:pt x="271" y="0"/>
                        </a:lnTo>
                        <a:lnTo>
                          <a:pt x="271" y="1"/>
                        </a:lnTo>
                        <a:lnTo>
                          <a:pt x="271" y="2"/>
                        </a:lnTo>
                        <a:lnTo>
                          <a:pt x="271" y="3"/>
                        </a:lnTo>
                        <a:lnTo>
                          <a:pt x="271" y="7"/>
                        </a:lnTo>
                        <a:lnTo>
                          <a:pt x="271" y="8"/>
                        </a:lnTo>
                        <a:lnTo>
                          <a:pt x="271" y="10"/>
                        </a:lnTo>
                        <a:lnTo>
                          <a:pt x="272" y="11"/>
                        </a:lnTo>
                        <a:lnTo>
                          <a:pt x="272" y="13"/>
                        </a:lnTo>
                        <a:lnTo>
                          <a:pt x="271" y="13"/>
                        </a:lnTo>
                        <a:lnTo>
                          <a:pt x="269" y="13"/>
                        </a:lnTo>
                        <a:lnTo>
                          <a:pt x="268" y="13"/>
                        </a:lnTo>
                        <a:lnTo>
                          <a:pt x="267" y="13"/>
                        </a:lnTo>
                        <a:lnTo>
                          <a:pt x="266" y="13"/>
                        </a:lnTo>
                        <a:lnTo>
                          <a:pt x="266" y="14"/>
                        </a:lnTo>
                        <a:lnTo>
                          <a:pt x="266" y="19"/>
                        </a:lnTo>
                        <a:lnTo>
                          <a:pt x="265" y="19"/>
                        </a:lnTo>
                        <a:lnTo>
                          <a:pt x="264" y="19"/>
                        </a:lnTo>
                        <a:lnTo>
                          <a:pt x="263" y="19"/>
                        </a:lnTo>
                        <a:lnTo>
                          <a:pt x="262" y="19"/>
                        </a:lnTo>
                        <a:lnTo>
                          <a:pt x="260" y="20"/>
                        </a:lnTo>
                        <a:lnTo>
                          <a:pt x="259" y="20"/>
                        </a:lnTo>
                        <a:lnTo>
                          <a:pt x="259" y="21"/>
                        </a:lnTo>
                        <a:lnTo>
                          <a:pt x="259" y="22"/>
                        </a:lnTo>
                        <a:lnTo>
                          <a:pt x="259" y="25"/>
                        </a:lnTo>
                        <a:lnTo>
                          <a:pt x="260" y="27"/>
                        </a:lnTo>
                        <a:lnTo>
                          <a:pt x="260" y="28"/>
                        </a:lnTo>
                        <a:lnTo>
                          <a:pt x="259" y="28"/>
                        </a:lnTo>
                        <a:lnTo>
                          <a:pt x="257" y="28"/>
                        </a:lnTo>
                        <a:lnTo>
                          <a:pt x="255" y="27"/>
                        </a:lnTo>
                        <a:lnTo>
                          <a:pt x="254" y="26"/>
                        </a:lnTo>
                        <a:lnTo>
                          <a:pt x="252" y="25"/>
                        </a:lnTo>
                        <a:lnTo>
                          <a:pt x="251" y="25"/>
                        </a:lnTo>
                        <a:lnTo>
                          <a:pt x="249" y="25"/>
                        </a:lnTo>
                        <a:lnTo>
                          <a:pt x="247" y="26"/>
                        </a:lnTo>
                        <a:lnTo>
                          <a:pt x="246" y="26"/>
                        </a:lnTo>
                        <a:lnTo>
                          <a:pt x="245" y="27"/>
                        </a:lnTo>
                        <a:lnTo>
                          <a:pt x="245" y="28"/>
                        </a:lnTo>
                        <a:lnTo>
                          <a:pt x="243" y="28"/>
                        </a:lnTo>
                        <a:lnTo>
                          <a:pt x="242" y="28"/>
                        </a:lnTo>
                        <a:lnTo>
                          <a:pt x="241" y="28"/>
                        </a:lnTo>
                        <a:lnTo>
                          <a:pt x="240" y="28"/>
                        </a:lnTo>
                        <a:lnTo>
                          <a:pt x="238" y="28"/>
                        </a:lnTo>
                        <a:lnTo>
                          <a:pt x="236" y="28"/>
                        </a:lnTo>
                        <a:lnTo>
                          <a:pt x="235" y="27"/>
                        </a:lnTo>
                        <a:lnTo>
                          <a:pt x="233" y="25"/>
                        </a:lnTo>
                        <a:lnTo>
                          <a:pt x="232" y="25"/>
                        </a:lnTo>
                        <a:lnTo>
                          <a:pt x="231" y="25"/>
                        </a:lnTo>
                        <a:lnTo>
                          <a:pt x="229" y="25"/>
                        </a:lnTo>
                        <a:lnTo>
                          <a:pt x="229" y="24"/>
                        </a:lnTo>
                        <a:lnTo>
                          <a:pt x="229" y="22"/>
                        </a:lnTo>
                        <a:lnTo>
                          <a:pt x="229" y="20"/>
                        </a:lnTo>
                        <a:lnTo>
                          <a:pt x="227" y="19"/>
                        </a:lnTo>
                        <a:lnTo>
                          <a:pt x="225" y="17"/>
                        </a:lnTo>
                        <a:lnTo>
                          <a:pt x="223" y="16"/>
                        </a:lnTo>
                        <a:lnTo>
                          <a:pt x="222" y="16"/>
                        </a:lnTo>
                        <a:lnTo>
                          <a:pt x="221" y="14"/>
                        </a:lnTo>
                        <a:lnTo>
                          <a:pt x="220" y="13"/>
                        </a:lnTo>
                        <a:lnTo>
                          <a:pt x="219" y="10"/>
                        </a:lnTo>
                        <a:lnTo>
                          <a:pt x="218" y="10"/>
                        </a:lnTo>
                        <a:lnTo>
                          <a:pt x="217" y="10"/>
                        </a:lnTo>
                        <a:lnTo>
                          <a:pt x="216" y="11"/>
                        </a:lnTo>
                        <a:lnTo>
                          <a:pt x="214" y="13"/>
                        </a:lnTo>
                        <a:lnTo>
                          <a:pt x="211" y="13"/>
                        </a:lnTo>
                        <a:lnTo>
                          <a:pt x="210" y="16"/>
                        </a:lnTo>
                        <a:lnTo>
                          <a:pt x="210" y="17"/>
                        </a:lnTo>
                        <a:lnTo>
                          <a:pt x="210" y="18"/>
                        </a:lnTo>
                        <a:lnTo>
                          <a:pt x="210" y="19"/>
                        </a:lnTo>
                        <a:lnTo>
                          <a:pt x="211" y="21"/>
                        </a:lnTo>
                        <a:lnTo>
                          <a:pt x="212" y="23"/>
                        </a:lnTo>
                        <a:lnTo>
                          <a:pt x="212" y="25"/>
                        </a:lnTo>
                        <a:lnTo>
                          <a:pt x="210" y="25"/>
                        </a:lnTo>
                        <a:lnTo>
                          <a:pt x="210" y="27"/>
                        </a:lnTo>
                        <a:lnTo>
                          <a:pt x="210" y="28"/>
                        </a:lnTo>
                        <a:lnTo>
                          <a:pt x="209" y="28"/>
                        </a:lnTo>
                        <a:lnTo>
                          <a:pt x="207" y="28"/>
                        </a:lnTo>
                        <a:lnTo>
                          <a:pt x="206" y="28"/>
                        </a:lnTo>
                        <a:lnTo>
                          <a:pt x="205" y="28"/>
                        </a:lnTo>
                        <a:lnTo>
                          <a:pt x="204" y="28"/>
                        </a:lnTo>
                        <a:lnTo>
                          <a:pt x="202" y="28"/>
                        </a:lnTo>
                        <a:lnTo>
                          <a:pt x="201" y="28"/>
                        </a:lnTo>
                        <a:lnTo>
                          <a:pt x="200" y="28"/>
                        </a:lnTo>
                        <a:lnTo>
                          <a:pt x="198" y="28"/>
                        </a:lnTo>
                        <a:lnTo>
                          <a:pt x="197" y="28"/>
                        </a:lnTo>
                        <a:lnTo>
                          <a:pt x="196" y="27"/>
                        </a:lnTo>
                        <a:lnTo>
                          <a:pt x="193" y="28"/>
                        </a:lnTo>
                        <a:lnTo>
                          <a:pt x="192" y="28"/>
                        </a:lnTo>
                        <a:lnTo>
                          <a:pt x="190" y="28"/>
                        </a:lnTo>
                        <a:lnTo>
                          <a:pt x="190" y="30"/>
                        </a:lnTo>
                        <a:lnTo>
                          <a:pt x="190" y="31"/>
                        </a:lnTo>
                        <a:lnTo>
                          <a:pt x="190" y="34"/>
                        </a:lnTo>
                        <a:lnTo>
                          <a:pt x="190" y="36"/>
                        </a:lnTo>
                        <a:lnTo>
                          <a:pt x="190" y="37"/>
                        </a:lnTo>
                        <a:lnTo>
                          <a:pt x="190" y="39"/>
                        </a:lnTo>
                        <a:lnTo>
                          <a:pt x="190" y="40"/>
                        </a:lnTo>
                        <a:lnTo>
                          <a:pt x="190" y="41"/>
                        </a:lnTo>
                        <a:lnTo>
                          <a:pt x="189" y="43"/>
                        </a:lnTo>
                        <a:lnTo>
                          <a:pt x="186" y="43"/>
                        </a:lnTo>
                        <a:lnTo>
                          <a:pt x="184" y="43"/>
                        </a:lnTo>
                        <a:lnTo>
                          <a:pt x="181" y="45"/>
                        </a:lnTo>
                        <a:lnTo>
                          <a:pt x="181" y="47"/>
                        </a:lnTo>
                        <a:lnTo>
                          <a:pt x="179" y="48"/>
                        </a:lnTo>
                        <a:lnTo>
                          <a:pt x="177" y="49"/>
                        </a:lnTo>
                        <a:lnTo>
                          <a:pt x="174" y="51"/>
                        </a:lnTo>
                        <a:lnTo>
                          <a:pt x="173" y="51"/>
                        </a:lnTo>
                        <a:lnTo>
                          <a:pt x="172" y="51"/>
                        </a:lnTo>
                        <a:lnTo>
                          <a:pt x="172" y="52"/>
                        </a:lnTo>
                        <a:lnTo>
                          <a:pt x="172" y="53"/>
                        </a:lnTo>
                        <a:lnTo>
                          <a:pt x="170" y="54"/>
                        </a:lnTo>
                        <a:lnTo>
                          <a:pt x="168" y="55"/>
                        </a:lnTo>
                        <a:lnTo>
                          <a:pt x="168" y="57"/>
                        </a:lnTo>
                        <a:lnTo>
                          <a:pt x="168" y="58"/>
                        </a:lnTo>
                        <a:lnTo>
                          <a:pt x="166" y="58"/>
                        </a:lnTo>
                        <a:lnTo>
                          <a:pt x="167" y="58"/>
                        </a:lnTo>
                        <a:lnTo>
                          <a:pt x="168" y="61"/>
                        </a:lnTo>
                        <a:lnTo>
                          <a:pt x="167" y="61"/>
                        </a:lnTo>
                        <a:lnTo>
                          <a:pt x="166" y="61"/>
                        </a:lnTo>
                        <a:lnTo>
                          <a:pt x="168" y="61"/>
                        </a:lnTo>
                        <a:lnTo>
                          <a:pt x="168" y="63"/>
                        </a:lnTo>
                        <a:lnTo>
                          <a:pt x="168" y="64"/>
                        </a:lnTo>
                        <a:lnTo>
                          <a:pt x="170" y="64"/>
                        </a:lnTo>
                        <a:lnTo>
                          <a:pt x="172" y="66"/>
                        </a:lnTo>
                        <a:lnTo>
                          <a:pt x="172" y="70"/>
                        </a:lnTo>
                        <a:lnTo>
                          <a:pt x="172" y="71"/>
                        </a:lnTo>
                        <a:lnTo>
                          <a:pt x="172" y="72"/>
                        </a:lnTo>
                        <a:lnTo>
                          <a:pt x="172" y="74"/>
                        </a:lnTo>
                        <a:lnTo>
                          <a:pt x="174" y="74"/>
                        </a:lnTo>
                        <a:lnTo>
                          <a:pt x="174" y="76"/>
                        </a:lnTo>
                        <a:lnTo>
                          <a:pt x="174" y="77"/>
                        </a:lnTo>
                        <a:lnTo>
                          <a:pt x="174" y="79"/>
                        </a:lnTo>
                        <a:lnTo>
                          <a:pt x="174" y="80"/>
                        </a:lnTo>
                        <a:lnTo>
                          <a:pt x="174" y="81"/>
                        </a:lnTo>
                        <a:lnTo>
                          <a:pt x="174" y="82"/>
                        </a:lnTo>
                        <a:lnTo>
                          <a:pt x="174" y="84"/>
                        </a:lnTo>
                        <a:lnTo>
                          <a:pt x="173" y="84"/>
                        </a:lnTo>
                        <a:lnTo>
                          <a:pt x="172" y="84"/>
                        </a:lnTo>
                        <a:lnTo>
                          <a:pt x="172" y="86"/>
                        </a:lnTo>
                        <a:lnTo>
                          <a:pt x="173" y="87"/>
                        </a:lnTo>
                        <a:lnTo>
                          <a:pt x="174" y="87"/>
                        </a:lnTo>
                        <a:lnTo>
                          <a:pt x="177" y="88"/>
                        </a:lnTo>
                        <a:lnTo>
                          <a:pt x="179" y="89"/>
                        </a:lnTo>
                        <a:lnTo>
                          <a:pt x="179" y="90"/>
                        </a:lnTo>
                        <a:lnTo>
                          <a:pt x="178" y="93"/>
                        </a:lnTo>
                        <a:lnTo>
                          <a:pt x="178" y="95"/>
                        </a:lnTo>
                        <a:lnTo>
                          <a:pt x="177" y="96"/>
                        </a:lnTo>
                        <a:lnTo>
                          <a:pt x="176" y="98"/>
                        </a:lnTo>
                        <a:lnTo>
                          <a:pt x="174" y="100"/>
                        </a:lnTo>
                        <a:lnTo>
                          <a:pt x="174" y="101"/>
                        </a:lnTo>
                        <a:lnTo>
                          <a:pt x="174" y="102"/>
                        </a:lnTo>
                        <a:lnTo>
                          <a:pt x="174" y="103"/>
                        </a:lnTo>
                        <a:lnTo>
                          <a:pt x="174" y="105"/>
                        </a:lnTo>
                        <a:lnTo>
                          <a:pt x="173" y="106"/>
                        </a:lnTo>
                        <a:lnTo>
                          <a:pt x="172" y="106"/>
                        </a:lnTo>
                        <a:lnTo>
                          <a:pt x="170" y="105"/>
                        </a:lnTo>
                        <a:lnTo>
                          <a:pt x="168" y="103"/>
                        </a:lnTo>
                        <a:lnTo>
                          <a:pt x="168" y="102"/>
                        </a:lnTo>
                        <a:lnTo>
                          <a:pt x="168" y="101"/>
                        </a:lnTo>
                        <a:lnTo>
                          <a:pt x="168" y="100"/>
                        </a:lnTo>
                        <a:lnTo>
                          <a:pt x="167" y="98"/>
                        </a:lnTo>
                        <a:lnTo>
                          <a:pt x="166" y="96"/>
                        </a:lnTo>
                        <a:lnTo>
                          <a:pt x="165" y="95"/>
                        </a:lnTo>
                        <a:lnTo>
                          <a:pt x="164" y="93"/>
                        </a:lnTo>
                        <a:lnTo>
                          <a:pt x="165" y="91"/>
                        </a:lnTo>
                        <a:lnTo>
                          <a:pt x="165" y="90"/>
                        </a:lnTo>
                        <a:lnTo>
                          <a:pt x="166" y="90"/>
                        </a:lnTo>
                        <a:lnTo>
                          <a:pt x="164" y="90"/>
                        </a:lnTo>
                        <a:lnTo>
                          <a:pt x="162" y="90"/>
                        </a:lnTo>
                        <a:lnTo>
                          <a:pt x="161" y="89"/>
                        </a:lnTo>
                        <a:lnTo>
                          <a:pt x="161" y="87"/>
                        </a:lnTo>
                        <a:lnTo>
                          <a:pt x="160" y="87"/>
                        </a:lnTo>
                        <a:lnTo>
                          <a:pt x="159" y="87"/>
                        </a:lnTo>
                        <a:lnTo>
                          <a:pt x="158" y="87"/>
                        </a:lnTo>
                        <a:lnTo>
                          <a:pt x="157" y="88"/>
                        </a:lnTo>
                        <a:lnTo>
                          <a:pt x="156" y="89"/>
                        </a:lnTo>
                        <a:lnTo>
                          <a:pt x="155" y="89"/>
                        </a:lnTo>
                        <a:lnTo>
                          <a:pt x="155" y="90"/>
                        </a:lnTo>
                        <a:lnTo>
                          <a:pt x="153" y="90"/>
                        </a:lnTo>
                        <a:lnTo>
                          <a:pt x="152" y="90"/>
                        </a:lnTo>
                        <a:lnTo>
                          <a:pt x="152" y="89"/>
                        </a:lnTo>
                        <a:lnTo>
                          <a:pt x="152" y="87"/>
                        </a:lnTo>
                        <a:lnTo>
                          <a:pt x="152" y="86"/>
                        </a:lnTo>
                        <a:lnTo>
                          <a:pt x="152" y="84"/>
                        </a:lnTo>
                        <a:lnTo>
                          <a:pt x="151" y="84"/>
                        </a:lnTo>
                        <a:lnTo>
                          <a:pt x="150" y="84"/>
                        </a:lnTo>
                        <a:lnTo>
                          <a:pt x="145" y="84"/>
                        </a:lnTo>
                        <a:lnTo>
                          <a:pt x="143" y="84"/>
                        </a:lnTo>
                        <a:lnTo>
                          <a:pt x="142" y="85"/>
                        </a:lnTo>
                        <a:lnTo>
                          <a:pt x="142" y="84"/>
                        </a:lnTo>
                        <a:lnTo>
                          <a:pt x="140" y="84"/>
                        </a:lnTo>
                        <a:lnTo>
                          <a:pt x="141" y="84"/>
                        </a:lnTo>
                        <a:lnTo>
                          <a:pt x="142" y="84"/>
                        </a:lnTo>
                        <a:lnTo>
                          <a:pt x="141" y="82"/>
                        </a:lnTo>
                        <a:lnTo>
                          <a:pt x="140" y="83"/>
                        </a:lnTo>
                        <a:lnTo>
                          <a:pt x="139" y="85"/>
                        </a:lnTo>
                        <a:lnTo>
                          <a:pt x="138" y="87"/>
                        </a:lnTo>
                        <a:lnTo>
                          <a:pt x="137" y="88"/>
                        </a:lnTo>
                        <a:lnTo>
                          <a:pt x="137" y="89"/>
                        </a:lnTo>
                        <a:lnTo>
                          <a:pt x="136" y="89"/>
                        </a:lnTo>
                        <a:lnTo>
                          <a:pt x="136" y="90"/>
                        </a:lnTo>
                        <a:lnTo>
                          <a:pt x="134" y="90"/>
                        </a:lnTo>
                        <a:lnTo>
                          <a:pt x="133" y="90"/>
                        </a:lnTo>
                        <a:lnTo>
                          <a:pt x="131" y="90"/>
                        </a:lnTo>
                        <a:lnTo>
                          <a:pt x="129" y="90"/>
                        </a:lnTo>
                        <a:lnTo>
                          <a:pt x="128" y="90"/>
                        </a:lnTo>
                        <a:lnTo>
                          <a:pt x="126" y="90"/>
                        </a:lnTo>
                        <a:lnTo>
                          <a:pt x="124" y="90"/>
                        </a:lnTo>
                        <a:lnTo>
                          <a:pt x="122" y="90"/>
                        </a:lnTo>
                        <a:lnTo>
                          <a:pt x="121" y="90"/>
                        </a:lnTo>
                        <a:lnTo>
                          <a:pt x="119" y="90"/>
                        </a:lnTo>
                        <a:lnTo>
                          <a:pt x="117" y="91"/>
                        </a:lnTo>
                        <a:lnTo>
                          <a:pt x="116" y="93"/>
                        </a:lnTo>
                        <a:lnTo>
                          <a:pt x="114" y="95"/>
                        </a:lnTo>
                        <a:lnTo>
                          <a:pt x="112" y="96"/>
                        </a:lnTo>
                        <a:lnTo>
                          <a:pt x="110" y="96"/>
                        </a:lnTo>
                        <a:lnTo>
                          <a:pt x="108" y="98"/>
                        </a:lnTo>
                        <a:lnTo>
                          <a:pt x="107" y="99"/>
                        </a:lnTo>
                        <a:lnTo>
                          <a:pt x="105" y="100"/>
                        </a:lnTo>
                        <a:lnTo>
                          <a:pt x="103" y="100"/>
                        </a:lnTo>
                        <a:lnTo>
                          <a:pt x="103" y="98"/>
                        </a:lnTo>
                        <a:lnTo>
                          <a:pt x="102" y="97"/>
                        </a:lnTo>
                        <a:lnTo>
                          <a:pt x="100" y="96"/>
                        </a:lnTo>
                        <a:lnTo>
                          <a:pt x="90" y="96"/>
                        </a:lnTo>
                        <a:lnTo>
                          <a:pt x="89" y="98"/>
                        </a:lnTo>
                        <a:lnTo>
                          <a:pt x="88" y="99"/>
                        </a:lnTo>
                        <a:lnTo>
                          <a:pt x="84" y="100"/>
                        </a:lnTo>
                        <a:lnTo>
                          <a:pt x="84" y="98"/>
                        </a:lnTo>
                        <a:lnTo>
                          <a:pt x="82" y="97"/>
                        </a:lnTo>
                        <a:lnTo>
                          <a:pt x="81" y="96"/>
                        </a:lnTo>
                        <a:lnTo>
                          <a:pt x="76" y="96"/>
                        </a:lnTo>
                        <a:lnTo>
                          <a:pt x="75" y="96"/>
                        </a:lnTo>
                        <a:lnTo>
                          <a:pt x="74" y="96"/>
                        </a:lnTo>
                        <a:lnTo>
                          <a:pt x="74" y="95"/>
                        </a:lnTo>
                        <a:lnTo>
                          <a:pt x="72" y="96"/>
                        </a:lnTo>
                        <a:lnTo>
                          <a:pt x="70" y="97"/>
                        </a:lnTo>
                        <a:lnTo>
                          <a:pt x="67" y="96"/>
                        </a:lnTo>
                        <a:lnTo>
                          <a:pt x="69" y="94"/>
                        </a:lnTo>
                        <a:lnTo>
                          <a:pt x="71" y="92"/>
                        </a:lnTo>
                        <a:lnTo>
                          <a:pt x="71" y="91"/>
                        </a:lnTo>
                        <a:lnTo>
                          <a:pt x="71" y="90"/>
                        </a:lnTo>
                        <a:lnTo>
                          <a:pt x="70" y="89"/>
                        </a:lnTo>
                        <a:lnTo>
                          <a:pt x="69" y="89"/>
                        </a:lnTo>
                        <a:lnTo>
                          <a:pt x="66" y="89"/>
                        </a:lnTo>
                        <a:lnTo>
                          <a:pt x="64" y="87"/>
                        </a:lnTo>
                        <a:lnTo>
                          <a:pt x="63" y="87"/>
                        </a:lnTo>
                        <a:lnTo>
                          <a:pt x="62" y="87"/>
                        </a:lnTo>
                        <a:lnTo>
                          <a:pt x="60" y="87"/>
                        </a:lnTo>
                        <a:lnTo>
                          <a:pt x="58" y="87"/>
                        </a:lnTo>
                        <a:lnTo>
                          <a:pt x="58" y="88"/>
                        </a:lnTo>
                        <a:lnTo>
                          <a:pt x="58" y="89"/>
                        </a:lnTo>
                        <a:lnTo>
                          <a:pt x="58" y="90"/>
                        </a:lnTo>
                        <a:lnTo>
                          <a:pt x="57" y="89"/>
                        </a:lnTo>
                        <a:lnTo>
                          <a:pt x="56" y="88"/>
                        </a:lnTo>
                        <a:lnTo>
                          <a:pt x="55" y="87"/>
                        </a:lnTo>
                        <a:lnTo>
                          <a:pt x="53" y="89"/>
                        </a:lnTo>
                        <a:lnTo>
                          <a:pt x="52" y="89"/>
                        </a:lnTo>
                        <a:lnTo>
                          <a:pt x="51" y="90"/>
                        </a:lnTo>
                        <a:lnTo>
                          <a:pt x="51" y="92"/>
                        </a:lnTo>
                        <a:lnTo>
                          <a:pt x="51" y="93"/>
                        </a:lnTo>
                        <a:lnTo>
                          <a:pt x="51" y="95"/>
                        </a:lnTo>
                        <a:lnTo>
                          <a:pt x="51" y="96"/>
                        </a:lnTo>
                        <a:lnTo>
                          <a:pt x="50" y="98"/>
                        </a:lnTo>
                        <a:lnTo>
                          <a:pt x="49" y="99"/>
                        </a:lnTo>
                        <a:lnTo>
                          <a:pt x="48" y="100"/>
                        </a:lnTo>
                        <a:lnTo>
                          <a:pt x="46" y="102"/>
                        </a:lnTo>
                        <a:lnTo>
                          <a:pt x="45" y="104"/>
                        </a:lnTo>
                        <a:lnTo>
                          <a:pt x="43" y="106"/>
                        </a:lnTo>
                        <a:lnTo>
                          <a:pt x="41" y="106"/>
                        </a:lnTo>
                        <a:lnTo>
                          <a:pt x="40" y="108"/>
                        </a:lnTo>
                        <a:lnTo>
                          <a:pt x="39" y="109"/>
                        </a:lnTo>
                        <a:lnTo>
                          <a:pt x="35" y="110"/>
                        </a:lnTo>
                        <a:lnTo>
                          <a:pt x="32" y="110"/>
                        </a:lnTo>
                        <a:lnTo>
                          <a:pt x="33" y="109"/>
                        </a:lnTo>
                        <a:lnTo>
                          <a:pt x="34" y="108"/>
                        </a:lnTo>
                        <a:lnTo>
                          <a:pt x="35" y="107"/>
                        </a:lnTo>
                        <a:lnTo>
                          <a:pt x="36" y="106"/>
                        </a:lnTo>
                        <a:lnTo>
                          <a:pt x="35" y="105"/>
                        </a:lnTo>
                        <a:lnTo>
                          <a:pt x="34" y="103"/>
                        </a:lnTo>
                        <a:lnTo>
                          <a:pt x="31" y="101"/>
                        </a:lnTo>
                        <a:lnTo>
                          <a:pt x="29" y="100"/>
                        </a:lnTo>
                        <a:lnTo>
                          <a:pt x="29" y="101"/>
                        </a:lnTo>
                        <a:lnTo>
                          <a:pt x="29" y="103"/>
                        </a:lnTo>
                        <a:lnTo>
                          <a:pt x="28" y="104"/>
                        </a:lnTo>
                        <a:lnTo>
                          <a:pt x="26" y="103"/>
                        </a:lnTo>
                        <a:lnTo>
                          <a:pt x="25" y="103"/>
                        </a:lnTo>
                        <a:lnTo>
                          <a:pt x="24" y="103"/>
                        </a:lnTo>
                        <a:lnTo>
                          <a:pt x="22" y="103"/>
                        </a:lnTo>
                        <a:lnTo>
                          <a:pt x="21" y="102"/>
                        </a:lnTo>
                        <a:lnTo>
                          <a:pt x="19" y="100"/>
                        </a:lnTo>
                        <a:lnTo>
                          <a:pt x="18" y="100"/>
                        </a:lnTo>
                        <a:lnTo>
                          <a:pt x="17" y="100"/>
                        </a:lnTo>
                        <a:lnTo>
                          <a:pt x="13" y="100"/>
                        </a:lnTo>
                        <a:lnTo>
                          <a:pt x="13" y="99"/>
                        </a:lnTo>
                        <a:lnTo>
                          <a:pt x="12" y="98"/>
                        </a:lnTo>
                        <a:lnTo>
                          <a:pt x="10" y="96"/>
                        </a:lnTo>
                        <a:lnTo>
                          <a:pt x="10" y="95"/>
                        </a:lnTo>
                        <a:lnTo>
                          <a:pt x="10" y="93"/>
                        </a:lnTo>
                        <a:lnTo>
                          <a:pt x="9" y="93"/>
                        </a:lnTo>
                        <a:lnTo>
                          <a:pt x="7" y="94"/>
                        </a:lnTo>
                        <a:lnTo>
                          <a:pt x="5" y="96"/>
                        </a:lnTo>
                        <a:lnTo>
                          <a:pt x="5" y="98"/>
                        </a:lnTo>
                        <a:lnTo>
                          <a:pt x="5" y="99"/>
                        </a:lnTo>
                        <a:lnTo>
                          <a:pt x="5" y="100"/>
                        </a:lnTo>
                        <a:lnTo>
                          <a:pt x="3" y="103"/>
                        </a:lnTo>
                        <a:lnTo>
                          <a:pt x="2" y="103"/>
                        </a:lnTo>
                        <a:lnTo>
                          <a:pt x="0" y="103"/>
                        </a:lnTo>
                        <a:lnTo>
                          <a:pt x="0" y="104"/>
                        </a:lnTo>
                        <a:lnTo>
                          <a:pt x="0" y="106"/>
                        </a:lnTo>
                        <a:lnTo>
                          <a:pt x="0" y="107"/>
                        </a:lnTo>
                        <a:lnTo>
                          <a:pt x="0" y="108"/>
                        </a:lnTo>
                        <a:lnTo>
                          <a:pt x="0" y="110"/>
                        </a:lnTo>
                        <a:lnTo>
                          <a:pt x="1" y="110"/>
                        </a:lnTo>
                        <a:lnTo>
                          <a:pt x="2" y="111"/>
                        </a:lnTo>
                        <a:lnTo>
                          <a:pt x="3" y="113"/>
                        </a:lnTo>
                        <a:lnTo>
                          <a:pt x="3" y="114"/>
                        </a:lnTo>
                        <a:lnTo>
                          <a:pt x="3" y="115"/>
                        </a:lnTo>
                        <a:lnTo>
                          <a:pt x="3" y="117"/>
                        </a:lnTo>
                        <a:lnTo>
                          <a:pt x="3" y="118"/>
                        </a:lnTo>
                        <a:lnTo>
                          <a:pt x="3" y="119"/>
                        </a:lnTo>
                        <a:lnTo>
                          <a:pt x="3" y="121"/>
                        </a:lnTo>
                        <a:lnTo>
                          <a:pt x="3" y="122"/>
                        </a:lnTo>
                        <a:lnTo>
                          <a:pt x="3" y="124"/>
                        </a:lnTo>
                        <a:lnTo>
                          <a:pt x="3" y="125"/>
                        </a:lnTo>
                        <a:lnTo>
                          <a:pt x="3" y="128"/>
                        </a:lnTo>
                        <a:lnTo>
                          <a:pt x="4" y="130"/>
                        </a:lnTo>
                        <a:lnTo>
                          <a:pt x="5" y="132"/>
                        </a:lnTo>
                        <a:lnTo>
                          <a:pt x="9" y="131"/>
                        </a:lnTo>
                        <a:lnTo>
                          <a:pt x="13" y="129"/>
                        </a:lnTo>
                        <a:lnTo>
                          <a:pt x="16" y="127"/>
                        </a:lnTo>
                        <a:lnTo>
                          <a:pt x="19" y="125"/>
                        </a:lnTo>
                        <a:lnTo>
                          <a:pt x="20" y="127"/>
                        </a:lnTo>
                        <a:lnTo>
                          <a:pt x="22" y="128"/>
                        </a:lnTo>
                        <a:lnTo>
                          <a:pt x="25" y="129"/>
                        </a:lnTo>
                        <a:lnTo>
                          <a:pt x="26" y="129"/>
                        </a:lnTo>
                        <a:lnTo>
                          <a:pt x="26" y="133"/>
                        </a:lnTo>
                        <a:lnTo>
                          <a:pt x="26" y="135"/>
                        </a:lnTo>
                        <a:lnTo>
                          <a:pt x="26" y="136"/>
                        </a:lnTo>
                        <a:lnTo>
                          <a:pt x="26" y="137"/>
                        </a:lnTo>
                        <a:lnTo>
                          <a:pt x="26" y="138"/>
                        </a:lnTo>
                        <a:lnTo>
                          <a:pt x="27" y="138"/>
                        </a:lnTo>
                        <a:lnTo>
                          <a:pt x="29" y="138"/>
                        </a:lnTo>
                        <a:lnTo>
                          <a:pt x="29" y="140"/>
                        </a:lnTo>
                        <a:lnTo>
                          <a:pt x="31" y="141"/>
                        </a:lnTo>
                        <a:lnTo>
                          <a:pt x="32" y="141"/>
                        </a:lnTo>
                        <a:lnTo>
                          <a:pt x="34" y="141"/>
                        </a:lnTo>
                        <a:lnTo>
                          <a:pt x="35" y="140"/>
                        </a:lnTo>
                        <a:lnTo>
                          <a:pt x="36" y="138"/>
                        </a:lnTo>
                        <a:lnTo>
                          <a:pt x="38" y="138"/>
                        </a:lnTo>
                        <a:lnTo>
                          <a:pt x="39" y="138"/>
                        </a:lnTo>
                        <a:lnTo>
                          <a:pt x="40" y="139"/>
                        </a:lnTo>
                        <a:lnTo>
                          <a:pt x="41" y="141"/>
                        </a:lnTo>
                        <a:lnTo>
                          <a:pt x="41" y="142"/>
                        </a:lnTo>
                        <a:lnTo>
                          <a:pt x="41" y="143"/>
                        </a:lnTo>
                        <a:lnTo>
                          <a:pt x="41" y="144"/>
                        </a:lnTo>
                        <a:lnTo>
                          <a:pt x="41" y="145"/>
                        </a:lnTo>
                        <a:lnTo>
                          <a:pt x="43" y="145"/>
                        </a:lnTo>
                        <a:lnTo>
                          <a:pt x="43" y="147"/>
                        </a:lnTo>
                        <a:lnTo>
                          <a:pt x="42" y="149"/>
                        </a:lnTo>
                        <a:lnTo>
                          <a:pt x="41" y="151"/>
                        </a:lnTo>
                        <a:lnTo>
                          <a:pt x="51" y="141"/>
                        </a:lnTo>
                        <a:lnTo>
                          <a:pt x="53" y="140"/>
                        </a:lnTo>
                        <a:lnTo>
                          <a:pt x="55" y="140"/>
                        </a:lnTo>
                        <a:lnTo>
                          <a:pt x="56" y="142"/>
                        </a:lnTo>
                        <a:lnTo>
                          <a:pt x="58" y="145"/>
                        </a:lnTo>
                        <a:lnTo>
                          <a:pt x="59" y="145"/>
                        </a:lnTo>
                        <a:lnTo>
                          <a:pt x="60" y="145"/>
                        </a:lnTo>
                        <a:lnTo>
                          <a:pt x="61" y="145"/>
                        </a:lnTo>
                        <a:lnTo>
                          <a:pt x="62" y="145"/>
                        </a:lnTo>
                        <a:lnTo>
                          <a:pt x="64" y="145"/>
                        </a:lnTo>
                        <a:lnTo>
                          <a:pt x="65" y="145"/>
                        </a:lnTo>
                        <a:lnTo>
                          <a:pt x="67" y="145"/>
                        </a:lnTo>
                        <a:lnTo>
                          <a:pt x="68" y="145"/>
                        </a:lnTo>
                        <a:lnTo>
                          <a:pt x="69" y="145"/>
                        </a:lnTo>
                        <a:lnTo>
                          <a:pt x="70" y="145"/>
                        </a:lnTo>
                        <a:lnTo>
                          <a:pt x="71" y="145"/>
                        </a:lnTo>
                        <a:lnTo>
                          <a:pt x="72" y="144"/>
                        </a:lnTo>
                        <a:lnTo>
                          <a:pt x="72" y="143"/>
                        </a:lnTo>
                        <a:lnTo>
                          <a:pt x="73" y="140"/>
                        </a:lnTo>
                        <a:lnTo>
                          <a:pt x="74" y="138"/>
                        </a:lnTo>
                        <a:lnTo>
                          <a:pt x="77" y="138"/>
                        </a:lnTo>
                        <a:lnTo>
                          <a:pt x="79" y="140"/>
                        </a:lnTo>
                        <a:lnTo>
                          <a:pt x="82" y="141"/>
                        </a:lnTo>
                        <a:lnTo>
                          <a:pt x="84" y="141"/>
                        </a:lnTo>
                        <a:lnTo>
                          <a:pt x="86" y="143"/>
                        </a:lnTo>
                        <a:lnTo>
                          <a:pt x="87" y="144"/>
                        </a:lnTo>
                        <a:lnTo>
                          <a:pt x="88" y="145"/>
                        </a:lnTo>
                        <a:lnTo>
                          <a:pt x="90" y="145"/>
                        </a:lnTo>
                        <a:lnTo>
                          <a:pt x="94" y="145"/>
                        </a:lnTo>
                        <a:lnTo>
                          <a:pt x="96" y="145"/>
                        </a:lnTo>
                        <a:lnTo>
                          <a:pt x="97" y="145"/>
                        </a:lnTo>
                        <a:lnTo>
                          <a:pt x="99" y="145"/>
                        </a:lnTo>
                        <a:lnTo>
                          <a:pt x="100" y="145"/>
                        </a:lnTo>
                        <a:lnTo>
                          <a:pt x="101" y="145"/>
                        </a:lnTo>
                        <a:lnTo>
                          <a:pt x="103" y="145"/>
                        </a:lnTo>
                        <a:lnTo>
                          <a:pt x="105" y="145"/>
                        </a:lnTo>
                        <a:lnTo>
                          <a:pt x="107" y="145"/>
                        </a:lnTo>
                        <a:lnTo>
                          <a:pt x="108" y="145"/>
                        </a:lnTo>
                        <a:lnTo>
                          <a:pt x="110" y="145"/>
                        </a:lnTo>
                        <a:lnTo>
                          <a:pt x="112" y="144"/>
                        </a:lnTo>
                        <a:lnTo>
                          <a:pt x="112" y="143"/>
                        </a:lnTo>
                        <a:lnTo>
                          <a:pt x="114" y="142"/>
                        </a:lnTo>
                        <a:lnTo>
                          <a:pt x="116" y="141"/>
                        </a:lnTo>
                        <a:lnTo>
                          <a:pt x="118" y="141"/>
                        </a:lnTo>
                        <a:lnTo>
                          <a:pt x="119" y="141"/>
                        </a:lnTo>
                        <a:lnTo>
                          <a:pt x="120" y="141"/>
                        </a:lnTo>
                        <a:lnTo>
                          <a:pt x="122" y="141"/>
                        </a:lnTo>
                        <a:lnTo>
                          <a:pt x="127" y="140"/>
                        </a:lnTo>
                        <a:lnTo>
                          <a:pt x="130" y="139"/>
                        </a:lnTo>
                        <a:lnTo>
                          <a:pt x="133" y="138"/>
                        </a:lnTo>
                        <a:lnTo>
                          <a:pt x="135" y="139"/>
                        </a:lnTo>
                        <a:lnTo>
                          <a:pt x="136" y="141"/>
                        </a:lnTo>
                        <a:lnTo>
                          <a:pt x="136" y="142"/>
                        </a:lnTo>
                        <a:lnTo>
                          <a:pt x="136" y="143"/>
                        </a:lnTo>
                        <a:lnTo>
                          <a:pt x="136" y="145"/>
                        </a:lnTo>
                        <a:lnTo>
                          <a:pt x="133" y="146"/>
                        </a:lnTo>
                        <a:lnTo>
                          <a:pt x="131" y="146"/>
                        </a:lnTo>
                        <a:lnTo>
                          <a:pt x="130" y="146"/>
                        </a:lnTo>
                        <a:lnTo>
                          <a:pt x="129" y="148"/>
                        </a:lnTo>
                        <a:lnTo>
                          <a:pt x="127" y="148"/>
                        </a:lnTo>
                        <a:lnTo>
                          <a:pt x="126" y="148"/>
                        </a:lnTo>
                        <a:lnTo>
                          <a:pt x="124" y="149"/>
                        </a:lnTo>
                        <a:lnTo>
                          <a:pt x="122" y="151"/>
                        </a:lnTo>
                        <a:lnTo>
                          <a:pt x="123" y="151"/>
                        </a:lnTo>
                        <a:lnTo>
                          <a:pt x="124" y="152"/>
                        </a:lnTo>
                        <a:lnTo>
                          <a:pt x="125" y="153"/>
                        </a:lnTo>
                        <a:lnTo>
                          <a:pt x="126" y="155"/>
                        </a:lnTo>
                        <a:lnTo>
                          <a:pt x="128" y="155"/>
                        </a:lnTo>
                        <a:lnTo>
                          <a:pt x="129" y="155"/>
                        </a:lnTo>
                        <a:lnTo>
                          <a:pt x="131" y="157"/>
                        </a:lnTo>
                        <a:lnTo>
                          <a:pt x="132" y="159"/>
                        </a:lnTo>
                        <a:lnTo>
                          <a:pt x="133" y="161"/>
                        </a:lnTo>
                        <a:lnTo>
                          <a:pt x="133" y="162"/>
                        </a:lnTo>
                        <a:lnTo>
                          <a:pt x="133" y="164"/>
                        </a:lnTo>
                        <a:lnTo>
                          <a:pt x="133" y="165"/>
                        </a:lnTo>
                        <a:lnTo>
                          <a:pt x="133" y="167"/>
                        </a:lnTo>
                        <a:lnTo>
                          <a:pt x="135" y="167"/>
                        </a:lnTo>
                        <a:lnTo>
                          <a:pt x="136" y="168"/>
                        </a:lnTo>
                        <a:lnTo>
                          <a:pt x="136" y="169"/>
                        </a:lnTo>
                        <a:lnTo>
                          <a:pt x="136" y="170"/>
                        </a:lnTo>
                        <a:lnTo>
                          <a:pt x="140" y="171"/>
                        </a:lnTo>
                        <a:lnTo>
                          <a:pt x="143" y="172"/>
                        </a:lnTo>
                        <a:lnTo>
                          <a:pt x="145" y="174"/>
                        </a:lnTo>
                        <a:lnTo>
                          <a:pt x="147" y="174"/>
                        </a:lnTo>
                        <a:lnTo>
                          <a:pt x="148" y="174"/>
                        </a:lnTo>
                        <a:lnTo>
                          <a:pt x="150" y="174"/>
                        </a:lnTo>
                        <a:lnTo>
                          <a:pt x="152" y="174"/>
                        </a:lnTo>
                        <a:lnTo>
                          <a:pt x="154" y="176"/>
                        </a:lnTo>
                        <a:lnTo>
                          <a:pt x="155" y="177"/>
                        </a:lnTo>
                        <a:lnTo>
                          <a:pt x="156" y="179"/>
                        </a:lnTo>
                        <a:lnTo>
                          <a:pt x="158" y="180"/>
                        </a:lnTo>
                        <a:lnTo>
                          <a:pt x="160" y="180"/>
                        </a:lnTo>
                        <a:lnTo>
                          <a:pt x="161" y="180"/>
                        </a:lnTo>
                        <a:lnTo>
                          <a:pt x="162" y="180"/>
                        </a:lnTo>
                        <a:lnTo>
                          <a:pt x="164" y="180"/>
                        </a:lnTo>
                        <a:lnTo>
                          <a:pt x="165" y="181"/>
                        </a:lnTo>
                        <a:lnTo>
                          <a:pt x="166" y="182"/>
                        </a:lnTo>
                        <a:lnTo>
                          <a:pt x="168" y="184"/>
                        </a:lnTo>
                        <a:lnTo>
                          <a:pt x="170" y="184"/>
                        </a:lnTo>
                        <a:lnTo>
                          <a:pt x="172" y="184"/>
                        </a:lnTo>
                        <a:lnTo>
                          <a:pt x="174" y="184"/>
                        </a:lnTo>
                        <a:lnTo>
                          <a:pt x="175" y="184"/>
                        </a:lnTo>
                        <a:lnTo>
                          <a:pt x="176" y="184"/>
                        </a:lnTo>
                        <a:lnTo>
                          <a:pt x="177" y="184"/>
                        </a:lnTo>
                        <a:lnTo>
                          <a:pt x="178" y="184"/>
                        </a:lnTo>
                        <a:lnTo>
                          <a:pt x="182" y="184"/>
                        </a:lnTo>
                        <a:lnTo>
                          <a:pt x="184" y="184"/>
                        </a:lnTo>
                        <a:lnTo>
                          <a:pt x="189" y="184"/>
                        </a:lnTo>
                        <a:lnTo>
                          <a:pt x="190" y="184"/>
                        </a:lnTo>
                        <a:lnTo>
                          <a:pt x="193" y="184"/>
                        </a:lnTo>
                        <a:lnTo>
                          <a:pt x="196" y="185"/>
                        </a:lnTo>
                        <a:lnTo>
                          <a:pt x="197" y="186"/>
                        </a:lnTo>
                        <a:lnTo>
                          <a:pt x="199" y="186"/>
                        </a:lnTo>
                        <a:lnTo>
                          <a:pt x="200" y="186"/>
                        </a:lnTo>
                        <a:lnTo>
                          <a:pt x="202" y="186"/>
                        </a:lnTo>
                        <a:lnTo>
                          <a:pt x="204" y="186"/>
                        </a:lnTo>
                        <a:lnTo>
                          <a:pt x="206" y="186"/>
                        </a:lnTo>
                        <a:lnTo>
                          <a:pt x="207" y="186"/>
                        </a:lnTo>
                        <a:lnTo>
                          <a:pt x="208" y="186"/>
                        </a:lnTo>
                        <a:lnTo>
                          <a:pt x="210" y="186"/>
                        </a:lnTo>
                        <a:lnTo>
                          <a:pt x="212" y="186"/>
                        </a:lnTo>
                        <a:lnTo>
                          <a:pt x="213" y="186"/>
                        </a:lnTo>
                        <a:lnTo>
                          <a:pt x="214" y="186"/>
                        </a:lnTo>
                        <a:lnTo>
                          <a:pt x="216" y="186"/>
                        </a:lnTo>
                        <a:lnTo>
                          <a:pt x="217" y="186"/>
                        </a:lnTo>
                        <a:lnTo>
                          <a:pt x="219" y="187"/>
                        </a:lnTo>
                        <a:lnTo>
                          <a:pt x="220" y="188"/>
                        </a:lnTo>
                        <a:lnTo>
                          <a:pt x="221" y="189"/>
                        </a:lnTo>
                        <a:lnTo>
                          <a:pt x="223" y="190"/>
                        </a:lnTo>
                        <a:lnTo>
                          <a:pt x="225" y="190"/>
                        </a:lnTo>
                        <a:lnTo>
                          <a:pt x="228" y="191"/>
                        </a:lnTo>
                        <a:lnTo>
                          <a:pt x="230" y="192"/>
                        </a:lnTo>
                        <a:lnTo>
                          <a:pt x="233" y="193"/>
                        </a:lnTo>
                        <a:lnTo>
                          <a:pt x="235" y="195"/>
                        </a:lnTo>
                        <a:lnTo>
                          <a:pt x="236" y="196"/>
                        </a:lnTo>
                        <a:lnTo>
                          <a:pt x="238" y="196"/>
                        </a:lnTo>
                        <a:lnTo>
                          <a:pt x="240" y="196"/>
                        </a:lnTo>
                        <a:lnTo>
                          <a:pt x="241" y="196"/>
                        </a:lnTo>
                        <a:lnTo>
                          <a:pt x="243" y="196"/>
                        </a:lnTo>
                        <a:lnTo>
                          <a:pt x="245" y="196"/>
                        </a:lnTo>
                        <a:lnTo>
                          <a:pt x="245" y="197"/>
                        </a:lnTo>
                        <a:lnTo>
                          <a:pt x="245" y="198"/>
                        </a:lnTo>
                        <a:lnTo>
                          <a:pt x="245" y="199"/>
                        </a:lnTo>
                        <a:lnTo>
                          <a:pt x="245" y="200"/>
                        </a:lnTo>
                        <a:lnTo>
                          <a:pt x="247" y="200"/>
                        </a:lnTo>
                        <a:lnTo>
                          <a:pt x="248" y="199"/>
                        </a:lnTo>
                        <a:lnTo>
                          <a:pt x="249" y="198"/>
                        </a:lnTo>
                        <a:lnTo>
                          <a:pt x="249" y="196"/>
                        </a:lnTo>
                        <a:lnTo>
                          <a:pt x="251" y="196"/>
                        </a:lnTo>
                        <a:lnTo>
                          <a:pt x="252" y="196"/>
                        </a:lnTo>
                        <a:lnTo>
                          <a:pt x="254" y="196"/>
                        </a:lnTo>
                        <a:lnTo>
                          <a:pt x="255" y="195"/>
                        </a:lnTo>
                        <a:lnTo>
                          <a:pt x="255" y="193"/>
                        </a:lnTo>
                        <a:lnTo>
                          <a:pt x="260" y="193"/>
                        </a:lnTo>
                        <a:lnTo>
                          <a:pt x="262" y="193"/>
                        </a:lnTo>
                        <a:lnTo>
                          <a:pt x="265" y="192"/>
                        </a:lnTo>
                        <a:lnTo>
                          <a:pt x="267" y="193"/>
                        </a:lnTo>
                        <a:lnTo>
                          <a:pt x="268" y="194"/>
                        </a:lnTo>
                        <a:lnTo>
                          <a:pt x="269" y="193"/>
                        </a:lnTo>
                        <a:lnTo>
                          <a:pt x="270" y="192"/>
                        </a:lnTo>
                        <a:lnTo>
                          <a:pt x="271" y="191"/>
                        </a:lnTo>
                        <a:lnTo>
                          <a:pt x="271" y="190"/>
                        </a:lnTo>
                        <a:lnTo>
                          <a:pt x="271" y="188"/>
                        </a:lnTo>
                        <a:lnTo>
                          <a:pt x="272" y="187"/>
                        </a:lnTo>
                        <a:lnTo>
                          <a:pt x="273" y="186"/>
                        </a:lnTo>
                        <a:lnTo>
                          <a:pt x="275" y="186"/>
                        </a:lnTo>
                        <a:lnTo>
                          <a:pt x="277" y="185"/>
                        </a:lnTo>
                        <a:lnTo>
                          <a:pt x="278" y="187"/>
                        </a:lnTo>
                        <a:lnTo>
                          <a:pt x="279" y="189"/>
                        </a:lnTo>
                        <a:lnTo>
                          <a:pt x="281" y="190"/>
                        </a:lnTo>
                        <a:lnTo>
                          <a:pt x="281" y="187"/>
                        </a:lnTo>
                        <a:lnTo>
                          <a:pt x="280" y="185"/>
                        </a:lnTo>
                        <a:lnTo>
                          <a:pt x="280" y="183"/>
                        </a:lnTo>
                        <a:lnTo>
                          <a:pt x="281" y="180"/>
                        </a:lnTo>
                        <a:lnTo>
                          <a:pt x="282" y="180"/>
                        </a:lnTo>
                        <a:lnTo>
                          <a:pt x="283" y="180"/>
                        </a:lnTo>
                        <a:lnTo>
                          <a:pt x="288" y="180"/>
                        </a:lnTo>
                        <a:lnTo>
                          <a:pt x="289" y="180"/>
                        </a:lnTo>
                        <a:lnTo>
                          <a:pt x="290" y="180"/>
                        </a:lnTo>
                        <a:lnTo>
                          <a:pt x="291" y="180"/>
                        </a:lnTo>
                        <a:lnTo>
                          <a:pt x="293" y="181"/>
                        </a:lnTo>
                        <a:lnTo>
                          <a:pt x="294" y="183"/>
                        </a:lnTo>
                        <a:lnTo>
                          <a:pt x="295" y="185"/>
                        </a:lnTo>
                        <a:lnTo>
                          <a:pt x="297" y="184"/>
                        </a:lnTo>
                        <a:lnTo>
                          <a:pt x="299" y="183"/>
                        </a:lnTo>
                        <a:lnTo>
                          <a:pt x="300" y="182"/>
                        </a:lnTo>
                        <a:lnTo>
                          <a:pt x="301" y="181"/>
                        </a:lnTo>
                        <a:lnTo>
                          <a:pt x="301" y="180"/>
                        </a:lnTo>
                        <a:lnTo>
                          <a:pt x="303" y="179"/>
                        </a:lnTo>
                        <a:lnTo>
                          <a:pt x="304" y="178"/>
                        </a:lnTo>
                        <a:lnTo>
                          <a:pt x="305" y="177"/>
                        </a:lnTo>
                        <a:lnTo>
                          <a:pt x="307" y="177"/>
                        </a:lnTo>
                        <a:lnTo>
                          <a:pt x="309" y="177"/>
                        </a:lnTo>
                        <a:lnTo>
                          <a:pt x="311" y="177"/>
                        </a:lnTo>
                        <a:lnTo>
                          <a:pt x="312" y="177"/>
                        </a:lnTo>
                        <a:lnTo>
                          <a:pt x="314" y="177"/>
                        </a:lnTo>
                        <a:lnTo>
                          <a:pt x="316" y="180"/>
                        </a:lnTo>
                        <a:lnTo>
                          <a:pt x="318" y="181"/>
                        </a:lnTo>
                        <a:lnTo>
                          <a:pt x="319" y="182"/>
                        </a:lnTo>
                        <a:lnTo>
                          <a:pt x="320" y="180"/>
                        </a:lnTo>
                        <a:lnTo>
                          <a:pt x="321" y="180"/>
                        </a:lnTo>
                        <a:lnTo>
                          <a:pt x="321" y="179"/>
                        </a:lnTo>
                        <a:lnTo>
                          <a:pt x="319" y="178"/>
                        </a:lnTo>
                        <a:lnTo>
                          <a:pt x="317" y="177"/>
                        </a:lnTo>
                        <a:lnTo>
                          <a:pt x="317" y="173"/>
                        </a:lnTo>
                        <a:lnTo>
                          <a:pt x="318" y="171"/>
                        </a:lnTo>
                        <a:lnTo>
                          <a:pt x="320" y="170"/>
                        </a:lnTo>
                        <a:lnTo>
                          <a:pt x="322" y="169"/>
                        </a:lnTo>
                        <a:lnTo>
                          <a:pt x="324" y="168"/>
                        </a:lnTo>
                        <a:lnTo>
                          <a:pt x="326" y="167"/>
                        </a:lnTo>
                        <a:lnTo>
                          <a:pt x="328" y="167"/>
                        </a:lnTo>
                        <a:lnTo>
                          <a:pt x="329" y="165"/>
                        </a:lnTo>
                        <a:lnTo>
                          <a:pt x="330" y="161"/>
                        </a:lnTo>
                        <a:lnTo>
                          <a:pt x="332" y="159"/>
                        </a:lnTo>
                        <a:lnTo>
                          <a:pt x="333" y="159"/>
                        </a:lnTo>
                        <a:lnTo>
                          <a:pt x="335" y="158"/>
                        </a:lnTo>
                        <a:lnTo>
                          <a:pt x="337" y="158"/>
                        </a:lnTo>
                        <a:lnTo>
                          <a:pt x="339" y="158"/>
                        </a:lnTo>
                        <a:lnTo>
                          <a:pt x="340" y="158"/>
                        </a:lnTo>
                        <a:lnTo>
                          <a:pt x="341" y="156"/>
                        </a:lnTo>
                        <a:lnTo>
                          <a:pt x="342" y="155"/>
                        </a:lnTo>
                        <a:lnTo>
                          <a:pt x="342" y="153"/>
                        </a:lnTo>
                        <a:lnTo>
                          <a:pt x="342" y="151"/>
                        </a:lnTo>
                        <a:lnTo>
                          <a:pt x="342" y="150"/>
                        </a:lnTo>
                        <a:lnTo>
                          <a:pt x="342" y="148"/>
                        </a:lnTo>
                        <a:lnTo>
                          <a:pt x="342" y="146"/>
                        </a:lnTo>
                        <a:lnTo>
                          <a:pt x="341" y="145"/>
                        </a:lnTo>
                        <a:lnTo>
                          <a:pt x="340" y="143"/>
                        </a:lnTo>
                        <a:lnTo>
                          <a:pt x="340" y="141"/>
                        </a:lnTo>
                        <a:lnTo>
                          <a:pt x="340" y="139"/>
                        </a:lnTo>
                        <a:lnTo>
                          <a:pt x="340" y="138"/>
                        </a:lnTo>
                        <a:lnTo>
                          <a:pt x="340" y="137"/>
                        </a:lnTo>
                        <a:lnTo>
                          <a:pt x="340" y="136"/>
                        </a:lnTo>
                        <a:lnTo>
                          <a:pt x="341" y="136"/>
                        </a:lnTo>
                        <a:lnTo>
                          <a:pt x="342" y="135"/>
                        </a:lnTo>
                        <a:lnTo>
                          <a:pt x="342" y="134"/>
                        </a:lnTo>
                        <a:lnTo>
                          <a:pt x="342" y="132"/>
                        </a:lnTo>
                        <a:lnTo>
                          <a:pt x="342" y="130"/>
                        </a:lnTo>
                        <a:lnTo>
                          <a:pt x="341" y="129"/>
                        </a:lnTo>
                        <a:lnTo>
                          <a:pt x="340" y="129"/>
                        </a:lnTo>
                        <a:lnTo>
                          <a:pt x="340" y="128"/>
                        </a:lnTo>
                        <a:lnTo>
                          <a:pt x="340" y="127"/>
                        </a:lnTo>
                        <a:lnTo>
                          <a:pt x="340" y="126"/>
                        </a:lnTo>
                        <a:lnTo>
                          <a:pt x="340" y="125"/>
                        </a:lnTo>
                        <a:lnTo>
                          <a:pt x="341" y="124"/>
                        </a:lnTo>
                        <a:lnTo>
                          <a:pt x="344" y="124"/>
                        </a:lnTo>
                        <a:lnTo>
                          <a:pt x="345" y="125"/>
                        </a:lnTo>
                        <a:lnTo>
                          <a:pt x="346" y="125"/>
                        </a:lnTo>
                        <a:lnTo>
                          <a:pt x="346" y="124"/>
                        </a:lnTo>
                        <a:lnTo>
                          <a:pt x="347" y="123"/>
                        </a:lnTo>
                        <a:lnTo>
                          <a:pt x="349" y="122"/>
                        </a:lnTo>
                        <a:lnTo>
                          <a:pt x="349" y="120"/>
                        </a:lnTo>
                        <a:lnTo>
                          <a:pt x="349" y="119"/>
                        </a:lnTo>
                        <a:lnTo>
                          <a:pt x="349" y="117"/>
                        </a:lnTo>
                        <a:lnTo>
                          <a:pt x="349" y="116"/>
                        </a:lnTo>
                        <a:lnTo>
                          <a:pt x="346" y="115"/>
                        </a:lnTo>
                        <a:lnTo>
                          <a:pt x="345" y="115"/>
                        </a:lnTo>
                        <a:lnTo>
                          <a:pt x="344" y="115"/>
                        </a:lnTo>
                        <a:lnTo>
                          <a:pt x="343" y="115"/>
                        </a:lnTo>
                        <a:lnTo>
                          <a:pt x="342" y="115"/>
                        </a:lnTo>
                        <a:lnTo>
                          <a:pt x="342" y="113"/>
                        </a:lnTo>
                        <a:lnTo>
                          <a:pt x="341" y="113"/>
                        </a:lnTo>
                        <a:lnTo>
                          <a:pt x="341" y="112"/>
                        </a:lnTo>
                        <a:lnTo>
                          <a:pt x="342" y="110"/>
                        </a:lnTo>
                        <a:lnTo>
                          <a:pt x="343" y="110"/>
                        </a:lnTo>
                        <a:lnTo>
                          <a:pt x="344" y="110"/>
                        </a:lnTo>
                        <a:lnTo>
                          <a:pt x="346" y="110"/>
                        </a:lnTo>
                        <a:lnTo>
                          <a:pt x="346" y="109"/>
                        </a:lnTo>
                        <a:lnTo>
                          <a:pt x="346" y="108"/>
                        </a:lnTo>
                        <a:lnTo>
                          <a:pt x="346" y="107"/>
                        </a:lnTo>
                        <a:lnTo>
                          <a:pt x="346" y="106"/>
                        </a:lnTo>
                        <a:lnTo>
                          <a:pt x="347" y="106"/>
                        </a:lnTo>
                        <a:lnTo>
                          <a:pt x="349" y="106"/>
                        </a:lnTo>
                        <a:lnTo>
                          <a:pt x="354" y="106"/>
                        </a:lnTo>
                        <a:lnTo>
                          <a:pt x="355" y="106"/>
                        </a:lnTo>
                        <a:lnTo>
                          <a:pt x="356" y="106"/>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19" name="Freeform 2259">
                    <a:extLst>
                      <a:ext uri="{FF2B5EF4-FFF2-40B4-BE49-F238E27FC236}">
                        <a16:creationId xmlns:a16="http://schemas.microsoft.com/office/drawing/2014/main" xmlns="" id="{9079D82E-0AC3-4D66-993B-902996433028}"/>
                      </a:ext>
                    </a:extLst>
                  </p:cNvPr>
                  <p:cNvSpPr>
                    <a:spLocks/>
                  </p:cNvSpPr>
                  <p:nvPr/>
                </p:nvSpPr>
                <p:spPr bwMode="gray">
                  <a:xfrm>
                    <a:off x="5280812" y="4004997"/>
                    <a:ext cx="752027" cy="542855"/>
                  </a:xfrm>
                  <a:custGeom>
                    <a:avLst/>
                    <a:gdLst>
                      <a:gd name="T0" fmla="*/ 2147483647 w 676"/>
                      <a:gd name="T1" fmla="*/ 2147483647 h 488"/>
                      <a:gd name="T2" fmla="*/ 2147483647 w 676"/>
                      <a:gd name="T3" fmla="*/ 2147483647 h 488"/>
                      <a:gd name="T4" fmla="*/ 2147483647 w 676"/>
                      <a:gd name="T5" fmla="*/ 2147483647 h 488"/>
                      <a:gd name="T6" fmla="*/ 2147483647 w 676"/>
                      <a:gd name="T7" fmla="*/ 2147483647 h 488"/>
                      <a:gd name="T8" fmla="*/ 2147483647 w 676"/>
                      <a:gd name="T9" fmla="*/ 2147483647 h 488"/>
                      <a:gd name="T10" fmla="*/ 2147483647 w 676"/>
                      <a:gd name="T11" fmla="*/ 2147483647 h 488"/>
                      <a:gd name="T12" fmla="*/ 2147483647 w 676"/>
                      <a:gd name="T13" fmla="*/ 2147483647 h 488"/>
                      <a:gd name="T14" fmla="*/ 2147483647 w 676"/>
                      <a:gd name="T15" fmla="*/ 2147483647 h 488"/>
                      <a:gd name="T16" fmla="*/ 2147483647 w 676"/>
                      <a:gd name="T17" fmla="*/ 2147483647 h 488"/>
                      <a:gd name="T18" fmla="*/ 2147483647 w 676"/>
                      <a:gd name="T19" fmla="*/ 2147483647 h 488"/>
                      <a:gd name="T20" fmla="*/ 2147483647 w 676"/>
                      <a:gd name="T21" fmla="*/ 2147483647 h 488"/>
                      <a:gd name="T22" fmla="*/ 2147483647 w 676"/>
                      <a:gd name="T23" fmla="*/ 2147483647 h 488"/>
                      <a:gd name="T24" fmla="*/ 2147483647 w 676"/>
                      <a:gd name="T25" fmla="*/ 2147483647 h 488"/>
                      <a:gd name="T26" fmla="*/ 2147483647 w 676"/>
                      <a:gd name="T27" fmla="*/ 2147483647 h 488"/>
                      <a:gd name="T28" fmla="*/ 2147483647 w 676"/>
                      <a:gd name="T29" fmla="*/ 2147483647 h 488"/>
                      <a:gd name="T30" fmla="*/ 2147483647 w 676"/>
                      <a:gd name="T31" fmla="*/ 2147483647 h 488"/>
                      <a:gd name="T32" fmla="*/ 2147483647 w 676"/>
                      <a:gd name="T33" fmla="*/ 2147483647 h 488"/>
                      <a:gd name="T34" fmla="*/ 2147483647 w 676"/>
                      <a:gd name="T35" fmla="*/ 2147483647 h 488"/>
                      <a:gd name="T36" fmla="*/ 2147483647 w 676"/>
                      <a:gd name="T37" fmla="*/ 2147483647 h 488"/>
                      <a:gd name="T38" fmla="*/ 2147483647 w 676"/>
                      <a:gd name="T39" fmla="*/ 2147483647 h 488"/>
                      <a:gd name="T40" fmla="*/ 2147483647 w 676"/>
                      <a:gd name="T41" fmla="*/ 2147483647 h 488"/>
                      <a:gd name="T42" fmla="*/ 2147483647 w 676"/>
                      <a:gd name="T43" fmla="*/ 2147483647 h 488"/>
                      <a:gd name="T44" fmla="*/ 2147483647 w 676"/>
                      <a:gd name="T45" fmla="*/ 2147483647 h 488"/>
                      <a:gd name="T46" fmla="*/ 2147483647 w 676"/>
                      <a:gd name="T47" fmla="*/ 2147483647 h 488"/>
                      <a:gd name="T48" fmla="*/ 2147483647 w 676"/>
                      <a:gd name="T49" fmla="*/ 2147483647 h 488"/>
                      <a:gd name="T50" fmla="*/ 2147483647 w 676"/>
                      <a:gd name="T51" fmla="*/ 2147483647 h 488"/>
                      <a:gd name="T52" fmla="*/ 2147483647 w 676"/>
                      <a:gd name="T53" fmla="*/ 2147483647 h 488"/>
                      <a:gd name="T54" fmla="*/ 2147483647 w 676"/>
                      <a:gd name="T55" fmla="*/ 2147483647 h 488"/>
                      <a:gd name="T56" fmla="*/ 2147483647 w 676"/>
                      <a:gd name="T57" fmla="*/ 2147483647 h 488"/>
                      <a:gd name="T58" fmla="*/ 2147483647 w 676"/>
                      <a:gd name="T59" fmla="*/ 2147483647 h 488"/>
                      <a:gd name="T60" fmla="*/ 2147483647 w 676"/>
                      <a:gd name="T61" fmla="*/ 2147483647 h 488"/>
                      <a:gd name="T62" fmla="*/ 2147483647 w 676"/>
                      <a:gd name="T63" fmla="*/ 2147483647 h 488"/>
                      <a:gd name="T64" fmla="*/ 2147483647 w 676"/>
                      <a:gd name="T65" fmla="*/ 2147483647 h 488"/>
                      <a:gd name="T66" fmla="*/ 2147483647 w 676"/>
                      <a:gd name="T67" fmla="*/ 2147483647 h 488"/>
                      <a:gd name="T68" fmla="*/ 2147483647 w 676"/>
                      <a:gd name="T69" fmla="*/ 2147483647 h 488"/>
                      <a:gd name="T70" fmla="*/ 2147483647 w 676"/>
                      <a:gd name="T71" fmla="*/ 2147483647 h 488"/>
                      <a:gd name="T72" fmla="*/ 2147483647 w 676"/>
                      <a:gd name="T73" fmla="*/ 2147483647 h 488"/>
                      <a:gd name="T74" fmla="*/ 2147483647 w 676"/>
                      <a:gd name="T75" fmla="*/ 2147483647 h 488"/>
                      <a:gd name="T76" fmla="*/ 2147483647 w 676"/>
                      <a:gd name="T77" fmla="*/ 2147483647 h 488"/>
                      <a:gd name="T78" fmla="*/ 2147483647 w 676"/>
                      <a:gd name="T79" fmla="*/ 2147483647 h 488"/>
                      <a:gd name="T80" fmla="*/ 2147483647 w 676"/>
                      <a:gd name="T81" fmla="*/ 2147483647 h 488"/>
                      <a:gd name="T82" fmla="*/ 2147483647 w 676"/>
                      <a:gd name="T83" fmla="*/ 2147483647 h 488"/>
                      <a:gd name="T84" fmla="*/ 2147483647 w 676"/>
                      <a:gd name="T85" fmla="*/ 2147483647 h 488"/>
                      <a:gd name="T86" fmla="*/ 2147483647 w 676"/>
                      <a:gd name="T87" fmla="*/ 2147483647 h 488"/>
                      <a:gd name="T88" fmla="*/ 2147483647 w 676"/>
                      <a:gd name="T89" fmla="*/ 2147483647 h 488"/>
                      <a:gd name="T90" fmla="*/ 2147483647 w 676"/>
                      <a:gd name="T91" fmla="*/ 2147483647 h 488"/>
                      <a:gd name="T92" fmla="*/ 2147483647 w 676"/>
                      <a:gd name="T93" fmla="*/ 2147483647 h 488"/>
                      <a:gd name="T94" fmla="*/ 2147483647 w 676"/>
                      <a:gd name="T95" fmla="*/ 2147483647 h 488"/>
                      <a:gd name="T96" fmla="*/ 2147483647 w 676"/>
                      <a:gd name="T97" fmla="*/ 2147483647 h 488"/>
                      <a:gd name="T98" fmla="*/ 2147483647 w 676"/>
                      <a:gd name="T99" fmla="*/ 2147483647 h 488"/>
                      <a:gd name="T100" fmla="*/ 2147483647 w 676"/>
                      <a:gd name="T101" fmla="*/ 2147483647 h 488"/>
                      <a:gd name="T102" fmla="*/ 2147483647 w 676"/>
                      <a:gd name="T103" fmla="*/ 2147483647 h 488"/>
                      <a:gd name="T104" fmla="*/ 2147483647 w 676"/>
                      <a:gd name="T105" fmla="*/ 2147483647 h 488"/>
                      <a:gd name="T106" fmla="*/ 2147483647 w 676"/>
                      <a:gd name="T107" fmla="*/ 2147483647 h 488"/>
                      <a:gd name="T108" fmla="*/ 2147483647 w 676"/>
                      <a:gd name="T109" fmla="*/ 2147483647 h 488"/>
                      <a:gd name="T110" fmla="*/ 2147483647 w 676"/>
                      <a:gd name="T111" fmla="*/ 2147483647 h 488"/>
                      <a:gd name="T112" fmla="*/ 2147483647 w 676"/>
                      <a:gd name="T113" fmla="*/ 2147483647 h 488"/>
                      <a:gd name="T114" fmla="*/ 2147483647 w 676"/>
                      <a:gd name="T115" fmla="*/ 2147483647 h 488"/>
                      <a:gd name="T116" fmla="*/ 2147483647 w 676"/>
                      <a:gd name="T117" fmla="*/ 2147483647 h 488"/>
                      <a:gd name="T118" fmla="*/ 2147483647 w 676"/>
                      <a:gd name="T119" fmla="*/ 2147483647 h 488"/>
                      <a:gd name="T120" fmla="*/ 2147483647 w 676"/>
                      <a:gd name="T121" fmla="*/ 2147483647 h 488"/>
                      <a:gd name="T122" fmla="*/ 2147483647 w 676"/>
                      <a:gd name="T123" fmla="*/ 2147483647 h 488"/>
                      <a:gd name="T124" fmla="*/ 2147483647 w 676"/>
                      <a:gd name="T125" fmla="*/ 2147483647 h 4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76" h="488">
                        <a:moveTo>
                          <a:pt x="676" y="25"/>
                        </a:moveTo>
                        <a:lnTo>
                          <a:pt x="662" y="30"/>
                        </a:lnTo>
                        <a:lnTo>
                          <a:pt x="651" y="35"/>
                        </a:lnTo>
                        <a:lnTo>
                          <a:pt x="646" y="37"/>
                        </a:lnTo>
                        <a:lnTo>
                          <a:pt x="644" y="39"/>
                        </a:lnTo>
                        <a:lnTo>
                          <a:pt x="641" y="40"/>
                        </a:lnTo>
                        <a:lnTo>
                          <a:pt x="641" y="41"/>
                        </a:lnTo>
                        <a:lnTo>
                          <a:pt x="641" y="40"/>
                        </a:lnTo>
                        <a:lnTo>
                          <a:pt x="639" y="38"/>
                        </a:lnTo>
                        <a:lnTo>
                          <a:pt x="638" y="35"/>
                        </a:lnTo>
                        <a:lnTo>
                          <a:pt x="638" y="34"/>
                        </a:lnTo>
                        <a:lnTo>
                          <a:pt x="632" y="33"/>
                        </a:lnTo>
                        <a:lnTo>
                          <a:pt x="629" y="35"/>
                        </a:lnTo>
                        <a:lnTo>
                          <a:pt x="627" y="38"/>
                        </a:lnTo>
                        <a:lnTo>
                          <a:pt x="624" y="41"/>
                        </a:lnTo>
                        <a:lnTo>
                          <a:pt x="622" y="42"/>
                        </a:lnTo>
                        <a:lnTo>
                          <a:pt x="621" y="42"/>
                        </a:lnTo>
                        <a:lnTo>
                          <a:pt x="619" y="41"/>
                        </a:lnTo>
                        <a:lnTo>
                          <a:pt x="618" y="40"/>
                        </a:lnTo>
                        <a:lnTo>
                          <a:pt x="615" y="39"/>
                        </a:lnTo>
                        <a:lnTo>
                          <a:pt x="613" y="38"/>
                        </a:lnTo>
                        <a:lnTo>
                          <a:pt x="612" y="38"/>
                        </a:lnTo>
                        <a:lnTo>
                          <a:pt x="608" y="38"/>
                        </a:lnTo>
                        <a:lnTo>
                          <a:pt x="604" y="39"/>
                        </a:lnTo>
                        <a:lnTo>
                          <a:pt x="600" y="40"/>
                        </a:lnTo>
                        <a:lnTo>
                          <a:pt x="596" y="41"/>
                        </a:lnTo>
                        <a:lnTo>
                          <a:pt x="596" y="39"/>
                        </a:lnTo>
                        <a:lnTo>
                          <a:pt x="596" y="38"/>
                        </a:lnTo>
                        <a:lnTo>
                          <a:pt x="595" y="36"/>
                        </a:lnTo>
                        <a:lnTo>
                          <a:pt x="593" y="34"/>
                        </a:lnTo>
                        <a:lnTo>
                          <a:pt x="590" y="31"/>
                        </a:lnTo>
                        <a:lnTo>
                          <a:pt x="587" y="31"/>
                        </a:lnTo>
                        <a:lnTo>
                          <a:pt x="583" y="31"/>
                        </a:lnTo>
                        <a:lnTo>
                          <a:pt x="580" y="31"/>
                        </a:lnTo>
                        <a:lnTo>
                          <a:pt x="577" y="31"/>
                        </a:lnTo>
                        <a:lnTo>
                          <a:pt x="573" y="31"/>
                        </a:lnTo>
                        <a:lnTo>
                          <a:pt x="571" y="33"/>
                        </a:lnTo>
                        <a:lnTo>
                          <a:pt x="569" y="34"/>
                        </a:lnTo>
                        <a:lnTo>
                          <a:pt x="568" y="36"/>
                        </a:lnTo>
                        <a:lnTo>
                          <a:pt x="566" y="39"/>
                        </a:lnTo>
                        <a:lnTo>
                          <a:pt x="564" y="40"/>
                        </a:lnTo>
                        <a:lnTo>
                          <a:pt x="561" y="41"/>
                        </a:lnTo>
                        <a:lnTo>
                          <a:pt x="551" y="38"/>
                        </a:lnTo>
                        <a:lnTo>
                          <a:pt x="549" y="35"/>
                        </a:lnTo>
                        <a:lnTo>
                          <a:pt x="549" y="33"/>
                        </a:lnTo>
                        <a:lnTo>
                          <a:pt x="549" y="32"/>
                        </a:lnTo>
                        <a:lnTo>
                          <a:pt x="549" y="31"/>
                        </a:lnTo>
                        <a:lnTo>
                          <a:pt x="548" y="31"/>
                        </a:lnTo>
                        <a:lnTo>
                          <a:pt x="547" y="31"/>
                        </a:lnTo>
                        <a:lnTo>
                          <a:pt x="546" y="31"/>
                        </a:lnTo>
                        <a:lnTo>
                          <a:pt x="545" y="31"/>
                        </a:lnTo>
                        <a:lnTo>
                          <a:pt x="543" y="28"/>
                        </a:lnTo>
                        <a:lnTo>
                          <a:pt x="542" y="25"/>
                        </a:lnTo>
                        <a:lnTo>
                          <a:pt x="542" y="22"/>
                        </a:lnTo>
                        <a:lnTo>
                          <a:pt x="542" y="19"/>
                        </a:lnTo>
                        <a:lnTo>
                          <a:pt x="541" y="18"/>
                        </a:lnTo>
                        <a:lnTo>
                          <a:pt x="539" y="17"/>
                        </a:lnTo>
                        <a:lnTo>
                          <a:pt x="536" y="14"/>
                        </a:lnTo>
                        <a:lnTo>
                          <a:pt x="535" y="12"/>
                        </a:lnTo>
                        <a:lnTo>
                          <a:pt x="533" y="13"/>
                        </a:lnTo>
                        <a:lnTo>
                          <a:pt x="531" y="14"/>
                        </a:lnTo>
                        <a:lnTo>
                          <a:pt x="529" y="14"/>
                        </a:lnTo>
                        <a:lnTo>
                          <a:pt x="529" y="15"/>
                        </a:lnTo>
                        <a:lnTo>
                          <a:pt x="526" y="16"/>
                        </a:lnTo>
                        <a:lnTo>
                          <a:pt x="525" y="19"/>
                        </a:lnTo>
                        <a:lnTo>
                          <a:pt x="522" y="21"/>
                        </a:lnTo>
                        <a:lnTo>
                          <a:pt x="520" y="22"/>
                        </a:lnTo>
                        <a:lnTo>
                          <a:pt x="516" y="24"/>
                        </a:lnTo>
                        <a:lnTo>
                          <a:pt x="511" y="25"/>
                        </a:lnTo>
                        <a:lnTo>
                          <a:pt x="507" y="25"/>
                        </a:lnTo>
                        <a:lnTo>
                          <a:pt x="503" y="25"/>
                        </a:lnTo>
                        <a:lnTo>
                          <a:pt x="499" y="25"/>
                        </a:lnTo>
                        <a:lnTo>
                          <a:pt x="497" y="24"/>
                        </a:lnTo>
                        <a:lnTo>
                          <a:pt x="494" y="22"/>
                        </a:lnTo>
                        <a:lnTo>
                          <a:pt x="492" y="22"/>
                        </a:lnTo>
                        <a:lnTo>
                          <a:pt x="491" y="23"/>
                        </a:lnTo>
                        <a:lnTo>
                          <a:pt x="489" y="23"/>
                        </a:lnTo>
                        <a:lnTo>
                          <a:pt x="487" y="22"/>
                        </a:lnTo>
                        <a:lnTo>
                          <a:pt x="487" y="21"/>
                        </a:lnTo>
                        <a:lnTo>
                          <a:pt x="486" y="20"/>
                        </a:lnTo>
                        <a:lnTo>
                          <a:pt x="485" y="19"/>
                        </a:lnTo>
                        <a:lnTo>
                          <a:pt x="484" y="19"/>
                        </a:lnTo>
                        <a:lnTo>
                          <a:pt x="480" y="13"/>
                        </a:lnTo>
                        <a:lnTo>
                          <a:pt x="479" y="9"/>
                        </a:lnTo>
                        <a:lnTo>
                          <a:pt x="480" y="5"/>
                        </a:lnTo>
                        <a:lnTo>
                          <a:pt x="484" y="0"/>
                        </a:lnTo>
                        <a:lnTo>
                          <a:pt x="480" y="0"/>
                        </a:lnTo>
                        <a:lnTo>
                          <a:pt x="476" y="0"/>
                        </a:lnTo>
                        <a:lnTo>
                          <a:pt x="472" y="0"/>
                        </a:lnTo>
                        <a:lnTo>
                          <a:pt x="465" y="0"/>
                        </a:lnTo>
                        <a:lnTo>
                          <a:pt x="465" y="1"/>
                        </a:lnTo>
                        <a:lnTo>
                          <a:pt x="465" y="2"/>
                        </a:lnTo>
                        <a:lnTo>
                          <a:pt x="464" y="2"/>
                        </a:lnTo>
                        <a:lnTo>
                          <a:pt x="462" y="2"/>
                        </a:lnTo>
                        <a:lnTo>
                          <a:pt x="462" y="12"/>
                        </a:lnTo>
                        <a:lnTo>
                          <a:pt x="454" y="13"/>
                        </a:lnTo>
                        <a:lnTo>
                          <a:pt x="448" y="15"/>
                        </a:lnTo>
                        <a:lnTo>
                          <a:pt x="440" y="18"/>
                        </a:lnTo>
                        <a:lnTo>
                          <a:pt x="433" y="19"/>
                        </a:lnTo>
                        <a:lnTo>
                          <a:pt x="429" y="19"/>
                        </a:lnTo>
                        <a:lnTo>
                          <a:pt x="426" y="19"/>
                        </a:lnTo>
                        <a:lnTo>
                          <a:pt x="422" y="19"/>
                        </a:lnTo>
                        <a:lnTo>
                          <a:pt x="417" y="19"/>
                        </a:lnTo>
                        <a:lnTo>
                          <a:pt x="415" y="20"/>
                        </a:lnTo>
                        <a:lnTo>
                          <a:pt x="413" y="21"/>
                        </a:lnTo>
                        <a:lnTo>
                          <a:pt x="411" y="22"/>
                        </a:lnTo>
                        <a:lnTo>
                          <a:pt x="405" y="23"/>
                        </a:lnTo>
                        <a:lnTo>
                          <a:pt x="398" y="22"/>
                        </a:lnTo>
                        <a:lnTo>
                          <a:pt x="392" y="21"/>
                        </a:lnTo>
                        <a:lnTo>
                          <a:pt x="386" y="22"/>
                        </a:lnTo>
                        <a:lnTo>
                          <a:pt x="381" y="25"/>
                        </a:lnTo>
                        <a:lnTo>
                          <a:pt x="378" y="29"/>
                        </a:lnTo>
                        <a:lnTo>
                          <a:pt x="374" y="34"/>
                        </a:lnTo>
                        <a:lnTo>
                          <a:pt x="369" y="38"/>
                        </a:lnTo>
                        <a:lnTo>
                          <a:pt x="362" y="40"/>
                        </a:lnTo>
                        <a:lnTo>
                          <a:pt x="356" y="41"/>
                        </a:lnTo>
                        <a:lnTo>
                          <a:pt x="349" y="42"/>
                        </a:lnTo>
                        <a:lnTo>
                          <a:pt x="345" y="44"/>
                        </a:lnTo>
                        <a:lnTo>
                          <a:pt x="344" y="47"/>
                        </a:lnTo>
                        <a:lnTo>
                          <a:pt x="341" y="49"/>
                        </a:lnTo>
                        <a:lnTo>
                          <a:pt x="339" y="50"/>
                        </a:lnTo>
                        <a:lnTo>
                          <a:pt x="338" y="50"/>
                        </a:lnTo>
                        <a:lnTo>
                          <a:pt x="338" y="53"/>
                        </a:lnTo>
                        <a:lnTo>
                          <a:pt x="336" y="53"/>
                        </a:lnTo>
                        <a:lnTo>
                          <a:pt x="335" y="53"/>
                        </a:lnTo>
                        <a:lnTo>
                          <a:pt x="335" y="57"/>
                        </a:lnTo>
                        <a:lnTo>
                          <a:pt x="333" y="58"/>
                        </a:lnTo>
                        <a:lnTo>
                          <a:pt x="330" y="62"/>
                        </a:lnTo>
                        <a:lnTo>
                          <a:pt x="326" y="65"/>
                        </a:lnTo>
                        <a:lnTo>
                          <a:pt x="325" y="66"/>
                        </a:lnTo>
                        <a:lnTo>
                          <a:pt x="321" y="70"/>
                        </a:lnTo>
                        <a:lnTo>
                          <a:pt x="318" y="73"/>
                        </a:lnTo>
                        <a:lnTo>
                          <a:pt x="315" y="76"/>
                        </a:lnTo>
                        <a:lnTo>
                          <a:pt x="312" y="79"/>
                        </a:lnTo>
                        <a:lnTo>
                          <a:pt x="306" y="83"/>
                        </a:lnTo>
                        <a:lnTo>
                          <a:pt x="300" y="87"/>
                        </a:lnTo>
                        <a:lnTo>
                          <a:pt x="297" y="91"/>
                        </a:lnTo>
                        <a:lnTo>
                          <a:pt x="294" y="95"/>
                        </a:lnTo>
                        <a:lnTo>
                          <a:pt x="290" y="100"/>
                        </a:lnTo>
                        <a:lnTo>
                          <a:pt x="287" y="106"/>
                        </a:lnTo>
                        <a:lnTo>
                          <a:pt x="283" y="111"/>
                        </a:lnTo>
                        <a:lnTo>
                          <a:pt x="277" y="114"/>
                        </a:lnTo>
                        <a:lnTo>
                          <a:pt x="274" y="115"/>
                        </a:lnTo>
                        <a:lnTo>
                          <a:pt x="271" y="116"/>
                        </a:lnTo>
                        <a:lnTo>
                          <a:pt x="266" y="116"/>
                        </a:lnTo>
                        <a:lnTo>
                          <a:pt x="261" y="114"/>
                        </a:lnTo>
                        <a:lnTo>
                          <a:pt x="259" y="114"/>
                        </a:lnTo>
                        <a:lnTo>
                          <a:pt x="256" y="113"/>
                        </a:lnTo>
                        <a:lnTo>
                          <a:pt x="254" y="112"/>
                        </a:lnTo>
                        <a:lnTo>
                          <a:pt x="251" y="111"/>
                        </a:lnTo>
                        <a:lnTo>
                          <a:pt x="242" y="111"/>
                        </a:lnTo>
                        <a:lnTo>
                          <a:pt x="241" y="109"/>
                        </a:lnTo>
                        <a:lnTo>
                          <a:pt x="240" y="107"/>
                        </a:lnTo>
                        <a:lnTo>
                          <a:pt x="239" y="104"/>
                        </a:lnTo>
                        <a:lnTo>
                          <a:pt x="239" y="105"/>
                        </a:lnTo>
                        <a:lnTo>
                          <a:pt x="237" y="106"/>
                        </a:lnTo>
                        <a:lnTo>
                          <a:pt x="235" y="107"/>
                        </a:lnTo>
                        <a:lnTo>
                          <a:pt x="232" y="108"/>
                        </a:lnTo>
                        <a:lnTo>
                          <a:pt x="234" y="107"/>
                        </a:lnTo>
                        <a:lnTo>
                          <a:pt x="233" y="106"/>
                        </a:lnTo>
                        <a:lnTo>
                          <a:pt x="231" y="105"/>
                        </a:lnTo>
                        <a:lnTo>
                          <a:pt x="229" y="104"/>
                        </a:lnTo>
                        <a:lnTo>
                          <a:pt x="229" y="107"/>
                        </a:lnTo>
                        <a:lnTo>
                          <a:pt x="227" y="109"/>
                        </a:lnTo>
                        <a:lnTo>
                          <a:pt x="226" y="112"/>
                        </a:lnTo>
                        <a:lnTo>
                          <a:pt x="226" y="114"/>
                        </a:lnTo>
                        <a:lnTo>
                          <a:pt x="223" y="115"/>
                        </a:lnTo>
                        <a:lnTo>
                          <a:pt x="217" y="116"/>
                        </a:lnTo>
                        <a:lnTo>
                          <a:pt x="212" y="117"/>
                        </a:lnTo>
                        <a:lnTo>
                          <a:pt x="211" y="118"/>
                        </a:lnTo>
                        <a:lnTo>
                          <a:pt x="210" y="118"/>
                        </a:lnTo>
                        <a:lnTo>
                          <a:pt x="192" y="118"/>
                        </a:lnTo>
                        <a:lnTo>
                          <a:pt x="183" y="118"/>
                        </a:lnTo>
                        <a:lnTo>
                          <a:pt x="175" y="118"/>
                        </a:lnTo>
                        <a:lnTo>
                          <a:pt x="174" y="120"/>
                        </a:lnTo>
                        <a:lnTo>
                          <a:pt x="172" y="122"/>
                        </a:lnTo>
                        <a:lnTo>
                          <a:pt x="171" y="126"/>
                        </a:lnTo>
                        <a:lnTo>
                          <a:pt x="169" y="130"/>
                        </a:lnTo>
                        <a:lnTo>
                          <a:pt x="169" y="127"/>
                        </a:lnTo>
                        <a:lnTo>
                          <a:pt x="170" y="122"/>
                        </a:lnTo>
                        <a:lnTo>
                          <a:pt x="170" y="118"/>
                        </a:lnTo>
                        <a:lnTo>
                          <a:pt x="169" y="114"/>
                        </a:lnTo>
                        <a:lnTo>
                          <a:pt x="166" y="113"/>
                        </a:lnTo>
                        <a:lnTo>
                          <a:pt x="162" y="112"/>
                        </a:lnTo>
                        <a:lnTo>
                          <a:pt x="153" y="111"/>
                        </a:lnTo>
                        <a:lnTo>
                          <a:pt x="150" y="111"/>
                        </a:lnTo>
                        <a:lnTo>
                          <a:pt x="147" y="109"/>
                        </a:lnTo>
                        <a:lnTo>
                          <a:pt x="143" y="108"/>
                        </a:lnTo>
                        <a:lnTo>
                          <a:pt x="140" y="108"/>
                        </a:lnTo>
                        <a:lnTo>
                          <a:pt x="139" y="107"/>
                        </a:lnTo>
                        <a:lnTo>
                          <a:pt x="138" y="106"/>
                        </a:lnTo>
                        <a:lnTo>
                          <a:pt x="137" y="105"/>
                        </a:lnTo>
                        <a:lnTo>
                          <a:pt x="137" y="104"/>
                        </a:lnTo>
                        <a:lnTo>
                          <a:pt x="131" y="104"/>
                        </a:lnTo>
                        <a:lnTo>
                          <a:pt x="129" y="103"/>
                        </a:lnTo>
                        <a:lnTo>
                          <a:pt x="124" y="101"/>
                        </a:lnTo>
                        <a:lnTo>
                          <a:pt x="122" y="101"/>
                        </a:lnTo>
                        <a:lnTo>
                          <a:pt x="120" y="99"/>
                        </a:lnTo>
                        <a:lnTo>
                          <a:pt x="118" y="98"/>
                        </a:lnTo>
                        <a:lnTo>
                          <a:pt x="118" y="95"/>
                        </a:lnTo>
                        <a:lnTo>
                          <a:pt x="117" y="95"/>
                        </a:lnTo>
                        <a:lnTo>
                          <a:pt x="116" y="95"/>
                        </a:lnTo>
                        <a:lnTo>
                          <a:pt x="114" y="95"/>
                        </a:lnTo>
                        <a:lnTo>
                          <a:pt x="113" y="95"/>
                        </a:lnTo>
                        <a:lnTo>
                          <a:pt x="111" y="94"/>
                        </a:lnTo>
                        <a:lnTo>
                          <a:pt x="109" y="93"/>
                        </a:lnTo>
                        <a:lnTo>
                          <a:pt x="108" y="92"/>
                        </a:lnTo>
                        <a:lnTo>
                          <a:pt x="106" y="87"/>
                        </a:lnTo>
                        <a:lnTo>
                          <a:pt x="106" y="82"/>
                        </a:lnTo>
                        <a:lnTo>
                          <a:pt x="106" y="77"/>
                        </a:lnTo>
                        <a:lnTo>
                          <a:pt x="105" y="73"/>
                        </a:lnTo>
                        <a:lnTo>
                          <a:pt x="105" y="71"/>
                        </a:lnTo>
                        <a:lnTo>
                          <a:pt x="105" y="70"/>
                        </a:lnTo>
                        <a:lnTo>
                          <a:pt x="104" y="70"/>
                        </a:lnTo>
                        <a:lnTo>
                          <a:pt x="100" y="71"/>
                        </a:lnTo>
                        <a:lnTo>
                          <a:pt x="96" y="71"/>
                        </a:lnTo>
                        <a:lnTo>
                          <a:pt x="92" y="70"/>
                        </a:lnTo>
                        <a:lnTo>
                          <a:pt x="90" y="71"/>
                        </a:lnTo>
                        <a:lnTo>
                          <a:pt x="89" y="73"/>
                        </a:lnTo>
                        <a:lnTo>
                          <a:pt x="86" y="74"/>
                        </a:lnTo>
                        <a:lnTo>
                          <a:pt x="83" y="75"/>
                        </a:lnTo>
                        <a:lnTo>
                          <a:pt x="82" y="75"/>
                        </a:lnTo>
                        <a:lnTo>
                          <a:pt x="80" y="75"/>
                        </a:lnTo>
                        <a:lnTo>
                          <a:pt x="76" y="77"/>
                        </a:lnTo>
                        <a:lnTo>
                          <a:pt x="73" y="78"/>
                        </a:lnTo>
                        <a:lnTo>
                          <a:pt x="71" y="77"/>
                        </a:lnTo>
                        <a:lnTo>
                          <a:pt x="70" y="75"/>
                        </a:lnTo>
                        <a:lnTo>
                          <a:pt x="68" y="74"/>
                        </a:lnTo>
                        <a:lnTo>
                          <a:pt x="68" y="73"/>
                        </a:lnTo>
                        <a:lnTo>
                          <a:pt x="68" y="72"/>
                        </a:lnTo>
                        <a:lnTo>
                          <a:pt x="67" y="70"/>
                        </a:lnTo>
                        <a:lnTo>
                          <a:pt x="62" y="68"/>
                        </a:lnTo>
                        <a:lnTo>
                          <a:pt x="59" y="69"/>
                        </a:lnTo>
                        <a:lnTo>
                          <a:pt x="57" y="69"/>
                        </a:lnTo>
                        <a:lnTo>
                          <a:pt x="54" y="70"/>
                        </a:lnTo>
                        <a:lnTo>
                          <a:pt x="52" y="70"/>
                        </a:lnTo>
                        <a:lnTo>
                          <a:pt x="49" y="71"/>
                        </a:lnTo>
                        <a:lnTo>
                          <a:pt x="47" y="73"/>
                        </a:lnTo>
                        <a:lnTo>
                          <a:pt x="45" y="75"/>
                        </a:lnTo>
                        <a:lnTo>
                          <a:pt x="45" y="77"/>
                        </a:lnTo>
                        <a:lnTo>
                          <a:pt x="43" y="78"/>
                        </a:lnTo>
                        <a:lnTo>
                          <a:pt x="40" y="79"/>
                        </a:lnTo>
                        <a:lnTo>
                          <a:pt x="35" y="79"/>
                        </a:lnTo>
                        <a:lnTo>
                          <a:pt x="31" y="78"/>
                        </a:lnTo>
                        <a:lnTo>
                          <a:pt x="28" y="78"/>
                        </a:lnTo>
                        <a:lnTo>
                          <a:pt x="26" y="79"/>
                        </a:lnTo>
                        <a:lnTo>
                          <a:pt x="25" y="82"/>
                        </a:lnTo>
                        <a:lnTo>
                          <a:pt x="24" y="82"/>
                        </a:lnTo>
                        <a:lnTo>
                          <a:pt x="24" y="81"/>
                        </a:lnTo>
                        <a:lnTo>
                          <a:pt x="25" y="81"/>
                        </a:lnTo>
                        <a:lnTo>
                          <a:pt x="25" y="82"/>
                        </a:lnTo>
                        <a:lnTo>
                          <a:pt x="24" y="86"/>
                        </a:lnTo>
                        <a:lnTo>
                          <a:pt x="22" y="90"/>
                        </a:lnTo>
                        <a:lnTo>
                          <a:pt x="21" y="95"/>
                        </a:lnTo>
                        <a:lnTo>
                          <a:pt x="20" y="98"/>
                        </a:lnTo>
                        <a:lnTo>
                          <a:pt x="21" y="98"/>
                        </a:lnTo>
                        <a:lnTo>
                          <a:pt x="24" y="100"/>
                        </a:lnTo>
                        <a:lnTo>
                          <a:pt x="27" y="102"/>
                        </a:lnTo>
                        <a:lnTo>
                          <a:pt x="29" y="104"/>
                        </a:lnTo>
                        <a:lnTo>
                          <a:pt x="29" y="106"/>
                        </a:lnTo>
                        <a:lnTo>
                          <a:pt x="29" y="107"/>
                        </a:lnTo>
                        <a:lnTo>
                          <a:pt x="30" y="108"/>
                        </a:lnTo>
                        <a:lnTo>
                          <a:pt x="31" y="110"/>
                        </a:lnTo>
                        <a:lnTo>
                          <a:pt x="32" y="111"/>
                        </a:lnTo>
                        <a:lnTo>
                          <a:pt x="32" y="114"/>
                        </a:lnTo>
                        <a:lnTo>
                          <a:pt x="32" y="119"/>
                        </a:lnTo>
                        <a:lnTo>
                          <a:pt x="33" y="122"/>
                        </a:lnTo>
                        <a:lnTo>
                          <a:pt x="32" y="123"/>
                        </a:lnTo>
                        <a:lnTo>
                          <a:pt x="29" y="123"/>
                        </a:lnTo>
                        <a:lnTo>
                          <a:pt x="25" y="124"/>
                        </a:lnTo>
                        <a:lnTo>
                          <a:pt x="24" y="127"/>
                        </a:lnTo>
                        <a:lnTo>
                          <a:pt x="22" y="129"/>
                        </a:lnTo>
                        <a:lnTo>
                          <a:pt x="20" y="130"/>
                        </a:lnTo>
                        <a:lnTo>
                          <a:pt x="18" y="129"/>
                        </a:lnTo>
                        <a:lnTo>
                          <a:pt x="17" y="131"/>
                        </a:lnTo>
                        <a:lnTo>
                          <a:pt x="16" y="134"/>
                        </a:lnTo>
                        <a:lnTo>
                          <a:pt x="16" y="137"/>
                        </a:lnTo>
                        <a:lnTo>
                          <a:pt x="16" y="140"/>
                        </a:lnTo>
                        <a:lnTo>
                          <a:pt x="16" y="142"/>
                        </a:lnTo>
                        <a:lnTo>
                          <a:pt x="16" y="143"/>
                        </a:lnTo>
                        <a:lnTo>
                          <a:pt x="16" y="146"/>
                        </a:lnTo>
                        <a:lnTo>
                          <a:pt x="17" y="149"/>
                        </a:lnTo>
                        <a:lnTo>
                          <a:pt x="17" y="150"/>
                        </a:lnTo>
                        <a:lnTo>
                          <a:pt x="18" y="151"/>
                        </a:lnTo>
                        <a:lnTo>
                          <a:pt x="16" y="152"/>
                        </a:lnTo>
                        <a:lnTo>
                          <a:pt x="16" y="155"/>
                        </a:lnTo>
                        <a:lnTo>
                          <a:pt x="14" y="159"/>
                        </a:lnTo>
                        <a:lnTo>
                          <a:pt x="11" y="163"/>
                        </a:lnTo>
                        <a:lnTo>
                          <a:pt x="6" y="166"/>
                        </a:lnTo>
                        <a:lnTo>
                          <a:pt x="4" y="168"/>
                        </a:lnTo>
                        <a:lnTo>
                          <a:pt x="2" y="169"/>
                        </a:lnTo>
                        <a:lnTo>
                          <a:pt x="0" y="169"/>
                        </a:lnTo>
                        <a:lnTo>
                          <a:pt x="2" y="169"/>
                        </a:lnTo>
                        <a:lnTo>
                          <a:pt x="3" y="170"/>
                        </a:lnTo>
                        <a:lnTo>
                          <a:pt x="3" y="171"/>
                        </a:lnTo>
                        <a:lnTo>
                          <a:pt x="3" y="172"/>
                        </a:lnTo>
                        <a:lnTo>
                          <a:pt x="3" y="173"/>
                        </a:lnTo>
                        <a:lnTo>
                          <a:pt x="3" y="174"/>
                        </a:lnTo>
                        <a:lnTo>
                          <a:pt x="3" y="175"/>
                        </a:lnTo>
                        <a:lnTo>
                          <a:pt x="3" y="177"/>
                        </a:lnTo>
                        <a:lnTo>
                          <a:pt x="5" y="178"/>
                        </a:lnTo>
                        <a:lnTo>
                          <a:pt x="6" y="179"/>
                        </a:lnTo>
                        <a:lnTo>
                          <a:pt x="6" y="181"/>
                        </a:lnTo>
                        <a:lnTo>
                          <a:pt x="9" y="181"/>
                        </a:lnTo>
                        <a:lnTo>
                          <a:pt x="13" y="181"/>
                        </a:lnTo>
                        <a:lnTo>
                          <a:pt x="22" y="181"/>
                        </a:lnTo>
                        <a:lnTo>
                          <a:pt x="25" y="178"/>
                        </a:lnTo>
                        <a:lnTo>
                          <a:pt x="30" y="178"/>
                        </a:lnTo>
                        <a:lnTo>
                          <a:pt x="31" y="178"/>
                        </a:lnTo>
                        <a:lnTo>
                          <a:pt x="32" y="178"/>
                        </a:lnTo>
                        <a:lnTo>
                          <a:pt x="35" y="178"/>
                        </a:lnTo>
                        <a:lnTo>
                          <a:pt x="40" y="178"/>
                        </a:lnTo>
                        <a:lnTo>
                          <a:pt x="44" y="178"/>
                        </a:lnTo>
                        <a:lnTo>
                          <a:pt x="45" y="178"/>
                        </a:lnTo>
                        <a:lnTo>
                          <a:pt x="45" y="177"/>
                        </a:lnTo>
                        <a:lnTo>
                          <a:pt x="45" y="176"/>
                        </a:lnTo>
                        <a:lnTo>
                          <a:pt x="45" y="175"/>
                        </a:lnTo>
                        <a:lnTo>
                          <a:pt x="46" y="175"/>
                        </a:lnTo>
                        <a:lnTo>
                          <a:pt x="47" y="176"/>
                        </a:lnTo>
                        <a:lnTo>
                          <a:pt x="49" y="177"/>
                        </a:lnTo>
                        <a:lnTo>
                          <a:pt x="51" y="178"/>
                        </a:lnTo>
                        <a:lnTo>
                          <a:pt x="51" y="179"/>
                        </a:lnTo>
                        <a:lnTo>
                          <a:pt x="51" y="181"/>
                        </a:lnTo>
                        <a:lnTo>
                          <a:pt x="40" y="184"/>
                        </a:lnTo>
                        <a:lnTo>
                          <a:pt x="30" y="189"/>
                        </a:lnTo>
                        <a:lnTo>
                          <a:pt x="22" y="194"/>
                        </a:lnTo>
                        <a:lnTo>
                          <a:pt x="16" y="200"/>
                        </a:lnTo>
                        <a:lnTo>
                          <a:pt x="17" y="201"/>
                        </a:lnTo>
                        <a:lnTo>
                          <a:pt x="18" y="202"/>
                        </a:lnTo>
                        <a:lnTo>
                          <a:pt x="19" y="203"/>
                        </a:lnTo>
                        <a:lnTo>
                          <a:pt x="20" y="204"/>
                        </a:lnTo>
                        <a:lnTo>
                          <a:pt x="19" y="205"/>
                        </a:lnTo>
                        <a:lnTo>
                          <a:pt x="18" y="209"/>
                        </a:lnTo>
                        <a:lnTo>
                          <a:pt x="17" y="212"/>
                        </a:lnTo>
                        <a:lnTo>
                          <a:pt x="16" y="214"/>
                        </a:lnTo>
                        <a:lnTo>
                          <a:pt x="20" y="213"/>
                        </a:lnTo>
                        <a:lnTo>
                          <a:pt x="22" y="212"/>
                        </a:lnTo>
                        <a:lnTo>
                          <a:pt x="23" y="209"/>
                        </a:lnTo>
                        <a:lnTo>
                          <a:pt x="25" y="204"/>
                        </a:lnTo>
                        <a:lnTo>
                          <a:pt x="26" y="205"/>
                        </a:lnTo>
                        <a:lnTo>
                          <a:pt x="29" y="206"/>
                        </a:lnTo>
                        <a:lnTo>
                          <a:pt x="32" y="205"/>
                        </a:lnTo>
                        <a:lnTo>
                          <a:pt x="35" y="204"/>
                        </a:lnTo>
                        <a:lnTo>
                          <a:pt x="35" y="203"/>
                        </a:lnTo>
                        <a:lnTo>
                          <a:pt x="35" y="202"/>
                        </a:lnTo>
                        <a:lnTo>
                          <a:pt x="35" y="200"/>
                        </a:lnTo>
                        <a:lnTo>
                          <a:pt x="38" y="200"/>
                        </a:lnTo>
                        <a:lnTo>
                          <a:pt x="40" y="199"/>
                        </a:lnTo>
                        <a:lnTo>
                          <a:pt x="41" y="197"/>
                        </a:lnTo>
                        <a:lnTo>
                          <a:pt x="42" y="197"/>
                        </a:lnTo>
                        <a:lnTo>
                          <a:pt x="44" y="195"/>
                        </a:lnTo>
                        <a:lnTo>
                          <a:pt x="45" y="193"/>
                        </a:lnTo>
                        <a:lnTo>
                          <a:pt x="45" y="192"/>
                        </a:lnTo>
                        <a:lnTo>
                          <a:pt x="45" y="191"/>
                        </a:lnTo>
                        <a:lnTo>
                          <a:pt x="47" y="189"/>
                        </a:lnTo>
                        <a:lnTo>
                          <a:pt x="49" y="188"/>
                        </a:lnTo>
                        <a:lnTo>
                          <a:pt x="52" y="187"/>
                        </a:lnTo>
                        <a:lnTo>
                          <a:pt x="54" y="185"/>
                        </a:lnTo>
                        <a:lnTo>
                          <a:pt x="57" y="184"/>
                        </a:lnTo>
                        <a:lnTo>
                          <a:pt x="59" y="181"/>
                        </a:lnTo>
                        <a:lnTo>
                          <a:pt x="62" y="179"/>
                        </a:lnTo>
                        <a:lnTo>
                          <a:pt x="67" y="178"/>
                        </a:lnTo>
                        <a:lnTo>
                          <a:pt x="70" y="175"/>
                        </a:lnTo>
                        <a:lnTo>
                          <a:pt x="74" y="173"/>
                        </a:lnTo>
                        <a:lnTo>
                          <a:pt x="83" y="169"/>
                        </a:lnTo>
                        <a:lnTo>
                          <a:pt x="84" y="163"/>
                        </a:lnTo>
                        <a:lnTo>
                          <a:pt x="86" y="156"/>
                        </a:lnTo>
                        <a:lnTo>
                          <a:pt x="89" y="150"/>
                        </a:lnTo>
                        <a:lnTo>
                          <a:pt x="92" y="146"/>
                        </a:lnTo>
                        <a:lnTo>
                          <a:pt x="95" y="145"/>
                        </a:lnTo>
                        <a:lnTo>
                          <a:pt x="97" y="144"/>
                        </a:lnTo>
                        <a:lnTo>
                          <a:pt x="102" y="144"/>
                        </a:lnTo>
                        <a:lnTo>
                          <a:pt x="106" y="144"/>
                        </a:lnTo>
                        <a:lnTo>
                          <a:pt x="111" y="143"/>
                        </a:lnTo>
                        <a:lnTo>
                          <a:pt x="113" y="143"/>
                        </a:lnTo>
                        <a:lnTo>
                          <a:pt x="114" y="142"/>
                        </a:lnTo>
                        <a:lnTo>
                          <a:pt x="114" y="141"/>
                        </a:lnTo>
                        <a:lnTo>
                          <a:pt x="114" y="140"/>
                        </a:lnTo>
                        <a:lnTo>
                          <a:pt x="119" y="138"/>
                        </a:lnTo>
                        <a:lnTo>
                          <a:pt x="123" y="137"/>
                        </a:lnTo>
                        <a:lnTo>
                          <a:pt x="127" y="137"/>
                        </a:lnTo>
                        <a:lnTo>
                          <a:pt x="130" y="137"/>
                        </a:lnTo>
                        <a:lnTo>
                          <a:pt x="140" y="137"/>
                        </a:lnTo>
                        <a:lnTo>
                          <a:pt x="144" y="137"/>
                        </a:lnTo>
                        <a:lnTo>
                          <a:pt x="147" y="137"/>
                        </a:lnTo>
                        <a:lnTo>
                          <a:pt x="156" y="137"/>
                        </a:lnTo>
                        <a:lnTo>
                          <a:pt x="154" y="136"/>
                        </a:lnTo>
                        <a:lnTo>
                          <a:pt x="154" y="135"/>
                        </a:lnTo>
                        <a:lnTo>
                          <a:pt x="153" y="137"/>
                        </a:lnTo>
                        <a:lnTo>
                          <a:pt x="154" y="136"/>
                        </a:lnTo>
                        <a:lnTo>
                          <a:pt x="154" y="135"/>
                        </a:lnTo>
                        <a:lnTo>
                          <a:pt x="155" y="134"/>
                        </a:lnTo>
                        <a:lnTo>
                          <a:pt x="156" y="133"/>
                        </a:lnTo>
                        <a:lnTo>
                          <a:pt x="156" y="134"/>
                        </a:lnTo>
                        <a:lnTo>
                          <a:pt x="156" y="135"/>
                        </a:lnTo>
                        <a:lnTo>
                          <a:pt x="156" y="137"/>
                        </a:lnTo>
                        <a:lnTo>
                          <a:pt x="159" y="137"/>
                        </a:lnTo>
                        <a:lnTo>
                          <a:pt x="162" y="136"/>
                        </a:lnTo>
                        <a:lnTo>
                          <a:pt x="164" y="135"/>
                        </a:lnTo>
                        <a:lnTo>
                          <a:pt x="166" y="133"/>
                        </a:lnTo>
                        <a:lnTo>
                          <a:pt x="169" y="130"/>
                        </a:lnTo>
                        <a:lnTo>
                          <a:pt x="169" y="132"/>
                        </a:lnTo>
                        <a:lnTo>
                          <a:pt x="169" y="133"/>
                        </a:lnTo>
                        <a:lnTo>
                          <a:pt x="169" y="135"/>
                        </a:lnTo>
                        <a:lnTo>
                          <a:pt x="169" y="137"/>
                        </a:lnTo>
                        <a:lnTo>
                          <a:pt x="174" y="141"/>
                        </a:lnTo>
                        <a:lnTo>
                          <a:pt x="178" y="145"/>
                        </a:lnTo>
                        <a:lnTo>
                          <a:pt x="184" y="146"/>
                        </a:lnTo>
                        <a:lnTo>
                          <a:pt x="191" y="149"/>
                        </a:lnTo>
                        <a:lnTo>
                          <a:pt x="189" y="149"/>
                        </a:lnTo>
                        <a:lnTo>
                          <a:pt x="187" y="151"/>
                        </a:lnTo>
                        <a:lnTo>
                          <a:pt x="185" y="152"/>
                        </a:lnTo>
                        <a:lnTo>
                          <a:pt x="184" y="152"/>
                        </a:lnTo>
                        <a:lnTo>
                          <a:pt x="183" y="152"/>
                        </a:lnTo>
                        <a:lnTo>
                          <a:pt x="181" y="152"/>
                        </a:lnTo>
                        <a:lnTo>
                          <a:pt x="180" y="152"/>
                        </a:lnTo>
                        <a:lnTo>
                          <a:pt x="178" y="152"/>
                        </a:lnTo>
                        <a:lnTo>
                          <a:pt x="178" y="153"/>
                        </a:lnTo>
                        <a:lnTo>
                          <a:pt x="178" y="154"/>
                        </a:lnTo>
                        <a:lnTo>
                          <a:pt x="178" y="155"/>
                        </a:lnTo>
                        <a:lnTo>
                          <a:pt x="178" y="156"/>
                        </a:lnTo>
                        <a:lnTo>
                          <a:pt x="174" y="156"/>
                        </a:lnTo>
                        <a:lnTo>
                          <a:pt x="171" y="157"/>
                        </a:lnTo>
                        <a:lnTo>
                          <a:pt x="169" y="159"/>
                        </a:lnTo>
                        <a:lnTo>
                          <a:pt x="167" y="159"/>
                        </a:lnTo>
                        <a:lnTo>
                          <a:pt x="166" y="161"/>
                        </a:lnTo>
                        <a:lnTo>
                          <a:pt x="166" y="162"/>
                        </a:lnTo>
                        <a:lnTo>
                          <a:pt x="164" y="162"/>
                        </a:lnTo>
                        <a:lnTo>
                          <a:pt x="163" y="163"/>
                        </a:lnTo>
                        <a:lnTo>
                          <a:pt x="162" y="164"/>
                        </a:lnTo>
                        <a:lnTo>
                          <a:pt x="162" y="166"/>
                        </a:lnTo>
                        <a:lnTo>
                          <a:pt x="161" y="166"/>
                        </a:lnTo>
                        <a:lnTo>
                          <a:pt x="159" y="167"/>
                        </a:lnTo>
                        <a:lnTo>
                          <a:pt x="159" y="169"/>
                        </a:lnTo>
                        <a:lnTo>
                          <a:pt x="161" y="169"/>
                        </a:lnTo>
                        <a:lnTo>
                          <a:pt x="162" y="169"/>
                        </a:lnTo>
                        <a:lnTo>
                          <a:pt x="164" y="169"/>
                        </a:lnTo>
                        <a:lnTo>
                          <a:pt x="166" y="169"/>
                        </a:lnTo>
                        <a:lnTo>
                          <a:pt x="166" y="171"/>
                        </a:lnTo>
                        <a:lnTo>
                          <a:pt x="171" y="171"/>
                        </a:lnTo>
                        <a:lnTo>
                          <a:pt x="173" y="170"/>
                        </a:lnTo>
                        <a:lnTo>
                          <a:pt x="175" y="169"/>
                        </a:lnTo>
                        <a:lnTo>
                          <a:pt x="176" y="169"/>
                        </a:lnTo>
                        <a:lnTo>
                          <a:pt x="178" y="170"/>
                        </a:lnTo>
                        <a:lnTo>
                          <a:pt x="179" y="171"/>
                        </a:lnTo>
                        <a:lnTo>
                          <a:pt x="181" y="171"/>
                        </a:lnTo>
                        <a:lnTo>
                          <a:pt x="179" y="171"/>
                        </a:lnTo>
                        <a:lnTo>
                          <a:pt x="178" y="171"/>
                        </a:lnTo>
                        <a:lnTo>
                          <a:pt x="178" y="175"/>
                        </a:lnTo>
                        <a:lnTo>
                          <a:pt x="177" y="175"/>
                        </a:lnTo>
                        <a:lnTo>
                          <a:pt x="176" y="175"/>
                        </a:lnTo>
                        <a:lnTo>
                          <a:pt x="175" y="175"/>
                        </a:lnTo>
                        <a:lnTo>
                          <a:pt x="169" y="178"/>
                        </a:lnTo>
                        <a:lnTo>
                          <a:pt x="164" y="177"/>
                        </a:lnTo>
                        <a:lnTo>
                          <a:pt x="161" y="176"/>
                        </a:lnTo>
                        <a:lnTo>
                          <a:pt x="157" y="175"/>
                        </a:lnTo>
                        <a:lnTo>
                          <a:pt x="153" y="175"/>
                        </a:lnTo>
                        <a:lnTo>
                          <a:pt x="142" y="177"/>
                        </a:lnTo>
                        <a:lnTo>
                          <a:pt x="130" y="178"/>
                        </a:lnTo>
                        <a:lnTo>
                          <a:pt x="120" y="179"/>
                        </a:lnTo>
                        <a:lnTo>
                          <a:pt x="111" y="181"/>
                        </a:lnTo>
                        <a:lnTo>
                          <a:pt x="113" y="181"/>
                        </a:lnTo>
                        <a:lnTo>
                          <a:pt x="114" y="180"/>
                        </a:lnTo>
                        <a:lnTo>
                          <a:pt x="114" y="178"/>
                        </a:lnTo>
                        <a:lnTo>
                          <a:pt x="112" y="176"/>
                        </a:lnTo>
                        <a:lnTo>
                          <a:pt x="109" y="175"/>
                        </a:lnTo>
                        <a:lnTo>
                          <a:pt x="106" y="175"/>
                        </a:lnTo>
                        <a:lnTo>
                          <a:pt x="102" y="175"/>
                        </a:lnTo>
                        <a:lnTo>
                          <a:pt x="102" y="176"/>
                        </a:lnTo>
                        <a:lnTo>
                          <a:pt x="101" y="177"/>
                        </a:lnTo>
                        <a:lnTo>
                          <a:pt x="99" y="178"/>
                        </a:lnTo>
                        <a:lnTo>
                          <a:pt x="101" y="178"/>
                        </a:lnTo>
                        <a:lnTo>
                          <a:pt x="102" y="180"/>
                        </a:lnTo>
                        <a:lnTo>
                          <a:pt x="103" y="181"/>
                        </a:lnTo>
                        <a:lnTo>
                          <a:pt x="105" y="181"/>
                        </a:lnTo>
                        <a:lnTo>
                          <a:pt x="105" y="183"/>
                        </a:lnTo>
                        <a:lnTo>
                          <a:pt x="106" y="182"/>
                        </a:lnTo>
                        <a:lnTo>
                          <a:pt x="108" y="181"/>
                        </a:lnTo>
                        <a:lnTo>
                          <a:pt x="108" y="185"/>
                        </a:lnTo>
                        <a:lnTo>
                          <a:pt x="107" y="185"/>
                        </a:lnTo>
                        <a:lnTo>
                          <a:pt x="106" y="185"/>
                        </a:lnTo>
                        <a:lnTo>
                          <a:pt x="106" y="186"/>
                        </a:lnTo>
                        <a:lnTo>
                          <a:pt x="105" y="188"/>
                        </a:lnTo>
                        <a:lnTo>
                          <a:pt x="102" y="189"/>
                        </a:lnTo>
                        <a:lnTo>
                          <a:pt x="98" y="191"/>
                        </a:lnTo>
                        <a:lnTo>
                          <a:pt x="94" y="194"/>
                        </a:lnTo>
                        <a:lnTo>
                          <a:pt x="89" y="195"/>
                        </a:lnTo>
                        <a:lnTo>
                          <a:pt x="89" y="194"/>
                        </a:lnTo>
                        <a:lnTo>
                          <a:pt x="87" y="193"/>
                        </a:lnTo>
                        <a:lnTo>
                          <a:pt x="86" y="192"/>
                        </a:lnTo>
                        <a:lnTo>
                          <a:pt x="86" y="191"/>
                        </a:lnTo>
                        <a:lnTo>
                          <a:pt x="83" y="191"/>
                        </a:lnTo>
                        <a:lnTo>
                          <a:pt x="82" y="189"/>
                        </a:lnTo>
                        <a:lnTo>
                          <a:pt x="83" y="187"/>
                        </a:lnTo>
                        <a:lnTo>
                          <a:pt x="83" y="185"/>
                        </a:lnTo>
                        <a:lnTo>
                          <a:pt x="79" y="185"/>
                        </a:lnTo>
                        <a:lnTo>
                          <a:pt x="77" y="185"/>
                        </a:lnTo>
                        <a:lnTo>
                          <a:pt x="76" y="185"/>
                        </a:lnTo>
                        <a:lnTo>
                          <a:pt x="73" y="185"/>
                        </a:lnTo>
                        <a:lnTo>
                          <a:pt x="70" y="187"/>
                        </a:lnTo>
                        <a:lnTo>
                          <a:pt x="68" y="189"/>
                        </a:lnTo>
                        <a:lnTo>
                          <a:pt x="67" y="191"/>
                        </a:lnTo>
                        <a:lnTo>
                          <a:pt x="58" y="191"/>
                        </a:lnTo>
                        <a:lnTo>
                          <a:pt x="54" y="191"/>
                        </a:lnTo>
                        <a:lnTo>
                          <a:pt x="51" y="191"/>
                        </a:lnTo>
                        <a:lnTo>
                          <a:pt x="49" y="194"/>
                        </a:lnTo>
                        <a:lnTo>
                          <a:pt x="47" y="195"/>
                        </a:lnTo>
                        <a:lnTo>
                          <a:pt x="46" y="198"/>
                        </a:lnTo>
                        <a:lnTo>
                          <a:pt x="45" y="200"/>
                        </a:lnTo>
                        <a:lnTo>
                          <a:pt x="43" y="200"/>
                        </a:lnTo>
                        <a:lnTo>
                          <a:pt x="42" y="201"/>
                        </a:lnTo>
                        <a:lnTo>
                          <a:pt x="40" y="202"/>
                        </a:lnTo>
                        <a:lnTo>
                          <a:pt x="38" y="204"/>
                        </a:lnTo>
                        <a:lnTo>
                          <a:pt x="37" y="205"/>
                        </a:lnTo>
                        <a:lnTo>
                          <a:pt x="36" y="206"/>
                        </a:lnTo>
                        <a:lnTo>
                          <a:pt x="35" y="207"/>
                        </a:lnTo>
                        <a:lnTo>
                          <a:pt x="31" y="207"/>
                        </a:lnTo>
                        <a:lnTo>
                          <a:pt x="29" y="207"/>
                        </a:lnTo>
                        <a:lnTo>
                          <a:pt x="27" y="210"/>
                        </a:lnTo>
                        <a:lnTo>
                          <a:pt x="25" y="214"/>
                        </a:lnTo>
                        <a:lnTo>
                          <a:pt x="24" y="217"/>
                        </a:lnTo>
                        <a:lnTo>
                          <a:pt x="22" y="219"/>
                        </a:lnTo>
                        <a:lnTo>
                          <a:pt x="21" y="219"/>
                        </a:lnTo>
                        <a:lnTo>
                          <a:pt x="20" y="219"/>
                        </a:lnTo>
                        <a:lnTo>
                          <a:pt x="18" y="219"/>
                        </a:lnTo>
                        <a:lnTo>
                          <a:pt x="16" y="219"/>
                        </a:lnTo>
                        <a:lnTo>
                          <a:pt x="15" y="221"/>
                        </a:lnTo>
                        <a:lnTo>
                          <a:pt x="12" y="224"/>
                        </a:lnTo>
                        <a:lnTo>
                          <a:pt x="9" y="228"/>
                        </a:lnTo>
                        <a:lnTo>
                          <a:pt x="6" y="229"/>
                        </a:lnTo>
                        <a:lnTo>
                          <a:pt x="6" y="235"/>
                        </a:lnTo>
                        <a:lnTo>
                          <a:pt x="6" y="241"/>
                        </a:lnTo>
                        <a:lnTo>
                          <a:pt x="6" y="246"/>
                        </a:lnTo>
                        <a:lnTo>
                          <a:pt x="6" y="251"/>
                        </a:lnTo>
                        <a:lnTo>
                          <a:pt x="7" y="252"/>
                        </a:lnTo>
                        <a:lnTo>
                          <a:pt x="8" y="253"/>
                        </a:lnTo>
                        <a:lnTo>
                          <a:pt x="9" y="254"/>
                        </a:lnTo>
                        <a:lnTo>
                          <a:pt x="10" y="255"/>
                        </a:lnTo>
                        <a:lnTo>
                          <a:pt x="10" y="256"/>
                        </a:lnTo>
                        <a:lnTo>
                          <a:pt x="10" y="258"/>
                        </a:lnTo>
                        <a:lnTo>
                          <a:pt x="8" y="261"/>
                        </a:lnTo>
                        <a:lnTo>
                          <a:pt x="8" y="263"/>
                        </a:lnTo>
                        <a:lnTo>
                          <a:pt x="9" y="266"/>
                        </a:lnTo>
                        <a:lnTo>
                          <a:pt x="10" y="267"/>
                        </a:lnTo>
                        <a:lnTo>
                          <a:pt x="20" y="267"/>
                        </a:lnTo>
                        <a:lnTo>
                          <a:pt x="22" y="267"/>
                        </a:lnTo>
                        <a:lnTo>
                          <a:pt x="25" y="265"/>
                        </a:lnTo>
                        <a:lnTo>
                          <a:pt x="29" y="263"/>
                        </a:lnTo>
                        <a:lnTo>
                          <a:pt x="32" y="261"/>
                        </a:lnTo>
                        <a:lnTo>
                          <a:pt x="37" y="261"/>
                        </a:lnTo>
                        <a:lnTo>
                          <a:pt x="41" y="261"/>
                        </a:lnTo>
                        <a:lnTo>
                          <a:pt x="45" y="261"/>
                        </a:lnTo>
                        <a:lnTo>
                          <a:pt x="46" y="261"/>
                        </a:lnTo>
                        <a:lnTo>
                          <a:pt x="46" y="260"/>
                        </a:lnTo>
                        <a:lnTo>
                          <a:pt x="48" y="259"/>
                        </a:lnTo>
                        <a:lnTo>
                          <a:pt x="51" y="258"/>
                        </a:lnTo>
                        <a:lnTo>
                          <a:pt x="52" y="258"/>
                        </a:lnTo>
                        <a:lnTo>
                          <a:pt x="54" y="258"/>
                        </a:lnTo>
                        <a:lnTo>
                          <a:pt x="54" y="261"/>
                        </a:lnTo>
                        <a:lnTo>
                          <a:pt x="54" y="263"/>
                        </a:lnTo>
                        <a:lnTo>
                          <a:pt x="53" y="263"/>
                        </a:lnTo>
                        <a:lnTo>
                          <a:pt x="51" y="265"/>
                        </a:lnTo>
                        <a:lnTo>
                          <a:pt x="49" y="266"/>
                        </a:lnTo>
                        <a:lnTo>
                          <a:pt x="49" y="267"/>
                        </a:lnTo>
                        <a:lnTo>
                          <a:pt x="47" y="270"/>
                        </a:lnTo>
                        <a:lnTo>
                          <a:pt x="47" y="271"/>
                        </a:lnTo>
                        <a:lnTo>
                          <a:pt x="47" y="272"/>
                        </a:lnTo>
                        <a:lnTo>
                          <a:pt x="47" y="273"/>
                        </a:lnTo>
                        <a:lnTo>
                          <a:pt x="47" y="274"/>
                        </a:lnTo>
                        <a:lnTo>
                          <a:pt x="46" y="273"/>
                        </a:lnTo>
                        <a:lnTo>
                          <a:pt x="42" y="272"/>
                        </a:lnTo>
                        <a:lnTo>
                          <a:pt x="40" y="271"/>
                        </a:lnTo>
                        <a:lnTo>
                          <a:pt x="38" y="270"/>
                        </a:lnTo>
                        <a:lnTo>
                          <a:pt x="37" y="272"/>
                        </a:lnTo>
                        <a:lnTo>
                          <a:pt x="37" y="273"/>
                        </a:lnTo>
                        <a:lnTo>
                          <a:pt x="37" y="274"/>
                        </a:lnTo>
                        <a:lnTo>
                          <a:pt x="35" y="274"/>
                        </a:lnTo>
                        <a:lnTo>
                          <a:pt x="36" y="278"/>
                        </a:lnTo>
                        <a:lnTo>
                          <a:pt x="37" y="280"/>
                        </a:lnTo>
                        <a:lnTo>
                          <a:pt x="38" y="280"/>
                        </a:lnTo>
                        <a:lnTo>
                          <a:pt x="39" y="280"/>
                        </a:lnTo>
                        <a:lnTo>
                          <a:pt x="40" y="280"/>
                        </a:lnTo>
                        <a:lnTo>
                          <a:pt x="41" y="280"/>
                        </a:lnTo>
                        <a:lnTo>
                          <a:pt x="42" y="280"/>
                        </a:lnTo>
                        <a:lnTo>
                          <a:pt x="43" y="282"/>
                        </a:lnTo>
                        <a:lnTo>
                          <a:pt x="46" y="284"/>
                        </a:lnTo>
                        <a:lnTo>
                          <a:pt x="49" y="287"/>
                        </a:lnTo>
                        <a:lnTo>
                          <a:pt x="51" y="290"/>
                        </a:lnTo>
                        <a:lnTo>
                          <a:pt x="51" y="292"/>
                        </a:lnTo>
                        <a:lnTo>
                          <a:pt x="51" y="296"/>
                        </a:lnTo>
                        <a:lnTo>
                          <a:pt x="51" y="300"/>
                        </a:lnTo>
                        <a:lnTo>
                          <a:pt x="51" y="303"/>
                        </a:lnTo>
                        <a:lnTo>
                          <a:pt x="55" y="303"/>
                        </a:lnTo>
                        <a:lnTo>
                          <a:pt x="57" y="303"/>
                        </a:lnTo>
                        <a:lnTo>
                          <a:pt x="59" y="303"/>
                        </a:lnTo>
                        <a:lnTo>
                          <a:pt x="64" y="303"/>
                        </a:lnTo>
                        <a:lnTo>
                          <a:pt x="62" y="304"/>
                        </a:lnTo>
                        <a:lnTo>
                          <a:pt x="62" y="305"/>
                        </a:lnTo>
                        <a:lnTo>
                          <a:pt x="64" y="306"/>
                        </a:lnTo>
                        <a:lnTo>
                          <a:pt x="62" y="308"/>
                        </a:lnTo>
                        <a:lnTo>
                          <a:pt x="61" y="309"/>
                        </a:lnTo>
                        <a:lnTo>
                          <a:pt x="61" y="310"/>
                        </a:lnTo>
                        <a:lnTo>
                          <a:pt x="61" y="311"/>
                        </a:lnTo>
                        <a:lnTo>
                          <a:pt x="61" y="312"/>
                        </a:lnTo>
                        <a:lnTo>
                          <a:pt x="61" y="313"/>
                        </a:lnTo>
                        <a:lnTo>
                          <a:pt x="59" y="315"/>
                        </a:lnTo>
                        <a:lnTo>
                          <a:pt x="54" y="315"/>
                        </a:lnTo>
                        <a:lnTo>
                          <a:pt x="54" y="316"/>
                        </a:lnTo>
                        <a:lnTo>
                          <a:pt x="52" y="319"/>
                        </a:lnTo>
                        <a:lnTo>
                          <a:pt x="51" y="322"/>
                        </a:lnTo>
                        <a:lnTo>
                          <a:pt x="51" y="325"/>
                        </a:lnTo>
                        <a:lnTo>
                          <a:pt x="54" y="328"/>
                        </a:lnTo>
                        <a:lnTo>
                          <a:pt x="56" y="330"/>
                        </a:lnTo>
                        <a:lnTo>
                          <a:pt x="56" y="332"/>
                        </a:lnTo>
                        <a:lnTo>
                          <a:pt x="57" y="333"/>
                        </a:lnTo>
                        <a:lnTo>
                          <a:pt x="61" y="335"/>
                        </a:lnTo>
                        <a:lnTo>
                          <a:pt x="61" y="337"/>
                        </a:lnTo>
                        <a:lnTo>
                          <a:pt x="62" y="338"/>
                        </a:lnTo>
                        <a:lnTo>
                          <a:pt x="67" y="338"/>
                        </a:lnTo>
                        <a:lnTo>
                          <a:pt x="67" y="339"/>
                        </a:lnTo>
                        <a:lnTo>
                          <a:pt x="65" y="339"/>
                        </a:lnTo>
                        <a:lnTo>
                          <a:pt x="65" y="340"/>
                        </a:lnTo>
                        <a:lnTo>
                          <a:pt x="64" y="341"/>
                        </a:lnTo>
                        <a:lnTo>
                          <a:pt x="62" y="342"/>
                        </a:lnTo>
                        <a:lnTo>
                          <a:pt x="59" y="342"/>
                        </a:lnTo>
                        <a:lnTo>
                          <a:pt x="57" y="341"/>
                        </a:lnTo>
                        <a:lnTo>
                          <a:pt x="54" y="341"/>
                        </a:lnTo>
                        <a:lnTo>
                          <a:pt x="51" y="335"/>
                        </a:lnTo>
                        <a:lnTo>
                          <a:pt x="53" y="339"/>
                        </a:lnTo>
                        <a:lnTo>
                          <a:pt x="53" y="340"/>
                        </a:lnTo>
                        <a:lnTo>
                          <a:pt x="51" y="340"/>
                        </a:lnTo>
                        <a:lnTo>
                          <a:pt x="47" y="341"/>
                        </a:lnTo>
                        <a:lnTo>
                          <a:pt x="48" y="339"/>
                        </a:lnTo>
                        <a:lnTo>
                          <a:pt x="49" y="338"/>
                        </a:lnTo>
                        <a:lnTo>
                          <a:pt x="49" y="337"/>
                        </a:lnTo>
                        <a:lnTo>
                          <a:pt x="47" y="335"/>
                        </a:lnTo>
                        <a:lnTo>
                          <a:pt x="47" y="334"/>
                        </a:lnTo>
                        <a:lnTo>
                          <a:pt x="46" y="333"/>
                        </a:lnTo>
                        <a:lnTo>
                          <a:pt x="43" y="328"/>
                        </a:lnTo>
                        <a:lnTo>
                          <a:pt x="40" y="324"/>
                        </a:lnTo>
                        <a:lnTo>
                          <a:pt x="39" y="322"/>
                        </a:lnTo>
                        <a:lnTo>
                          <a:pt x="38" y="322"/>
                        </a:lnTo>
                        <a:lnTo>
                          <a:pt x="35" y="322"/>
                        </a:lnTo>
                        <a:lnTo>
                          <a:pt x="33" y="323"/>
                        </a:lnTo>
                        <a:lnTo>
                          <a:pt x="32" y="324"/>
                        </a:lnTo>
                        <a:lnTo>
                          <a:pt x="32" y="325"/>
                        </a:lnTo>
                        <a:lnTo>
                          <a:pt x="32" y="329"/>
                        </a:lnTo>
                        <a:lnTo>
                          <a:pt x="32" y="333"/>
                        </a:lnTo>
                        <a:lnTo>
                          <a:pt x="33" y="337"/>
                        </a:lnTo>
                        <a:lnTo>
                          <a:pt x="35" y="341"/>
                        </a:lnTo>
                        <a:lnTo>
                          <a:pt x="36" y="340"/>
                        </a:lnTo>
                        <a:lnTo>
                          <a:pt x="37" y="339"/>
                        </a:lnTo>
                        <a:lnTo>
                          <a:pt x="38" y="339"/>
                        </a:lnTo>
                        <a:lnTo>
                          <a:pt x="38" y="338"/>
                        </a:lnTo>
                        <a:lnTo>
                          <a:pt x="38" y="342"/>
                        </a:lnTo>
                        <a:lnTo>
                          <a:pt x="37" y="345"/>
                        </a:lnTo>
                        <a:lnTo>
                          <a:pt x="36" y="347"/>
                        </a:lnTo>
                        <a:lnTo>
                          <a:pt x="35" y="347"/>
                        </a:lnTo>
                        <a:lnTo>
                          <a:pt x="34" y="347"/>
                        </a:lnTo>
                        <a:lnTo>
                          <a:pt x="32" y="347"/>
                        </a:lnTo>
                        <a:lnTo>
                          <a:pt x="31" y="347"/>
                        </a:lnTo>
                        <a:lnTo>
                          <a:pt x="30" y="346"/>
                        </a:lnTo>
                        <a:lnTo>
                          <a:pt x="29" y="344"/>
                        </a:lnTo>
                        <a:lnTo>
                          <a:pt x="29" y="349"/>
                        </a:lnTo>
                        <a:lnTo>
                          <a:pt x="29" y="350"/>
                        </a:lnTo>
                        <a:lnTo>
                          <a:pt x="29" y="351"/>
                        </a:lnTo>
                        <a:lnTo>
                          <a:pt x="28" y="351"/>
                        </a:lnTo>
                        <a:lnTo>
                          <a:pt x="27" y="351"/>
                        </a:lnTo>
                        <a:lnTo>
                          <a:pt x="26" y="351"/>
                        </a:lnTo>
                        <a:lnTo>
                          <a:pt x="25" y="351"/>
                        </a:lnTo>
                        <a:lnTo>
                          <a:pt x="26" y="353"/>
                        </a:lnTo>
                        <a:lnTo>
                          <a:pt x="27" y="355"/>
                        </a:lnTo>
                        <a:lnTo>
                          <a:pt x="28" y="357"/>
                        </a:lnTo>
                        <a:lnTo>
                          <a:pt x="29" y="357"/>
                        </a:lnTo>
                        <a:lnTo>
                          <a:pt x="31" y="357"/>
                        </a:lnTo>
                        <a:lnTo>
                          <a:pt x="33" y="356"/>
                        </a:lnTo>
                        <a:lnTo>
                          <a:pt x="35" y="356"/>
                        </a:lnTo>
                        <a:lnTo>
                          <a:pt x="35" y="357"/>
                        </a:lnTo>
                        <a:lnTo>
                          <a:pt x="35" y="358"/>
                        </a:lnTo>
                        <a:lnTo>
                          <a:pt x="35" y="359"/>
                        </a:lnTo>
                        <a:lnTo>
                          <a:pt x="35" y="361"/>
                        </a:lnTo>
                        <a:lnTo>
                          <a:pt x="40" y="362"/>
                        </a:lnTo>
                        <a:lnTo>
                          <a:pt x="45" y="361"/>
                        </a:lnTo>
                        <a:lnTo>
                          <a:pt x="49" y="360"/>
                        </a:lnTo>
                        <a:lnTo>
                          <a:pt x="54" y="357"/>
                        </a:lnTo>
                        <a:lnTo>
                          <a:pt x="59" y="362"/>
                        </a:lnTo>
                        <a:lnTo>
                          <a:pt x="59" y="364"/>
                        </a:lnTo>
                        <a:lnTo>
                          <a:pt x="61" y="367"/>
                        </a:lnTo>
                        <a:lnTo>
                          <a:pt x="64" y="367"/>
                        </a:lnTo>
                        <a:lnTo>
                          <a:pt x="67" y="365"/>
                        </a:lnTo>
                        <a:lnTo>
                          <a:pt x="70" y="365"/>
                        </a:lnTo>
                        <a:lnTo>
                          <a:pt x="73" y="367"/>
                        </a:lnTo>
                        <a:lnTo>
                          <a:pt x="73" y="368"/>
                        </a:lnTo>
                        <a:lnTo>
                          <a:pt x="73" y="370"/>
                        </a:lnTo>
                        <a:lnTo>
                          <a:pt x="78" y="370"/>
                        </a:lnTo>
                        <a:lnTo>
                          <a:pt x="79" y="370"/>
                        </a:lnTo>
                        <a:lnTo>
                          <a:pt x="80" y="370"/>
                        </a:lnTo>
                        <a:lnTo>
                          <a:pt x="81" y="370"/>
                        </a:lnTo>
                        <a:lnTo>
                          <a:pt x="83" y="371"/>
                        </a:lnTo>
                        <a:lnTo>
                          <a:pt x="83" y="373"/>
                        </a:lnTo>
                        <a:lnTo>
                          <a:pt x="81" y="380"/>
                        </a:lnTo>
                        <a:lnTo>
                          <a:pt x="79" y="386"/>
                        </a:lnTo>
                        <a:lnTo>
                          <a:pt x="76" y="391"/>
                        </a:lnTo>
                        <a:lnTo>
                          <a:pt x="70" y="395"/>
                        </a:lnTo>
                        <a:lnTo>
                          <a:pt x="70" y="394"/>
                        </a:lnTo>
                        <a:lnTo>
                          <a:pt x="70" y="392"/>
                        </a:lnTo>
                        <a:lnTo>
                          <a:pt x="70" y="391"/>
                        </a:lnTo>
                        <a:lnTo>
                          <a:pt x="70" y="388"/>
                        </a:lnTo>
                        <a:lnTo>
                          <a:pt x="71" y="388"/>
                        </a:lnTo>
                        <a:lnTo>
                          <a:pt x="73" y="388"/>
                        </a:lnTo>
                        <a:lnTo>
                          <a:pt x="73" y="386"/>
                        </a:lnTo>
                        <a:lnTo>
                          <a:pt x="71" y="386"/>
                        </a:lnTo>
                        <a:lnTo>
                          <a:pt x="70" y="386"/>
                        </a:lnTo>
                        <a:lnTo>
                          <a:pt x="70" y="385"/>
                        </a:lnTo>
                        <a:lnTo>
                          <a:pt x="70" y="383"/>
                        </a:lnTo>
                        <a:lnTo>
                          <a:pt x="70" y="385"/>
                        </a:lnTo>
                        <a:lnTo>
                          <a:pt x="70" y="386"/>
                        </a:lnTo>
                        <a:lnTo>
                          <a:pt x="68" y="386"/>
                        </a:lnTo>
                        <a:lnTo>
                          <a:pt x="67" y="386"/>
                        </a:lnTo>
                        <a:lnTo>
                          <a:pt x="67" y="385"/>
                        </a:lnTo>
                        <a:lnTo>
                          <a:pt x="67" y="383"/>
                        </a:lnTo>
                        <a:lnTo>
                          <a:pt x="64" y="383"/>
                        </a:lnTo>
                        <a:lnTo>
                          <a:pt x="62" y="383"/>
                        </a:lnTo>
                        <a:lnTo>
                          <a:pt x="62" y="384"/>
                        </a:lnTo>
                        <a:lnTo>
                          <a:pt x="64" y="386"/>
                        </a:lnTo>
                        <a:lnTo>
                          <a:pt x="65" y="387"/>
                        </a:lnTo>
                        <a:lnTo>
                          <a:pt x="67" y="388"/>
                        </a:lnTo>
                        <a:lnTo>
                          <a:pt x="65" y="388"/>
                        </a:lnTo>
                        <a:lnTo>
                          <a:pt x="64" y="388"/>
                        </a:lnTo>
                        <a:lnTo>
                          <a:pt x="62" y="388"/>
                        </a:lnTo>
                        <a:lnTo>
                          <a:pt x="61" y="386"/>
                        </a:lnTo>
                        <a:lnTo>
                          <a:pt x="59" y="384"/>
                        </a:lnTo>
                        <a:lnTo>
                          <a:pt x="57" y="383"/>
                        </a:lnTo>
                        <a:lnTo>
                          <a:pt x="53" y="384"/>
                        </a:lnTo>
                        <a:lnTo>
                          <a:pt x="47" y="387"/>
                        </a:lnTo>
                        <a:lnTo>
                          <a:pt x="43" y="389"/>
                        </a:lnTo>
                        <a:lnTo>
                          <a:pt x="38" y="392"/>
                        </a:lnTo>
                        <a:lnTo>
                          <a:pt x="40" y="394"/>
                        </a:lnTo>
                        <a:lnTo>
                          <a:pt x="40" y="395"/>
                        </a:lnTo>
                        <a:lnTo>
                          <a:pt x="40" y="397"/>
                        </a:lnTo>
                        <a:lnTo>
                          <a:pt x="42" y="398"/>
                        </a:lnTo>
                        <a:lnTo>
                          <a:pt x="44" y="398"/>
                        </a:lnTo>
                        <a:lnTo>
                          <a:pt x="46" y="398"/>
                        </a:lnTo>
                        <a:lnTo>
                          <a:pt x="47" y="397"/>
                        </a:lnTo>
                        <a:lnTo>
                          <a:pt x="51" y="395"/>
                        </a:lnTo>
                        <a:lnTo>
                          <a:pt x="51" y="397"/>
                        </a:lnTo>
                        <a:lnTo>
                          <a:pt x="51" y="398"/>
                        </a:lnTo>
                        <a:lnTo>
                          <a:pt x="53" y="398"/>
                        </a:lnTo>
                        <a:lnTo>
                          <a:pt x="54" y="398"/>
                        </a:lnTo>
                        <a:lnTo>
                          <a:pt x="55" y="398"/>
                        </a:lnTo>
                        <a:lnTo>
                          <a:pt x="57" y="398"/>
                        </a:lnTo>
                        <a:lnTo>
                          <a:pt x="61" y="397"/>
                        </a:lnTo>
                        <a:lnTo>
                          <a:pt x="65" y="397"/>
                        </a:lnTo>
                        <a:lnTo>
                          <a:pt x="68" y="394"/>
                        </a:lnTo>
                        <a:lnTo>
                          <a:pt x="70" y="395"/>
                        </a:lnTo>
                        <a:lnTo>
                          <a:pt x="71" y="395"/>
                        </a:lnTo>
                        <a:lnTo>
                          <a:pt x="72" y="395"/>
                        </a:lnTo>
                        <a:lnTo>
                          <a:pt x="73" y="395"/>
                        </a:lnTo>
                        <a:lnTo>
                          <a:pt x="73" y="397"/>
                        </a:lnTo>
                        <a:lnTo>
                          <a:pt x="74" y="397"/>
                        </a:lnTo>
                        <a:lnTo>
                          <a:pt x="75" y="397"/>
                        </a:lnTo>
                        <a:lnTo>
                          <a:pt x="76" y="395"/>
                        </a:lnTo>
                        <a:lnTo>
                          <a:pt x="79" y="398"/>
                        </a:lnTo>
                        <a:lnTo>
                          <a:pt x="81" y="402"/>
                        </a:lnTo>
                        <a:lnTo>
                          <a:pt x="81" y="407"/>
                        </a:lnTo>
                        <a:lnTo>
                          <a:pt x="80" y="412"/>
                        </a:lnTo>
                        <a:lnTo>
                          <a:pt x="80" y="415"/>
                        </a:lnTo>
                        <a:lnTo>
                          <a:pt x="77" y="416"/>
                        </a:lnTo>
                        <a:lnTo>
                          <a:pt x="77" y="419"/>
                        </a:lnTo>
                        <a:lnTo>
                          <a:pt x="78" y="419"/>
                        </a:lnTo>
                        <a:lnTo>
                          <a:pt x="80" y="421"/>
                        </a:lnTo>
                        <a:lnTo>
                          <a:pt x="84" y="419"/>
                        </a:lnTo>
                        <a:lnTo>
                          <a:pt x="87" y="419"/>
                        </a:lnTo>
                        <a:lnTo>
                          <a:pt x="89" y="418"/>
                        </a:lnTo>
                        <a:lnTo>
                          <a:pt x="90" y="416"/>
                        </a:lnTo>
                        <a:lnTo>
                          <a:pt x="92" y="415"/>
                        </a:lnTo>
                        <a:lnTo>
                          <a:pt x="92" y="416"/>
                        </a:lnTo>
                        <a:lnTo>
                          <a:pt x="92" y="422"/>
                        </a:lnTo>
                        <a:lnTo>
                          <a:pt x="93" y="422"/>
                        </a:lnTo>
                        <a:lnTo>
                          <a:pt x="94" y="422"/>
                        </a:lnTo>
                        <a:lnTo>
                          <a:pt x="95" y="422"/>
                        </a:lnTo>
                        <a:lnTo>
                          <a:pt x="96" y="422"/>
                        </a:lnTo>
                        <a:lnTo>
                          <a:pt x="97" y="424"/>
                        </a:lnTo>
                        <a:lnTo>
                          <a:pt x="99" y="424"/>
                        </a:lnTo>
                        <a:lnTo>
                          <a:pt x="100" y="424"/>
                        </a:lnTo>
                        <a:lnTo>
                          <a:pt x="102" y="424"/>
                        </a:lnTo>
                        <a:lnTo>
                          <a:pt x="102" y="425"/>
                        </a:lnTo>
                        <a:lnTo>
                          <a:pt x="102" y="426"/>
                        </a:lnTo>
                        <a:lnTo>
                          <a:pt x="102" y="427"/>
                        </a:lnTo>
                        <a:lnTo>
                          <a:pt x="101" y="428"/>
                        </a:lnTo>
                        <a:lnTo>
                          <a:pt x="100" y="429"/>
                        </a:lnTo>
                        <a:lnTo>
                          <a:pt x="99" y="430"/>
                        </a:lnTo>
                        <a:lnTo>
                          <a:pt x="99" y="431"/>
                        </a:lnTo>
                        <a:lnTo>
                          <a:pt x="97" y="431"/>
                        </a:lnTo>
                        <a:lnTo>
                          <a:pt x="97" y="432"/>
                        </a:lnTo>
                        <a:lnTo>
                          <a:pt x="97" y="434"/>
                        </a:lnTo>
                        <a:lnTo>
                          <a:pt x="95" y="434"/>
                        </a:lnTo>
                        <a:lnTo>
                          <a:pt x="92" y="431"/>
                        </a:lnTo>
                        <a:lnTo>
                          <a:pt x="90" y="431"/>
                        </a:lnTo>
                        <a:lnTo>
                          <a:pt x="89" y="431"/>
                        </a:lnTo>
                        <a:lnTo>
                          <a:pt x="87" y="431"/>
                        </a:lnTo>
                        <a:lnTo>
                          <a:pt x="86" y="431"/>
                        </a:lnTo>
                        <a:lnTo>
                          <a:pt x="84" y="432"/>
                        </a:lnTo>
                        <a:lnTo>
                          <a:pt x="83" y="434"/>
                        </a:lnTo>
                        <a:lnTo>
                          <a:pt x="83" y="435"/>
                        </a:lnTo>
                        <a:lnTo>
                          <a:pt x="84" y="436"/>
                        </a:lnTo>
                        <a:lnTo>
                          <a:pt x="86" y="437"/>
                        </a:lnTo>
                        <a:lnTo>
                          <a:pt x="84" y="437"/>
                        </a:lnTo>
                        <a:lnTo>
                          <a:pt x="83" y="440"/>
                        </a:lnTo>
                        <a:lnTo>
                          <a:pt x="84" y="442"/>
                        </a:lnTo>
                        <a:lnTo>
                          <a:pt x="86" y="440"/>
                        </a:lnTo>
                        <a:lnTo>
                          <a:pt x="86" y="443"/>
                        </a:lnTo>
                        <a:lnTo>
                          <a:pt x="84" y="443"/>
                        </a:lnTo>
                        <a:lnTo>
                          <a:pt x="84" y="445"/>
                        </a:lnTo>
                        <a:lnTo>
                          <a:pt x="86" y="446"/>
                        </a:lnTo>
                        <a:lnTo>
                          <a:pt x="87" y="446"/>
                        </a:lnTo>
                        <a:lnTo>
                          <a:pt x="89" y="446"/>
                        </a:lnTo>
                        <a:lnTo>
                          <a:pt x="90" y="446"/>
                        </a:lnTo>
                        <a:lnTo>
                          <a:pt x="92" y="445"/>
                        </a:lnTo>
                        <a:lnTo>
                          <a:pt x="92" y="443"/>
                        </a:lnTo>
                        <a:lnTo>
                          <a:pt x="93" y="443"/>
                        </a:lnTo>
                        <a:lnTo>
                          <a:pt x="94" y="443"/>
                        </a:lnTo>
                        <a:lnTo>
                          <a:pt x="95" y="443"/>
                        </a:lnTo>
                        <a:lnTo>
                          <a:pt x="95" y="442"/>
                        </a:lnTo>
                        <a:lnTo>
                          <a:pt x="95" y="440"/>
                        </a:lnTo>
                        <a:lnTo>
                          <a:pt x="100" y="443"/>
                        </a:lnTo>
                        <a:lnTo>
                          <a:pt x="105" y="443"/>
                        </a:lnTo>
                        <a:lnTo>
                          <a:pt x="113" y="443"/>
                        </a:lnTo>
                        <a:lnTo>
                          <a:pt x="123" y="440"/>
                        </a:lnTo>
                        <a:lnTo>
                          <a:pt x="133" y="437"/>
                        </a:lnTo>
                        <a:lnTo>
                          <a:pt x="131" y="440"/>
                        </a:lnTo>
                        <a:lnTo>
                          <a:pt x="130" y="442"/>
                        </a:lnTo>
                        <a:lnTo>
                          <a:pt x="130" y="446"/>
                        </a:lnTo>
                        <a:lnTo>
                          <a:pt x="129" y="446"/>
                        </a:lnTo>
                        <a:lnTo>
                          <a:pt x="128" y="443"/>
                        </a:lnTo>
                        <a:lnTo>
                          <a:pt x="126" y="446"/>
                        </a:lnTo>
                        <a:lnTo>
                          <a:pt x="124" y="448"/>
                        </a:lnTo>
                        <a:lnTo>
                          <a:pt x="123" y="449"/>
                        </a:lnTo>
                        <a:lnTo>
                          <a:pt x="123" y="450"/>
                        </a:lnTo>
                        <a:lnTo>
                          <a:pt x="125" y="450"/>
                        </a:lnTo>
                        <a:lnTo>
                          <a:pt x="128" y="450"/>
                        </a:lnTo>
                        <a:lnTo>
                          <a:pt x="128" y="451"/>
                        </a:lnTo>
                        <a:lnTo>
                          <a:pt x="128" y="453"/>
                        </a:lnTo>
                        <a:lnTo>
                          <a:pt x="125" y="453"/>
                        </a:lnTo>
                        <a:lnTo>
                          <a:pt x="121" y="453"/>
                        </a:lnTo>
                        <a:lnTo>
                          <a:pt x="111" y="453"/>
                        </a:lnTo>
                        <a:lnTo>
                          <a:pt x="111" y="455"/>
                        </a:lnTo>
                        <a:lnTo>
                          <a:pt x="110" y="455"/>
                        </a:lnTo>
                        <a:lnTo>
                          <a:pt x="108" y="456"/>
                        </a:lnTo>
                        <a:lnTo>
                          <a:pt x="107" y="457"/>
                        </a:lnTo>
                        <a:lnTo>
                          <a:pt x="105" y="458"/>
                        </a:lnTo>
                        <a:lnTo>
                          <a:pt x="103" y="459"/>
                        </a:lnTo>
                        <a:lnTo>
                          <a:pt x="102" y="460"/>
                        </a:lnTo>
                        <a:lnTo>
                          <a:pt x="99" y="461"/>
                        </a:lnTo>
                        <a:lnTo>
                          <a:pt x="98" y="461"/>
                        </a:lnTo>
                        <a:lnTo>
                          <a:pt x="99" y="463"/>
                        </a:lnTo>
                        <a:lnTo>
                          <a:pt x="102" y="464"/>
                        </a:lnTo>
                        <a:lnTo>
                          <a:pt x="105" y="464"/>
                        </a:lnTo>
                        <a:lnTo>
                          <a:pt x="108" y="464"/>
                        </a:lnTo>
                        <a:lnTo>
                          <a:pt x="111" y="463"/>
                        </a:lnTo>
                        <a:lnTo>
                          <a:pt x="111" y="461"/>
                        </a:lnTo>
                        <a:lnTo>
                          <a:pt x="111" y="460"/>
                        </a:lnTo>
                        <a:lnTo>
                          <a:pt x="114" y="458"/>
                        </a:lnTo>
                        <a:lnTo>
                          <a:pt x="118" y="457"/>
                        </a:lnTo>
                        <a:lnTo>
                          <a:pt x="128" y="456"/>
                        </a:lnTo>
                        <a:lnTo>
                          <a:pt x="130" y="456"/>
                        </a:lnTo>
                        <a:lnTo>
                          <a:pt x="130" y="457"/>
                        </a:lnTo>
                        <a:lnTo>
                          <a:pt x="130" y="458"/>
                        </a:lnTo>
                        <a:lnTo>
                          <a:pt x="130" y="460"/>
                        </a:lnTo>
                        <a:lnTo>
                          <a:pt x="131" y="460"/>
                        </a:lnTo>
                        <a:lnTo>
                          <a:pt x="130" y="460"/>
                        </a:lnTo>
                        <a:lnTo>
                          <a:pt x="130" y="461"/>
                        </a:lnTo>
                        <a:lnTo>
                          <a:pt x="130" y="463"/>
                        </a:lnTo>
                        <a:lnTo>
                          <a:pt x="129" y="463"/>
                        </a:lnTo>
                        <a:lnTo>
                          <a:pt x="128" y="463"/>
                        </a:lnTo>
                        <a:lnTo>
                          <a:pt x="130" y="464"/>
                        </a:lnTo>
                        <a:lnTo>
                          <a:pt x="130" y="466"/>
                        </a:lnTo>
                        <a:lnTo>
                          <a:pt x="130" y="467"/>
                        </a:lnTo>
                        <a:lnTo>
                          <a:pt x="130" y="469"/>
                        </a:lnTo>
                        <a:lnTo>
                          <a:pt x="130" y="470"/>
                        </a:lnTo>
                        <a:lnTo>
                          <a:pt x="127" y="469"/>
                        </a:lnTo>
                        <a:lnTo>
                          <a:pt x="124" y="469"/>
                        </a:lnTo>
                        <a:lnTo>
                          <a:pt x="123" y="469"/>
                        </a:lnTo>
                        <a:lnTo>
                          <a:pt x="122" y="470"/>
                        </a:lnTo>
                        <a:lnTo>
                          <a:pt x="123" y="472"/>
                        </a:lnTo>
                        <a:lnTo>
                          <a:pt x="125" y="472"/>
                        </a:lnTo>
                        <a:lnTo>
                          <a:pt x="130" y="475"/>
                        </a:lnTo>
                        <a:lnTo>
                          <a:pt x="130" y="473"/>
                        </a:lnTo>
                        <a:lnTo>
                          <a:pt x="132" y="472"/>
                        </a:lnTo>
                        <a:lnTo>
                          <a:pt x="133" y="472"/>
                        </a:lnTo>
                        <a:lnTo>
                          <a:pt x="133" y="470"/>
                        </a:lnTo>
                        <a:lnTo>
                          <a:pt x="135" y="469"/>
                        </a:lnTo>
                        <a:lnTo>
                          <a:pt x="135" y="467"/>
                        </a:lnTo>
                        <a:lnTo>
                          <a:pt x="137" y="466"/>
                        </a:lnTo>
                        <a:lnTo>
                          <a:pt x="138" y="466"/>
                        </a:lnTo>
                        <a:lnTo>
                          <a:pt x="139" y="466"/>
                        </a:lnTo>
                        <a:lnTo>
                          <a:pt x="140" y="466"/>
                        </a:lnTo>
                        <a:lnTo>
                          <a:pt x="143" y="463"/>
                        </a:lnTo>
                        <a:lnTo>
                          <a:pt x="147" y="458"/>
                        </a:lnTo>
                        <a:lnTo>
                          <a:pt x="150" y="453"/>
                        </a:lnTo>
                        <a:lnTo>
                          <a:pt x="151" y="451"/>
                        </a:lnTo>
                        <a:lnTo>
                          <a:pt x="150" y="450"/>
                        </a:lnTo>
                        <a:lnTo>
                          <a:pt x="150" y="449"/>
                        </a:lnTo>
                        <a:lnTo>
                          <a:pt x="150" y="448"/>
                        </a:lnTo>
                        <a:lnTo>
                          <a:pt x="151" y="447"/>
                        </a:lnTo>
                        <a:lnTo>
                          <a:pt x="153" y="446"/>
                        </a:lnTo>
                        <a:lnTo>
                          <a:pt x="154" y="447"/>
                        </a:lnTo>
                        <a:lnTo>
                          <a:pt x="154" y="449"/>
                        </a:lnTo>
                        <a:lnTo>
                          <a:pt x="154" y="451"/>
                        </a:lnTo>
                        <a:lnTo>
                          <a:pt x="156" y="450"/>
                        </a:lnTo>
                        <a:lnTo>
                          <a:pt x="156" y="446"/>
                        </a:lnTo>
                        <a:lnTo>
                          <a:pt x="156" y="445"/>
                        </a:lnTo>
                        <a:lnTo>
                          <a:pt x="156" y="443"/>
                        </a:lnTo>
                        <a:lnTo>
                          <a:pt x="159" y="443"/>
                        </a:lnTo>
                        <a:lnTo>
                          <a:pt x="159" y="446"/>
                        </a:lnTo>
                        <a:lnTo>
                          <a:pt x="159" y="447"/>
                        </a:lnTo>
                        <a:lnTo>
                          <a:pt x="160" y="448"/>
                        </a:lnTo>
                        <a:lnTo>
                          <a:pt x="162" y="450"/>
                        </a:lnTo>
                        <a:lnTo>
                          <a:pt x="162" y="449"/>
                        </a:lnTo>
                        <a:lnTo>
                          <a:pt x="163" y="448"/>
                        </a:lnTo>
                        <a:lnTo>
                          <a:pt x="164" y="448"/>
                        </a:lnTo>
                        <a:lnTo>
                          <a:pt x="166" y="450"/>
                        </a:lnTo>
                        <a:lnTo>
                          <a:pt x="166" y="452"/>
                        </a:lnTo>
                        <a:lnTo>
                          <a:pt x="167" y="454"/>
                        </a:lnTo>
                        <a:lnTo>
                          <a:pt x="169" y="456"/>
                        </a:lnTo>
                        <a:lnTo>
                          <a:pt x="171" y="456"/>
                        </a:lnTo>
                        <a:lnTo>
                          <a:pt x="172" y="456"/>
                        </a:lnTo>
                        <a:lnTo>
                          <a:pt x="174" y="456"/>
                        </a:lnTo>
                        <a:lnTo>
                          <a:pt x="175" y="456"/>
                        </a:lnTo>
                        <a:lnTo>
                          <a:pt x="178" y="457"/>
                        </a:lnTo>
                        <a:lnTo>
                          <a:pt x="178" y="459"/>
                        </a:lnTo>
                        <a:lnTo>
                          <a:pt x="181" y="461"/>
                        </a:lnTo>
                        <a:lnTo>
                          <a:pt x="184" y="460"/>
                        </a:lnTo>
                        <a:lnTo>
                          <a:pt x="184" y="459"/>
                        </a:lnTo>
                        <a:lnTo>
                          <a:pt x="184" y="456"/>
                        </a:lnTo>
                        <a:lnTo>
                          <a:pt x="184" y="454"/>
                        </a:lnTo>
                        <a:lnTo>
                          <a:pt x="184" y="453"/>
                        </a:lnTo>
                        <a:lnTo>
                          <a:pt x="185" y="453"/>
                        </a:lnTo>
                        <a:lnTo>
                          <a:pt x="186" y="453"/>
                        </a:lnTo>
                        <a:lnTo>
                          <a:pt x="187" y="453"/>
                        </a:lnTo>
                        <a:lnTo>
                          <a:pt x="188" y="453"/>
                        </a:lnTo>
                        <a:lnTo>
                          <a:pt x="188" y="454"/>
                        </a:lnTo>
                        <a:lnTo>
                          <a:pt x="188" y="455"/>
                        </a:lnTo>
                        <a:lnTo>
                          <a:pt x="188" y="456"/>
                        </a:lnTo>
                        <a:lnTo>
                          <a:pt x="189" y="458"/>
                        </a:lnTo>
                        <a:lnTo>
                          <a:pt x="191" y="459"/>
                        </a:lnTo>
                        <a:lnTo>
                          <a:pt x="193" y="460"/>
                        </a:lnTo>
                        <a:lnTo>
                          <a:pt x="194" y="460"/>
                        </a:lnTo>
                        <a:lnTo>
                          <a:pt x="194" y="470"/>
                        </a:lnTo>
                        <a:lnTo>
                          <a:pt x="196" y="472"/>
                        </a:lnTo>
                        <a:lnTo>
                          <a:pt x="200" y="472"/>
                        </a:lnTo>
                        <a:lnTo>
                          <a:pt x="203" y="473"/>
                        </a:lnTo>
                        <a:lnTo>
                          <a:pt x="207" y="475"/>
                        </a:lnTo>
                        <a:lnTo>
                          <a:pt x="207" y="478"/>
                        </a:lnTo>
                        <a:lnTo>
                          <a:pt x="209" y="480"/>
                        </a:lnTo>
                        <a:lnTo>
                          <a:pt x="213" y="485"/>
                        </a:lnTo>
                        <a:lnTo>
                          <a:pt x="218" y="485"/>
                        </a:lnTo>
                        <a:lnTo>
                          <a:pt x="221" y="485"/>
                        </a:lnTo>
                        <a:lnTo>
                          <a:pt x="224" y="483"/>
                        </a:lnTo>
                        <a:lnTo>
                          <a:pt x="226" y="482"/>
                        </a:lnTo>
                        <a:lnTo>
                          <a:pt x="226" y="485"/>
                        </a:lnTo>
                        <a:lnTo>
                          <a:pt x="225" y="485"/>
                        </a:lnTo>
                        <a:lnTo>
                          <a:pt x="225" y="487"/>
                        </a:lnTo>
                        <a:lnTo>
                          <a:pt x="226" y="488"/>
                        </a:lnTo>
                        <a:lnTo>
                          <a:pt x="229" y="488"/>
                        </a:lnTo>
                        <a:lnTo>
                          <a:pt x="230" y="488"/>
                        </a:lnTo>
                        <a:lnTo>
                          <a:pt x="232" y="485"/>
                        </a:lnTo>
                        <a:lnTo>
                          <a:pt x="235" y="483"/>
                        </a:lnTo>
                        <a:lnTo>
                          <a:pt x="236" y="482"/>
                        </a:lnTo>
                        <a:lnTo>
                          <a:pt x="240" y="481"/>
                        </a:lnTo>
                        <a:lnTo>
                          <a:pt x="244" y="480"/>
                        </a:lnTo>
                        <a:lnTo>
                          <a:pt x="246" y="480"/>
                        </a:lnTo>
                        <a:lnTo>
                          <a:pt x="249" y="479"/>
                        </a:lnTo>
                        <a:lnTo>
                          <a:pt x="251" y="478"/>
                        </a:lnTo>
                        <a:lnTo>
                          <a:pt x="255" y="475"/>
                        </a:lnTo>
                        <a:lnTo>
                          <a:pt x="258" y="472"/>
                        </a:lnTo>
                        <a:lnTo>
                          <a:pt x="261" y="470"/>
                        </a:lnTo>
                        <a:lnTo>
                          <a:pt x="265" y="470"/>
                        </a:lnTo>
                        <a:lnTo>
                          <a:pt x="268" y="470"/>
                        </a:lnTo>
                        <a:lnTo>
                          <a:pt x="269" y="472"/>
                        </a:lnTo>
                        <a:lnTo>
                          <a:pt x="271" y="472"/>
                        </a:lnTo>
                        <a:lnTo>
                          <a:pt x="273" y="472"/>
                        </a:lnTo>
                        <a:lnTo>
                          <a:pt x="274" y="472"/>
                        </a:lnTo>
                        <a:lnTo>
                          <a:pt x="275" y="472"/>
                        </a:lnTo>
                        <a:lnTo>
                          <a:pt x="277" y="470"/>
                        </a:lnTo>
                        <a:lnTo>
                          <a:pt x="277" y="464"/>
                        </a:lnTo>
                        <a:lnTo>
                          <a:pt x="277" y="461"/>
                        </a:lnTo>
                        <a:lnTo>
                          <a:pt x="278" y="458"/>
                        </a:lnTo>
                        <a:lnTo>
                          <a:pt x="280" y="453"/>
                        </a:lnTo>
                        <a:lnTo>
                          <a:pt x="281" y="447"/>
                        </a:lnTo>
                        <a:lnTo>
                          <a:pt x="280" y="442"/>
                        </a:lnTo>
                        <a:lnTo>
                          <a:pt x="279" y="437"/>
                        </a:lnTo>
                        <a:lnTo>
                          <a:pt x="280" y="431"/>
                        </a:lnTo>
                        <a:lnTo>
                          <a:pt x="284" y="427"/>
                        </a:lnTo>
                        <a:lnTo>
                          <a:pt x="287" y="427"/>
                        </a:lnTo>
                        <a:lnTo>
                          <a:pt x="290" y="427"/>
                        </a:lnTo>
                        <a:lnTo>
                          <a:pt x="294" y="427"/>
                        </a:lnTo>
                        <a:lnTo>
                          <a:pt x="297" y="427"/>
                        </a:lnTo>
                        <a:lnTo>
                          <a:pt x="301" y="427"/>
                        </a:lnTo>
                        <a:lnTo>
                          <a:pt x="306" y="426"/>
                        </a:lnTo>
                        <a:lnTo>
                          <a:pt x="311" y="425"/>
                        </a:lnTo>
                        <a:lnTo>
                          <a:pt x="316" y="424"/>
                        </a:lnTo>
                        <a:lnTo>
                          <a:pt x="318" y="425"/>
                        </a:lnTo>
                        <a:lnTo>
                          <a:pt x="320" y="426"/>
                        </a:lnTo>
                        <a:lnTo>
                          <a:pt x="321" y="427"/>
                        </a:lnTo>
                        <a:lnTo>
                          <a:pt x="326" y="427"/>
                        </a:lnTo>
                        <a:lnTo>
                          <a:pt x="328" y="427"/>
                        </a:lnTo>
                        <a:lnTo>
                          <a:pt x="333" y="432"/>
                        </a:lnTo>
                        <a:lnTo>
                          <a:pt x="336" y="434"/>
                        </a:lnTo>
                        <a:lnTo>
                          <a:pt x="338" y="434"/>
                        </a:lnTo>
                        <a:lnTo>
                          <a:pt x="341" y="436"/>
                        </a:lnTo>
                        <a:lnTo>
                          <a:pt x="344" y="437"/>
                        </a:lnTo>
                        <a:lnTo>
                          <a:pt x="346" y="437"/>
                        </a:lnTo>
                        <a:lnTo>
                          <a:pt x="350" y="437"/>
                        </a:lnTo>
                        <a:lnTo>
                          <a:pt x="351" y="437"/>
                        </a:lnTo>
                        <a:lnTo>
                          <a:pt x="351" y="439"/>
                        </a:lnTo>
                        <a:lnTo>
                          <a:pt x="352" y="440"/>
                        </a:lnTo>
                        <a:lnTo>
                          <a:pt x="354" y="440"/>
                        </a:lnTo>
                        <a:lnTo>
                          <a:pt x="358" y="440"/>
                        </a:lnTo>
                        <a:lnTo>
                          <a:pt x="362" y="440"/>
                        </a:lnTo>
                        <a:lnTo>
                          <a:pt x="367" y="440"/>
                        </a:lnTo>
                        <a:lnTo>
                          <a:pt x="368" y="443"/>
                        </a:lnTo>
                        <a:lnTo>
                          <a:pt x="369" y="445"/>
                        </a:lnTo>
                        <a:lnTo>
                          <a:pt x="369" y="446"/>
                        </a:lnTo>
                        <a:lnTo>
                          <a:pt x="370" y="446"/>
                        </a:lnTo>
                        <a:lnTo>
                          <a:pt x="371" y="447"/>
                        </a:lnTo>
                        <a:lnTo>
                          <a:pt x="374" y="448"/>
                        </a:lnTo>
                        <a:lnTo>
                          <a:pt x="376" y="450"/>
                        </a:lnTo>
                        <a:lnTo>
                          <a:pt x="377" y="451"/>
                        </a:lnTo>
                        <a:lnTo>
                          <a:pt x="377" y="453"/>
                        </a:lnTo>
                        <a:lnTo>
                          <a:pt x="379" y="453"/>
                        </a:lnTo>
                        <a:lnTo>
                          <a:pt x="380" y="453"/>
                        </a:lnTo>
                        <a:lnTo>
                          <a:pt x="381" y="453"/>
                        </a:lnTo>
                        <a:lnTo>
                          <a:pt x="383" y="453"/>
                        </a:lnTo>
                        <a:lnTo>
                          <a:pt x="383" y="454"/>
                        </a:lnTo>
                        <a:lnTo>
                          <a:pt x="383" y="455"/>
                        </a:lnTo>
                        <a:lnTo>
                          <a:pt x="383" y="460"/>
                        </a:lnTo>
                        <a:lnTo>
                          <a:pt x="386" y="461"/>
                        </a:lnTo>
                        <a:lnTo>
                          <a:pt x="387" y="463"/>
                        </a:lnTo>
                        <a:lnTo>
                          <a:pt x="389" y="463"/>
                        </a:lnTo>
                        <a:lnTo>
                          <a:pt x="398" y="463"/>
                        </a:lnTo>
                        <a:lnTo>
                          <a:pt x="403" y="467"/>
                        </a:lnTo>
                        <a:lnTo>
                          <a:pt x="404" y="469"/>
                        </a:lnTo>
                        <a:lnTo>
                          <a:pt x="405" y="470"/>
                        </a:lnTo>
                        <a:lnTo>
                          <a:pt x="412" y="467"/>
                        </a:lnTo>
                        <a:lnTo>
                          <a:pt x="421" y="464"/>
                        </a:lnTo>
                        <a:lnTo>
                          <a:pt x="429" y="461"/>
                        </a:lnTo>
                        <a:lnTo>
                          <a:pt x="436" y="460"/>
                        </a:lnTo>
                        <a:lnTo>
                          <a:pt x="439" y="458"/>
                        </a:lnTo>
                        <a:lnTo>
                          <a:pt x="443" y="458"/>
                        </a:lnTo>
                        <a:lnTo>
                          <a:pt x="448" y="458"/>
                        </a:lnTo>
                        <a:lnTo>
                          <a:pt x="453" y="456"/>
                        </a:lnTo>
                        <a:lnTo>
                          <a:pt x="454" y="455"/>
                        </a:lnTo>
                        <a:lnTo>
                          <a:pt x="455" y="454"/>
                        </a:lnTo>
                        <a:lnTo>
                          <a:pt x="455" y="453"/>
                        </a:lnTo>
                        <a:lnTo>
                          <a:pt x="458" y="451"/>
                        </a:lnTo>
                        <a:lnTo>
                          <a:pt x="462" y="450"/>
                        </a:lnTo>
                        <a:lnTo>
                          <a:pt x="465" y="450"/>
                        </a:lnTo>
                        <a:lnTo>
                          <a:pt x="468" y="450"/>
                        </a:lnTo>
                        <a:lnTo>
                          <a:pt x="469" y="446"/>
                        </a:lnTo>
                        <a:lnTo>
                          <a:pt x="470" y="443"/>
                        </a:lnTo>
                        <a:lnTo>
                          <a:pt x="472" y="440"/>
                        </a:lnTo>
                        <a:lnTo>
                          <a:pt x="473" y="440"/>
                        </a:lnTo>
                        <a:lnTo>
                          <a:pt x="475" y="440"/>
                        </a:lnTo>
                        <a:lnTo>
                          <a:pt x="479" y="440"/>
                        </a:lnTo>
                        <a:lnTo>
                          <a:pt x="480" y="440"/>
                        </a:lnTo>
                        <a:lnTo>
                          <a:pt x="481" y="440"/>
                        </a:lnTo>
                        <a:lnTo>
                          <a:pt x="483" y="437"/>
                        </a:lnTo>
                        <a:lnTo>
                          <a:pt x="484" y="435"/>
                        </a:lnTo>
                        <a:lnTo>
                          <a:pt x="484" y="432"/>
                        </a:lnTo>
                        <a:lnTo>
                          <a:pt x="484" y="427"/>
                        </a:lnTo>
                        <a:lnTo>
                          <a:pt x="485" y="427"/>
                        </a:lnTo>
                        <a:lnTo>
                          <a:pt x="486" y="427"/>
                        </a:lnTo>
                        <a:lnTo>
                          <a:pt x="487" y="427"/>
                        </a:lnTo>
                        <a:lnTo>
                          <a:pt x="487" y="423"/>
                        </a:lnTo>
                        <a:lnTo>
                          <a:pt x="487" y="422"/>
                        </a:lnTo>
                        <a:lnTo>
                          <a:pt x="488" y="419"/>
                        </a:lnTo>
                        <a:lnTo>
                          <a:pt x="490" y="418"/>
                        </a:lnTo>
                        <a:lnTo>
                          <a:pt x="492" y="416"/>
                        </a:lnTo>
                        <a:lnTo>
                          <a:pt x="494" y="415"/>
                        </a:lnTo>
                        <a:lnTo>
                          <a:pt x="494" y="412"/>
                        </a:lnTo>
                        <a:lnTo>
                          <a:pt x="495" y="412"/>
                        </a:lnTo>
                        <a:lnTo>
                          <a:pt x="496" y="410"/>
                        </a:lnTo>
                        <a:lnTo>
                          <a:pt x="497" y="408"/>
                        </a:lnTo>
                        <a:lnTo>
                          <a:pt x="506" y="398"/>
                        </a:lnTo>
                        <a:lnTo>
                          <a:pt x="508" y="397"/>
                        </a:lnTo>
                        <a:lnTo>
                          <a:pt x="510" y="394"/>
                        </a:lnTo>
                        <a:lnTo>
                          <a:pt x="511" y="392"/>
                        </a:lnTo>
                        <a:lnTo>
                          <a:pt x="513" y="392"/>
                        </a:lnTo>
                        <a:lnTo>
                          <a:pt x="516" y="391"/>
                        </a:lnTo>
                        <a:lnTo>
                          <a:pt x="518" y="389"/>
                        </a:lnTo>
                        <a:lnTo>
                          <a:pt x="523" y="391"/>
                        </a:lnTo>
                        <a:lnTo>
                          <a:pt x="527" y="392"/>
                        </a:lnTo>
                        <a:lnTo>
                          <a:pt x="532" y="395"/>
                        </a:lnTo>
                        <a:lnTo>
                          <a:pt x="542" y="395"/>
                        </a:lnTo>
                        <a:lnTo>
                          <a:pt x="544" y="397"/>
                        </a:lnTo>
                        <a:lnTo>
                          <a:pt x="547" y="399"/>
                        </a:lnTo>
                        <a:lnTo>
                          <a:pt x="548" y="401"/>
                        </a:lnTo>
                        <a:lnTo>
                          <a:pt x="549" y="402"/>
                        </a:lnTo>
                        <a:lnTo>
                          <a:pt x="551" y="401"/>
                        </a:lnTo>
                        <a:lnTo>
                          <a:pt x="554" y="400"/>
                        </a:lnTo>
                        <a:lnTo>
                          <a:pt x="556" y="399"/>
                        </a:lnTo>
                        <a:lnTo>
                          <a:pt x="558" y="398"/>
                        </a:lnTo>
                        <a:lnTo>
                          <a:pt x="559" y="398"/>
                        </a:lnTo>
                        <a:lnTo>
                          <a:pt x="560" y="398"/>
                        </a:lnTo>
                        <a:lnTo>
                          <a:pt x="561" y="398"/>
                        </a:lnTo>
                        <a:lnTo>
                          <a:pt x="564" y="397"/>
                        </a:lnTo>
                        <a:lnTo>
                          <a:pt x="568" y="392"/>
                        </a:lnTo>
                        <a:lnTo>
                          <a:pt x="572" y="388"/>
                        </a:lnTo>
                        <a:lnTo>
                          <a:pt x="575" y="382"/>
                        </a:lnTo>
                        <a:lnTo>
                          <a:pt x="579" y="377"/>
                        </a:lnTo>
                        <a:lnTo>
                          <a:pt x="582" y="371"/>
                        </a:lnTo>
                        <a:lnTo>
                          <a:pt x="583" y="367"/>
                        </a:lnTo>
                        <a:lnTo>
                          <a:pt x="583" y="364"/>
                        </a:lnTo>
                        <a:lnTo>
                          <a:pt x="582" y="364"/>
                        </a:lnTo>
                        <a:lnTo>
                          <a:pt x="583" y="364"/>
                        </a:lnTo>
                        <a:lnTo>
                          <a:pt x="587" y="363"/>
                        </a:lnTo>
                        <a:lnTo>
                          <a:pt x="589" y="363"/>
                        </a:lnTo>
                        <a:lnTo>
                          <a:pt x="591" y="364"/>
                        </a:lnTo>
                        <a:lnTo>
                          <a:pt x="593" y="367"/>
                        </a:lnTo>
                        <a:lnTo>
                          <a:pt x="594" y="368"/>
                        </a:lnTo>
                        <a:lnTo>
                          <a:pt x="595" y="370"/>
                        </a:lnTo>
                        <a:lnTo>
                          <a:pt x="599" y="370"/>
                        </a:lnTo>
                        <a:lnTo>
                          <a:pt x="598" y="377"/>
                        </a:lnTo>
                        <a:lnTo>
                          <a:pt x="597" y="384"/>
                        </a:lnTo>
                        <a:lnTo>
                          <a:pt x="596" y="391"/>
                        </a:lnTo>
                        <a:lnTo>
                          <a:pt x="593" y="395"/>
                        </a:lnTo>
                        <a:lnTo>
                          <a:pt x="593" y="397"/>
                        </a:lnTo>
                        <a:lnTo>
                          <a:pt x="593" y="402"/>
                        </a:lnTo>
                        <a:lnTo>
                          <a:pt x="591" y="402"/>
                        </a:lnTo>
                        <a:lnTo>
                          <a:pt x="590" y="402"/>
                        </a:lnTo>
                        <a:lnTo>
                          <a:pt x="587" y="411"/>
                        </a:lnTo>
                        <a:lnTo>
                          <a:pt x="586" y="419"/>
                        </a:lnTo>
                        <a:lnTo>
                          <a:pt x="588" y="425"/>
                        </a:lnTo>
                        <a:lnTo>
                          <a:pt x="590" y="431"/>
                        </a:lnTo>
                        <a:lnTo>
                          <a:pt x="592" y="434"/>
                        </a:lnTo>
                        <a:lnTo>
                          <a:pt x="594" y="437"/>
                        </a:lnTo>
                        <a:lnTo>
                          <a:pt x="596" y="440"/>
                        </a:lnTo>
                        <a:lnTo>
                          <a:pt x="596" y="443"/>
                        </a:lnTo>
                        <a:lnTo>
                          <a:pt x="597" y="446"/>
                        </a:lnTo>
                        <a:lnTo>
                          <a:pt x="596" y="446"/>
                        </a:lnTo>
                        <a:lnTo>
                          <a:pt x="599" y="446"/>
                        </a:lnTo>
                        <a:lnTo>
                          <a:pt x="602" y="446"/>
                        </a:lnTo>
                        <a:lnTo>
                          <a:pt x="603" y="446"/>
                        </a:lnTo>
                        <a:lnTo>
                          <a:pt x="605" y="446"/>
                        </a:lnTo>
                        <a:lnTo>
                          <a:pt x="607" y="445"/>
                        </a:lnTo>
                        <a:lnTo>
                          <a:pt x="608" y="442"/>
                        </a:lnTo>
                        <a:lnTo>
                          <a:pt x="609" y="437"/>
                        </a:lnTo>
                        <a:lnTo>
                          <a:pt x="609" y="432"/>
                        </a:lnTo>
                        <a:lnTo>
                          <a:pt x="610" y="431"/>
                        </a:lnTo>
                        <a:lnTo>
                          <a:pt x="612" y="431"/>
                        </a:lnTo>
                        <a:lnTo>
                          <a:pt x="615" y="429"/>
                        </a:lnTo>
                        <a:lnTo>
                          <a:pt x="617" y="429"/>
                        </a:lnTo>
                        <a:lnTo>
                          <a:pt x="620" y="429"/>
                        </a:lnTo>
                        <a:lnTo>
                          <a:pt x="621" y="427"/>
                        </a:lnTo>
                        <a:lnTo>
                          <a:pt x="623" y="426"/>
                        </a:lnTo>
                        <a:lnTo>
                          <a:pt x="623" y="424"/>
                        </a:lnTo>
                        <a:lnTo>
                          <a:pt x="623" y="421"/>
                        </a:lnTo>
                        <a:lnTo>
                          <a:pt x="624" y="418"/>
                        </a:lnTo>
                        <a:lnTo>
                          <a:pt x="625" y="416"/>
                        </a:lnTo>
                        <a:lnTo>
                          <a:pt x="627" y="415"/>
                        </a:lnTo>
                        <a:lnTo>
                          <a:pt x="631" y="415"/>
                        </a:lnTo>
                        <a:lnTo>
                          <a:pt x="632" y="413"/>
                        </a:lnTo>
                        <a:lnTo>
                          <a:pt x="632" y="412"/>
                        </a:lnTo>
                        <a:lnTo>
                          <a:pt x="629" y="406"/>
                        </a:lnTo>
                        <a:lnTo>
                          <a:pt x="627" y="401"/>
                        </a:lnTo>
                        <a:lnTo>
                          <a:pt x="627" y="398"/>
                        </a:lnTo>
                        <a:lnTo>
                          <a:pt x="628" y="395"/>
                        </a:lnTo>
                        <a:lnTo>
                          <a:pt x="628" y="388"/>
                        </a:lnTo>
                        <a:lnTo>
                          <a:pt x="628" y="380"/>
                        </a:lnTo>
                        <a:lnTo>
                          <a:pt x="628" y="373"/>
                        </a:lnTo>
                        <a:lnTo>
                          <a:pt x="628" y="367"/>
                        </a:lnTo>
                        <a:lnTo>
                          <a:pt x="630" y="364"/>
                        </a:lnTo>
                        <a:lnTo>
                          <a:pt x="633" y="363"/>
                        </a:lnTo>
                        <a:lnTo>
                          <a:pt x="637" y="361"/>
                        </a:lnTo>
                        <a:lnTo>
                          <a:pt x="643" y="359"/>
                        </a:lnTo>
                        <a:lnTo>
                          <a:pt x="654" y="355"/>
                        </a:lnTo>
                        <a:lnTo>
                          <a:pt x="666" y="351"/>
                        </a:lnTo>
                        <a:lnTo>
                          <a:pt x="676" y="344"/>
                        </a:lnTo>
                        <a:lnTo>
                          <a:pt x="676" y="2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0" name="Freeform 2261">
                    <a:extLst>
                      <a:ext uri="{FF2B5EF4-FFF2-40B4-BE49-F238E27FC236}">
                        <a16:creationId xmlns:a16="http://schemas.microsoft.com/office/drawing/2014/main" xmlns="" id="{3AD41E1A-EF11-4AD4-8814-B4BA393F11FB}"/>
                      </a:ext>
                    </a:extLst>
                  </p:cNvPr>
                  <p:cNvSpPr>
                    <a:spLocks/>
                  </p:cNvSpPr>
                  <p:nvPr/>
                </p:nvSpPr>
                <p:spPr bwMode="gray">
                  <a:xfrm>
                    <a:off x="5422095" y="4516705"/>
                    <a:ext cx="3338" cy="3337"/>
                  </a:xfrm>
                  <a:custGeom>
                    <a:avLst/>
                    <a:gdLst>
                      <a:gd name="T0" fmla="*/ 0 w 3"/>
                      <a:gd name="T1" fmla="*/ 0 h 3"/>
                      <a:gd name="T2" fmla="*/ 0 w 3"/>
                      <a:gd name="T3" fmla="*/ 0 h 3"/>
                      <a:gd name="T4" fmla="*/ 2147483647 w 3"/>
                      <a:gd name="T5" fmla="*/ 2147483647 h 3"/>
                      <a:gd name="T6" fmla="*/ 2147483647 w 3"/>
                      <a:gd name="T7" fmla="*/ 2147483647 h 3"/>
                      <a:gd name="T8" fmla="*/ 2147483647 w 3"/>
                      <a:gd name="T9" fmla="*/ 2147483647 h 3"/>
                      <a:gd name="T10" fmla="*/ 2147483647 w 3"/>
                      <a:gd name="T11" fmla="*/ 2147483647 h 3"/>
                      <a:gd name="T12" fmla="*/ 2147483647 w 3"/>
                      <a:gd name="T13" fmla="*/ 2147483647 h 3"/>
                      <a:gd name="T14" fmla="*/ 2147483647 w 3"/>
                      <a:gd name="T15" fmla="*/ 0 h 3"/>
                      <a:gd name="T16" fmla="*/ 0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 h="3">
                        <a:moveTo>
                          <a:pt x="0" y="0"/>
                        </a:moveTo>
                        <a:lnTo>
                          <a:pt x="0" y="0"/>
                        </a:lnTo>
                        <a:lnTo>
                          <a:pt x="1" y="1"/>
                        </a:lnTo>
                        <a:lnTo>
                          <a:pt x="2" y="3"/>
                        </a:lnTo>
                        <a:lnTo>
                          <a:pt x="3" y="3"/>
                        </a:lnTo>
                        <a:lnTo>
                          <a:pt x="3" y="1"/>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1" name="Freeform 2263">
                    <a:extLst>
                      <a:ext uri="{FF2B5EF4-FFF2-40B4-BE49-F238E27FC236}">
                        <a16:creationId xmlns:a16="http://schemas.microsoft.com/office/drawing/2014/main" xmlns="" id="{D7D96C05-D1A5-4125-B47E-3579EBA61EFA}"/>
                      </a:ext>
                    </a:extLst>
                  </p:cNvPr>
                  <p:cNvSpPr>
                    <a:spLocks/>
                  </p:cNvSpPr>
                  <p:nvPr/>
                </p:nvSpPr>
                <p:spPr bwMode="gray">
                  <a:xfrm>
                    <a:off x="5386496" y="4494458"/>
                    <a:ext cx="4450" cy="5563"/>
                  </a:xfrm>
                  <a:custGeom>
                    <a:avLst/>
                    <a:gdLst>
                      <a:gd name="T0" fmla="*/ 0 w 4"/>
                      <a:gd name="T1" fmla="*/ 0 h 5"/>
                      <a:gd name="T2" fmla="*/ 2147483647 w 4"/>
                      <a:gd name="T3" fmla="*/ 0 h 5"/>
                      <a:gd name="T4" fmla="*/ 2147483647 w 4"/>
                      <a:gd name="T5" fmla="*/ 2147483647 h 5"/>
                      <a:gd name="T6" fmla="*/ 2147483647 w 4"/>
                      <a:gd name="T7" fmla="*/ 2147483647 h 5"/>
                      <a:gd name="T8" fmla="*/ 2147483647 w 4"/>
                      <a:gd name="T9" fmla="*/ 2147483647 h 5"/>
                      <a:gd name="T10" fmla="*/ 2147483647 w 4"/>
                      <a:gd name="T11" fmla="*/ 2147483647 h 5"/>
                      <a:gd name="T12" fmla="*/ 2147483647 w 4"/>
                      <a:gd name="T13" fmla="*/ 2147483647 h 5"/>
                      <a:gd name="T14" fmla="*/ 2147483647 w 4"/>
                      <a:gd name="T15" fmla="*/ 2147483647 h 5"/>
                      <a:gd name="T16" fmla="*/ 2147483647 w 4"/>
                      <a:gd name="T17" fmla="*/ 2147483647 h 5"/>
                      <a:gd name="T18" fmla="*/ 2147483647 w 4"/>
                      <a:gd name="T19" fmla="*/ 2147483647 h 5"/>
                      <a:gd name="T20" fmla="*/ 2147483647 w 4"/>
                      <a:gd name="T21" fmla="*/ 2147483647 h 5"/>
                      <a:gd name="T22" fmla="*/ 0 w 4"/>
                      <a:gd name="T23" fmla="*/ 0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 h="5">
                        <a:moveTo>
                          <a:pt x="0" y="0"/>
                        </a:moveTo>
                        <a:lnTo>
                          <a:pt x="1" y="0"/>
                        </a:lnTo>
                        <a:lnTo>
                          <a:pt x="2" y="2"/>
                        </a:lnTo>
                        <a:lnTo>
                          <a:pt x="3" y="4"/>
                        </a:lnTo>
                        <a:lnTo>
                          <a:pt x="4" y="5"/>
                        </a:lnTo>
                        <a:lnTo>
                          <a:pt x="3" y="5"/>
                        </a:lnTo>
                        <a:lnTo>
                          <a:pt x="3" y="4"/>
                        </a:lnTo>
                        <a:lnTo>
                          <a:pt x="2" y="3"/>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2" name="Freeform 2265">
                    <a:extLst>
                      <a:ext uri="{FF2B5EF4-FFF2-40B4-BE49-F238E27FC236}">
                        <a16:creationId xmlns:a16="http://schemas.microsoft.com/office/drawing/2014/main" xmlns="" id="{3F2D982B-0A5B-4091-AD40-55570F6E0C59}"/>
                      </a:ext>
                    </a:extLst>
                  </p:cNvPr>
                  <p:cNvSpPr>
                    <a:spLocks/>
                  </p:cNvSpPr>
                  <p:nvPr/>
                </p:nvSpPr>
                <p:spPr bwMode="gray">
                  <a:xfrm>
                    <a:off x="5432107" y="4487783"/>
                    <a:ext cx="4450" cy="5563"/>
                  </a:xfrm>
                  <a:custGeom>
                    <a:avLst/>
                    <a:gdLst>
                      <a:gd name="T0" fmla="*/ 2147483647 w 4"/>
                      <a:gd name="T1" fmla="*/ 0 h 5"/>
                      <a:gd name="T2" fmla="*/ 2147483647 w 4"/>
                      <a:gd name="T3" fmla="*/ 2147483647 h 5"/>
                      <a:gd name="T4" fmla="*/ 2147483647 w 4"/>
                      <a:gd name="T5" fmla="*/ 2147483647 h 5"/>
                      <a:gd name="T6" fmla="*/ 2147483647 w 4"/>
                      <a:gd name="T7" fmla="*/ 2147483647 h 5"/>
                      <a:gd name="T8" fmla="*/ 2147483647 w 4"/>
                      <a:gd name="T9" fmla="*/ 2147483647 h 5"/>
                      <a:gd name="T10" fmla="*/ 2147483647 w 4"/>
                      <a:gd name="T11" fmla="*/ 2147483647 h 5"/>
                      <a:gd name="T12" fmla="*/ 2147483647 w 4"/>
                      <a:gd name="T13" fmla="*/ 2147483647 h 5"/>
                      <a:gd name="T14" fmla="*/ 0 w 4"/>
                      <a:gd name="T15" fmla="*/ 2147483647 h 5"/>
                      <a:gd name="T16" fmla="*/ 0 w 4"/>
                      <a:gd name="T17" fmla="*/ 2147483647 h 5"/>
                      <a:gd name="T18" fmla="*/ 0 w 4"/>
                      <a:gd name="T19" fmla="*/ 2147483647 h 5"/>
                      <a:gd name="T20" fmla="*/ 2147483647 w 4"/>
                      <a:gd name="T21" fmla="*/ 2147483647 h 5"/>
                      <a:gd name="T22" fmla="*/ 2147483647 w 4"/>
                      <a:gd name="T23" fmla="*/ 2147483647 h 5"/>
                      <a:gd name="T24" fmla="*/ 2147483647 w 4"/>
                      <a:gd name="T25" fmla="*/ 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5">
                        <a:moveTo>
                          <a:pt x="3" y="0"/>
                        </a:moveTo>
                        <a:lnTo>
                          <a:pt x="3" y="1"/>
                        </a:lnTo>
                        <a:lnTo>
                          <a:pt x="4" y="1"/>
                        </a:lnTo>
                        <a:lnTo>
                          <a:pt x="4" y="3"/>
                        </a:lnTo>
                        <a:lnTo>
                          <a:pt x="3" y="3"/>
                        </a:lnTo>
                        <a:lnTo>
                          <a:pt x="2" y="5"/>
                        </a:lnTo>
                        <a:lnTo>
                          <a:pt x="1" y="5"/>
                        </a:lnTo>
                        <a:lnTo>
                          <a:pt x="0" y="4"/>
                        </a:lnTo>
                        <a:lnTo>
                          <a:pt x="0" y="3"/>
                        </a:lnTo>
                        <a:lnTo>
                          <a:pt x="1" y="1"/>
                        </a:lnTo>
                        <a:lnTo>
                          <a:pt x="2"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3" name="Freeform 2267">
                    <a:extLst>
                      <a:ext uri="{FF2B5EF4-FFF2-40B4-BE49-F238E27FC236}">
                        <a16:creationId xmlns:a16="http://schemas.microsoft.com/office/drawing/2014/main" xmlns="" id="{F486F8C2-7E43-4094-B30F-92B5367E0C75}"/>
                      </a:ext>
                    </a:extLst>
                  </p:cNvPr>
                  <p:cNvSpPr>
                    <a:spLocks/>
                  </p:cNvSpPr>
                  <p:nvPr/>
                </p:nvSpPr>
                <p:spPr bwMode="gray">
                  <a:xfrm>
                    <a:off x="5553366" y="4408802"/>
                    <a:ext cx="4450" cy="8899"/>
                  </a:xfrm>
                  <a:custGeom>
                    <a:avLst/>
                    <a:gdLst>
                      <a:gd name="T0" fmla="*/ 2147483647 w 4"/>
                      <a:gd name="T1" fmla="*/ 0 h 8"/>
                      <a:gd name="T2" fmla="*/ 2147483647 w 4"/>
                      <a:gd name="T3" fmla="*/ 0 h 8"/>
                      <a:gd name="T4" fmla="*/ 2147483647 w 4"/>
                      <a:gd name="T5" fmla="*/ 0 h 8"/>
                      <a:gd name="T6" fmla="*/ 2147483647 w 4"/>
                      <a:gd name="T7" fmla="*/ 2147483647 h 8"/>
                      <a:gd name="T8" fmla="*/ 2147483647 w 4"/>
                      <a:gd name="T9" fmla="*/ 2147483647 h 8"/>
                      <a:gd name="T10" fmla="*/ 2147483647 w 4"/>
                      <a:gd name="T11" fmla="*/ 2147483647 h 8"/>
                      <a:gd name="T12" fmla="*/ 2147483647 w 4"/>
                      <a:gd name="T13" fmla="*/ 2147483647 h 8"/>
                      <a:gd name="T14" fmla="*/ 0 w 4"/>
                      <a:gd name="T15" fmla="*/ 2147483647 h 8"/>
                      <a:gd name="T16" fmla="*/ 0 w 4"/>
                      <a:gd name="T17" fmla="*/ 2147483647 h 8"/>
                      <a:gd name="T18" fmla="*/ 2147483647 w 4"/>
                      <a:gd name="T19" fmla="*/ 2147483647 h 8"/>
                      <a:gd name="T20" fmla="*/ 2147483647 w 4"/>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8">
                        <a:moveTo>
                          <a:pt x="3" y="0"/>
                        </a:moveTo>
                        <a:lnTo>
                          <a:pt x="4" y="0"/>
                        </a:lnTo>
                        <a:lnTo>
                          <a:pt x="4" y="3"/>
                        </a:lnTo>
                        <a:lnTo>
                          <a:pt x="3" y="6"/>
                        </a:lnTo>
                        <a:lnTo>
                          <a:pt x="3" y="8"/>
                        </a:lnTo>
                        <a:lnTo>
                          <a:pt x="1" y="8"/>
                        </a:lnTo>
                        <a:lnTo>
                          <a:pt x="0" y="8"/>
                        </a:lnTo>
                        <a:lnTo>
                          <a:pt x="0" y="6"/>
                        </a:lnTo>
                        <a:lnTo>
                          <a:pt x="2"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4" name="Freeform 2269">
                    <a:extLst>
                      <a:ext uri="{FF2B5EF4-FFF2-40B4-BE49-F238E27FC236}">
                        <a16:creationId xmlns:a16="http://schemas.microsoft.com/office/drawing/2014/main" xmlns="" id="{09E383B6-C08F-4768-95D0-58861D2B106C}"/>
                      </a:ext>
                    </a:extLst>
                  </p:cNvPr>
                  <p:cNvSpPr>
                    <a:spLocks/>
                  </p:cNvSpPr>
                  <p:nvPr/>
                </p:nvSpPr>
                <p:spPr bwMode="gray">
                  <a:xfrm>
                    <a:off x="5630126" y="4387666"/>
                    <a:ext cx="17799" cy="22248"/>
                  </a:xfrm>
                  <a:custGeom>
                    <a:avLst/>
                    <a:gdLst>
                      <a:gd name="T0" fmla="*/ 2147483647 w 16"/>
                      <a:gd name="T1" fmla="*/ 0 h 20"/>
                      <a:gd name="T2" fmla="*/ 2147483647 w 16"/>
                      <a:gd name="T3" fmla="*/ 0 h 20"/>
                      <a:gd name="T4" fmla="*/ 2147483647 w 16"/>
                      <a:gd name="T5" fmla="*/ 2147483647 h 20"/>
                      <a:gd name="T6" fmla="*/ 2147483647 w 16"/>
                      <a:gd name="T7" fmla="*/ 2147483647 h 20"/>
                      <a:gd name="T8" fmla="*/ 2147483647 w 16"/>
                      <a:gd name="T9" fmla="*/ 2147483647 h 20"/>
                      <a:gd name="T10" fmla="*/ 2147483647 w 16"/>
                      <a:gd name="T11" fmla="*/ 2147483647 h 20"/>
                      <a:gd name="T12" fmla="*/ 2147483647 w 16"/>
                      <a:gd name="T13" fmla="*/ 2147483647 h 20"/>
                      <a:gd name="T14" fmla="*/ 2147483647 w 16"/>
                      <a:gd name="T15" fmla="*/ 2147483647 h 20"/>
                      <a:gd name="T16" fmla="*/ 2147483647 w 16"/>
                      <a:gd name="T17" fmla="*/ 2147483647 h 20"/>
                      <a:gd name="T18" fmla="*/ 2147483647 w 16"/>
                      <a:gd name="T19" fmla="*/ 2147483647 h 20"/>
                      <a:gd name="T20" fmla="*/ 2147483647 w 16"/>
                      <a:gd name="T21" fmla="*/ 2147483647 h 20"/>
                      <a:gd name="T22" fmla="*/ 2147483647 w 16"/>
                      <a:gd name="T23" fmla="*/ 2147483647 h 20"/>
                      <a:gd name="T24" fmla="*/ 2147483647 w 16"/>
                      <a:gd name="T25" fmla="*/ 2147483647 h 20"/>
                      <a:gd name="T26" fmla="*/ 2147483647 w 16"/>
                      <a:gd name="T27" fmla="*/ 2147483647 h 20"/>
                      <a:gd name="T28" fmla="*/ 2147483647 w 16"/>
                      <a:gd name="T29" fmla="*/ 2147483647 h 20"/>
                      <a:gd name="T30" fmla="*/ 2147483647 w 16"/>
                      <a:gd name="T31" fmla="*/ 2147483647 h 20"/>
                      <a:gd name="T32" fmla="*/ 2147483647 w 16"/>
                      <a:gd name="T33" fmla="*/ 2147483647 h 20"/>
                      <a:gd name="T34" fmla="*/ 2147483647 w 16"/>
                      <a:gd name="T35" fmla="*/ 2147483647 h 20"/>
                      <a:gd name="T36" fmla="*/ 2147483647 w 16"/>
                      <a:gd name="T37" fmla="*/ 2147483647 h 20"/>
                      <a:gd name="T38" fmla="*/ 0 w 16"/>
                      <a:gd name="T39" fmla="*/ 2147483647 h 20"/>
                      <a:gd name="T40" fmla="*/ 0 w 16"/>
                      <a:gd name="T41" fmla="*/ 2147483647 h 20"/>
                      <a:gd name="T42" fmla="*/ 2147483647 w 16"/>
                      <a:gd name="T43" fmla="*/ 0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6" h="20">
                        <a:moveTo>
                          <a:pt x="2" y="0"/>
                        </a:moveTo>
                        <a:lnTo>
                          <a:pt x="3" y="0"/>
                        </a:lnTo>
                        <a:lnTo>
                          <a:pt x="4" y="2"/>
                        </a:lnTo>
                        <a:lnTo>
                          <a:pt x="9" y="6"/>
                        </a:lnTo>
                        <a:lnTo>
                          <a:pt x="15" y="10"/>
                        </a:lnTo>
                        <a:lnTo>
                          <a:pt x="16" y="12"/>
                        </a:lnTo>
                        <a:lnTo>
                          <a:pt x="16" y="13"/>
                        </a:lnTo>
                        <a:lnTo>
                          <a:pt x="16" y="14"/>
                        </a:lnTo>
                        <a:lnTo>
                          <a:pt x="16" y="15"/>
                        </a:lnTo>
                        <a:lnTo>
                          <a:pt x="16" y="17"/>
                        </a:lnTo>
                        <a:lnTo>
                          <a:pt x="15" y="17"/>
                        </a:lnTo>
                        <a:lnTo>
                          <a:pt x="14" y="17"/>
                        </a:lnTo>
                        <a:lnTo>
                          <a:pt x="13" y="18"/>
                        </a:lnTo>
                        <a:lnTo>
                          <a:pt x="11" y="20"/>
                        </a:lnTo>
                        <a:lnTo>
                          <a:pt x="11" y="17"/>
                        </a:lnTo>
                        <a:lnTo>
                          <a:pt x="9" y="16"/>
                        </a:lnTo>
                        <a:lnTo>
                          <a:pt x="7" y="14"/>
                        </a:lnTo>
                        <a:lnTo>
                          <a:pt x="3" y="8"/>
                        </a:lnTo>
                        <a:lnTo>
                          <a:pt x="1" y="6"/>
                        </a:lnTo>
                        <a:lnTo>
                          <a:pt x="0" y="4"/>
                        </a:lnTo>
                        <a:lnTo>
                          <a:pt x="0" y="2"/>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5" name="Freeform 2271">
                    <a:extLst>
                      <a:ext uri="{FF2B5EF4-FFF2-40B4-BE49-F238E27FC236}">
                        <a16:creationId xmlns:a16="http://schemas.microsoft.com/office/drawing/2014/main" xmlns="" id="{61F9E8F9-9325-4C4B-A965-3E7B302AD718}"/>
                      </a:ext>
                    </a:extLst>
                  </p:cNvPr>
                  <p:cNvSpPr>
                    <a:spLocks/>
                  </p:cNvSpPr>
                  <p:nvPr/>
                </p:nvSpPr>
                <p:spPr bwMode="gray">
                  <a:xfrm>
                    <a:off x="5310848" y="4380993"/>
                    <a:ext cx="4450" cy="4450"/>
                  </a:xfrm>
                  <a:custGeom>
                    <a:avLst/>
                    <a:gdLst>
                      <a:gd name="T0" fmla="*/ 2147483647 w 4"/>
                      <a:gd name="T1" fmla="*/ 0 h 4"/>
                      <a:gd name="T2" fmla="*/ 0 w 4"/>
                      <a:gd name="T3" fmla="*/ 2147483647 h 4"/>
                      <a:gd name="T4" fmla="*/ 2147483647 w 4"/>
                      <a:gd name="T5" fmla="*/ 2147483647 h 4"/>
                      <a:gd name="T6" fmla="*/ 2147483647 w 4"/>
                      <a:gd name="T7" fmla="*/ 2147483647 h 4"/>
                      <a:gd name="T8" fmla="*/ 2147483647 w 4"/>
                      <a:gd name="T9" fmla="*/ 2147483647 h 4"/>
                      <a:gd name="T10" fmla="*/ 2147483647 w 4"/>
                      <a:gd name="T11" fmla="*/ 2147483647 h 4"/>
                      <a:gd name="T12" fmla="*/ 2147483647 w 4"/>
                      <a:gd name="T13" fmla="*/ 2147483647 h 4"/>
                      <a:gd name="T14" fmla="*/ 2147483647 w 4"/>
                      <a:gd name="T15" fmla="*/ 2147483647 h 4"/>
                      <a:gd name="T16" fmla="*/ 2147483647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2" y="0"/>
                        </a:moveTo>
                        <a:lnTo>
                          <a:pt x="0" y="1"/>
                        </a:lnTo>
                        <a:lnTo>
                          <a:pt x="1" y="1"/>
                        </a:lnTo>
                        <a:lnTo>
                          <a:pt x="2" y="2"/>
                        </a:lnTo>
                        <a:lnTo>
                          <a:pt x="4" y="4"/>
                        </a:lnTo>
                        <a:lnTo>
                          <a:pt x="2" y="2"/>
                        </a:lnTo>
                        <a:lnTo>
                          <a:pt x="2" y="1"/>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6" name="Freeform 2273">
                    <a:extLst>
                      <a:ext uri="{FF2B5EF4-FFF2-40B4-BE49-F238E27FC236}">
                        <a16:creationId xmlns:a16="http://schemas.microsoft.com/office/drawing/2014/main" xmlns="" id="{C4120249-A7E3-4511-9251-36631C49086B}"/>
                      </a:ext>
                    </a:extLst>
                  </p:cNvPr>
                  <p:cNvSpPr>
                    <a:spLocks/>
                  </p:cNvSpPr>
                  <p:nvPr/>
                </p:nvSpPr>
                <p:spPr bwMode="gray">
                  <a:xfrm>
                    <a:off x="5305285" y="4377655"/>
                    <a:ext cx="3338" cy="3337"/>
                  </a:xfrm>
                  <a:custGeom>
                    <a:avLst/>
                    <a:gdLst>
                      <a:gd name="T0" fmla="*/ 0 w 3"/>
                      <a:gd name="T1" fmla="*/ 0 h 3"/>
                      <a:gd name="T2" fmla="*/ 0 w 3"/>
                      <a:gd name="T3" fmla="*/ 2147483647 h 3"/>
                      <a:gd name="T4" fmla="*/ 2147483647 w 3"/>
                      <a:gd name="T5" fmla="*/ 2147483647 h 3"/>
                      <a:gd name="T6" fmla="*/ 2147483647 w 3"/>
                      <a:gd name="T7" fmla="*/ 2147483647 h 3"/>
                      <a:gd name="T8" fmla="*/ 2147483647 w 3"/>
                      <a:gd name="T9" fmla="*/ 2147483647 h 3"/>
                      <a:gd name="T10" fmla="*/ 2147483647 w 3"/>
                      <a:gd name="T11" fmla="*/ 2147483647 h 3"/>
                      <a:gd name="T12" fmla="*/ 2147483647 w 3"/>
                      <a:gd name="T13" fmla="*/ 2147483647 h 3"/>
                      <a:gd name="T14" fmla="*/ 0 w 3"/>
                      <a:gd name="T15" fmla="*/ 0 h 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3">
                        <a:moveTo>
                          <a:pt x="0" y="0"/>
                        </a:moveTo>
                        <a:lnTo>
                          <a:pt x="0" y="3"/>
                        </a:lnTo>
                        <a:lnTo>
                          <a:pt x="2" y="3"/>
                        </a:lnTo>
                        <a:lnTo>
                          <a:pt x="3" y="3"/>
                        </a:lnTo>
                        <a:lnTo>
                          <a:pt x="2" y="2"/>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7" name="Freeform 2275">
                    <a:extLst>
                      <a:ext uri="{FF2B5EF4-FFF2-40B4-BE49-F238E27FC236}">
                        <a16:creationId xmlns:a16="http://schemas.microsoft.com/office/drawing/2014/main" xmlns="" id="{68263F28-5558-493D-BC42-835EAE75DC8F}"/>
                      </a:ext>
                    </a:extLst>
                  </p:cNvPr>
                  <p:cNvSpPr>
                    <a:spLocks/>
                  </p:cNvSpPr>
                  <p:nvPr/>
                </p:nvSpPr>
                <p:spPr bwMode="gray">
                  <a:xfrm>
                    <a:off x="5591189" y="4367644"/>
                    <a:ext cx="12237" cy="28923"/>
                  </a:xfrm>
                  <a:custGeom>
                    <a:avLst/>
                    <a:gdLst>
                      <a:gd name="T0" fmla="*/ 0 w 11"/>
                      <a:gd name="T1" fmla="*/ 0 h 26"/>
                      <a:gd name="T2" fmla="*/ 2147483647 w 11"/>
                      <a:gd name="T3" fmla="*/ 2147483647 h 26"/>
                      <a:gd name="T4" fmla="*/ 2147483647 w 11"/>
                      <a:gd name="T5" fmla="*/ 2147483647 h 26"/>
                      <a:gd name="T6" fmla="*/ 2147483647 w 11"/>
                      <a:gd name="T7" fmla="*/ 2147483647 h 26"/>
                      <a:gd name="T8" fmla="*/ 2147483647 w 11"/>
                      <a:gd name="T9" fmla="*/ 2147483647 h 26"/>
                      <a:gd name="T10" fmla="*/ 2147483647 w 11"/>
                      <a:gd name="T11" fmla="*/ 2147483647 h 26"/>
                      <a:gd name="T12" fmla="*/ 2147483647 w 11"/>
                      <a:gd name="T13" fmla="*/ 2147483647 h 26"/>
                      <a:gd name="T14" fmla="*/ 2147483647 w 11"/>
                      <a:gd name="T15" fmla="*/ 2147483647 h 26"/>
                      <a:gd name="T16" fmla="*/ 2147483647 w 11"/>
                      <a:gd name="T17" fmla="*/ 2147483647 h 26"/>
                      <a:gd name="T18" fmla="*/ 2147483647 w 11"/>
                      <a:gd name="T19" fmla="*/ 2147483647 h 26"/>
                      <a:gd name="T20" fmla="*/ 2147483647 w 11"/>
                      <a:gd name="T21" fmla="*/ 2147483647 h 26"/>
                      <a:gd name="T22" fmla="*/ 2147483647 w 11"/>
                      <a:gd name="T23" fmla="*/ 2147483647 h 26"/>
                      <a:gd name="T24" fmla="*/ 2147483647 w 11"/>
                      <a:gd name="T25" fmla="*/ 2147483647 h 26"/>
                      <a:gd name="T26" fmla="*/ 2147483647 w 11"/>
                      <a:gd name="T27" fmla="*/ 2147483647 h 26"/>
                      <a:gd name="T28" fmla="*/ 2147483647 w 11"/>
                      <a:gd name="T29" fmla="*/ 2147483647 h 26"/>
                      <a:gd name="T30" fmla="*/ 2147483647 w 11"/>
                      <a:gd name="T31" fmla="*/ 2147483647 h 26"/>
                      <a:gd name="T32" fmla="*/ 0 w 11"/>
                      <a:gd name="T33" fmla="*/ 2147483647 h 26"/>
                      <a:gd name="T34" fmla="*/ 2147483647 w 11"/>
                      <a:gd name="T35" fmla="*/ 2147483647 h 26"/>
                      <a:gd name="T36" fmla="*/ 2147483647 w 11"/>
                      <a:gd name="T37" fmla="*/ 2147483647 h 26"/>
                      <a:gd name="T38" fmla="*/ 2147483647 w 11"/>
                      <a:gd name="T39" fmla="*/ 2147483647 h 26"/>
                      <a:gd name="T40" fmla="*/ 2147483647 w 11"/>
                      <a:gd name="T41" fmla="*/ 2147483647 h 26"/>
                      <a:gd name="T42" fmla="*/ 2147483647 w 11"/>
                      <a:gd name="T43" fmla="*/ 2147483647 h 26"/>
                      <a:gd name="T44" fmla="*/ 2147483647 w 11"/>
                      <a:gd name="T45" fmla="*/ 2147483647 h 26"/>
                      <a:gd name="T46" fmla="*/ 2147483647 w 11"/>
                      <a:gd name="T47" fmla="*/ 2147483647 h 26"/>
                      <a:gd name="T48" fmla="*/ 0 w 11"/>
                      <a:gd name="T49" fmla="*/ 2147483647 h 26"/>
                      <a:gd name="T50" fmla="*/ 0 w 11"/>
                      <a:gd name="T51" fmla="*/ 2147483647 h 26"/>
                      <a:gd name="T52" fmla="*/ 0 w 11"/>
                      <a:gd name="T53" fmla="*/ 2147483647 h 26"/>
                      <a:gd name="T54" fmla="*/ 0 w 11"/>
                      <a:gd name="T55" fmla="*/ 0 h 2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1" h="26">
                        <a:moveTo>
                          <a:pt x="0" y="0"/>
                        </a:moveTo>
                        <a:lnTo>
                          <a:pt x="3" y="2"/>
                        </a:lnTo>
                        <a:lnTo>
                          <a:pt x="4" y="5"/>
                        </a:lnTo>
                        <a:lnTo>
                          <a:pt x="5" y="6"/>
                        </a:lnTo>
                        <a:lnTo>
                          <a:pt x="5" y="7"/>
                        </a:lnTo>
                        <a:lnTo>
                          <a:pt x="7" y="9"/>
                        </a:lnTo>
                        <a:lnTo>
                          <a:pt x="9" y="10"/>
                        </a:lnTo>
                        <a:lnTo>
                          <a:pt x="11" y="10"/>
                        </a:lnTo>
                        <a:lnTo>
                          <a:pt x="11" y="16"/>
                        </a:lnTo>
                        <a:lnTo>
                          <a:pt x="10" y="20"/>
                        </a:lnTo>
                        <a:lnTo>
                          <a:pt x="8" y="23"/>
                        </a:lnTo>
                        <a:lnTo>
                          <a:pt x="5" y="26"/>
                        </a:lnTo>
                        <a:lnTo>
                          <a:pt x="4" y="25"/>
                        </a:lnTo>
                        <a:lnTo>
                          <a:pt x="3" y="25"/>
                        </a:lnTo>
                        <a:lnTo>
                          <a:pt x="2" y="25"/>
                        </a:lnTo>
                        <a:lnTo>
                          <a:pt x="0" y="23"/>
                        </a:lnTo>
                        <a:lnTo>
                          <a:pt x="5" y="20"/>
                        </a:lnTo>
                        <a:lnTo>
                          <a:pt x="5" y="17"/>
                        </a:lnTo>
                        <a:lnTo>
                          <a:pt x="5" y="13"/>
                        </a:lnTo>
                        <a:lnTo>
                          <a:pt x="5" y="10"/>
                        </a:lnTo>
                        <a:lnTo>
                          <a:pt x="5" y="7"/>
                        </a:lnTo>
                        <a:lnTo>
                          <a:pt x="3" y="7"/>
                        </a:lnTo>
                        <a:lnTo>
                          <a:pt x="2" y="7"/>
                        </a:lnTo>
                        <a:lnTo>
                          <a:pt x="0" y="7"/>
                        </a:lnTo>
                        <a:lnTo>
                          <a:pt x="0" y="2"/>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8" name="Freeform 2277">
                    <a:extLst>
                      <a:ext uri="{FF2B5EF4-FFF2-40B4-BE49-F238E27FC236}">
                        <a16:creationId xmlns:a16="http://schemas.microsoft.com/office/drawing/2014/main" xmlns="" id="{6D8992B8-4783-40B7-8866-9B3DC430DD31}"/>
                      </a:ext>
                    </a:extLst>
                  </p:cNvPr>
                  <p:cNvSpPr>
                    <a:spLocks/>
                  </p:cNvSpPr>
                  <p:nvPr/>
                </p:nvSpPr>
                <p:spPr bwMode="gray">
                  <a:xfrm>
                    <a:off x="5743597" y="4270864"/>
                    <a:ext cx="30037" cy="43384"/>
                  </a:xfrm>
                  <a:custGeom>
                    <a:avLst/>
                    <a:gdLst>
                      <a:gd name="T0" fmla="*/ 2147483647 w 27"/>
                      <a:gd name="T1" fmla="*/ 0 h 39"/>
                      <a:gd name="T2" fmla="*/ 2147483647 w 27"/>
                      <a:gd name="T3" fmla="*/ 2147483647 h 39"/>
                      <a:gd name="T4" fmla="*/ 2147483647 w 27"/>
                      <a:gd name="T5" fmla="*/ 2147483647 h 39"/>
                      <a:gd name="T6" fmla="*/ 2147483647 w 27"/>
                      <a:gd name="T7" fmla="*/ 2147483647 h 39"/>
                      <a:gd name="T8" fmla="*/ 2147483647 w 27"/>
                      <a:gd name="T9" fmla="*/ 2147483647 h 39"/>
                      <a:gd name="T10" fmla="*/ 2147483647 w 27"/>
                      <a:gd name="T11" fmla="*/ 2147483647 h 39"/>
                      <a:gd name="T12" fmla="*/ 2147483647 w 27"/>
                      <a:gd name="T13" fmla="*/ 2147483647 h 39"/>
                      <a:gd name="T14" fmla="*/ 2147483647 w 27"/>
                      <a:gd name="T15" fmla="*/ 2147483647 h 39"/>
                      <a:gd name="T16" fmla="*/ 2147483647 w 27"/>
                      <a:gd name="T17" fmla="*/ 2147483647 h 39"/>
                      <a:gd name="T18" fmla="*/ 2147483647 w 27"/>
                      <a:gd name="T19" fmla="*/ 2147483647 h 39"/>
                      <a:gd name="T20" fmla="*/ 2147483647 w 27"/>
                      <a:gd name="T21" fmla="*/ 2147483647 h 39"/>
                      <a:gd name="T22" fmla="*/ 2147483647 w 27"/>
                      <a:gd name="T23" fmla="*/ 2147483647 h 39"/>
                      <a:gd name="T24" fmla="*/ 2147483647 w 27"/>
                      <a:gd name="T25" fmla="*/ 2147483647 h 39"/>
                      <a:gd name="T26" fmla="*/ 2147483647 w 27"/>
                      <a:gd name="T27" fmla="*/ 2147483647 h 39"/>
                      <a:gd name="T28" fmla="*/ 2147483647 w 27"/>
                      <a:gd name="T29" fmla="*/ 2147483647 h 39"/>
                      <a:gd name="T30" fmla="*/ 2147483647 w 27"/>
                      <a:gd name="T31" fmla="*/ 2147483647 h 39"/>
                      <a:gd name="T32" fmla="*/ 2147483647 w 27"/>
                      <a:gd name="T33" fmla="*/ 2147483647 h 39"/>
                      <a:gd name="T34" fmla="*/ 2147483647 w 27"/>
                      <a:gd name="T35" fmla="*/ 2147483647 h 39"/>
                      <a:gd name="T36" fmla="*/ 2147483647 w 27"/>
                      <a:gd name="T37" fmla="*/ 2147483647 h 39"/>
                      <a:gd name="T38" fmla="*/ 2147483647 w 27"/>
                      <a:gd name="T39" fmla="*/ 2147483647 h 39"/>
                      <a:gd name="T40" fmla="*/ 2147483647 w 27"/>
                      <a:gd name="T41" fmla="*/ 2147483647 h 39"/>
                      <a:gd name="T42" fmla="*/ 2147483647 w 27"/>
                      <a:gd name="T43" fmla="*/ 2147483647 h 39"/>
                      <a:gd name="T44" fmla="*/ 2147483647 w 27"/>
                      <a:gd name="T45" fmla="*/ 2147483647 h 39"/>
                      <a:gd name="T46" fmla="*/ 2147483647 w 27"/>
                      <a:gd name="T47" fmla="*/ 2147483647 h 39"/>
                      <a:gd name="T48" fmla="*/ 0 w 27"/>
                      <a:gd name="T49" fmla="*/ 2147483647 h 39"/>
                      <a:gd name="T50" fmla="*/ 0 w 27"/>
                      <a:gd name="T51" fmla="*/ 2147483647 h 39"/>
                      <a:gd name="T52" fmla="*/ 0 w 27"/>
                      <a:gd name="T53" fmla="*/ 2147483647 h 39"/>
                      <a:gd name="T54" fmla="*/ 0 w 27"/>
                      <a:gd name="T55" fmla="*/ 2147483647 h 39"/>
                      <a:gd name="T56" fmla="*/ 2147483647 w 27"/>
                      <a:gd name="T57" fmla="*/ 2147483647 h 39"/>
                      <a:gd name="T58" fmla="*/ 2147483647 w 27"/>
                      <a:gd name="T59" fmla="*/ 2147483647 h 39"/>
                      <a:gd name="T60" fmla="*/ 2147483647 w 27"/>
                      <a:gd name="T61" fmla="*/ 2147483647 h 39"/>
                      <a:gd name="T62" fmla="*/ 2147483647 w 27"/>
                      <a:gd name="T63" fmla="*/ 2147483647 h 39"/>
                      <a:gd name="T64" fmla="*/ 2147483647 w 27"/>
                      <a:gd name="T65" fmla="*/ 2147483647 h 39"/>
                      <a:gd name="T66" fmla="*/ 2147483647 w 27"/>
                      <a:gd name="T67" fmla="*/ 2147483647 h 39"/>
                      <a:gd name="T68" fmla="*/ 2147483647 w 27"/>
                      <a:gd name="T69" fmla="*/ 2147483647 h 39"/>
                      <a:gd name="T70" fmla="*/ 2147483647 w 27"/>
                      <a:gd name="T71" fmla="*/ 2147483647 h 39"/>
                      <a:gd name="T72" fmla="*/ 2147483647 w 27"/>
                      <a:gd name="T73" fmla="*/ 2147483647 h 39"/>
                      <a:gd name="T74" fmla="*/ 2147483647 w 27"/>
                      <a:gd name="T75" fmla="*/ 2147483647 h 39"/>
                      <a:gd name="T76" fmla="*/ 2147483647 w 27"/>
                      <a:gd name="T77" fmla="*/ 0 h 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 h="39">
                        <a:moveTo>
                          <a:pt x="7" y="0"/>
                        </a:moveTo>
                        <a:lnTo>
                          <a:pt x="9" y="1"/>
                        </a:lnTo>
                        <a:lnTo>
                          <a:pt x="12" y="2"/>
                        </a:lnTo>
                        <a:lnTo>
                          <a:pt x="13" y="8"/>
                        </a:lnTo>
                        <a:lnTo>
                          <a:pt x="13" y="14"/>
                        </a:lnTo>
                        <a:lnTo>
                          <a:pt x="14" y="19"/>
                        </a:lnTo>
                        <a:lnTo>
                          <a:pt x="17" y="19"/>
                        </a:lnTo>
                        <a:lnTo>
                          <a:pt x="20" y="19"/>
                        </a:lnTo>
                        <a:lnTo>
                          <a:pt x="22" y="19"/>
                        </a:lnTo>
                        <a:lnTo>
                          <a:pt x="24" y="19"/>
                        </a:lnTo>
                        <a:lnTo>
                          <a:pt x="25" y="21"/>
                        </a:lnTo>
                        <a:lnTo>
                          <a:pt x="26" y="24"/>
                        </a:lnTo>
                        <a:lnTo>
                          <a:pt x="27" y="32"/>
                        </a:lnTo>
                        <a:lnTo>
                          <a:pt x="27" y="35"/>
                        </a:lnTo>
                        <a:lnTo>
                          <a:pt x="25" y="38"/>
                        </a:lnTo>
                        <a:lnTo>
                          <a:pt x="23" y="39"/>
                        </a:lnTo>
                        <a:lnTo>
                          <a:pt x="20" y="39"/>
                        </a:lnTo>
                        <a:lnTo>
                          <a:pt x="16" y="39"/>
                        </a:lnTo>
                        <a:lnTo>
                          <a:pt x="13" y="37"/>
                        </a:lnTo>
                        <a:lnTo>
                          <a:pt x="12" y="35"/>
                        </a:lnTo>
                        <a:lnTo>
                          <a:pt x="10" y="32"/>
                        </a:lnTo>
                        <a:lnTo>
                          <a:pt x="7" y="32"/>
                        </a:lnTo>
                        <a:lnTo>
                          <a:pt x="4" y="31"/>
                        </a:lnTo>
                        <a:lnTo>
                          <a:pt x="1" y="30"/>
                        </a:lnTo>
                        <a:lnTo>
                          <a:pt x="0" y="29"/>
                        </a:lnTo>
                        <a:lnTo>
                          <a:pt x="0" y="25"/>
                        </a:lnTo>
                        <a:lnTo>
                          <a:pt x="0" y="22"/>
                        </a:lnTo>
                        <a:lnTo>
                          <a:pt x="0" y="19"/>
                        </a:lnTo>
                        <a:lnTo>
                          <a:pt x="2" y="16"/>
                        </a:lnTo>
                        <a:lnTo>
                          <a:pt x="6" y="12"/>
                        </a:lnTo>
                        <a:lnTo>
                          <a:pt x="10" y="7"/>
                        </a:lnTo>
                        <a:lnTo>
                          <a:pt x="10" y="5"/>
                        </a:lnTo>
                        <a:lnTo>
                          <a:pt x="9" y="5"/>
                        </a:lnTo>
                        <a:lnTo>
                          <a:pt x="7" y="4"/>
                        </a:lnTo>
                        <a:lnTo>
                          <a:pt x="7" y="3"/>
                        </a:lnTo>
                        <a:lnTo>
                          <a:pt x="7" y="2"/>
                        </a:lnTo>
                        <a:lnTo>
                          <a:pt x="7" y="1"/>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29" name="Freeform 2279">
                    <a:extLst>
                      <a:ext uri="{FF2B5EF4-FFF2-40B4-BE49-F238E27FC236}">
                        <a16:creationId xmlns:a16="http://schemas.microsoft.com/office/drawing/2014/main" xmlns="" id="{B04C6AA9-B658-4FAA-9D64-17BC057D37A2}"/>
                      </a:ext>
                    </a:extLst>
                  </p:cNvPr>
                  <p:cNvSpPr>
                    <a:spLocks/>
                  </p:cNvSpPr>
                  <p:nvPr/>
                </p:nvSpPr>
                <p:spPr bwMode="gray">
                  <a:xfrm>
                    <a:off x="5258562" y="4236380"/>
                    <a:ext cx="24475" cy="13349"/>
                  </a:xfrm>
                  <a:custGeom>
                    <a:avLst/>
                    <a:gdLst>
                      <a:gd name="T0" fmla="*/ 2147483647 w 22"/>
                      <a:gd name="T1" fmla="*/ 0 h 12"/>
                      <a:gd name="T2" fmla="*/ 2147483647 w 22"/>
                      <a:gd name="T3" fmla="*/ 2147483647 h 12"/>
                      <a:gd name="T4" fmla="*/ 2147483647 w 22"/>
                      <a:gd name="T5" fmla="*/ 2147483647 h 12"/>
                      <a:gd name="T6" fmla="*/ 2147483647 w 22"/>
                      <a:gd name="T7" fmla="*/ 2147483647 h 12"/>
                      <a:gd name="T8" fmla="*/ 0 w 22"/>
                      <a:gd name="T9" fmla="*/ 2147483647 h 12"/>
                      <a:gd name="T10" fmla="*/ 0 w 22"/>
                      <a:gd name="T11" fmla="*/ 2147483647 h 12"/>
                      <a:gd name="T12" fmla="*/ 2147483647 w 22"/>
                      <a:gd name="T13" fmla="*/ 2147483647 h 12"/>
                      <a:gd name="T14" fmla="*/ 2147483647 w 22"/>
                      <a:gd name="T15" fmla="*/ 2147483647 h 12"/>
                      <a:gd name="T16" fmla="*/ 2147483647 w 22"/>
                      <a:gd name="T17" fmla="*/ 2147483647 h 12"/>
                      <a:gd name="T18" fmla="*/ 2147483647 w 22"/>
                      <a:gd name="T19" fmla="*/ 2147483647 h 12"/>
                      <a:gd name="T20" fmla="*/ 2147483647 w 22"/>
                      <a:gd name="T21" fmla="*/ 2147483647 h 12"/>
                      <a:gd name="T22" fmla="*/ 2147483647 w 22"/>
                      <a:gd name="T23" fmla="*/ 2147483647 h 12"/>
                      <a:gd name="T24" fmla="*/ 2147483647 w 22"/>
                      <a:gd name="T25" fmla="*/ 2147483647 h 12"/>
                      <a:gd name="T26" fmla="*/ 2147483647 w 22"/>
                      <a:gd name="T27" fmla="*/ 2147483647 h 12"/>
                      <a:gd name="T28" fmla="*/ 2147483647 w 22"/>
                      <a:gd name="T29" fmla="*/ 2147483647 h 12"/>
                      <a:gd name="T30" fmla="*/ 2147483647 w 22"/>
                      <a:gd name="T31" fmla="*/ 2147483647 h 12"/>
                      <a:gd name="T32" fmla="*/ 2147483647 w 22"/>
                      <a:gd name="T33" fmla="*/ 2147483647 h 12"/>
                      <a:gd name="T34" fmla="*/ 2147483647 w 22"/>
                      <a:gd name="T35" fmla="*/ 2147483647 h 12"/>
                      <a:gd name="T36" fmla="*/ 2147483647 w 22"/>
                      <a:gd name="T37" fmla="*/ 2147483647 h 12"/>
                      <a:gd name="T38" fmla="*/ 2147483647 w 22"/>
                      <a:gd name="T39" fmla="*/ 2147483647 h 12"/>
                      <a:gd name="T40" fmla="*/ 2147483647 w 22"/>
                      <a:gd name="T41" fmla="*/ 2147483647 h 12"/>
                      <a:gd name="T42" fmla="*/ 2147483647 w 22"/>
                      <a:gd name="T43" fmla="*/ 2147483647 h 12"/>
                      <a:gd name="T44" fmla="*/ 2147483647 w 22"/>
                      <a:gd name="T45" fmla="*/ 2147483647 h 12"/>
                      <a:gd name="T46" fmla="*/ 2147483647 w 22"/>
                      <a:gd name="T47" fmla="*/ 2147483647 h 12"/>
                      <a:gd name="T48" fmla="*/ 2147483647 w 22"/>
                      <a:gd name="T49" fmla="*/ 2147483647 h 12"/>
                      <a:gd name="T50" fmla="*/ 2147483647 w 22"/>
                      <a:gd name="T51" fmla="*/ 2147483647 h 12"/>
                      <a:gd name="T52" fmla="*/ 2147483647 w 22"/>
                      <a:gd name="T53" fmla="*/ 0 h 12"/>
                      <a:gd name="T54" fmla="*/ 2147483647 w 22"/>
                      <a:gd name="T55" fmla="*/ 0 h 1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2" h="12">
                        <a:moveTo>
                          <a:pt x="13" y="0"/>
                        </a:moveTo>
                        <a:lnTo>
                          <a:pt x="9" y="2"/>
                        </a:lnTo>
                        <a:lnTo>
                          <a:pt x="5" y="4"/>
                        </a:lnTo>
                        <a:lnTo>
                          <a:pt x="2" y="6"/>
                        </a:lnTo>
                        <a:lnTo>
                          <a:pt x="0" y="7"/>
                        </a:lnTo>
                        <a:lnTo>
                          <a:pt x="0" y="9"/>
                        </a:lnTo>
                        <a:lnTo>
                          <a:pt x="1" y="10"/>
                        </a:lnTo>
                        <a:lnTo>
                          <a:pt x="2" y="12"/>
                        </a:lnTo>
                        <a:lnTo>
                          <a:pt x="3" y="12"/>
                        </a:lnTo>
                        <a:lnTo>
                          <a:pt x="5" y="12"/>
                        </a:lnTo>
                        <a:lnTo>
                          <a:pt x="6" y="12"/>
                        </a:lnTo>
                        <a:lnTo>
                          <a:pt x="7" y="12"/>
                        </a:lnTo>
                        <a:lnTo>
                          <a:pt x="8" y="12"/>
                        </a:lnTo>
                        <a:lnTo>
                          <a:pt x="13" y="12"/>
                        </a:lnTo>
                        <a:lnTo>
                          <a:pt x="13" y="11"/>
                        </a:lnTo>
                        <a:lnTo>
                          <a:pt x="14" y="9"/>
                        </a:lnTo>
                        <a:lnTo>
                          <a:pt x="16" y="9"/>
                        </a:lnTo>
                        <a:lnTo>
                          <a:pt x="18" y="9"/>
                        </a:lnTo>
                        <a:lnTo>
                          <a:pt x="20" y="7"/>
                        </a:lnTo>
                        <a:lnTo>
                          <a:pt x="22" y="4"/>
                        </a:lnTo>
                        <a:lnTo>
                          <a:pt x="21" y="4"/>
                        </a:lnTo>
                        <a:lnTo>
                          <a:pt x="20" y="3"/>
                        </a:lnTo>
                        <a:lnTo>
                          <a:pt x="19" y="1"/>
                        </a:lnTo>
                        <a:lnTo>
                          <a:pt x="18" y="0"/>
                        </a:lnTo>
                        <a:lnTo>
                          <a:pt x="1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0" name="Freeform 2281">
                    <a:extLst>
                      <a:ext uri="{FF2B5EF4-FFF2-40B4-BE49-F238E27FC236}">
                        <a16:creationId xmlns:a16="http://schemas.microsoft.com/office/drawing/2014/main" xmlns="" id="{B05DCCCA-1B8E-4BCA-B1CA-41B0A3713A40}"/>
                      </a:ext>
                    </a:extLst>
                  </p:cNvPr>
                  <p:cNvSpPr>
                    <a:spLocks/>
                  </p:cNvSpPr>
                  <p:nvPr/>
                </p:nvSpPr>
                <p:spPr bwMode="gray">
                  <a:xfrm>
                    <a:off x="5406521" y="4221919"/>
                    <a:ext cx="8900" cy="5563"/>
                  </a:xfrm>
                  <a:custGeom>
                    <a:avLst/>
                    <a:gdLst>
                      <a:gd name="T0" fmla="*/ 2147483647 w 8"/>
                      <a:gd name="T1" fmla="*/ 0 h 5"/>
                      <a:gd name="T2" fmla="*/ 2147483647 w 8"/>
                      <a:gd name="T3" fmla="*/ 0 h 5"/>
                      <a:gd name="T4" fmla="*/ 2147483647 w 8"/>
                      <a:gd name="T5" fmla="*/ 0 h 5"/>
                      <a:gd name="T6" fmla="*/ 2147483647 w 8"/>
                      <a:gd name="T7" fmla="*/ 2147483647 h 5"/>
                      <a:gd name="T8" fmla="*/ 2147483647 w 8"/>
                      <a:gd name="T9" fmla="*/ 2147483647 h 5"/>
                      <a:gd name="T10" fmla="*/ 2147483647 w 8"/>
                      <a:gd name="T11" fmla="*/ 2147483647 h 5"/>
                      <a:gd name="T12" fmla="*/ 2147483647 w 8"/>
                      <a:gd name="T13" fmla="*/ 2147483647 h 5"/>
                      <a:gd name="T14" fmla="*/ 2147483647 w 8"/>
                      <a:gd name="T15" fmla="*/ 2147483647 h 5"/>
                      <a:gd name="T16" fmla="*/ 2147483647 w 8"/>
                      <a:gd name="T17" fmla="*/ 2147483647 h 5"/>
                      <a:gd name="T18" fmla="*/ 2147483647 w 8"/>
                      <a:gd name="T19" fmla="*/ 2147483647 h 5"/>
                      <a:gd name="T20" fmla="*/ 2147483647 w 8"/>
                      <a:gd name="T21" fmla="*/ 2147483647 h 5"/>
                      <a:gd name="T22" fmla="*/ 0 w 8"/>
                      <a:gd name="T23" fmla="*/ 2147483647 h 5"/>
                      <a:gd name="T24" fmla="*/ 0 w 8"/>
                      <a:gd name="T25" fmla="*/ 2147483647 h 5"/>
                      <a:gd name="T26" fmla="*/ 0 w 8"/>
                      <a:gd name="T27" fmla="*/ 2147483647 h 5"/>
                      <a:gd name="T28" fmla="*/ 0 w 8"/>
                      <a:gd name="T29" fmla="*/ 2147483647 h 5"/>
                      <a:gd name="T30" fmla="*/ 2147483647 w 8"/>
                      <a:gd name="T31" fmla="*/ 0 h 5"/>
                      <a:gd name="T32" fmla="*/ 2147483647 w 8"/>
                      <a:gd name="T33" fmla="*/ 0 h 5"/>
                      <a:gd name="T34" fmla="*/ 2147483647 w 8"/>
                      <a:gd name="T35" fmla="*/ 0 h 5"/>
                      <a:gd name="T36" fmla="*/ 2147483647 w 8"/>
                      <a:gd name="T37" fmla="*/ 0 h 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 h="5">
                        <a:moveTo>
                          <a:pt x="5" y="0"/>
                        </a:moveTo>
                        <a:lnTo>
                          <a:pt x="5" y="0"/>
                        </a:lnTo>
                        <a:lnTo>
                          <a:pt x="6" y="0"/>
                        </a:lnTo>
                        <a:lnTo>
                          <a:pt x="7" y="1"/>
                        </a:lnTo>
                        <a:lnTo>
                          <a:pt x="8" y="2"/>
                        </a:lnTo>
                        <a:lnTo>
                          <a:pt x="8" y="3"/>
                        </a:lnTo>
                        <a:lnTo>
                          <a:pt x="8" y="5"/>
                        </a:lnTo>
                        <a:lnTo>
                          <a:pt x="6" y="5"/>
                        </a:lnTo>
                        <a:lnTo>
                          <a:pt x="5" y="5"/>
                        </a:lnTo>
                        <a:lnTo>
                          <a:pt x="3" y="5"/>
                        </a:lnTo>
                        <a:lnTo>
                          <a:pt x="0" y="5"/>
                        </a:lnTo>
                        <a:lnTo>
                          <a:pt x="0" y="3"/>
                        </a:lnTo>
                        <a:lnTo>
                          <a:pt x="0" y="2"/>
                        </a:lnTo>
                        <a:lnTo>
                          <a:pt x="2" y="0"/>
                        </a:lnTo>
                        <a:lnTo>
                          <a:pt x="3" y="0"/>
                        </a:lnTo>
                        <a:lnTo>
                          <a:pt x="4" y="0"/>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1" name="Freeform 2283">
                    <a:extLst>
                      <a:ext uri="{FF2B5EF4-FFF2-40B4-BE49-F238E27FC236}">
                        <a16:creationId xmlns:a16="http://schemas.microsoft.com/office/drawing/2014/main" xmlns="" id="{A506C990-E824-4DD5-92BD-81E1BE81D60C}"/>
                      </a:ext>
                    </a:extLst>
                  </p:cNvPr>
                  <p:cNvSpPr>
                    <a:spLocks/>
                  </p:cNvSpPr>
                  <p:nvPr/>
                </p:nvSpPr>
                <p:spPr bwMode="gray">
                  <a:xfrm>
                    <a:off x="5382046" y="4204121"/>
                    <a:ext cx="4450" cy="3337"/>
                  </a:xfrm>
                  <a:custGeom>
                    <a:avLst/>
                    <a:gdLst>
                      <a:gd name="T0" fmla="*/ 0 w 4"/>
                      <a:gd name="T1" fmla="*/ 0 h 3"/>
                      <a:gd name="T2" fmla="*/ 0 w 4"/>
                      <a:gd name="T3" fmla="*/ 0 h 3"/>
                      <a:gd name="T4" fmla="*/ 2147483647 w 4"/>
                      <a:gd name="T5" fmla="*/ 2147483647 h 3"/>
                      <a:gd name="T6" fmla="*/ 2147483647 w 4"/>
                      <a:gd name="T7" fmla="*/ 2147483647 h 3"/>
                      <a:gd name="T8" fmla="*/ 2147483647 w 4"/>
                      <a:gd name="T9" fmla="*/ 2147483647 h 3"/>
                      <a:gd name="T10" fmla="*/ 2147483647 w 4"/>
                      <a:gd name="T11" fmla="*/ 2147483647 h 3"/>
                      <a:gd name="T12" fmla="*/ 2147483647 w 4"/>
                      <a:gd name="T13" fmla="*/ 0 h 3"/>
                      <a:gd name="T14" fmla="*/ 2147483647 w 4"/>
                      <a:gd name="T15" fmla="*/ 0 h 3"/>
                      <a:gd name="T16" fmla="*/ 0 w 4"/>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3">
                        <a:moveTo>
                          <a:pt x="0" y="0"/>
                        </a:moveTo>
                        <a:lnTo>
                          <a:pt x="0" y="0"/>
                        </a:lnTo>
                        <a:lnTo>
                          <a:pt x="2" y="2"/>
                        </a:lnTo>
                        <a:lnTo>
                          <a:pt x="2" y="3"/>
                        </a:lnTo>
                        <a:lnTo>
                          <a:pt x="4" y="3"/>
                        </a:lnTo>
                        <a:lnTo>
                          <a:pt x="4" y="1"/>
                        </a:lnTo>
                        <a:lnTo>
                          <a:pt x="4" y="0"/>
                        </a:lnTo>
                        <a:lnTo>
                          <a:pt x="3"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2" name="Freeform 2285">
                    <a:extLst>
                      <a:ext uri="{FF2B5EF4-FFF2-40B4-BE49-F238E27FC236}">
                        <a16:creationId xmlns:a16="http://schemas.microsoft.com/office/drawing/2014/main" xmlns="" id="{D0D107AB-A64C-4987-90D7-00A513BA2ECD}"/>
                      </a:ext>
                    </a:extLst>
                  </p:cNvPr>
                  <p:cNvSpPr>
                    <a:spLocks/>
                  </p:cNvSpPr>
                  <p:nvPr/>
                </p:nvSpPr>
                <p:spPr bwMode="gray">
                  <a:xfrm>
                    <a:off x="5386496" y="4201895"/>
                    <a:ext cx="4450" cy="5563"/>
                  </a:xfrm>
                  <a:custGeom>
                    <a:avLst/>
                    <a:gdLst>
                      <a:gd name="T0" fmla="*/ 2147483647 w 4"/>
                      <a:gd name="T1" fmla="*/ 2147483647 h 5"/>
                      <a:gd name="T2" fmla="*/ 0 w 4"/>
                      <a:gd name="T3" fmla="*/ 2147483647 h 5"/>
                      <a:gd name="T4" fmla="*/ 2147483647 w 4"/>
                      <a:gd name="T5" fmla="*/ 2147483647 h 5"/>
                      <a:gd name="T6" fmla="*/ 2147483647 w 4"/>
                      <a:gd name="T7" fmla="*/ 2147483647 h 5"/>
                      <a:gd name="T8" fmla="*/ 2147483647 w 4"/>
                      <a:gd name="T9" fmla="*/ 2147483647 h 5"/>
                      <a:gd name="T10" fmla="*/ 2147483647 w 4"/>
                      <a:gd name="T11" fmla="*/ 2147483647 h 5"/>
                      <a:gd name="T12" fmla="*/ 2147483647 w 4"/>
                      <a:gd name="T13" fmla="*/ 2147483647 h 5"/>
                      <a:gd name="T14" fmla="*/ 2147483647 w 4"/>
                      <a:gd name="T15" fmla="*/ 2147483647 h 5"/>
                      <a:gd name="T16" fmla="*/ 2147483647 w 4"/>
                      <a:gd name="T17" fmla="*/ 0 h 5"/>
                      <a:gd name="T18" fmla="*/ 2147483647 w 4"/>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5">
                        <a:moveTo>
                          <a:pt x="4" y="2"/>
                        </a:moveTo>
                        <a:lnTo>
                          <a:pt x="0" y="5"/>
                        </a:lnTo>
                        <a:lnTo>
                          <a:pt x="1" y="4"/>
                        </a:lnTo>
                        <a:lnTo>
                          <a:pt x="2" y="4"/>
                        </a:lnTo>
                        <a:lnTo>
                          <a:pt x="3" y="5"/>
                        </a:lnTo>
                        <a:lnTo>
                          <a:pt x="4" y="5"/>
                        </a:lnTo>
                        <a:lnTo>
                          <a:pt x="4" y="4"/>
                        </a:lnTo>
                        <a:lnTo>
                          <a:pt x="4" y="2"/>
                        </a:lnTo>
                        <a:lnTo>
                          <a:pt x="4" y="0"/>
                        </a:lnTo>
                        <a:lnTo>
                          <a:pt x="4" y="2"/>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3" name="Freeform 2287">
                    <a:extLst>
                      <a:ext uri="{FF2B5EF4-FFF2-40B4-BE49-F238E27FC236}">
                        <a16:creationId xmlns:a16="http://schemas.microsoft.com/office/drawing/2014/main" xmlns="" id="{79755027-F46D-470F-97D0-FA6C009DAE64}"/>
                      </a:ext>
                    </a:extLst>
                  </p:cNvPr>
                  <p:cNvSpPr>
                    <a:spLocks/>
                  </p:cNvSpPr>
                  <p:nvPr/>
                </p:nvSpPr>
                <p:spPr bwMode="gray">
                  <a:xfrm>
                    <a:off x="5378708" y="4199671"/>
                    <a:ext cx="4450" cy="4450"/>
                  </a:xfrm>
                  <a:custGeom>
                    <a:avLst/>
                    <a:gdLst>
                      <a:gd name="T0" fmla="*/ 0 w 4"/>
                      <a:gd name="T1" fmla="*/ 0 h 4"/>
                      <a:gd name="T2" fmla="*/ 0 w 4"/>
                      <a:gd name="T3" fmla="*/ 0 h 4"/>
                      <a:gd name="T4" fmla="*/ 2147483647 w 4"/>
                      <a:gd name="T5" fmla="*/ 2147483647 h 4"/>
                      <a:gd name="T6" fmla="*/ 2147483647 w 4"/>
                      <a:gd name="T7" fmla="*/ 2147483647 h 4"/>
                      <a:gd name="T8" fmla="*/ 2147483647 w 4"/>
                      <a:gd name="T9" fmla="*/ 2147483647 h 4"/>
                      <a:gd name="T10" fmla="*/ 2147483647 w 4"/>
                      <a:gd name="T11" fmla="*/ 2147483647 h 4"/>
                      <a:gd name="T12" fmla="*/ 2147483647 w 4"/>
                      <a:gd name="T13" fmla="*/ 2147483647 h 4"/>
                      <a:gd name="T14" fmla="*/ 2147483647 w 4"/>
                      <a:gd name="T15" fmla="*/ 0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0"/>
                        </a:moveTo>
                        <a:lnTo>
                          <a:pt x="0" y="0"/>
                        </a:lnTo>
                        <a:lnTo>
                          <a:pt x="1" y="2"/>
                        </a:lnTo>
                        <a:lnTo>
                          <a:pt x="3" y="3"/>
                        </a:lnTo>
                        <a:lnTo>
                          <a:pt x="3" y="4"/>
                        </a:lnTo>
                        <a:lnTo>
                          <a:pt x="3" y="3"/>
                        </a:lnTo>
                        <a:lnTo>
                          <a:pt x="4" y="2"/>
                        </a:lnTo>
                        <a:lnTo>
                          <a:pt x="3"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4" name="Freeform 2289">
                    <a:extLst>
                      <a:ext uri="{FF2B5EF4-FFF2-40B4-BE49-F238E27FC236}">
                        <a16:creationId xmlns:a16="http://schemas.microsoft.com/office/drawing/2014/main" xmlns="" id="{98723A65-9C96-4641-ACD6-FA04CF2A228F}"/>
                      </a:ext>
                    </a:extLst>
                  </p:cNvPr>
                  <p:cNvSpPr>
                    <a:spLocks/>
                  </p:cNvSpPr>
                  <p:nvPr/>
                </p:nvSpPr>
                <p:spPr bwMode="gray">
                  <a:xfrm>
                    <a:off x="5378708" y="4192997"/>
                    <a:ext cx="12237" cy="3337"/>
                  </a:xfrm>
                  <a:custGeom>
                    <a:avLst/>
                    <a:gdLst>
                      <a:gd name="T0" fmla="*/ 2147483647 w 11"/>
                      <a:gd name="T1" fmla="*/ 0 h 3"/>
                      <a:gd name="T2" fmla="*/ 0 w 11"/>
                      <a:gd name="T3" fmla="*/ 0 h 3"/>
                      <a:gd name="T4" fmla="*/ 0 w 11"/>
                      <a:gd name="T5" fmla="*/ 0 h 3"/>
                      <a:gd name="T6" fmla="*/ 2147483647 w 11"/>
                      <a:gd name="T7" fmla="*/ 2147483647 h 3"/>
                      <a:gd name="T8" fmla="*/ 2147483647 w 11"/>
                      <a:gd name="T9" fmla="*/ 2147483647 h 3"/>
                      <a:gd name="T10" fmla="*/ 0 w 11"/>
                      <a:gd name="T11" fmla="*/ 2147483647 h 3"/>
                      <a:gd name="T12" fmla="*/ 2147483647 w 11"/>
                      <a:gd name="T13" fmla="*/ 2147483647 h 3"/>
                      <a:gd name="T14" fmla="*/ 2147483647 w 11"/>
                      <a:gd name="T15" fmla="*/ 2147483647 h 3"/>
                      <a:gd name="T16" fmla="*/ 2147483647 w 11"/>
                      <a:gd name="T17" fmla="*/ 2147483647 h 3"/>
                      <a:gd name="T18" fmla="*/ 2147483647 w 11"/>
                      <a:gd name="T19" fmla="*/ 0 h 3"/>
                      <a:gd name="T20" fmla="*/ 2147483647 w 11"/>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3">
                        <a:moveTo>
                          <a:pt x="10" y="0"/>
                        </a:moveTo>
                        <a:lnTo>
                          <a:pt x="0" y="0"/>
                        </a:lnTo>
                        <a:lnTo>
                          <a:pt x="1" y="2"/>
                        </a:lnTo>
                        <a:lnTo>
                          <a:pt x="1" y="3"/>
                        </a:lnTo>
                        <a:lnTo>
                          <a:pt x="0" y="3"/>
                        </a:lnTo>
                        <a:lnTo>
                          <a:pt x="10" y="3"/>
                        </a:lnTo>
                        <a:lnTo>
                          <a:pt x="11" y="2"/>
                        </a:lnTo>
                        <a:lnTo>
                          <a:pt x="11" y="0"/>
                        </a:lnTo>
                        <a:lnTo>
                          <a:pt x="1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5" name="Freeform 2291">
                    <a:extLst>
                      <a:ext uri="{FF2B5EF4-FFF2-40B4-BE49-F238E27FC236}">
                        <a16:creationId xmlns:a16="http://schemas.microsoft.com/office/drawing/2014/main" xmlns="" id="{93AD7417-945C-4FAE-A9B8-A9939D7E2A98}"/>
                      </a:ext>
                    </a:extLst>
                  </p:cNvPr>
                  <p:cNvSpPr>
                    <a:spLocks/>
                  </p:cNvSpPr>
                  <p:nvPr/>
                </p:nvSpPr>
                <p:spPr bwMode="gray">
                  <a:xfrm>
                    <a:off x="5488843" y="4189659"/>
                    <a:ext cx="17799" cy="8899"/>
                  </a:xfrm>
                  <a:custGeom>
                    <a:avLst/>
                    <a:gdLst>
                      <a:gd name="T0" fmla="*/ 2147483647 w 16"/>
                      <a:gd name="T1" fmla="*/ 0 h 8"/>
                      <a:gd name="T2" fmla="*/ 2147483647 w 16"/>
                      <a:gd name="T3" fmla="*/ 2147483647 h 8"/>
                      <a:gd name="T4" fmla="*/ 2147483647 w 16"/>
                      <a:gd name="T5" fmla="*/ 2147483647 h 8"/>
                      <a:gd name="T6" fmla="*/ 2147483647 w 16"/>
                      <a:gd name="T7" fmla="*/ 2147483647 h 8"/>
                      <a:gd name="T8" fmla="*/ 2147483647 w 16"/>
                      <a:gd name="T9" fmla="*/ 2147483647 h 8"/>
                      <a:gd name="T10" fmla="*/ 2147483647 w 16"/>
                      <a:gd name="T11" fmla="*/ 2147483647 h 8"/>
                      <a:gd name="T12" fmla="*/ 2147483647 w 16"/>
                      <a:gd name="T13" fmla="*/ 2147483647 h 8"/>
                      <a:gd name="T14" fmla="*/ 2147483647 w 16"/>
                      <a:gd name="T15" fmla="*/ 2147483647 h 8"/>
                      <a:gd name="T16" fmla="*/ 2147483647 w 16"/>
                      <a:gd name="T17" fmla="*/ 2147483647 h 8"/>
                      <a:gd name="T18" fmla="*/ 0 w 16"/>
                      <a:gd name="T19" fmla="*/ 2147483647 h 8"/>
                      <a:gd name="T20" fmla="*/ 0 w 16"/>
                      <a:gd name="T21" fmla="*/ 2147483647 h 8"/>
                      <a:gd name="T22" fmla="*/ 0 w 16"/>
                      <a:gd name="T23" fmla="*/ 2147483647 h 8"/>
                      <a:gd name="T24" fmla="*/ 2147483647 w 16"/>
                      <a:gd name="T25" fmla="*/ 2147483647 h 8"/>
                      <a:gd name="T26" fmla="*/ 2147483647 w 16"/>
                      <a:gd name="T27" fmla="*/ 2147483647 h 8"/>
                      <a:gd name="T28" fmla="*/ 2147483647 w 16"/>
                      <a:gd name="T29" fmla="*/ 2147483647 h 8"/>
                      <a:gd name="T30" fmla="*/ 2147483647 w 16"/>
                      <a:gd name="T31" fmla="*/ 2147483647 h 8"/>
                      <a:gd name="T32" fmla="*/ 2147483647 w 16"/>
                      <a:gd name="T33" fmla="*/ 0 h 8"/>
                      <a:gd name="T34" fmla="*/ 2147483647 w 16"/>
                      <a:gd name="T35" fmla="*/ 0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 h="8">
                        <a:moveTo>
                          <a:pt x="6" y="0"/>
                        </a:moveTo>
                        <a:lnTo>
                          <a:pt x="11" y="1"/>
                        </a:lnTo>
                        <a:lnTo>
                          <a:pt x="15" y="3"/>
                        </a:lnTo>
                        <a:lnTo>
                          <a:pt x="16" y="5"/>
                        </a:lnTo>
                        <a:lnTo>
                          <a:pt x="15" y="6"/>
                        </a:lnTo>
                        <a:lnTo>
                          <a:pt x="13" y="6"/>
                        </a:lnTo>
                        <a:lnTo>
                          <a:pt x="10" y="8"/>
                        </a:lnTo>
                        <a:lnTo>
                          <a:pt x="6" y="8"/>
                        </a:lnTo>
                        <a:lnTo>
                          <a:pt x="3" y="7"/>
                        </a:lnTo>
                        <a:lnTo>
                          <a:pt x="0" y="6"/>
                        </a:lnTo>
                        <a:lnTo>
                          <a:pt x="0" y="5"/>
                        </a:lnTo>
                        <a:lnTo>
                          <a:pt x="1" y="3"/>
                        </a:lnTo>
                        <a:lnTo>
                          <a:pt x="3" y="3"/>
                        </a:lnTo>
                        <a:lnTo>
                          <a:pt x="3" y="2"/>
                        </a:lnTo>
                        <a:lnTo>
                          <a:pt x="4" y="1"/>
                        </a:lnTo>
                        <a:lnTo>
                          <a:pt x="5" y="0"/>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6" name="Freeform 2294">
                    <a:extLst>
                      <a:ext uri="{FF2B5EF4-FFF2-40B4-BE49-F238E27FC236}">
                        <a16:creationId xmlns:a16="http://schemas.microsoft.com/office/drawing/2014/main" xmlns="" id="{770CC952-E3D4-453E-AE75-5B425A6B2FDE}"/>
                      </a:ext>
                    </a:extLst>
                  </p:cNvPr>
                  <p:cNvSpPr>
                    <a:spLocks/>
                  </p:cNvSpPr>
                  <p:nvPr/>
                </p:nvSpPr>
                <p:spPr bwMode="gray">
                  <a:xfrm>
                    <a:off x="4789100" y="3996099"/>
                    <a:ext cx="84547" cy="123479"/>
                  </a:xfrm>
                  <a:custGeom>
                    <a:avLst/>
                    <a:gdLst>
                      <a:gd name="T0" fmla="*/ 2147483647 w 76"/>
                      <a:gd name="T1" fmla="*/ 2147483647 h 111"/>
                      <a:gd name="T2" fmla="*/ 2147483647 w 76"/>
                      <a:gd name="T3" fmla="*/ 2147483647 h 111"/>
                      <a:gd name="T4" fmla="*/ 2147483647 w 76"/>
                      <a:gd name="T5" fmla="*/ 2147483647 h 111"/>
                      <a:gd name="T6" fmla="*/ 2147483647 w 76"/>
                      <a:gd name="T7" fmla="*/ 2147483647 h 111"/>
                      <a:gd name="T8" fmla="*/ 2147483647 w 76"/>
                      <a:gd name="T9" fmla="*/ 2147483647 h 111"/>
                      <a:gd name="T10" fmla="*/ 2147483647 w 76"/>
                      <a:gd name="T11" fmla="*/ 2147483647 h 111"/>
                      <a:gd name="T12" fmla="*/ 2147483647 w 76"/>
                      <a:gd name="T13" fmla="*/ 2147483647 h 111"/>
                      <a:gd name="T14" fmla="*/ 2147483647 w 76"/>
                      <a:gd name="T15" fmla="*/ 2147483647 h 111"/>
                      <a:gd name="T16" fmla="*/ 2147483647 w 76"/>
                      <a:gd name="T17" fmla="*/ 2147483647 h 111"/>
                      <a:gd name="T18" fmla="*/ 2147483647 w 76"/>
                      <a:gd name="T19" fmla="*/ 2147483647 h 111"/>
                      <a:gd name="T20" fmla="*/ 2147483647 w 76"/>
                      <a:gd name="T21" fmla="*/ 2147483647 h 111"/>
                      <a:gd name="T22" fmla="*/ 2147483647 w 76"/>
                      <a:gd name="T23" fmla="*/ 2147483647 h 111"/>
                      <a:gd name="T24" fmla="*/ 2147483647 w 76"/>
                      <a:gd name="T25" fmla="*/ 2147483647 h 111"/>
                      <a:gd name="T26" fmla="*/ 2147483647 w 76"/>
                      <a:gd name="T27" fmla="*/ 2147483647 h 111"/>
                      <a:gd name="T28" fmla="*/ 2147483647 w 76"/>
                      <a:gd name="T29" fmla="*/ 2147483647 h 111"/>
                      <a:gd name="T30" fmla="*/ 2147483647 w 76"/>
                      <a:gd name="T31" fmla="*/ 2147483647 h 111"/>
                      <a:gd name="T32" fmla="*/ 2147483647 w 76"/>
                      <a:gd name="T33" fmla="*/ 2147483647 h 111"/>
                      <a:gd name="T34" fmla="*/ 2147483647 w 76"/>
                      <a:gd name="T35" fmla="*/ 2147483647 h 111"/>
                      <a:gd name="T36" fmla="*/ 2147483647 w 76"/>
                      <a:gd name="T37" fmla="*/ 2147483647 h 111"/>
                      <a:gd name="T38" fmla="*/ 2147483647 w 76"/>
                      <a:gd name="T39" fmla="*/ 2147483647 h 111"/>
                      <a:gd name="T40" fmla="*/ 2147483647 w 76"/>
                      <a:gd name="T41" fmla="*/ 2147483647 h 111"/>
                      <a:gd name="T42" fmla="*/ 2147483647 w 76"/>
                      <a:gd name="T43" fmla="*/ 2147483647 h 111"/>
                      <a:gd name="T44" fmla="*/ 2147483647 w 76"/>
                      <a:gd name="T45" fmla="*/ 2147483647 h 111"/>
                      <a:gd name="T46" fmla="*/ 2147483647 w 76"/>
                      <a:gd name="T47" fmla="*/ 2147483647 h 111"/>
                      <a:gd name="T48" fmla="*/ 2147483647 w 76"/>
                      <a:gd name="T49" fmla="*/ 2147483647 h 111"/>
                      <a:gd name="T50" fmla="*/ 2147483647 w 76"/>
                      <a:gd name="T51" fmla="*/ 2147483647 h 111"/>
                      <a:gd name="T52" fmla="*/ 2147483647 w 76"/>
                      <a:gd name="T53" fmla="*/ 2147483647 h 111"/>
                      <a:gd name="T54" fmla="*/ 2147483647 w 76"/>
                      <a:gd name="T55" fmla="*/ 0 h 111"/>
                      <a:gd name="T56" fmla="*/ 2147483647 w 76"/>
                      <a:gd name="T57" fmla="*/ 2147483647 h 111"/>
                      <a:gd name="T58" fmla="*/ 2147483647 w 76"/>
                      <a:gd name="T59" fmla="*/ 2147483647 h 111"/>
                      <a:gd name="T60" fmla="*/ 2147483647 w 76"/>
                      <a:gd name="T61" fmla="*/ 2147483647 h 111"/>
                      <a:gd name="T62" fmla="*/ 2147483647 w 76"/>
                      <a:gd name="T63" fmla="*/ 2147483647 h 111"/>
                      <a:gd name="T64" fmla="*/ 2147483647 w 76"/>
                      <a:gd name="T65" fmla="*/ 2147483647 h 111"/>
                      <a:gd name="T66" fmla="*/ 2147483647 w 76"/>
                      <a:gd name="T67" fmla="*/ 2147483647 h 111"/>
                      <a:gd name="T68" fmla="*/ 2147483647 w 76"/>
                      <a:gd name="T69" fmla="*/ 2147483647 h 111"/>
                      <a:gd name="T70" fmla="*/ 0 w 76"/>
                      <a:gd name="T71" fmla="*/ 2147483647 h 111"/>
                      <a:gd name="T72" fmla="*/ 2147483647 w 76"/>
                      <a:gd name="T73" fmla="*/ 2147483647 h 111"/>
                      <a:gd name="T74" fmla="*/ 2147483647 w 76"/>
                      <a:gd name="T75" fmla="*/ 2147483647 h 111"/>
                      <a:gd name="T76" fmla="*/ 2147483647 w 76"/>
                      <a:gd name="T77" fmla="*/ 2147483647 h 111"/>
                      <a:gd name="T78" fmla="*/ 2147483647 w 76"/>
                      <a:gd name="T79" fmla="*/ 2147483647 h 111"/>
                      <a:gd name="T80" fmla="*/ 2147483647 w 76"/>
                      <a:gd name="T81" fmla="*/ 2147483647 h 111"/>
                      <a:gd name="T82" fmla="*/ 2147483647 w 76"/>
                      <a:gd name="T83" fmla="*/ 2147483647 h 111"/>
                      <a:gd name="T84" fmla="*/ 2147483647 w 76"/>
                      <a:gd name="T85" fmla="*/ 2147483647 h 111"/>
                      <a:gd name="T86" fmla="*/ 2147483647 w 76"/>
                      <a:gd name="T87" fmla="*/ 2147483647 h 111"/>
                      <a:gd name="T88" fmla="*/ 2147483647 w 76"/>
                      <a:gd name="T89" fmla="*/ 2147483647 h 111"/>
                      <a:gd name="T90" fmla="*/ 2147483647 w 76"/>
                      <a:gd name="T91" fmla="*/ 2147483647 h 111"/>
                      <a:gd name="T92" fmla="*/ 2147483647 w 76"/>
                      <a:gd name="T93" fmla="*/ 2147483647 h 111"/>
                      <a:gd name="T94" fmla="*/ 2147483647 w 76"/>
                      <a:gd name="T95" fmla="*/ 2147483647 h 111"/>
                      <a:gd name="T96" fmla="*/ 2147483647 w 76"/>
                      <a:gd name="T97" fmla="*/ 2147483647 h 111"/>
                      <a:gd name="T98" fmla="*/ 2147483647 w 76"/>
                      <a:gd name="T99" fmla="*/ 2147483647 h 111"/>
                      <a:gd name="T100" fmla="*/ 2147483647 w 76"/>
                      <a:gd name="T101" fmla="*/ 2147483647 h 111"/>
                      <a:gd name="T102" fmla="*/ 2147483647 w 76"/>
                      <a:gd name="T103" fmla="*/ 2147483647 h 111"/>
                      <a:gd name="T104" fmla="*/ 2147483647 w 76"/>
                      <a:gd name="T105" fmla="*/ 2147483647 h 111"/>
                      <a:gd name="T106" fmla="*/ 2147483647 w 76"/>
                      <a:gd name="T107" fmla="*/ 2147483647 h 111"/>
                      <a:gd name="T108" fmla="*/ 2147483647 w 76"/>
                      <a:gd name="T109" fmla="*/ 2147483647 h 111"/>
                      <a:gd name="T110" fmla="*/ 2147483647 w 76"/>
                      <a:gd name="T111" fmla="*/ 2147483647 h 111"/>
                      <a:gd name="T112" fmla="*/ 2147483647 w 76"/>
                      <a:gd name="T113" fmla="*/ 2147483647 h 111"/>
                      <a:gd name="T114" fmla="*/ 2147483647 w 76"/>
                      <a:gd name="T115" fmla="*/ 2147483647 h 111"/>
                      <a:gd name="T116" fmla="*/ 2147483647 w 76"/>
                      <a:gd name="T117" fmla="*/ 2147483647 h 111"/>
                      <a:gd name="T118" fmla="*/ 2147483647 w 76"/>
                      <a:gd name="T119" fmla="*/ 2147483647 h 1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6" h="111">
                        <a:moveTo>
                          <a:pt x="60" y="111"/>
                        </a:moveTo>
                        <a:lnTo>
                          <a:pt x="63" y="109"/>
                        </a:lnTo>
                        <a:lnTo>
                          <a:pt x="65" y="107"/>
                        </a:lnTo>
                        <a:lnTo>
                          <a:pt x="66" y="104"/>
                        </a:lnTo>
                        <a:lnTo>
                          <a:pt x="67" y="100"/>
                        </a:lnTo>
                        <a:lnTo>
                          <a:pt x="66" y="95"/>
                        </a:lnTo>
                        <a:lnTo>
                          <a:pt x="65" y="89"/>
                        </a:lnTo>
                        <a:lnTo>
                          <a:pt x="62" y="84"/>
                        </a:lnTo>
                        <a:lnTo>
                          <a:pt x="58" y="79"/>
                        </a:lnTo>
                        <a:lnTo>
                          <a:pt x="55" y="75"/>
                        </a:lnTo>
                        <a:lnTo>
                          <a:pt x="55" y="71"/>
                        </a:lnTo>
                        <a:lnTo>
                          <a:pt x="57" y="68"/>
                        </a:lnTo>
                        <a:lnTo>
                          <a:pt x="61" y="64"/>
                        </a:lnTo>
                        <a:lnTo>
                          <a:pt x="63" y="57"/>
                        </a:lnTo>
                        <a:lnTo>
                          <a:pt x="66" y="52"/>
                        </a:lnTo>
                        <a:lnTo>
                          <a:pt x="69" y="48"/>
                        </a:lnTo>
                        <a:lnTo>
                          <a:pt x="76" y="44"/>
                        </a:lnTo>
                        <a:lnTo>
                          <a:pt x="74" y="38"/>
                        </a:lnTo>
                        <a:lnTo>
                          <a:pt x="70" y="33"/>
                        </a:lnTo>
                        <a:lnTo>
                          <a:pt x="67" y="28"/>
                        </a:lnTo>
                        <a:lnTo>
                          <a:pt x="61" y="23"/>
                        </a:lnTo>
                        <a:lnTo>
                          <a:pt x="49" y="15"/>
                        </a:lnTo>
                        <a:lnTo>
                          <a:pt x="43" y="13"/>
                        </a:lnTo>
                        <a:lnTo>
                          <a:pt x="37" y="11"/>
                        </a:lnTo>
                        <a:lnTo>
                          <a:pt x="33" y="9"/>
                        </a:lnTo>
                        <a:lnTo>
                          <a:pt x="31" y="7"/>
                        </a:lnTo>
                        <a:lnTo>
                          <a:pt x="31" y="4"/>
                        </a:lnTo>
                        <a:lnTo>
                          <a:pt x="30" y="0"/>
                        </a:lnTo>
                        <a:lnTo>
                          <a:pt x="19" y="1"/>
                        </a:lnTo>
                        <a:lnTo>
                          <a:pt x="8" y="5"/>
                        </a:lnTo>
                        <a:lnTo>
                          <a:pt x="7" y="9"/>
                        </a:lnTo>
                        <a:lnTo>
                          <a:pt x="7" y="13"/>
                        </a:lnTo>
                        <a:lnTo>
                          <a:pt x="6" y="17"/>
                        </a:lnTo>
                        <a:lnTo>
                          <a:pt x="4" y="19"/>
                        </a:lnTo>
                        <a:lnTo>
                          <a:pt x="2" y="21"/>
                        </a:lnTo>
                        <a:lnTo>
                          <a:pt x="0" y="23"/>
                        </a:lnTo>
                        <a:lnTo>
                          <a:pt x="1" y="34"/>
                        </a:lnTo>
                        <a:lnTo>
                          <a:pt x="3" y="43"/>
                        </a:lnTo>
                        <a:lnTo>
                          <a:pt x="7" y="54"/>
                        </a:lnTo>
                        <a:lnTo>
                          <a:pt x="11" y="62"/>
                        </a:lnTo>
                        <a:lnTo>
                          <a:pt x="13" y="66"/>
                        </a:lnTo>
                        <a:lnTo>
                          <a:pt x="16" y="70"/>
                        </a:lnTo>
                        <a:lnTo>
                          <a:pt x="20" y="73"/>
                        </a:lnTo>
                        <a:lnTo>
                          <a:pt x="24" y="75"/>
                        </a:lnTo>
                        <a:lnTo>
                          <a:pt x="26" y="75"/>
                        </a:lnTo>
                        <a:lnTo>
                          <a:pt x="28" y="75"/>
                        </a:lnTo>
                        <a:lnTo>
                          <a:pt x="31" y="79"/>
                        </a:lnTo>
                        <a:lnTo>
                          <a:pt x="35" y="84"/>
                        </a:lnTo>
                        <a:lnTo>
                          <a:pt x="42" y="88"/>
                        </a:lnTo>
                        <a:lnTo>
                          <a:pt x="43" y="92"/>
                        </a:lnTo>
                        <a:lnTo>
                          <a:pt x="46" y="95"/>
                        </a:lnTo>
                        <a:lnTo>
                          <a:pt x="49" y="96"/>
                        </a:lnTo>
                        <a:lnTo>
                          <a:pt x="53" y="97"/>
                        </a:lnTo>
                        <a:lnTo>
                          <a:pt x="55" y="100"/>
                        </a:lnTo>
                        <a:lnTo>
                          <a:pt x="55" y="103"/>
                        </a:lnTo>
                        <a:lnTo>
                          <a:pt x="55" y="107"/>
                        </a:lnTo>
                        <a:lnTo>
                          <a:pt x="57" y="110"/>
                        </a:lnTo>
                        <a:lnTo>
                          <a:pt x="60" y="111"/>
                        </a:lnTo>
                        <a:lnTo>
                          <a:pt x="61" y="111"/>
                        </a:lnTo>
                        <a:lnTo>
                          <a:pt x="60" y="11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7" name="Freeform 2296">
                    <a:extLst>
                      <a:ext uri="{FF2B5EF4-FFF2-40B4-BE49-F238E27FC236}">
                        <a16:creationId xmlns:a16="http://schemas.microsoft.com/office/drawing/2014/main" xmlns="" id="{C49024FE-AFD3-4E1F-8D95-DFEA8B1547ED}"/>
                      </a:ext>
                    </a:extLst>
                  </p:cNvPr>
                  <p:cNvSpPr>
                    <a:spLocks/>
                  </p:cNvSpPr>
                  <p:nvPr/>
                </p:nvSpPr>
                <p:spPr bwMode="gray">
                  <a:xfrm>
                    <a:off x="3585412" y="2810273"/>
                    <a:ext cx="117922" cy="107904"/>
                  </a:xfrm>
                  <a:custGeom>
                    <a:avLst/>
                    <a:gdLst>
                      <a:gd name="T0" fmla="*/ 2147483647 w 106"/>
                      <a:gd name="T1" fmla="*/ 2147483647 h 97"/>
                      <a:gd name="T2" fmla="*/ 2147483647 w 106"/>
                      <a:gd name="T3" fmla="*/ 2147483647 h 97"/>
                      <a:gd name="T4" fmla="*/ 2147483647 w 106"/>
                      <a:gd name="T5" fmla="*/ 2147483647 h 97"/>
                      <a:gd name="T6" fmla="*/ 2147483647 w 106"/>
                      <a:gd name="T7" fmla="*/ 2147483647 h 97"/>
                      <a:gd name="T8" fmla="*/ 2147483647 w 106"/>
                      <a:gd name="T9" fmla="*/ 2147483647 h 97"/>
                      <a:gd name="T10" fmla="*/ 2147483647 w 106"/>
                      <a:gd name="T11" fmla="*/ 2147483647 h 97"/>
                      <a:gd name="T12" fmla="*/ 2147483647 w 106"/>
                      <a:gd name="T13" fmla="*/ 2147483647 h 97"/>
                      <a:gd name="T14" fmla="*/ 2147483647 w 106"/>
                      <a:gd name="T15" fmla="*/ 2147483647 h 97"/>
                      <a:gd name="T16" fmla="*/ 2147483647 w 106"/>
                      <a:gd name="T17" fmla="*/ 2147483647 h 97"/>
                      <a:gd name="T18" fmla="*/ 2147483647 w 106"/>
                      <a:gd name="T19" fmla="*/ 2147483647 h 97"/>
                      <a:gd name="T20" fmla="*/ 2147483647 w 106"/>
                      <a:gd name="T21" fmla="*/ 2147483647 h 97"/>
                      <a:gd name="T22" fmla="*/ 2147483647 w 106"/>
                      <a:gd name="T23" fmla="*/ 2147483647 h 97"/>
                      <a:gd name="T24" fmla="*/ 2147483647 w 106"/>
                      <a:gd name="T25" fmla="*/ 2147483647 h 97"/>
                      <a:gd name="T26" fmla="*/ 2147483647 w 106"/>
                      <a:gd name="T27" fmla="*/ 2147483647 h 97"/>
                      <a:gd name="T28" fmla="*/ 2147483647 w 106"/>
                      <a:gd name="T29" fmla="*/ 2147483647 h 97"/>
                      <a:gd name="T30" fmla="*/ 2147483647 w 106"/>
                      <a:gd name="T31" fmla="*/ 2147483647 h 97"/>
                      <a:gd name="T32" fmla="*/ 2147483647 w 106"/>
                      <a:gd name="T33" fmla="*/ 2147483647 h 97"/>
                      <a:gd name="T34" fmla="*/ 2147483647 w 106"/>
                      <a:gd name="T35" fmla="*/ 2147483647 h 97"/>
                      <a:gd name="T36" fmla="*/ 2147483647 w 106"/>
                      <a:gd name="T37" fmla="*/ 2147483647 h 97"/>
                      <a:gd name="T38" fmla="*/ 2147483647 w 106"/>
                      <a:gd name="T39" fmla="*/ 2147483647 h 97"/>
                      <a:gd name="T40" fmla="*/ 2147483647 w 106"/>
                      <a:gd name="T41" fmla="*/ 2147483647 h 97"/>
                      <a:gd name="T42" fmla="*/ 2147483647 w 106"/>
                      <a:gd name="T43" fmla="*/ 2147483647 h 97"/>
                      <a:gd name="T44" fmla="*/ 2147483647 w 106"/>
                      <a:gd name="T45" fmla="*/ 2147483647 h 97"/>
                      <a:gd name="T46" fmla="*/ 2147483647 w 106"/>
                      <a:gd name="T47" fmla="*/ 2147483647 h 97"/>
                      <a:gd name="T48" fmla="*/ 2147483647 w 106"/>
                      <a:gd name="T49" fmla="*/ 2147483647 h 97"/>
                      <a:gd name="T50" fmla="*/ 2147483647 w 106"/>
                      <a:gd name="T51" fmla="*/ 2147483647 h 97"/>
                      <a:gd name="T52" fmla="*/ 2147483647 w 106"/>
                      <a:gd name="T53" fmla="*/ 2147483647 h 97"/>
                      <a:gd name="T54" fmla="*/ 2147483647 w 106"/>
                      <a:gd name="T55" fmla="*/ 2147483647 h 97"/>
                      <a:gd name="T56" fmla="*/ 2147483647 w 106"/>
                      <a:gd name="T57" fmla="*/ 2147483647 h 97"/>
                      <a:gd name="T58" fmla="*/ 2147483647 w 106"/>
                      <a:gd name="T59" fmla="*/ 2147483647 h 97"/>
                      <a:gd name="T60" fmla="*/ 2147483647 w 106"/>
                      <a:gd name="T61" fmla="*/ 2147483647 h 97"/>
                      <a:gd name="T62" fmla="*/ 2147483647 w 106"/>
                      <a:gd name="T63" fmla="*/ 2147483647 h 97"/>
                      <a:gd name="T64" fmla="*/ 2147483647 w 106"/>
                      <a:gd name="T65" fmla="*/ 2147483647 h 97"/>
                      <a:gd name="T66" fmla="*/ 2147483647 w 106"/>
                      <a:gd name="T67" fmla="*/ 2147483647 h 97"/>
                      <a:gd name="T68" fmla="*/ 2147483647 w 106"/>
                      <a:gd name="T69" fmla="*/ 2147483647 h 97"/>
                      <a:gd name="T70" fmla="*/ 2147483647 w 106"/>
                      <a:gd name="T71" fmla="*/ 2147483647 h 97"/>
                      <a:gd name="T72" fmla="*/ 2147483647 w 106"/>
                      <a:gd name="T73" fmla="*/ 2147483647 h 97"/>
                      <a:gd name="T74" fmla="*/ 2147483647 w 106"/>
                      <a:gd name="T75" fmla="*/ 2147483647 h 97"/>
                      <a:gd name="T76" fmla="*/ 2147483647 w 106"/>
                      <a:gd name="T77" fmla="*/ 2147483647 h 97"/>
                      <a:gd name="T78" fmla="*/ 2147483647 w 106"/>
                      <a:gd name="T79" fmla="*/ 2147483647 h 97"/>
                      <a:gd name="T80" fmla="*/ 2147483647 w 106"/>
                      <a:gd name="T81" fmla="*/ 2147483647 h 97"/>
                      <a:gd name="T82" fmla="*/ 2147483647 w 106"/>
                      <a:gd name="T83" fmla="*/ 2147483647 h 97"/>
                      <a:gd name="T84" fmla="*/ 2147483647 w 106"/>
                      <a:gd name="T85" fmla="*/ 2147483647 h 97"/>
                      <a:gd name="T86" fmla="*/ 2147483647 w 106"/>
                      <a:gd name="T87" fmla="*/ 2147483647 h 97"/>
                      <a:gd name="T88" fmla="*/ 2147483647 w 106"/>
                      <a:gd name="T89" fmla="*/ 2147483647 h 97"/>
                      <a:gd name="T90" fmla="*/ 2147483647 w 106"/>
                      <a:gd name="T91" fmla="*/ 2147483647 h 97"/>
                      <a:gd name="T92" fmla="*/ 2147483647 w 106"/>
                      <a:gd name="T93" fmla="*/ 2147483647 h 97"/>
                      <a:gd name="T94" fmla="*/ 2147483647 w 106"/>
                      <a:gd name="T95" fmla="*/ 2147483647 h 97"/>
                      <a:gd name="T96" fmla="*/ 2147483647 w 106"/>
                      <a:gd name="T97" fmla="*/ 2147483647 h 97"/>
                      <a:gd name="T98" fmla="*/ 2147483647 w 106"/>
                      <a:gd name="T99" fmla="*/ 2147483647 h 97"/>
                      <a:gd name="T100" fmla="*/ 2147483647 w 106"/>
                      <a:gd name="T101" fmla="*/ 2147483647 h 97"/>
                      <a:gd name="T102" fmla="*/ 2147483647 w 106"/>
                      <a:gd name="T103" fmla="*/ 2147483647 h 97"/>
                      <a:gd name="T104" fmla="*/ 2147483647 w 106"/>
                      <a:gd name="T105" fmla="*/ 2147483647 h 97"/>
                      <a:gd name="T106" fmla="*/ 2147483647 w 106"/>
                      <a:gd name="T107" fmla="*/ 2147483647 h 97"/>
                      <a:gd name="T108" fmla="*/ 2147483647 w 106"/>
                      <a:gd name="T109" fmla="*/ 2147483647 h 97"/>
                      <a:gd name="T110" fmla="*/ 2147483647 w 106"/>
                      <a:gd name="T111" fmla="*/ 2147483647 h 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06" h="97">
                        <a:moveTo>
                          <a:pt x="75" y="97"/>
                        </a:moveTo>
                        <a:lnTo>
                          <a:pt x="85" y="88"/>
                        </a:lnTo>
                        <a:lnTo>
                          <a:pt x="87" y="88"/>
                        </a:lnTo>
                        <a:lnTo>
                          <a:pt x="88" y="88"/>
                        </a:lnTo>
                        <a:lnTo>
                          <a:pt x="91" y="88"/>
                        </a:lnTo>
                        <a:lnTo>
                          <a:pt x="94" y="88"/>
                        </a:lnTo>
                        <a:lnTo>
                          <a:pt x="94" y="83"/>
                        </a:lnTo>
                        <a:lnTo>
                          <a:pt x="94" y="80"/>
                        </a:lnTo>
                        <a:lnTo>
                          <a:pt x="94" y="74"/>
                        </a:lnTo>
                        <a:lnTo>
                          <a:pt x="95" y="74"/>
                        </a:lnTo>
                        <a:lnTo>
                          <a:pt x="97" y="74"/>
                        </a:lnTo>
                        <a:lnTo>
                          <a:pt x="98" y="75"/>
                        </a:lnTo>
                        <a:lnTo>
                          <a:pt x="99" y="77"/>
                        </a:lnTo>
                        <a:lnTo>
                          <a:pt x="100" y="77"/>
                        </a:lnTo>
                        <a:lnTo>
                          <a:pt x="100" y="78"/>
                        </a:lnTo>
                        <a:lnTo>
                          <a:pt x="101" y="77"/>
                        </a:lnTo>
                        <a:lnTo>
                          <a:pt x="102" y="77"/>
                        </a:lnTo>
                        <a:lnTo>
                          <a:pt x="100" y="74"/>
                        </a:lnTo>
                        <a:lnTo>
                          <a:pt x="101" y="74"/>
                        </a:lnTo>
                        <a:lnTo>
                          <a:pt x="102" y="74"/>
                        </a:lnTo>
                        <a:lnTo>
                          <a:pt x="100" y="74"/>
                        </a:lnTo>
                        <a:lnTo>
                          <a:pt x="101" y="74"/>
                        </a:lnTo>
                        <a:lnTo>
                          <a:pt x="102" y="74"/>
                        </a:lnTo>
                        <a:lnTo>
                          <a:pt x="103" y="74"/>
                        </a:lnTo>
                        <a:lnTo>
                          <a:pt x="104" y="74"/>
                        </a:lnTo>
                        <a:lnTo>
                          <a:pt x="104" y="65"/>
                        </a:lnTo>
                        <a:lnTo>
                          <a:pt x="106" y="59"/>
                        </a:lnTo>
                        <a:lnTo>
                          <a:pt x="106" y="56"/>
                        </a:lnTo>
                        <a:lnTo>
                          <a:pt x="103" y="54"/>
                        </a:lnTo>
                        <a:lnTo>
                          <a:pt x="97" y="53"/>
                        </a:lnTo>
                        <a:lnTo>
                          <a:pt x="99" y="50"/>
                        </a:lnTo>
                        <a:lnTo>
                          <a:pt x="100" y="48"/>
                        </a:lnTo>
                        <a:lnTo>
                          <a:pt x="100" y="47"/>
                        </a:lnTo>
                        <a:lnTo>
                          <a:pt x="100" y="45"/>
                        </a:lnTo>
                        <a:lnTo>
                          <a:pt x="102" y="47"/>
                        </a:lnTo>
                        <a:lnTo>
                          <a:pt x="101" y="44"/>
                        </a:lnTo>
                        <a:lnTo>
                          <a:pt x="100" y="42"/>
                        </a:lnTo>
                        <a:lnTo>
                          <a:pt x="97" y="39"/>
                        </a:lnTo>
                        <a:lnTo>
                          <a:pt x="96" y="33"/>
                        </a:lnTo>
                        <a:lnTo>
                          <a:pt x="97" y="27"/>
                        </a:lnTo>
                        <a:lnTo>
                          <a:pt x="98" y="21"/>
                        </a:lnTo>
                        <a:lnTo>
                          <a:pt x="97" y="17"/>
                        </a:lnTo>
                        <a:lnTo>
                          <a:pt x="97" y="14"/>
                        </a:lnTo>
                        <a:lnTo>
                          <a:pt x="95" y="12"/>
                        </a:lnTo>
                        <a:lnTo>
                          <a:pt x="94" y="11"/>
                        </a:lnTo>
                        <a:lnTo>
                          <a:pt x="94" y="10"/>
                        </a:lnTo>
                        <a:lnTo>
                          <a:pt x="91" y="7"/>
                        </a:lnTo>
                        <a:lnTo>
                          <a:pt x="90" y="6"/>
                        </a:lnTo>
                        <a:lnTo>
                          <a:pt x="88" y="6"/>
                        </a:lnTo>
                        <a:lnTo>
                          <a:pt x="85" y="3"/>
                        </a:lnTo>
                        <a:lnTo>
                          <a:pt x="81" y="0"/>
                        </a:lnTo>
                        <a:lnTo>
                          <a:pt x="79" y="2"/>
                        </a:lnTo>
                        <a:lnTo>
                          <a:pt x="78" y="3"/>
                        </a:lnTo>
                        <a:lnTo>
                          <a:pt x="73" y="3"/>
                        </a:lnTo>
                        <a:lnTo>
                          <a:pt x="69" y="3"/>
                        </a:lnTo>
                        <a:lnTo>
                          <a:pt x="65" y="2"/>
                        </a:lnTo>
                        <a:lnTo>
                          <a:pt x="62" y="0"/>
                        </a:lnTo>
                        <a:lnTo>
                          <a:pt x="59" y="2"/>
                        </a:lnTo>
                        <a:lnTo>
                          <a:pt x="59" y="3"/>
                        </a:lnTo>
                        <a:lnTo>
                          <a:pt x="57" y="3"/>
                        </a:lnTo>
                        <a:lnTo>
                          <a:pt x="55" y="3"/>
                        </a:lnTo>
                        <a:lnTo>
                          <a:pt x="54" y="3"/>
                        </a:lnTo>
                        <a:lnTo>
                          <a:pt x="55" y="3"/>
                        </a:lnTo>
                        <a:lnTo>
                          <a:pt x="55" y="0"/>
                        </a:lnTo>
                        <a:lnTo>
                          <a:pt x="55" y="3"/>
                        </a:lnTo>
                        <a:lnTo>
                          <a:pt x="54" y="3"/>
                        </a:lnTo>
                        <a:lnTo>
                          <a:pt x="53" y="3"/>
                        </a:lnTo>
                        <a:lnTo>
                          <a:pt x="52" y="3"/>
                        </a:lnTo>
                        <a:lnTo>
                          <a:pt x="50" y="5"/>
                        </a:lnTo>
                        <a:lnTo>
                          <a:pt x="47" y="6"/>
                        </a:lnTo>
                        <a:lnTo>
                          <a:pt x="42" y="10"/>
                        </a:lnTo>
                        <a:lnTo>
                          <a:pt x="41" y="10"/>
                        </a:lnTo>
                        <a:lnTo>
                          <a:pt x="39" y="10"/>
                        </a:lnTo>
                        <a:lnTo>
                          <a:pt x="39" y="12"/>
                        </a:lnTo>
                        <a:lnTo>
                          <a:pt x="38" y="13"/>
                        </a:lnTo>
                        <a:lnTo>
                          <a:pt x="37" y="13"/>
                        </a:lnTo>
                        <a:lnTo>
                          <a:pt x="35" y="13"/>
                        </a:lnTo>
                        <a:lnTo>
                          <a:pt x="35" y="15"/>
                        </a:lnTo>
                        <a:lnTo>
                          <a:pt x="34" y="16"/>
                        </a:lnTo>
                        <a:lnTo>
                          <a:pt x="33" y="17"/>
                        </a:lnTo>
                        <a:lnTo>
                          <a:pt x="30" y="17"/>
                        </a:lnTo>
                        <a:lnTo>
                          <a:pt x="28" y="18"/>
                        </a:lnTo>
                        <a:lnTo>
                          <a:pt x="25" y="20"/>
                        </a:lnTo>
                        <a:lnTo>
                          <a:pt x="23" y="20"/>
                        </a:lnTo>
                        <a:lnTo>
                          <a:pt x="23" y="18"/>
                        </a:lnTo>
                        <a:lnTo>
                          <a:pt x="23" y="17"/>
                        </a:lnTo>
                        <a:lnTo>
                          <a:pt x="23" y="15"/>
                        </a:lnTo>
                        <a:lnTo>
                          <a:pt x="23" y="13"/>
                        </a:lnTo>
                        <a:lnTo>
                          <a:pt x="18" y="14"/>
                        </a:lnTo>
                        <a:lnTo>
                          <a:pt x="17" y="15"/>
                        </a:lnTo>
                        <a:lnTo>
                          <a:pt x="16" y="17"/>
                        </a:lnTo>
                        <a:lnTo>
                          <a:pt x="16" y="18"/>
                        </a:lnTo>
                        <a:lnTo>
                          <a:pt x="16" y="20"/>
                        </a:lnTo>
                        <a:lnTo>
                          <a:pt x="19" y="21"/>
                        </a:lnTo>
                        <a:lnTo>
                          <a:pt x="21" y="23"/>
                        </a:lnTo>
                        <a:lnTo>
                          <a:pt x="22" y="24"/>
                        </a:lnTo>
                        <a:lnTo>
                          <a:pt x="23" y="27"/>
                        </a:lnTo>
                        <a:lnTo>
                          <a:pt x="22" y="27"/>
                        </a:lnTo>
                        <a:lnTo>
                          <a:pt x="21" y="27"/>
                        </a:lnTo>
                        <a:lnTo>
                          <a:pt x="20" y="27"/>
                        </a:lnTo>
                        <a:lnTo>
                          <a:pt x="19" y="27"/>
                        </a:lnTo>
                        <a:lnTo>
                          <a:pt x="17" y="27"/>
                        </a:lnTo>
                        <a:lnTo>
                          <a:pt x="16" y="27"/>
                        </a:lnTo>
                        <a:lnTo>
                          <a:pt x="15" y="27"/>
                        </a:lnTo>
                        <a:lnTo>
                          <a:pt x="13" y="27"/>
                        </a:lnTo>
                        <a:lnTo>
                          <a:pt x="12" y="27"/>
                        </a:lnTo>
                        <a:lnTo>
                          <a:pt x="11" y="27"/>
                        </a:lnTo>
                        <a:lnTo>
                          <a:pt x="10" y="27"/>
                        </a:lnTo>
                        <a:lnTo>
                          <a:pt x="8" y="26"/>
                        </a:lnTo>
                        <a:lnTo>
                          <a:pt x="5" y="26"/>
                        </a:lnTo>
                        <a:lnTo>
                          <a:pt x="3" y="27"/>
                        </a:lnTo>
                        <a:lnTo>
                          <a:pt x="0" y="30"/>
                        </a:lnTo>
                        <a:lnTo>
                          <a:pt x="1" y="30"/>
                        </a:lnTo>
                        <a:lnTo>
                          <a:pt x="2" y="30"/>
                        </a:lnTo>
                        <a:lnTo>
                          <a:pt x="3" y="31"/>
                        </a:lnTo>
                        <a:lnTo>
                          <a:pt x="4" y="33"/>
                        </a:lnTo>
                        <a:lnTo>
                          <a:pt x="4" y="35"/>
                        </a:lnTo>
                        <a:lnTo>
                          <a:pt x="4" y="36"/>
                        </a:lnTo>
                        <a:lnTo>
                          <a:pt x="4" y="38"/>
                        </a:lnTo>
                        <a:lnTo>
                          <a:pt x="5" y="39"/>
                        </a:lnTo>
                        <a:lnTo>
                          <a:pt x="7" y="41"/>
                        </a:lnTo>
                        <a:lnTo>
                          <a:pt x="7" y="42"/>
                        </a:lnTo>
                        <a:lnTo>
                          <a:pt x="9" y="42"/>
                        </a:lnTo>
                        <a:lnTo>
                          <a:pt x="10" y="44"/>
                        </a:lnTo>
                        <a:lnTo>
                          <a:pt x="10" y="45"/>
                        </a:lnTo>
                        <a:lnTo>
                          <a:pt x="10" y="50"/>
                        </a:lnTo>
                        <a:lnTo>
                          <a:pt x="10" y="51"/>
                        </a:lnTo>
                        <a:lnTo>
                          <a:pt x="10" y="53"/>
                        </a:lnTo>
                        <a:lnTo>
                          <a:pt x="11" y="53"/>
                        </a:lnTo>
                        <a:lnTo>
                          <a:pt x="12" y="53"/>
                        </a:lnTo>
                        <a:lnTo>
                          <a:pt x="13" y="53"/>
                        </a:lnTo>
                        <a:lnTo>
                          <a:pt x="13" y="55"/>
                        </a:lnTo>
                        <a:lnTo>
                          <a:pt x="14" y="56"/>
                        </a:lnTo>
                        <a:lnTo>
                          <a:pt x="14" y="57"/>
                        </a:lnTo>
                        <a:lnTo>
                          <a:pt x="15" y="59"/>
                        </a:lnTo>
                        <a:lnTo>
                          <a:pt x="16" y="62"/>
                        </a:lnTo>
                        <a:lnTo>
                          <a:pt x="17" y="62"/>
                        </a:lnTo>
                        <a:lnTo>
                          <a:pt x="18" y="62"/>
                        </a:lnTo>
                        <a:lnTo>
                          <a:pt x="19" y="63"/>
                        </a:lnTo>
                        <a:lnTo>
                          <a:pt x="19" y="65"/>
                        </a:lnTo>
                        <a:lnTo>
                          <a:pt x="21" y="65"/>
                        </a:lnTo>
                        <a:lnTo>
                          <a:pt x="23" y="63"/>
                        </a:lnTo>
                        <a:lnTo>
                          <a:pt x="24" y="62"/>
                        </a:lnTo>
                        <a:lnTo>
                          <a:pt x="26" y="62"/>
                        </a:lnTo>
                        <a:lnTo>
                          <a:pt x="26" y="64"/>
                        </a:lnTo>
                        <a:lnTo>
                          <a:pt x="26" y="65"/>
                        </a:lnTo>
                        <a:lnTo>
                          <a:pt x="27" y="66"/>
                        </a:lnTo>
                        <a:lnTo>
                          <a:pt x="28" y="66"/>
                        </a:lnTo>
                        <a:lnTo>
                          <a:pt x="29" y="64"/>
                        </a:lnTo>
                        <a:lnTo>
                          <a:pt x="30" y="62"/>
                        </a:lnTo>
                        <a:lnTo>
                          <a:pt x="32" y="62"/>
                        </a:lnTo>
                        <a:lnTo>
                          <a:pt x="33" y="62"/>
                        </a:lnTo>
                        <a:lnTo>
                          <a:pt x="34" y="62"/>
                        </a:lnTo>
                        <a:lnTo>
                          <a:pt x="35" y="62"/>
                        </a:lnTo>
                        <a:lnTo>
                          <a:pt x="35" y="60"/>
                        </a:lnTo>
                        <a:lnTo>
                          <a:pt x="34" y="58"/>
                        </a:lnTo>
                        <a:lnTo>
                          <a:pt x="34" y="57"/>
                        </a:lnTo>
                        <a:lnTo>
                          <a:pt x="35" y="55"/>
                        </a:lnTo>
                        <a:lnTo>
                          <a:pt x="35" y="53"/>
                        </a:lnTo>
                        <a:lnTo>
                          <a:pt x="36" y="53"/>
                        </a:lnTo>
                        <a:lnTo>
                          <a:pt x="37" y="53"/>
                        </a:lnTo>
                        <a:lnTo>
                          <a:pt x="39" y="53"/>
                        </a:lnTo>
                        <a:lnTo>
                          <a:pt x="41" y="51"/>
                        </a:lnTo>
                        <a:lnTo>
                          <a:pt x="42" y="50"/>
                        </a:lnTo>
                        <a:lnTo>
                          <a:pt x="42" y="48"/>
                        </a:lnTo>
                        <a:lnTo>
                          <a:pt x="44" y="50"/>
                        </a:lnTo>
                        <a:lnTo>
                          <a:pt x="45" y="50"/>
                        </a:lnTo>
                        <a:lnTo>
                          <a:pt x="45" y="55"/>
                        </a:lnTo>
                        <a:lnTo>
                          <a:pt x="45" y="57"/>
                        </a:lnTo>
                        <a:lnTo>
                          <a:pt x="45" y="58"/>
                        </a:lnTo>
                        <a:lnTo>
                          <a:pt x="45" y="60"/>
                        </a:lnTo>
                        <a:lnTo>
                          <a:pt x="45" y="62"/>
                        </a:lnTo>
                        <a:lnTo>
                          <a:pt x="45" y="63"/>
                        </a:lnTo>
                        <a:lnTo>
                          <a:pt x="45" y="65"/>
                        </a:lnTo>
                        <a:lnTo>
                          <a:pt x="46" y="69"/>
                        </a:lnTo>
                        <a:lnTo>
                          <a:pt x="47" y="71"/>
                        </a:lnTo>
                        <a:lnTo>
                          <a:pt x="49" y="71"/>
                        </a:lnTo>
                        <a:lnTo>
                          <a:pt x="50" y="71"/>
                        </a:lnTo>
                        <a:lnTo>
                          <a:pt x="52" y="71"/>
                        </a:lnTo>
                        <a:lnTo>
                          <a:pt x="52" y="74"/>
                        </a:lnTo>
                        <a:lnTo>
                          <a:pt x="52" y="77"/>
                        </a:lnTo>
                        <a:lnTo>
                          <a:pt x="50" y="79"/>
                        </a:lnTo>
                        <a:lnTo>
                          <a:pt x="49" y="80"/>
                        </a:lnTo>
                        <a:lnTo>
                          <a:pt x="49" y="81"/>
                        </a:lnTo>
                        <a:lnTo>
                          <a:pt x="49" y="83"/>
                        </a:lnTo>
                        <a:lnTo>
                          <a:pt x="50" y="84"/>
                        </a:lnTo>
                        <a:lnTo>
                          <a:pt x="52" y="84"/>
                        </a:lnTo>
                        <a:lnTo>
                          <a:pt x="54" y="85"/>
                        </a:lnTo>
                        <a:lnTo>
                          <a:pt x="55" y="86"/>
                        </a:lnTo>
                        <a:lnTo>
                          <a:pt x="57" y="86"/>
                        </a:lnTo>
                        <a:lnTo>
                          <a:pt x="59" y="84"/>
                        </a:lnTo>
                        <a:lnTo>
                          <a:pt x="59" y="83"/>
                        </a:lnTo>
                        <a:lnTo>
                          <a:pt x="61" y="81"/>
                        </a:lnTo>
                        <a:lnTo>
                          <a:pt x="62" y="81"/>
                        </a:lnTo>
                        <a:lnTo>
                          <a:pt x="64" y="81"/>
                        </a:lnTo>
                        <a:lnTo>
                          <a:pt x="65" y="83"/>
                        </a:lnTo>
                        <a:lnTo>
                          <a:pt x="66" y="88"/>
                        </a:lnTo>
                        <a:lnTo>
                          <a:pt x="67" y="88"/>
                        </a:lnTo>
                        <a:lnTo>
                          <a:pt x="69" y="88"/>
                        </a:lnTo>
                        <a:lnTo>
                          <a:pt x="70" y="89"/>
                        </a:lnTo>
                        <a:lnTo>
                          <a:pt x="71" y="90"/>
                        </a:lnTo>
                        <a:lnTo>
                          <a:pt x="71" y="92"/>
                        </a:lnTo>
                        <a:lnTo>
                          <a:pt x="72" y="92"/>
                        </a:lnTo>
                        <a:lnTo>
                          <a:pt x="73" y="94"/>
                        </a:lnTo>
                        <a:lnTo>
                          <a:pt x="75" y="97"/>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8" name="Freeform 2298">
                    <a:extLst>
                      <a:ext uri="{FF2B5EF4-FFF2-40B4-BE49-F238E27FC236}">
                        <a16:creationId xmlns:a16="http://schemas.microsoft.com/office/drawing/2014/main" xmlns="" id="{2FFF57F0-2AF0-47B8-8036-6DC54993D8D7}"/>
                      </a:ext>
                    </a:extLst>
                  </p:cNvPr>
                  <p:cNvSpPr>
                    <a:spLocks/>
                  </p:cNvSpPr>
                  <p:nvPr/>
                </p:nvSpPr>
                <p:spPr bwMode="gray">
                  <a:xfrm>
                    <a:off x="3593199" y="2848094"/>
                    <a:ext cx="8900" cy="10012"/>
                  </a:xfrm>
                  <a:custGeom>
                    <a:avLst/>
                    <a:gdLst>
                      <a:gd name="T0" fmla="*/ 2147483647 w 8"/>
                      <a:gd name="T1" fmla="*/ 0 h 9"/>
                      <a:gd name="T2" fmla="*/ 2147483647 w 8"/>
                      <a:gd name="T3" fmla="*/ 2147483647 h 9"/>
                      <a:gd name="T4" fmla="*/ 2147483647 w 8"/>
                      <a:gd name="T5" fmla="*/ 2147483647 h 9"/>
                      <a:gd name="T6" fmla="*/ 2147483647 w 8"/>
                      <a:gd name="T7" fmla="*/ 2147483647 h 9"/>
                      <a:gd name="T8" fmla="*/ 2147483647 w 8"/>
                      <a:gd name="T9" fmla="*/ 2147483647 h 9"/>
                      <a:gd name="T10" fmla="*/ 2147483647 w 8"/>
                      <a:gd name="T11" fmla="*/ 2147483647 h 9"/>
                      <a:gd name="T12" fmla="*/ 2147483647 w 8"/>
                      <a:gd name="T13" fmla="*/ 2147483647 h 9"/>
                      <a:gd name="T14" fmla="*/ 0 w 8"/>
                      <a:gd name="T15" fmla="*/ 2147483647 h 9"/>
                      <a:gd name="T16" fmla="*/ 2147483647 w 8"/>
                      <a:gd name="T17" fmla="*/ 0 h 9"/>
                      <a:gd name="T18" fmla="*/ 2147483647 w 8"/>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9">
                        <a:moveTo>
                          <a:pt x="3" y="0"/>
                        </a:moveTo>
                        <a:lnTo>
                          <a:pt x="7" y="3"/>
                        </a:lnTo>
                        <a:lnTo>
                          <a:pt x="8" y="6"/>
                        </a:lnTo>
                        <a:lnTo>
                          <a:pt x="7" y="8"/>
                        </a:lnTo>
                        <a:lnTo>
                          <a:pt x="7" y="9"/>
                        </a:lnTo>
                        <a:lnTo>
                          <a:pt x="4" y="7"/>
                        </a:lnTo>
                        <a:lnTo>
                          <a:pt x="3" y="5"/>
                        </a:lnTo>
                        <a:lnTo>
                          <a:pt x="0" y="1"/>
                        </a:lnTo>
                        <a:lnTo>
                          <a:pt x="2"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39" name="Freeform 2300">
                    <a:extLst>
                      <a:ext uri="{FF2B5EF4-FFF2-40B4-BE49-F238E27FC236}">
                        <a16:creationId xmlns:a16="http://schemas.microsoft.com/office/drawing/2014/main" xmlns="" id="{4C471FE7-5E1E-448B-8FD1-36759F5DC9C7}"/>
                      </a:ext>
                    </a:extLst>
                  </p:cNvPr>
                  <p:cNvSpPr>
                    <a:spLocks/>
                  </p:cNvSpPr>
                  <p:nvPr/>
                </p:nvSpPr>
                <p:spPr bwMode="gray">
                  <a:xfrm>
                    <a:off x="4045973" y="2435389"/>
                    <a:ext cx="11125" cy="11125"/>
                  </a:xfrm>
                  <a:custGeom>
                    <a:avLst/>
                    <a:gdLst>
                      <a:gd name="T0" fmla="*/ 2147483647 w 10"/>
                      <a:gd name="T1" fmla="*/ 0 h 10"/>
                      <a:gd name="T2" fmla="*/ 2147483647 w 10"/>
                      <a:gd name="T3" fmla="*/ 2147483647 h 10"/>
                      <a:gd name="T4" fmla="*/ 2147483647 w 10"/>
                      <a:gd name="T5" fmla="*/ 2147483647 h 10"/>
                      <a:gd name="T6" fmla="*/ 0 w 10"/>
                      <a:gd name="T7" fmla="*/ 2147483647 h 10"/>
                      <a:gd name="T8" fmla="*/ 2147483647 w 10"/>
                      <a:gd name="T9" fmla="*/ 2147483647 h 10"/>
                      <a:gd name="T10" fmla="*/ 2147483647 w 10"/>
                      <a:gd name="T11" fmla="*/ 2147483647 h 10"/>
                      <a:gd name="T12" fmla="*/ 2147483647 w 10"/>
                      <a:gd name="T13" fmla="*/ 2147483647 h 10"/>
                      <a:gd name="T14" fmla="*/ 2147483647 w 10"/>
                      <a:gd name="T15" fmla="*/ 2147483647 h 10"/>
                      <a:gd name="T16" fmla="*/ 2147483647 w 10"/>
                      <a:gd name="T17" fmla="*/ 2147483647 h 10"/>
                      <a:gd name="T18" fmla="*/ 2147483647 w 10"/>
                      <a:gd name="T19" fmla="*/ 2147483647 h 10"/>
                      <a:gd name="T20" fmla="*/ 2147483647 w 10"/>
                      <a:gd name="T21" fmla="*/ 2147483647 h 10"/>
                      <a:gd name="T22" fmla="*/ 2147483647 w 10"/>
                      <a:gd name="T23" fmla="*/ 2147483647 h 10"/>
                      <a:gd name="T24" fmla="*/ 2147483647 w 10"/>
                      <a:gd name="T25" fmla="*/ 2147483647 h 10"/>
                      <a:gd name="T26" fmla="*/ 2147483647 w 10"/>
                      <a:gd name="T27" fmla="*/ 2147483647 h 10"/>
                      <a:gd name="T28" fmla="*/ 2147483647 w 10"/>
                      <a:gd name="T29" fmla="*/ 2147483647 h 10"/>
                      <a:gd name="T30" fmla="*/ 2147483647 w 10"/>
                      <a:gd name="T31" fmla="*/ 2147483647 h 10"/>
                      <a:gd name="T32" fmla="*/ 2147483647 w 10"/>
                      <a:gd name="T33" fmla="*/ 2147483647 h 10"/>
                      <a:gd name="T34" fmla="*/ 2147483647 w 10"/>
                      <a:gd name="T35" fmla="*/ 2147483647 h 10"/>
                      <a:gd name="T36" fmla="*/ 2147483647 w 10"/>
                      <a:gd name="T37" fmla="*/ 0 h 10"/>
                      <a:gd name="T38" fmla="*/ 2147483647 w 10"/>
                      <a:gd name="T39" fmla="*/ 0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 h="10">
                        <a:moveTo>
                          <a:pt x="5" y="0"/>
                        </a:moveTo>
                        <a:lnTo>
                          <a:pt x="3" y="1"/>
                        </a:lnTo>
                        <a:lnTo>
                          <a:pt x="2" y="4"/>
                        </a:lnTo>
                        <a:lnTo>
                          <a:pt x="0" y="7"/>
                        </a:lnTo>
                        <a:lnTo>
                          <a:pt x="2" y="7"/>
                        </a:lnTo>
                        <a:lnTo>
                          <a:pt x="3" y="6"/>
                        </a:lnTo>
                        <a:lnTo>
                          <a:pt x="3" y="8"/>
                        </a:lnTo>
                        <a:lnTo>
                          <a:pt x="3" y="9"/>
                        </a:lnTo>
                        <a:lnTo>
                          <a:pt x="3" y="10"/>
                        </a:lnTo>
                        <a:lnTo>
                          <a:pt x="3" y="9"/>
                        </a:lnTo>
                        <a:lnTo>
                          <a:pt x="4" y="8"/>
                        </a:lnTo>
                        <a:lnTo>
                          <a:pt x="7" y="7"/>
                        </a:lnTo>
                        <a:lnTo>
                          <a:pt x="10" y="6"/>
                        </a:lnTo>
                        <a:lnTo>
                          <a:pt x="10" y="4"/>
                        </a:lnTo>
                        <a:lnTo>
                          <a:pt x="10" y="2"/>
                        </a:lnTo>
                        <a:lnTo>
                          <a:pt x="10" y="3"/>
                        </a:lnTo>
                        <a:lnTo>
                          <a:pt x="8" y="1"/>
                        </a:lnTo>
                        <a:lnTo>
                          <a:pt x="7" y="0"/>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0" name="Freeform 2302">
                    <a:extLst>
                      <a:ext uri="{FF2B5EF4-FFF2-40B4-BE49-F238E27FC236}">
                        <a16:creationId xmlns:a16="http://schemas.microsoft.com/office/drawing/2014/main" xmlns="" id="{4F093C98-96C1-4C2E-9F6E-A6ABC1D64684}"/>
                      </a:ext>
                    </a:extLst>
                  </p:cNvPr>
                  <p:cNvSpPr>
                    <a:spLocks/>
                  </p:cNvSpPr>
                  <p:nvPr/>
                </p:nvSpPr>
                <p:spPr bwMode="gray">
                  <a:xfrm>
                    <a:off x="4030399" y="2442065"/>
                    <a:ext cx="13350" cy="21136"/>
                  </a:xfrm>
                  <a:custGeom>
                    <a:avLst/>
                    <a:gdLst>
                      <a:gd name="T0" fmla="*/ 2147483647 w 12"/>
                      <a:gd name="T1" fmla="*/ 0 h 19"/>
                      <a:gd name="T2" fmla="*/ 2147483647 w 12"/>
                      <a:gd name="T3" fmla="*/ 2147483647 h 19"/>
                      <a:gd name="T4" fmla="*/ 2147483647 w 12"/>
                      <a:gd name="T5" fmla="*/ 2147483647 h 19"/>
                      <a:gd name="T6" fmla="*/ 2147483647 w 12"/>
                      <a:gd name="T7" fmla="*/ 2147483647 h 19"/>
                      <a:gd name="T8" fmla="*/ 0 w 12"/>
                      <a:gd name="T9" fmla="*/ 2147483647 h 19"/>
                      <a:gd name="T10" fmla="*/ 2147483647 w 12"/>
                      <a:gd name="T11" fmla="*/ 2147483647 h 19"/>
                      <a:gd name="T12" fmla="*/ 2147483647 w 12"/>
                      <a:gd name="T13" fmla="*/ 2147483647 h 19"/>
                      <a:gd name="T14" fmla="*/ 2147483647 w 12"/>
                      <a:gd name="T15" fmla="*/ 2147483647 h 19"/>
                      <a:gd name="T16" fmla="*/ 2147483647 w 12"/>
                      <a:gd name="T17" fmla="*/ 2147483647 h 19"/>
                      <a:gd name="T18" fmla="*/ 2147483647 w 12"/>
                      <a:gd name="T19" fmla="*/ 2147483647 h 19"/>
                      <a:gd name="T20" fmla="*/ 2147483647 w 12"/>
                      <a:gd name="T21" fmla="*/ 2147483647 h 19"/>
                      <a:gd name="T22" fmla="*/ 2147483647 w 12"/>
                      <a:gd name="T23" fmla="*/ 2147483647 h 19"/>
                      <a:gd name="T24" fmla="*/ 2147483647 w 12"/>
                      <a:gd name="T25" fmla="*/ 2147483647 h 19"/>
                      <a:gd name="T26" fmla="*/ 2147483647 w 12"/>
                      <a:gd name="T27" fmla="*/ 2147483647 h 19"/>
                      <a:gd name="T28" fmla="*/ 2147483647 w 12"/>
                      <a:gd name="T29" fmla="*/ 2147483647 h 19"/>
                      <a:gd name="T30" fmla="*/ 2147483647 w 12"/>
                      <a:gd name="T31" fmla="*/ 2147483647 h 19"/>
                      <a:gd name="T32" fmla="*/ 2147483647 w 12"/>
                      <a:gd name="T33" fmla="*/ 2147483647 h 19"/>
                      <a:gd name="T34" fmla="*/ 2147483647 w 12"/>
                      <a:gd name="T35" fmla="*/ 2147483647 h 19"/>
                      <a:gd name="T36" fmla="*/ 2147483647 w 12"/>
                      <a:gd name="T37" fmla="*/ 2147483647 h 19"/>
                      <a:gd name="T38" fmla="*/ 2147483647 w 12"/>
                      <a:gd name="T39" fmla="*/ 2147483647 h 19"/>
                      <a:gd name="T40" fmla="*/ 2147483647 w 12"/>
                      <a:gd name="T41" fmla="*/ 2147483647 h 19"/>
                      <a:gd name="T42" fmla="*/ 2147483647 w 12"/>
                      <a:gd name="T43" fmla="*/ 0 h 19"/>
                      <a:gd name="T44" fmla="*/ 2147483647 w 12"/>
                      <a:gd name="T45" fmla="*/ 0 h 19"/>
                      <a:gd name="T46" fmla="*/ 2147483647 w 12"/>
                      <a:gd name="T47" fmla="*/ 0 h 19"/>
                      <a:gd name="T48" fmla="*/ 2147483647 w 12"/>
                      <a:gd name="T49" fmla="*/ 0 h 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2" h="19">
                        <a:moveTo>
                          <a:pt x="10" y="0"/>
                        </a:moveTo>
                        <a:lnTo>
                          <a:pt x="7" y="4"/>
                        </a:lnTo>
                        <a:lnTo>
                          <a:pt x="5" y="8"/>
                        </a:lnTo>
                        <a:lnTo>
                          <a:pt x="3" y="12"/>
                        </a:lnTo>
                        <a:lnTo>
                          <a:pt x="0" y="16"/>
                        </a:lnTo>
                        <a:lnTo>
                          <a:pt x="1" y="16"/>
                        </a:lnTo>
                        <a:lnTo>
                          <a:pt x="2" y="16"/>
                        </a:lnTo>
                        <a:lnTo>
                          <a:pt x="3" y="17"/>
                        </a:lnTo>
                        <a:lnTo>
                          <a:pt x="3" y="19"/>
                        </a:lnTo>
                        <a:lnTo>
                          <a:pt x="4" y="17"/>
                        </a:lnTo>
                        <a:lnTo>
                          <a:pt x="5" y="15"/>
                        </a:lnTo>
                        <a:lnTo>
                          <a:pt x="5" y="13"/>
                        </a:lnTo>
                        <a:lnTo>
                          <a:pt x="7" y="13"/>
                        </a:lnTo>
                        <a:lnTo>
                          <a:pt x="7" y="10"/>
                        </a:lnTo>
                        <a:lnTo>
                          <a:pt x="7" y="8"/>
                        </a:lnTo>
                        <a:lnTo>
                          <a:pt x="7" y="7"/>
                        </a:lnTo>
                        <a:lnTo>
                          <a:pt x="10" y="7"/>
                        </a:lnTo>
                        <a:lnTo>
                          <a:pt x="10" y="6"/>
                        </a:lnTo>
                        <a:lnTo>
                          <a:pt x="10" y="5"/>
                        </a:lnTo>
                        <a:lnTo>
                          <a:pt x="11" y="3"/>
                        </a:lnTo>
                        <a:lnTo>
                          <a:pt x="12" y="0"/>
                        </a:lnTo>
                        <a:lnTo>
                          <a:pt x="11" y="0"/>
                        </a:lnTo>
                        <a:lnTo>
                          <a:pt x="1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1" name="Freeform 2304">
                    <a:extLst>
                      <a:ext uri="{FF2B5EF4-FFF2-40B4-BE49-F238E27FC236}">
                        <a16:creationId xmlns:a16="http://schemas.microsoft.com/office/drawing/2014/main" xmlns="" id="{BDCA3ABD-5922-4EC3-AB5B-E97CCEDFADDD}"/>
                      </a:ext>
                    </a:extLst>
                  </p:cNvPr>
                  <p:cNvSpPr>
                    <a:spLocks/>
                  </p:cNvSpPr>
                  <p:nvPr/>
                </p:nvSpPr>
                <p:spPr bwMode="gray">
                  <a:xfrm>
                    <a:off x="4007037" y="2452079"/>
                    <a:ext cx="23362" cy="51171"/>
                  </a:xfrm>
                  <a:custGeom>
                    <a:avLst/>
                    <a:gdLst>
                      <a:gd name="T0" fmla="*/ 2147483647 w 21"/>
                      <a:gd name="T1" fmla="*/ 0 h 46"/>
                      <a:gd name="T2" fmla="*/ 2147483647 w 21"/>
                      <a:gd name="T3" fmla="*/ 0 h 46"/>
                      <a:gd name="T4" fmla="*/ 2147483647 w 21"/>
                      <a:gd name="T5" fmla="*/ 0 h 46"/>
                      <a:gd name="T6" fmla="*/ 2147483647 w 21"/>
                      <a:gd name="T7" fmla="*/ 0 h 46"/>
                      <a:gd name="T8" fmla="*/ 2147483647 w 21"/>
                      <a:gd name="T9" fmla="*/ 0 h 46"/>
                      <a:gd name="T10" fmla="*/ 2147483647 w 21"/>
                      <a:gd name="T11" fmla="*/ 2147483647 h 46"/>
                      <a:gd name="T12" fmla="*/ 2147483647 w 21"/>
                      <a:gd name="T13" fmla="*/ 2147483647 h 46"/>
                      <a:gd name="T14" fmla="*/ 2147483647 w 21"/>
                      <a:gd name="T15" fmla="*/ 2147483647 h 46"/>
                      <a:gd name="T16" fmla="*/ 2147483647 w 21"/>
                      <a:gd name="T17" fmla="*/ 2147483647 h 46"/>
                      <a:gd name="T18" fmla="*/ 2147483647 w 21"/>
                      <a:gd name="T19" fmla="*/ 2147483647 h 46"/>
                      <a:gd name="T20" fmla="*/ 2147483647 w 21"/>
                      <a:gd name="T21" fmla="*/ 2147483647 h 46"/>
                      <a:gd name="T22" fmla="*/ 2147483647 w 21"/>
                      <a:gd name="T23" fmla="*/ 2147483647 h 46"/>
                      <a:gd name="T24" fmla="*/ 2147483647 w 21"/>
                      <a:gd name="T25" fmla="*/ 2147483647 h 46"/>
                      <a:gd name="T26" fmla="*/ 2147483647 w 21"/>
                      <a:gd name="T27" fmla="*/ 2147483647 h 46"/>
                      <a:gd name="T28" fmla="*/ 2147483647 w 21"/>
                      <a:gd name="T29" fmla="*/ 2147483647 h 46"/>
                      <a:gd name="T30" fmla="*/ 2147483647 w 21"/>
                      <a:gd name="T31" fmla="*/ 2147483647 h 46"/>
                      <a:gd name="T32" fmla="*/ 2147483647 w 21"/>
                      <a:gd name="T33" fmla="*/ 2147483647 h 46"/>
                      <a:gd name="T34" fmla="*/ 0 w 21"/>
                      <a:gd name="T35" fmla="*/ 2147483647 h 46"/>
                      <a:gd name="T36" fmla="*/ 2147483647 w 21"/>
                      <a:gd name="T37" fmla="*/ 2147483647 h 46"/>
                      <a:gd name="T38" fmla="*/ 2147483647 w 21"/>
                      <a:gd name="T39" fmla="*/ 2147483647 h 46"/>
                      <a:gd name="T40" fmla="*/ 2147483647 w 21"/>
                      <a:gd name="T41" fmla="*/ 2147483647 h 46"/>
                      <a:gd name="T42" fmla="*/ 2147483647 w 21"/>
                      <a:gd name="T43" fmla="*/ 2147483647 h 46"/>
                      <a:gd name="T44" fmla="*/ 2147483647 w 21"/>
                      <a:gd name="T45" fmla="*/ 2147483647 h 46"/>
                      <a:gd name="T46" fmla="*/ 2147483647 w 21"/>
                      <a:gd name="T47" fmla="*/ 2147483647 h 46"/>
                      <a:gd name="T48" fmla="*/ 2147483647 w 21"/>
                      <a:gd name="T49" fmla="*/ 2147483647 h 46"/>
                      <a:gd name="T50" fmla="*/ 2147483647 w 21"/>
                      <a:gd name="T51" fmla="*/ 2147483647 h 46"/>
                      <a:gd name="T52" fmla="*/ 2147483647 w 21"/>
                      <a:gd name="T53" fmla="*/ 2147483647 h 46"/>
                      <a:gd name="T54" fmla="*/ 2147483647 w 21"/>
                      <a:gd name="T55" fmla="*/ 2147483647 h 46"/>
                      <a:gd name="T56" fmla="*/ 2147483647 w 21"/>
                      <a:gd name="T57" fmla="*/ 2147483647 h 46"/>
                      <a:gd name="T58" fmla="*/ 2147483647 w 21"/>
                      <a:gd name="T59" fmla="*/ 2147483647 h 46"/>
                      <a:gd name="T60" fmla="*/ 2147483647 w 21"/>
                      <a:gd name="T61" fmla="*/ 2147483647 h 46"/>
                      <a:gd name="T62" fmla="*/ 2147483647 w 21"/>
                      <a:gd name="T63" fmla="*/ 2147483647 h 46"/>
                      <a:gd name="T64" fmla="*/ 2147483647 w 21"/>
                      <a:gd name="T65" fmla="*/ 2147483647 h 46"/>
                      <a:gd name="T66" fmla="*/ 2147483647 w 21"/>
                      <a:gd name="T67" fmla="*/ 2147483647 h 46"/>
                      <a:gd name="T68" fmla="*/ 2147483647 w 21"/>
                      <a:gd name="T69" fmla="*/ 2147483647 h 46"/>
                      <a:gd name="T70" fmla="*/ 2147483647 w 21"/>
                      <a:gd name="T71" fmla="*/ 2147483647 h 46"/>
                      <a:gd name="T72" fmla="*/ 2147483647 w 21"/>
                      <a:gd name="T73" fmla="*/ 2147483647 h 46"/>
                      <a:gd name="T74" fmla="*/ 2147483647 w 21"/>
                      <a:gd name="T75" fmla="*/ 2147483647 h 46"/>
                      <a:gd name="T76" fmla="*/ 2147483647 w 21"/>
                      <a:gd name="T77" fmla="*/ 2147483647 h 46"/>
                      <a:gd name="T78" fmla="*/ 2147483647 w 21"/>
                      <a:gd name="T79" fmla="*/ 2147483647 h 46"/>
                      <a:gd name="T80" fmla="*/ 2147483647 w 21"/>
                      <a:gd name="T81" fmla="*/ 2147483647 h 46"/>
                      <a:gd name="T82" fmla="*/ 2147483647 w 21"/>
                      <a:gd name="T83" fmla="*/ 2147483647 h 46"/>
                      <a:gd name="T84" fmla="*/ 2147483647 w 21"/>
                      <a:gd name="T85" fmla="*/ 2147483647 h 46"/>
                      <a:gd name="T86" fmla="*/ 2147483647 w 21"/>
                      <a:gd name="T87" fmla="*/ 2147483647 h 46"/>
                      <a:gd name="T88" fmla="*/ 2147483647 w 21"/>
                      <a:gd name="T89" fmla="*/ 0 h 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 h="46">
                        <a:moveTo>
                          <a:pt x="18" y="0"/>
                        </a:moveTo>
                        <a:lnTo>
                          <a:pt x="17" y="0"/>
                        </a:lnTo>
                        <a:lnTo>
                          <a:pt x="16" y="0"/>
                        </a:lnTo>
                        <a:lnTo>
                          <a:pt x="11" y="0"/>
                        </a:lnTo>
                        <a:lnTo>
                          <a:pt x="8" y="0"/>
                        </a:lnTo>
                        <a:lnTo>
                          <a:pt x="8" y="2"/>
                        </a:lnTo>
                        <a:lnTo>
                          <a:pt x="8" y="4"/>
                        </a:lnTo>
                        <a:lnTo>
                          <a:pt x="8" y="5"/>
                        </a:lnTo>
                        <a:lnTo>
                          <a:pt x="8" y="7"/>
                        </a:lnTo>
                        <a:lnTo>
                          <a:pt x="9" y="7"/>
                        </a:lnTo>
                        <a:lnTo>
                          <a:pt x="10" y="7"/>
                        </a:lnTo>
                        <a:lnTo>
                          <a:pt x="11" y="7"/>
                        </a:lnTo>
                        <a:lnTo>
                          <a:pt x="11" y="16"/>
                        </a:lnTo>
                        <a:lnTo>
                          <a:pt x="2" y="16"/>
                        </a:lnTo>
                        <a:lnTo>
                          <a:pt x="1" y="18"/>
                        </a:lnTo>
                        <a:lnTo>
                          <a:pt x="1" y="19"/>
                        </a:lnTo>
                        <a:lnTo>
                          <a:pt x="0" y="21"/>
                        </a:lnTo>
                        <a:lnTo>
                          <a:pt x="2" y="23"/>
                        </a:lnTo>
                        <a:lnTo>
                          <a:pt x="2" y="26"/>
                        </a:lnTo>
                        <a:lnTo>
                          <a:pt x="5" y="27"/>
                        </a:lnTo>
                        <a:lnTo>
                          <a:pt x="9" y="27"/>
                        </a:lnTo>
                        <a:lnTo>
                          <a:pt x="14" y="27"/>
                        </a:lnTo>
                        <a:lnTo>
                          <a:pt x="12" y="31"/>
                        </a:lnTo>
                        <a:lnTo>
                          <a:pt x="10" y="35"/>
                        </a:lnTo>
                        <a:lnTo>
                          <a:pt x="8" y="40"/>
                        </a:lnTo>
                        <a:lnTo>
                          <a:pt x="8" y="46"/>
                        </a:lnTo>
                        <a:lnTo>
                          <a:pt x="8" y="45"/>
                        </a:lnTo>
                        <a:lnTo>
                          <a:pt x="9" y="45"/>
                        </a:lnTo>
                        <a:lnTo>
                          <a:pt x="10" y="46"/>
                        </a:lnTo>
                        <a:lnTo>
                          <a:pt x="11" y="46"/>
                        </a:lnTo>
                        <a:lnTo>
                          <a:pt x="12" y="42"/>
                        </a:lnTo>
                        <a:lnTo>
                          <a:pt x="14" y="38"/>
                        </a:lnTo>
                        <a:lnTo>
                          <a:pt x="17" y="35"/>
                        </a:lnTo>
                        <a:lnTo>
                          <a:pt x="18" y="33"/>
                        </a:lnTo>
                        <a:lnTo>
                          <a:pt x="18" y="23"/>
                        </a:lnTo>
                        <a:lnTo>
                          <a:pt x="21" y="23"/>
                        </a:lnTo>
                        <a:lnTo>
                          <a:pt x="21" y="14"/>
                        </a:lnTo>
                        <a:lnTo>
                          <a:pt x="19" y="14"/>
                        </a:lnTo>
                        <a:lnTo>
                          <a:pt x="18" y="14"/>
                        </a:lnTo>
                        <a:lnTo>
                          <a:pt x="18" y="9"/>
                        </a:lnTo>
                        <a:lnTo>
                          <a:pt x="18" y="6"/>
                        </a:lnTo>
                        <a:lnTo>
                          <a:pt x="18"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2" name="Freeform 2306">
                    <a:extLst>
                      <a:ext uri="{FF2B5EF4-FFF2-40B4-BE49-F238E27FC236}">
                        <a16:creationId xmlns:a16="http://schemas.microsoft.com/office/drawing/2014/main" xmlns="" id="{083763F7-361F-4778-866C-E1035D2426DC}"/>
                      </a:ext>
                    </a:extLst>
                  </p:cNvPr>
                  <p:cNvSpPr>
                    <a:spLocks/>
                  </p:cNvSpPr>
                  <p:nvPr/>
                </p:nvSpPr>
                <p:spPr bwMode="gray">
                  <a:xfrm>
                    <a:off x="3940290" y="2542183"/>
                    <a:ext cx="18913" cy="11125"/>
                  </a:xfrm>
                  <a:custGeom>
                    <a:avLst/>
                    <a:gdLst>
                      <a:gd name="T0" fmla="*/ 2147483647 w 17"/>
                      <a:gd name="T1" fmla="*/ 0 h 10"/>
                      <a:gd name="T2" fmla="*/ 2147483647 w 17"/>
                      <a:gd name="T3" fmla="*/ 2147483647 h 10"/>
                      <a:gd name="T4" fmla="*/ 2147483647 w 17"/>
                      <a:gd name="T5" fmla="*/ 2147483647 h 10"/>
                      <a:gd name="T6" fmla="*/ 2147483647 w 17"/>
                      <a:gd name="T7" fmla="*/ 2147483647 h 10"/>
                      <a:gd name="T8" fmla="*/ 0 w 17"/>
                      <a:gd name="T9" fmla="*/ 2147483647 h 10"/>
                      <a:gd name="T10" fmla="*/ 0 w 17"/>
                      <a:gd name="T11" fmla="*/ 2147483647 h 10"/>
                      <a:gd name="T12" fmla="*/ 0 w 17"/>
                      <a:gd name="T13" fmla="*/ 2147483647 h 10"/>
                      <a:gd name="T14" fmla="*/ 2147483647 w 17"/>
                      <a:gd name="T15" fmla="*/ 2147483647 h 10"/>
                      <a:gd name="T16" fmla="*/ 2147483647 w 17"/>
                      <a:gd name="T17" fmla="*/ 2147483647 h 10"/>
                      <a:gd name="T18" fmla="*/ 2147483647 w 17"/>
                      <a:gd name="T19" fmla="*/ 2147483647 h 10"/>
                      <a:gd name="T20" fmla="*/ 2147483647 w 17"/>
                      <a:gd name="T21" fmla="*/ 2147483647 h 10"/>
                      <a:gd name="T22" fmla="*/ 2147483647 w 17"/>
                      <a:gd name="T23" fmla="*/ 2147483647 h 10"/>
                      <a:gd name="T24" fmla="*/ 2147483647 w 17"/>
                      <a:gd name="T25" fmla="*/ 2147483647 h 10"/>
                      <a:gd name="T26" fmla="*/ 2147483647 w 17"/>
                      <a:gd name="T27" fmla="*/ 2147483647 h 10"/>
                      <a:gd name="T28" fmla="*/ 2147483647 w 17"/>
                      <a:gd name="T29" fmla="*/ 2147483647 h 10"/>
                      <a:gd name="T30" fmla="*/ 2147483647 w 17"/>
                      <a:gd name="T31" fmla="*/ 2147483647 h 10"/>
                      <a:gd name="T32" fmla="*/ 2147483647 w 17"/>
                      <a:gd name="T33" fmla="*/ 2147483647 h 10"/>
                      <a:gd name="T34" fmla="*/ 2147483647 w 17"/>
                      <a:gd name="T35" fmla="*/ 2147483647 h 10"/>
                      <a:gd name="T36" fmla="*/ 2147483647 w 17"/>
                      <a:gd name="T37" fmla="*/ 2147483647 h 10"/>
                      <a:gd name="T38" fmla="*/ 2147483647 w 17"/>
                      <a:gd name="T39" fmla="*/ 2147483647 h 10"/>
                      <a:gd name="T40" fmla="*/ 2147483647 w 17"/>
                      <a:gd name="T41" fmla="*/ 2147483647 h 10"/>
                      <a:gd name="T42" fmla="*/ 2147483647 w 17"/>
                      <a:gd name="T43" fmla="*/ 0 h 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7" h="10">
                        <a:moveTo>
                          <a:pt x="13" y="0"/>
                        </a:moveTo>
                        <a:lnTo>
                          <a:pt x="10" y="1"/>
                        </a:lnTo>
                        <a:lnTo>
                          <a:pt x="7" y="4"/>
                        </a:lnTo>
                        <a:lnTo>
                          <a:pt x="3" y="6"/>
                        </a:lnTo>
                        <a:lnTo>
                          <a:pt x="0" y="7"/>
                        </a:lnTo>
                        <a:lnTo>
                          <a:pt x="0" y="9"/>
                        </a:lnTo>
                        <a:lnTo>
                          <a:pt x="1" y="10"/>
                        </a:lnTo>
                        <a:lnTo>
                          <a:pt x="3" y="10"/>
                        </a:lnTo>
                        <a:lnTo>
                          <a:pt x="5" y="10"/>
                        </a:lnTo>
                        <a:lnTo>
                          <a:pt x="7" y="9"/>
                        </a:lnTo>
                        <a:lnTo>
                          <a:pt x="8" y="7"/>
                        </a:lnTo>
                        <a:lnTo>
                          <a:pt x="10" y="7"/>
                        </a:lnTo>
                        <a:lnTo>
                          <a:pt x="11" y="6"/>
                        </a:lnTo>
                        <a:lnTo>
                          <a:pt x="12" y="6"/>
                        </a:lnTo>
                        <a:lnTo>
                          <a:pt x="14" y="6"/>
                        </a:lnTo>
                        <a:lnTo>
                          <a:pt x="17" y="7"/>
                        </a:lnTo>
                        <a:lnTo>
                          <a:pt x="15" y="5"/>
                        </a:lnTo>
                        <a:lnTo>
                          <a:pt x="15" y="2"/>
                        </a:lnTo>
                        <a:lnTo>
                          <a:pt x="15" y="1"/>
                        </a:lnTo>
                        <a:lnTo>
                          <a:pt x="1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3" name="Freeform 2308">
                    <a:extLst>
                      <a:ext uri="{FF2B5EF4-FFF2-40B4-BE49-F238E27FC236}">
                        <a16:creationId xmlns:a16="http://schemas.microsoft.com/office/drawing/2014/main" xmlns="" id="{15AC0D4D-FFBA-46D6-B593-16553B5915E3}"/>
                      </a:ext>
                    </a:extLst>
                  </p:cNvPr>
                  <p:cNvSpPr>
                    <a:spLocks/>
                  </p:cNvSpPr>
                  <p:nvPr/>
                </p:nvSpPr>
                <p:spPr bwMode="gray">
                  <a:xfrm>
                    <a:off x="3909140" y="2549969"/>
                    <a:ext cx="30037" cy="23361"/>
                  </a:xfrm>
                  <a:custGeom>
                    <a:avLst/>
                    <a:gdLst>
                      <a:gd name="T0" fmla="*/ 2147483647 w 27"/>
                      <a:gd name="T1" fmla="*/ 0 h 21"/>
                      <a:gd name="T2" fmla="*/ 2147483647 w 27"/>
                      <a:gd name="T3" fmla="*/ 2147483647 h 21"/>
                      <a:gd name="T4" fmla="*/ 2147483647 w 27"/>
                      <a:gd name="T5" fmla="*/ 2147483647 h 21"/>
                      <a:gd name="T6" fmla="*/ 2147483647 w 27"/>
                      <a:gd name="T7" fmla="*/ 2147483647 h 21"/>
                      <a:gd name="T8" fmla="*/ 2147483647 w 27"/>
                      <a:gd name="T9" fmla="*/ 2147483647 h 21"/>
                      <a:gd name="T10" fmla="*/ 2147483647 w 27"/>
                      <a:gd name="T11" fmla="*/ 2147483647 h 21"/>
                      <a:gd name="T12" fmla="*/ 2147483647 w 27"/>
                      <a:gd name="T13" fmla="*/ 2147483647 h 21"/>
                      <a:gd name="T14" fmla="*/ 0 w 27"/>
                      <a:gd name="T15" fmla="*/ 2147483647 h 21"/>
                      <a:gd name="T16" fmla="*/ 2147483647 w 27"/>
                      <a:gd name="T17" fmla="*/ 2147483647 h 21"/>
                      <a:gd name="T18" fmla="*/ 2147483647 w 27"/>
                      <a:gd name="T19" fmla="*/ 2147483647 h 21"/>
                      <a:gd name="T20" fmla="*/ 2147483647 w 27"/>
                      <a:gd name="T21" fmla="*/ 2147483647 h 21"/>
                      <a:gd name="T22" fmla="*/ 2147483647 w 27"/>
                      <a:gd name="T23" fmla="*/ 2147483647 h 21"/>
                      <a:gd name="T24" fmla="*/ 2147483647 w 27"/>
                      <a:gd name="T25" fmla="*/ 2147483647 h 21"/>
                      <a:gd name="T26" fmla="*/ 2147483647 w 27"/>
                      <a:gd name="T27" fmla="*/ 2147483647 h 21"/>
                      <a:gd name="T28" fmla="*/ 2147483647 w 27"/>
                      <a:gd name="T29" fmla="*/ 2147483647 h 21"/>
                      <a:gd name="T30" fmla="*/ 2147483647 w 27"/>
                      <a:gd name="T31" fmla="*/ 2147483647 h 21"/>
                      <a:gd name="T32" fmla="*/ 2147483647 w 27"/>
                      <a:gd name="T33" fmla="*/ 2147483647 h 21"/>
                      <a:gd name="T34" fmla="*/ 2147483647 w 27"/>
                      <a:gd name="T35" fmla="*/ 2147483647 h 21"/>
                      <a:gd name="T36" fmla="*/ 2147483647 w 27"/>
                      <a:gd name="T37" fmla="*/ 2147483647 h 21"/>
                      <a:gd name="T38" fmla="*/ 2147483647 w 27"/>
                      <a:gd name="T39" fmla="*/ 2147483647 h 21"/>
                      <a:gd name="T40" fmla="*/ 2147483647 w 27"/>
                      <a:gd name="T41" fmla="*/ 2147483647 h 21"/>
                      <a:gd name="T42" fmla="*/ 2147483647 w 27"/>
                      <a:gd name="T43" fmla="*/ 2147483647 h 21"/>
                      <a:gd name="T44" fmla="*/ 2147483647 w 27"/>
                      <a:gd name="T45" fmla="*/ 2147483647 h 21"/>
                      <a:gd name="T46" fmla="*/ 2147483647 w 27"/>
                      <a:gd name="T47" fmla="*/ 2147483647 h 21"/>
                      <a:gd name="T48" fmla="*/ 2147483647 w 27"/>
                      <a:gd name="T49" fmla="*/ 2147483647 h 21"/>
                      <a:gd name="T50" fmla="*/ 2147483647 w 27"/>
                      <a:gd name="T51" fmla="*/ 2147483647 h 21"/>
                      <a:gd name="T52" fmla="*/ 2147483647 w 27"/>
                      <a:gd name="T53" fmla="*/ 2147483647 h 21"/>
                      <a:gd name="T54" fmla="*/ 2147483647 w 27"/>
                      <a:gd name="T55" fmla="*/ 2147483647 h 21"/>
                      <a:gd name="T56" fmla="*/ 2147483647 w 27"/>
                      <a:gd name="T57" fmla="*/ 2147483647 h 21"/>
                      <a:gd name="T58" fmla="*/ 2147483647 w 27"/>
                      <a:gd name="T59" fmla="*/ 2147483647 h 21"/>
                      <a:gd name="T60" fmla="*/ 2147483647 w 27"/>
                      <a:gd name="T61" fmla="*/ 2147483647 h 21"/>
                      <a:gd name="T62" fmla="*/ 2147483647 w 27"/>
                      <a:gd name="T63" fmla="*/ 2147483647 h 21"/>
                      <a:gd name="T64" fmla="*/ 2147483647 w 27"/>
                      <a:gd name="T65" fmla="*/ 2147483647 h 21"/>
                      <a:gd name="T66" fmla="*/ 2147483647 w 27"/>
                      <a:gd name="T67" fmla="*/ 2147483647 h 21"/>
                      <a:gd name="T68" fmla="*/ 2147483647 w 27"/>
                      <a:gd name="T69" fmla="*/ 2147483647 h 21"/>
                      <a:gd name="T70" fmla="*/ 2147483647 w 27"/>
                      <a:gd name="T71" fmla="*/ 2147483647 h 21"/>
                      <a:gd name="T72" fmla="*/ 2147483647 w 27"/>
                      <a:gd name="T73" fmla="*/ 2147483647 h 21"/>
                      <a:gd name="T74" fmla="*/ 2147483647 w 27"/>
                      <a:gd name="T75" fmla="*/ 2147483647 h 21"/>
                      <a:gd name="T76" fmla="*/ 2147483647 w 27"/>
                      <a:gd name="T77" fmla="*/ 2147483647 h 21"/>
                      <a:gd name="T78" fmla="*/ 2147483647 w 27"/>
                      <a:gd name="T79" fmla="*/ 0 h 21"/>
                      <a:gd name="T80" fmla="*/ 2147483647 w 27"/>
                      <a:gd name="T81" fmla="*/ 0 h 21"/>
                      <a:gd name="T82" fmla="*/ 2147483647 w 27"/>
                      <a:gd name="T83" fmla="*/ 0 h 21"/>
                      <a:gd name="T84" fmla="*/ 2147483647 w 27"/>
                      <a:gd name="T85" fmla="*/ 0 h 21"/>
                      <a:gd name="T86" fmla="*/ 2147483647 w 27"/>
                      <a:gd name="T87" fmla="*/ 0 h 2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7" h="21">
                        <a:moveTo>
                          <a:pt x="9" y="0"/>
                        </a:moveTo>
                        <a:lnTo>
                          <a:pt x="8" y="1"/>
                        </a:lnTo>
                        <a:lnTo>
                          <a:pt x="6" y="4"/>
                        </a:lnTo>
                        <a:lnTo>
                          <a:pt x="6" y="6"/>
                        </a:lnTo>
                        <a:lnTo>
                          <a:pt x="6" y="9"/>
                        </a:lnTo>
                        <a:lnTo>
                          <a:pt x="3" y="10"/>
                        </a:lnTo>
                        <a:lnTo>
                          <a:pt x="1" y="11"/>
                        </a:lnTo>
                        <a:lnTo>
                          <a:pt x="0" y="13"/>
                        </a:lnTo>
                        <a:lnTo>
                          <a:pt x="1" y="17"/>
                        </a:lnTo>
                        <a:lnTo>
                          <a:pt x="3" y="21"/>
                        </a:lnTo>
                        <a:lnTo>
                          <a:pt x="4" y="21"/>
                        </a:lnTo>
                        <a:lnTo>
                          <a:pt x="5" y="21"/>
                        </a:lnTo>
                        <a:lnTo>
                          <a:pt x="9" y="21"/>
                        </a:lnTo>
                        <a:lnTo>
                          <a:pt x="8" y="18"/>
                        </a:lnTo>
                        <a:lnTo>
                          <a:pt x="7" y="17"/>
                        </a:lnTo>
                        <a:lnTo>
                          <a:pt x="7" y="15"/>
                        </a:lnTo>
                        <a:lnTo>
                          <a:pt x="10" y="14"/>
                        </a:lnTo>
                        <a:lnTo>
                          <a:pt x="16" y="12"/>
                        </a:lnTo>
                        <a:lnTo>
                          <a:pt x="16" y="15"/>
                        </a:lnTo>
                        <a:lnTo>
                          <a:pt x="18" y="17"/>
                        </a:lnTo>
                        <a:lnTo>
                          <a:pt x="21" y="21"/>
                        </a:lnTo>
                        <a:lnTo>
                          <a:pt x="23" y="21"/>
                        </a:lnTo>
                        <a:lnTo>
                          <a:pt x="24" y="20"/>
                        </a:lnTo>
                        <a:lnTo>
                          <a:pt x="25" y="19"/>
                        </a:lnTo>
                        <a:lnTo>
                          <a:pt x="25" y="18"/>
                        </a:lnTo>
                        <a:lnTo>
                          <a:pt x="26" y="18"/>
                        </a:lnTo>
                        <a:lnTo>
                          <a:pt x="27" y="18"/>
                        </a:lnTo>
                        <a:lnTo>
                          <a:pt x="27" y="17"/>
                        </a:lnTo>
                        <a:lnTo>
                          <a:pt x="25" y="16"/>
                        </a:lnTo>
                        <a:lnTo>
                          <a:pt x="25" y="14"/>
                        </a:lnTo>
                        <a:lnTo>
                          <a:pt x="25" y="12"/>
                        </a:lnTo>
                        <a:lnTo>
                          <a:pt x="25" y="11"/>
                        </a:lnTo>
                        <a:lnTo>
                          <a:pt x="25" y="9"/>
                        </a:lnTo>
                        <a:lnTo>
                          <a:pt x="16" y="9"/>
                        </a:lnTo>
                        <a:lnTo>
                          <a:pt x="16" y="7"/>
                        </a:lnTo>
                        <a:lnTo>
                          <a:pt x="16" y="5"/>
                        </a:lnTo>
                        <a:lnTo>
                          <a:pt x="16" y="2"/>
                        </a:lnTo>
                        <a:lnTo>
                          <a:pt x="16" y="0"/>
                        </a:lnTo>
                        <a:lnTo>
                          <a:pt x="14" y="0"/>
                        </a:lnTo>
                        <a:lnTo>
                          <a:pt x="12" y="0"/>
                        </a:lnTo>
                        <a:lnTo>
                          <a:pt x="11" y="0"/>
                        </a:lnTo>
                        <a:lnTo>
                          <a:pt x="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4" name="Freeform 2310">
                    <a:extLst>
                      <a:ext uri="{FF2B5EF4-FFF2-40B4-BE49-F238E27FC236}">
                        <a16:creationId xmlns:a16="http://schemas.microsoft.com/office/drawing/2014/main" xmlns="" id="{996436DA-B580-430D-99E6-B67ED139A034}"/>
                      </a:ext>
                    </a:extLst>
                  </p:cNvPr>
                  <p:cNvSpPr>
                    <a:spLocks/>
                  </p:cNvSpPr>
                  <p:nvPr/>
                </p:nvSpPr>
                <p:spPr bwMode="gray">
                  <a:xfrm>
                    <a:off x="3944739" y="2557757"/>
                    <a:ext cx="5563" cy="2225"/>
                  </a:xfrm>
                  <a:custGeom>
                    <a:avLst/>
                    <a:gdLst>
                      <a:gd name="T0" fmla="*/ 0 w 5"/>
                      <a:gd name="T1" fmla="*/ 0 h 2"/>
                      <a:gd name="T2" fmla="*/ 0 w 5"/>
                      <a:gd name="T3" fmla="*/ 2147483647 h 2"/>
                      <a:gd name="T4" fmla="*/ 2147483647 w 5"/>
                      <a:gd name="T5" fmla="*/ 2147483647 h 2"/>
                      <a:gd name="T6" fmla="*/ 2147483647 w 5"/>
                      <a:gd name="T7" fmla="*/ 2147483647 h 2"/>
                      <a:gd name="T8" fmla="*/ 2147483647 w 5"/>
                      <a:gd name="T9" fmla="*/ 0 h 2"/>
                      <a:gd name="T10" fmla="*/ 0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0" y="0"/>
                        </a:moveTo>
                        <a:lnTo>
                          <a:pt x="0" y="2"/>
                        </a:lnTo>
                        <a:lnTo>
                          <a:pt x="4" y="2"/>
                        </a:lnTo>
                        <a:lnTo>
                          <a:pt x="5" y="1"/>
                        </a:lnTo>
                        <a:lnTo>
                          <a:pt x="4"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5" name="Freeform 2312">
                    <a:extLst>
                      <a:ext uri="{FF2B5EF4-FFF2-40B4-BE49-F238E27FC236}">
                        <a16:creationId xmlns:a16="http://schemas.microsoft.com/office/drawing/2014/main" xmlns="" id="{DDB43089-28E1-449D-901F-81D403BE7F57}"/>
                      </a:ext>
                    </a:extLst>
                  </p:cNvPr>
                  <p:cNvSpPr>
                    <a:spLocks/>
                  </p:cNvSpPr>
                  <p:nvPr/>
                </p:nvSpPr>
                <p:spPr bwMode="gray">
                  <a:xfrm>
                    <a:off x="3733371" y="2557757"/>
                    <a:ext cx="53398" cy="45609"/>
                  </a:xfrm>
                  <a:custGeom>
                    <a:avLst/>
                    <a:gdLst>
                      <a:gd name="T0" fmla="*/ 2147483647 w 48"/>
                      <a:gd name="T1" fmla="*/ 2147483647 h 41"/>
                      <a:gd name="T2" fmla="*/ 2147483647 w 48"/>
                      <a:gd name="T3" fmla="*/ 2147483647 h 41"/>
                      <a:gd name="T4" fmla="*/ 2147483647 w 48"/>
                      <a:gd name="T5" fmla="*/ 2147483647 h 41"/>
                      <a:gd name="T6" fmla="*/ 2147483647 w 48"/>
                      <a:gd name="T7" fmla="*/ 2147483647 h 41"/>
                      <a:gd name="T8" fmla="*/ 2147483647 w 48"/>
                      <a:gd name="T9" fmla="*/ 2147483647 h 41"/>
                      <a:gd name="T10" fmla="*/ 2147483647 w 48"/>
                      <a:gd name="T11" fmla="*/ 2147483647 h 41"/>
                      <a:gd name="T12" fmla="*/ 2147483647 w 48"/>
                      <a:gd name="T13" fmla="*/ 2147483647 h 41"/>
                      <a:gd name="T14" fmla="*/ 2147483647 w 48"/>
                      <a:gd name="T15" fmla="*/ 2147483647 h 41"/>
                      <a:gd name="T16" fmla="*/ 2147483647 w 48"/>
                      <a:gd name="T17" fmla="*/ 2147483647 h 41"/>
                      <a:gd name="T18" fmla="*/ 2147483647 w 48"/>
                      <a:gd name="T19" fmla="*/ 2147483647 h 41"/>
                      <a:gd name="T20" fmla="*/ 2147483647 w 48"/>
                      <a:gd name="T21" fmla="*/ 2147483647 h 41"/>
                      <a:gd name="T22" fmla="*/ 2147483647 w 48"/>
                      <a:gd name="T23" fmla="*/ 2147483647 h 41"/>
                      <a:gd name="T24" fmla="*/ 2147483647 w 48"/>
                      <a:gd name="T25" fmla="*/ 2147483647 h 41"/>
                      <a:gd name="T26" fmla="*/ 2147483647 w 48"/>
                      <a:gd name="T27" fmla="*/ 2147483647 h 41"/>
                      <a:gd name="T28" fmla="*/ 2147483647 w 48"/>
                      <a:gd name="T29" fmla="*/ 2147483647 h 41"/>
                      <a:gd name="T30" fmla="*/ 2147483647 w 48"/>
                      <a:gd name="T31" fmla="*/ 2147483647 h 41"/>
                      <a:gd name="T32" fmla="*/ 2147483647 w 48"/>
                      <a:gd name="T33" fmla="*/ 2147483647 h 41"/>
                      <a:gd name="T34" fmla="*/ 2147483647 w 48"/>
                      <a:gd name="T35" fmla="*/ 2147483647 h 41"/>
                      <a:gd name="T36" fmla="*/ 2147483647 w 48"/>
                      <a:gd name="T37" fmla="*/ 2147483647 h 41"/>
                      <a:gd name="T38" fmla="*/ 2147483647 w 48"/>
                      <a:gd name="T39" fmla="*/ 2147483647 h 41"/>
                      <a:gd name="T40" fmla="*/ 0 w 48"/>
                      <a:gd name="T41" fmla="*/ 2147483647 h 41"/>
                      <a:gd name="T42" fmla="*/ 0 w 48"/>
                      <a:gd name="T43" fmla="*/ 2147483647 h 41"/>
                      <a:gd name="T44" fmla="*/ 0 w 48"/>
                      <a:gd name="T45" fmla="*/ 2147483647 h 41"/>
                      <a:gd name="T46" fmla="*/ 2147483647 w 48"/>
                      <a:gd name="T47" fmla="*/ 2147483647 h 41"/>
                      <a:gd name="T48" fmla="*/ 2147483647 w 48"/>
                      <a:gd name="T49" fmla="*/ 2147483647 h 41"/>
                      <a:gd name="T50" fmla="*/ 2147483647 w 48"/>
                      <a:gd name="T51" fmla="*/ 2147483647 h 41"/>
                      <a:gd name="T52" fmla="*/ 2147483647 w 48"/>
                      <a:gd name="T53" fmla="*/ 2147483647 h 41"/>
                      <a:gd name="T54" fmla="*/ 2147483647 w 48"/>
                      <a:gd name="T55" fmla="*/ 2147483647 h 41"/>
                      <a:gd name="T56" fmla="*/ 2147483647 w 48"/>
                      <a:gd name="T57" fmla="*/ 2147483647 h 41"/>
                      <a:gd name="T58" fmla="*/ 2147483647 w 48"/>
                      <a:gd name="T59" fmla="*/ 2147483647 h 41"/>
                      <a:gd name="T60" fmla="*/ 2147483647 w 48"/>
                      <a:gd name="T61" fmla="*/ 2147483647 h 41"/>
                      <a:gd name="T62" fmla="*/ 2147483647 w 48"/>
                      <a:gd name="T63" fmla="*/ 2147483647 h 41"/>
                      <a:gd name="T64" fmla="*/ 2147483647 w 48"/>
                      <a:gd name="T65" fmla="*/ 2147483647 h 41"/>
                      <a:gd name="T66" fmla="*/ 2147483647 w 48"/>
                      <a:gd name="T67" fmla="*/ 2147483647 h 41"/>
                      <a:gd name="T68" fmla="*/ 2147483647 w 48"/>
                      <a:gd name="T69" fmla="*/ 2147483647 h 41"/>
                      <a:gd name="T70" fmla="*/ 2147483647 w 48"/>
                      <a:gd name="T71" fmla="*/ 2147483647 h 41"/>
                      <a:gd name="T72" fmla="*/ 2147483647 w 48"/>
                      <a:gd name="T73" fmla="*/ 2147483647 h 41"/>
                      <a:gd name="T74" fmla="*/ 2147483647 w 48"/>
                      <a:gd name="T75" fmla="*/ 0 h 4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 h="41">
                        <a:moveTo>
                          <a:pt x="46" y="0"/>
                        </a:moveTo>
                        <a:lnTo>
                          <a:pt x="42" y="2"/>
                        </a:lnTo>
                        <a:lnTo>
                          <a:pt x="38" y="3"/>
                        </a:lnTo>
                        <a:lnTo>
                          <a:pt x="34" y="4"/>
                        </a:lnTo>
                        <a:lnTo>
                          <a:pt x="29" y="6"/>
                        </a:lnTo>
                        <a:lnTo>
                          <a:pt x="27" y="6"/>
                        </a:lnTo>
                        <a:lnTo>
                          <a:pt x="26" y="6"/>
                        </a:lnTo>
                        <a:lnTo>
                          <a:pt x="25" y="6"/>
                        </a:lnTo>
                        <a:lnTo>
                          <a:pt x="23" y="6"/>
                        </a:lnTo>
                        <a:lnTo>
                          <a:pt x="22" y="7"/>
                        </a:lnTo>
                        <a:lnTo>
                          <a:pt x="22" y="8"/>
                        </a:lnTo>
                        <a:lnTo>
                          <a:pt x="20" y="9"/>
                        </a:lnTo>
                        <a:lnTo>
                          <a:pt x="20" y="8"/>
                        </a:lnTo>
                        <a:lnTo>
                          <a:pt x="20" y="7"/>
                        </a:lnTo>
                        <a:lnTo>
                          <a:pt x="19" y="6"/>
                        </a:lnTo>
                        <a:lnTo>
                          <a:pt x="17" y="6"/>
                        </a:lnTo>
                        <a:lnTo>
                          <a:pt x="16" y="6"/>
                        </a:lnTo>
                        <a:lnTo>
                          <a:pt x="15" y="6"/>
                        </a:lnTo>
                        <a:lnTo>
                          <a:pt x="14" y="6"/>
                        </a:lnTo>
                        <a:lnTo>
                          <a:pt x="14" y="9"/>
                        </a:lnTo>
                        <a:lnTo>
                          <a:pt x="12" y="10"/>
                        </a:lnTo>
                        <a:lnTo>
                          <a:pt x="10" y="12"/>
                        </a:lnTo>
                        <a:lnTo>
                          <a:pt x="8" y="14"/>
                        </a:lnTo>
                        <a:lnTo>
                          <a:pt x="7" y="15"/>
                        </a:lnTo>
                        <a:lnTo>
                          <a:pt x="7" y="16"/>
                        </a:lnTo>
                        <a:lnTo>
                          <a:pt x="7" y="17"/>
                        </a:lnTo>
                        <a:lnTo>
                          <a:pt x="7" y="18"/>
                        </a:lnTo>
                        <a:lnTo>
                          <a:pt x="7" y="19"/>
                        </a:lnTo>
                        <a:lnTo>
                          <a:pt x="6" y="19"/>
                        </a:lnTo>
                        <a:lnTo>
                          <a:pt x="5" y="21"/>
                        </a:lnTo>
                        <a:lnTo>
                          <a:pt x="4" y="22"/>
                        </a:lnTo>
                        <a:lnTo>
                          <a:pt x="3" y="22"/>
                        </a:lnTo>
                        <a:lnTo>
                          <a:pt x="4" y="25"/>
                        </a:lnTo>
                        <a:lnTo>
                          <a:pt x="5" y="27"/>
                        </a:lnTo>
                        <a:lnTo>
                          <a:pt x="6" y="30"/>
                        </a:lnTo>
                        <a:lnTo>
                          <a:pt x="7" y="31"/>
                        </a:lnTo>
                        <a:lnTo>
                          <a:pt x="4" y="32"/>
                        </a:lnTo>
                        <a:lnTo>
                          <a:pt x="2" y="33"/>
                        </a:lnTo>
                        <a:lnTo>
                          <a:pt x="1" y="34"/>
                        </a:lnTo>
                        <a:lnTo>
                          <a:pt x="0" y="35"/>
                        </a:lnTo>
                        <a:lnTo>
                          <a:pt x="0" y="37"/>
                        </a:lnTo>
                        <a:lnTo>
                          <a:pt x="0" y="38"/>
                        </a:lnTo>
                        <a:lnTo>
                          <a:pt x="0" y="39"/>
                        </a:lnTo>
                        <a:lnTo>
                          <a:pt x="0" y="41"/>
                        </a:lnTo>
                        <a:lnTo>
                          <a:pt x="1" y="41"/>
                        </a:lnTo>
                        <a:lnTo>
                          <a:pt x="3" y="41"/>
                        </a:lnTo>
                        <a:lnTo>
                          <a:pt x="6" y="41"/>
                        </a:lnTo>
                        <a:lnTo>
                          <a:pt x="10" y="41"/>
                        </a:lnTo>
                        <a:lnTo>
                          <a:pt x="11" y="40"/>
                        </a:lnTo>
                        <a:lnTo>
                          <a:pt x="12" y="38"/>
                        </a:lnTo>
                        <a:lnTo>
                          <a:pt x="14" y="38"/>
                        </a:lnTo>
                        <a:lnTo>
                          <a:pt x="16" y="37"/>
                        </a:lnTo>
                        <a:lnTo>
                          <a:pt x="19" y="37"/>
                        </a:lnTo>
                        <a:lnTo>
                          <a:pt x="22" y="37"/>
                        </a:lnTo>
                        <a:lnTo>
                          <a:pt x="26" y="38"/>
                        </a:lnTo>
                        <a:lnTo>
                          <a:pt x="27" y="37"/>
                        </a:lnTo>
                        <a:lnTo>
                          <a:pt x="28" y="36"/>
                        </a:lnTo>
                        <a:lnTo>
                          <a:pt x="30" y="35"/>
                        </a:lnTo>
                        <a:lnTo>
                          <a:pt x="33" y="35"/>
                        </a:lnTo>
                        <a:lnTo>
                          <a:pt x="33" y="32"/>
                        </a:lnTo>
                        <a:lnTo>
                          <a:pt x="33" y="29"/>
                        </a:lnTo>
                        <a:lnTo>
                          <a:pt x="33" y="25"/>
                        </a:lnTo>
                        <a:lnTo>
                          <a:pt x="33" y="22"/>
                        </a:lnTo>
                        <a:lnTo>
                          <a:pt x="35" y="20"/>
                        </a:lnTo>
                        <a:lnTo>
                          <a:pt x="37" y="19"/>
                        </a:lnTo>
                        <a:lnTo>
                          <a:pt x="39" y="19"/>
                        </a:lnTo>
                        <a:lnTo>
                          <a:pt x="45" y="15"/>
                        </a:lnTo>
                        <a:lnTo>
                          <a:pt x="47" y="11"/>
                        </a:lnTo>
                        <a:lnTo>
                          <a:pt x="48" y="7"/>
                        </a:lnTo>
                        <a:lnTo>
                          <a:pt x="48" y="4"/>
                        </a:lnTo>
                        <a:lnTo>
                          <a:pt x="48" y="0"/>
                        </a:lnTo>
                        <a:lnTo>
                          <a:pt x="4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6" name="Freeform 2314">
                    <a:extLst>
                      <a:ext uri="{FF2B5EF4-FFF2-40B4-BE49-F238E27FC236}">
                        <a16:creationId xmlns:a16="http://schemas.microsoft.com/office/drawing/2014/main" xmlns="" id="{5AFD1531-3E41-43AC-9CE9-D97613D1EC7B}"/>
                      </a:ext>
                    </a:extLst>
                  </p:cNvPr>
                  <p:cNvSpPr>
                    <a:spLocks/>
                  </p:cNvSpPr>
                  <p:nvPr/>
                </p:nvSpPr>
                <p:spPr bwMode="gray">
                  <a:xfrm>
                    <a:off x="3668847" y="2567768"/>
                    <a:ext cx="8900" cy="4450"/>
                  </a:xfrm>
                  <a:custGeom>
                    <a:avLst/>
                    <a:gdLst>
                      <a:gd name="T0" fmla="*/ 0 w 8"/>
                      <a:gd name="T1" fmla="*/ 0 h 4"/>
                      <a:gd name="T2" fmla="*/ 2147483647 w 8"/>
                      <a:gd name="T3" fmla="*/ 0 h 4"/>
                      <a:gd name="T4" fmla="*/ 2147483647 w 8"/>
                      <a:gd name="T5" fmla="*/ 2147483647 h 4"/>
                      <a:gd name="T6" fmla="*/ 0 w 8"/>
                      <a:gd name="T7" fmla="*/ 2147483647 h 4"/>
                      <a:gd name="T8" fmla="*/ 0 w 8"/>
                      <a:gd name="T9" fmla="*/ 2147483647 h 4"/>
                      <a:gd name="T10" fmla="*/ 2147483647 w 8"/>
                      <a:gd name="T11" fmla="*/ 2147483647 h 4"/>
                      <a:gd name="T12" fmla="*/ 2147483647 w 8"/>
                      <a:gd name="T13" fmla="*/ 2147483647 h 4"/>
                      <a:gd name="T14" fmla="*/ 2147483647 w 8"/>
                      <a:gd name="T15" fmla="*/ 2147483647 h 4"/>
                      <a:gd name="T16" fmla="*/ 2147483647 w 8"/>
                      <a:gd name="T17" fmla="*/ 2147483647 h 4"/>
                      <a:gd name="T18" fmla="*/ 2147483647 w 8"/>
                      <a:gd name="T19" fmla="*/ 2147483647 h 4"/>
                      <a:gd name="T20" fmla="*/ 2147483647 w 8"/>
                      <a:gd name="T21" fmla="*/ 2147483647 h 4"/>
                      <a:gd name="T22" fmla="*/ 2147483647 w 8"/>
                      <a:gd name="T23" fmla="*/ 2147483647 h 4"/>
                      <a:gd name="T24" fmla="*/ 2147483647 w 8"/>
                      <a:gd name="T25" fmla="*/ 2147483647 h 4"/>
                      <a:gd name="T26" fmla="*/ 2147483647 w 8"/>
                      <a:gd name="T27" fmla="*/ 0 h 4"/>
                      <a:gd name="T28" fmla="*/ 2147483647 w 8"/>
                      <a:gd name="T29" fmla="*/ 0 h 4"/>
                      <a:gd name="T30" fmla="*/ 2147483647 w 8"/>
                      <a:gd name="T31" fmla="*/ 0 h 4"/>
                      <a:gd name="T32" fmla="*/ 0 w 8"/>
                      <a:gd name="T33" fmla="*/ 0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 h="4">
                        <a:moveTo>
                          <a:pt x="0" y="0"/>
                        </a:moveTo>
                        <a:lnTo>
                          <a:pt x="1" y="0"/>
                        </a:lnTo>
                        <a:lnTo>
                          <a:pt x="1" y="1"/>
                        </a:lnTo>
                        <a:lnTo>
                          <a:pt x="0" y="2"/>
                        </a:lnTo>
                        <a:lnTo>
                          <a:pt x="1" y="3"/>
                        </a:lnTo>
                        <a:lnTo>
                          <a:pt x="4" y="3"/>
                        </a:lnTo>
                        <a:lnTo>
                          <a:pt x="8" y="4"/>
                        </a:lnTo>
                        <a:lnTo>
                          <a:pt x="8" y="3"/>
                        </a:lnTo>
                        <a:lnTo>
                          <a:pt x="6" y="2"/>
                        </a:lnTo>
                        <a:lnTo>
                          <a:pt x="8" y="3"/>
                        </a:lnTo>
                        <a:lnTo>
                          <a:pt x="8" y="2"/>
                        </a:lnTo>
                        <a:lnTo>
                          <a:pt x="8" y="1"/>
                        </a:lnTo>
                        <a:lnTo>
                          <a:pt x="6" y="0"/>
                        </a:lnTo>
                        <a:lnTo>
                          <a:pt x="4"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7" name="Freeform 2316">
                    <a:extLst>
                      <a:ext uri="{FF2B5EF4-FFF2-40B4-BE49-F238E27FC236}">
                        <a16:creationId xmlns:a16="http://schemas.microsoft.com/office/drawing/2014/main" xmlns="" id="{E557707B-E499-4EF4-B3A0-41D52571D7C8}"/>
                      </a:ext>
                    </a:extLst>
                  </p:cNvPr>
                  <p:cNvSpPr>
                    <a:spLocks/>
                  </p:cNvSpPr>
                  <p:nvPr/>
                </p:nvSpPr>
                <p:spPr bwMode="gray">
                  <a:xfrm>
                    <a:off x="3923601" y="2573330"/>
                    <a:ext cx="4450" cy="8899"/>
                  </a:xfrm>
                  <a:custGeom>
                    <a:avLst/>
                    <a:gdLst>
                      <a:gd name="T0" fmla="*/ 2147483647 w 4"/>
                      <a:gd name="T1" fmla="*/ 0 h 8"/>
                      <a:gd name="T2" fmla="*/ 2147483647 w 4"/>
                      <a:gd name="T3" fmla="*/ 2147483647 h 8"/>
                      <a:gd name="T4" fmla="*/ 0 w 4"/>
                      <a:gd name="T5" fmla="*/ 2147483647 h 8"/>
                      <a:gd name="T6" fmla="*/ 0 w 4"/>
                      <a:gd name="T7" fmla="*/ 2147483647 h 8"/>
                      <a:gd name="T8" fmla="*/ 2147483647 w 4"/>
                      <a:gd name="T9" fmla="*/ 2147483647 h 8"/>
                      <a:gd name="T10" fmla="*/ 2147483647 w 4"/>
                      <a:gd name="T11" fmla="*/ 2147483647 h 8"/>
                      <a:gd name="T12" fmla="*/ 2147483647 w 4"/>
                      <a:gd name="T13" fmla="*/ 2147483647 h 8"/>
                      <a:gd name="T14" fmla="*/ 2147483647 w 4"/>
                      <a:gd name="T15" fmla="*/ 2147483647 h 8"/>
                      <a:gd name="T16" fmla="*/ 2147483647 w 4"/>
                      <a:gd name="T17" fmla="*/ 2147483647 h 8"/>
                      <a:gd name="T18" fmla="*/ 2147483647 w 4"/>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8">
                        <a:moveTo>
                          <a:pt x="3" y="0"/>
                        </a:moveTo>
                        <a:lnTo>
                          <a:pt x="1" y="2"/>
                        </a:lnTo>
                        <a:lnTo>
                          <a:pt x="0" y="3"/>
                        </a:lnTo>
                        <a:lnTo>
                          <a:pt x="0" y="4"/>
                        </a:lnTo>
                        <a:lnTo>
                          <a:pt x="2" y="7"/>
                        </a:lnTo>
                        <a:lnTo>
                          <a:pt x="3" y="8"/>
                        </a:lnTo>
                        <a:lnTo>
                          <a:pt x="3" y="7"/>
                        </a:lnTo>
                        <a:lnTo>
                          <a:pt x="4" y="4"/>
                        </a:lnTo>
                        <a:lnTo>
                          <a:pt x="4" y="3"/>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8" name="Freeform 2318">
                    <a:extLst>
                      <a:ext uri="{FF2B5EF4-FFF2-40B4-BE49-F238E27FC236}">
                        <a16:creationId xmlns:a16="http://schemas.microsoft.com/office/drawing/2014/main" xmlns="" id="{CC701F08-71EE-4E53-B917-AC8D8ED37BFC}"/>
                      </a:ext>
                    </a:extLst>
                  </p:cNvPr>
                  <p:cNvSpPr>
                    <a:spLocks/>
                  </p:cNvSpPr>
                  <p:nvPr/>
                </p:nvSpPr>
                <p:spPr bwMode="gray">
                  <a:xfrm>
                    <a:off x="3711121" y="2603365"/>
                    <a:ext cx="13350" cy="14462"/>
                  </a:xfrm>
                  <a:custGeom>
                    <a:avLst/>
                    <a:gdLst>
                      <a:gd name="T0" fmla="*/ 2147483647 w 12"/>
                      <a:gd name="T1" fmla="*/ 0 h 13"/>
                      <a:gd name="T2" fmla="*/ 2147483647 w 12"/>
                      <a:gd name="T3" fmla="*/ 2147483647 h 13"/>
                      <a:gd name="T4" fmla="*/ 2147483647 w 12"/>
                      <a:gd name="T5" fmla="*/ 2147483647 h 13"/>
                      <a:gd name="T6" fmla="*/ 0 w 12"/>
                      <a:gd name="T7" fmla="*/ 2147483647 h 13"/>
                      <a:gd name="T8" fmla="*/ 0 w 12"/>
                      <a:gd name="T9" fmla="*/ 2147483647 h 13"/>
                      <a:gd name="T10" fmla="*/ 2147483647 w 12"/>
                      <a:gd name="T11" fmla="*/ 2147483647 h 13"/>
                      <a:gd name="T12" fmla="*/ 2147483647 w 12"/>
                      <a:gd name="T13" fmla="*/ 2147483647 h 13"/>
                      <a:gd name="T14" fmla="*/ 2147483647 w 12"/>
                      <a:gd name="T15" fmla="*/ 2147483647 h 13"/>
                      <a:gd name="T16" fmla="*/ 2147483647 w 12"/>
                      <a:gd name="T17" fmla="*/ 2147483647 h 13"/>
                      <a:gd name="T18" fmla="*/ 2147483647 w 12"/>
                      <a:gd name="T19" fmla="*/ 2147483647 h 13"/>
                      <a:gd name="T20" fmla="*/ 2147483647 w 12"/>
                      <a:gd name="T21" fmla="*/ 2147483647 h 13"/>
                      <a:gd name="T22" fmla="*/ 2147483647 w 12"/>
                      <a:gd name="T23" fmla="*/ 2147483647 h 13"/>
                      <a:gd name="T24" fmla="*/ 2147483647 w 12"/>
                      <a:gd name="T25" fmla="*/ 2147483647 h 13"/>
                      <a:gd name="T26" fmla="*/ 2147483647 w 12"/>
                      <a:gd name="T27" fmla="*/ 2147483647 h 13"/>
                      <a:gd name="T28" fmla="*/ 2147483647 w 12"/>
                      <a:gd name="T29" fmla="*/ 2147483647 h 13"/>
                      <a:gd name="T30" fmla="*/ 2147483647 w 12"/>
                      <a:gd name="T31" fmla="*/ 2147483647 h 13"/>
                      <a:gd name="T32" fmla="*/ 2147483647 w 12"/>
                      <a:gd name="T33" fmla="*/ 2147483647 h 13"/>
                      <a:gd name="T34" fmla="*/ 2147483647 w 12"/>
                      <a:gd name="T35" fmla="*/ 2147483647 h 13"/>
                      <a:gd name="T36" fmla="*/ 2147483647 w 12"/>
                      <a:gd name="T37" fmla="*/ 2147483647 h 13"/>
                      <a:gd name="T38" fmla="*/ 2147483647 w 12"/>
                      <a:gd name="T39" fmla="*/ 2147483647 h 13"/>
                      <a:gd name="T40" fmla="*/ 2147483647 w 12"/>
                      <a:gd name="T41" fmla="*/ 0 h 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 h="13">
                        <a:moveTo>
                          <a:pt x="3" y="0"/>
                        </a:moveTo>
                        <a:lnTo>
                          <a:pt x="3" y="1"/>
                        </a:lnTo>
                        <a:lnTo>
                          <a:pt x="2" y="2"/>
                        </a:lnTo>
                        <a:lnTo>
                          <a:pt x="0" y="3"/>
                        </a:lnTo>
                        <a:lnTo>
                          <a:pt x="0" y="4"/>
                        </a:lnTo>
                        <a:lnTo>
                          <a:pt x="2" y="9"/>
                        </a:lnTo>
                        <a:lnTo>
                          <a:pt x="4" y="12"/>
                        </a:lnTo>
                        <a:lnTo>
                          <a:pt x="6" y="13"/>
                        </a:lnTo>
                        <a:lnTo>
                          <a:pt x="12" y="9"/>
                        </a:lnTo>
                        <a:lnTo>
                          <a:pt x="12" y="8"/>
                        </a:lnTo>
                        <a:lnTo>
                          <a:pt x="12" y="7"/>
                        </a:lnTo>
                        <a:lnTo>
                          <a:pt x="12" y="6"/>
                        </a:lnTo>
                        <a:lnTo>
                          <a:pt x="12" y="5"/>
                        </a:lnTo>
                        <a:lnTo>
                          <a:pt x="11" y="4"/>
                        </a:lnTo>
                        <a:lnTo>
                          <a:pt x="9" y="4"/>
                        </a:lnTo>
                        <a:lnTo>
                          <a:pt x="8" y="2"/>
                        </a:lnTo>
                        <a:lnTo>
                          <a:pt x="7" y="2"/>
                        </a:lnTo>
                        <a:lnTo>
                          <a:pt x="5" y="2"/>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49" name="Freeform 2320">
                    <a:extLst>
                      <a:ext uri="{FF2B5EF4-FFF2-40B4-BE49-F238E27FC236}">
                        <a16:creationId xmlns:a16="http://schemas.microsoft.com/office/drawing/2014/main" xmlns="" id="{1B04E89C-5557-4EEC-9950-AA5CF0CA0DDC}"/>
                      </a:ext>
                    </a:extLst>
                  </p:cNvPr>
                  <p:cNvSpPr>
                    <a:spLocks/>
                  </p:cNvSpPr>
                  <p:nvPr/>
                </p:nvSpPr>
                <p:spPr bwMode="gray">
                  <a:xfrm>
                    <a:off x="3811243" y="2613377"/>
                    <a:ext cx="2225" cy="4450"/>
                  </a:xfrm>
                  <a:custGeom>
                    <a:avLst/>
                    <a:gdLst>
                      <a:gd name="T0" fmla="*/ 2147483647 w 2"/>
                      <a:gd name="T1" fmla="*/ 0 h 4"/>
                      <a:gd name="T2" fmla="*/ 2147483647 w 2"/>
                      <a:gd name="T3" fmla="*/ 2147483647 h 4"/>
                      <a:gd name="T4" fmla="*/ 2147483647 w 2"/>
                      <a:gd name="T5" fmla="*/ 2147483647 h 4"/>
                      <a:gd name="T6" fmla="*/ 2147483647 w 2"/>
                      <a:gd name="T7" fmla="*/ 2147483647 h 4"/>
                      <a:gd name="T8" fmla="*/ 2147483647 w 2"/>
                      <a:gd name="T9" fmla="*/ 2147483647 h 4"/>
                      <a:gd name="T10" fmla="*/ 2147483647 w 2"/>
                      <a:gd name="T11" fmla="*/ 2147483647 h 4"/>
                      <a:gd name="T12" fmla="*/ 0 w 2"/>
                      <a:gd name="T13" fmla="*/ 2147483647 h 4"/>
                      <a:gd name="T14" fmla="*/ 0 w 2"/>
                      <a:gd name="T15" fmla="*/ 2147483647 h 4"/>
                      <a:gd name="T16" fmla="*/ 2147483647 w 2"/>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4">
                        <a:moveTo>
                          <a:pt x="1" y="0"/>
                        </a:moveTo>
                        <a:lnTo>
                          <a:pt x="2" y="1"/>
                        </a:lnTo>
                        <a:lnTo>
                          <a:pt x="2" y="2"/>
                        </a:lnTo>
                        <a:lnTo>
                          <a:pt x="2" y="3"/>
                        </a:lnTo>
                        <a:lnTo>
                          <a:pt x="1" y="4"/>
                        </a:lnTo>
                        <a:lnTo>
                          <a:pt x="1" y="3"/>
                        </a:lnTo>
                        <a:lnTo>
                          <a:pt x="0" y="2"/>
                        </a:lnTo>
                        <a:lnTo>
                          <a:pt x="0" y="1"/>
                        </a:lnTo>
                        <a:lnTo>
                          <a:pt x="1"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0" name="Freeform 2322">
                    <a:extLst>
                      <a:ext uri="{FF2B5EF4-FFF2-40B4-BE49-F238E27FC236}">
                        <a16:creationId xmlns:a16="http://schemas.microsoft.com/office/drawing/2014/main" xmlns="" id="{1B937F6E-1D34-45D9-8E83-802D97BA9EA3}"/>
                      </a:ext>
                    </a:extLst>
                  </p:cNvPr>
                  <p:cNvSpPr>
                    <a:spLocks/>
                  </p:cNvSpPr>
                  <p:nvPr/>
                </p:nvSpPr>
                <p:spPr bwMode="gray">
                  <a:xfrm>
                    <a:off x="3711121" y="2621164"/>
                    <a:ext cx="5563" cy="7787"/>
                  </a:xfrm>
                  <a:custGeom>
                    <a:avLst/>
                    <a:gdLst>
                      <a:gd name="T0" fmla="*/ 2147483647 w 5"/>
                      <a:gd name="T1" fmla="*/ 0 h 7"/>
                      <a:gd name="T2" fmla="*/ 2147483647 w 5"/>
                      <a:gd name="T3" fmla="*/ 0 h 7"/>
                      <a:gd name="T4" fmla="*/ 2147483647 w 5"/>
                      <a:gd name="T5" fmla="*/ 0 h 7"/>
                      <a:gd name="T6" fmla="*/ 0 w 5"/>
                      <a:gd name="T7" fmla="*/ 0 h 7"/>
                      <a:gd name="T8" fmla="*/ 0 w 5"/>
                      <a:gd name="T9" fmla="*/ 0 h 7"/>
                      <a:gd name="T10" fmla="*/ 0 w 5"/>
                      <a:gd name="T11" fmla="*/ 2147483647 h 7"/>
                      <a:gd name="T12" fmla="*/ 0 w 5"/>
                      <a:gd name="T13" fmla="*/ 2147483647 h 7"/>
                      <a:gd name="T14" fmla="*/ 0 w 5"/>
                      <a:gd name="T15" fmla="*/ 2147483647 h 7"/>
                      <a:gd name="T16" fmla="*/ 0 w 5"/>
                      <a:gd name="T17" fmla="*/ 2147483647 h 7"/>
                      <a:gd name="T18" fmla="*/ 2147483647 w 5"/>
                      <a:gd name="T19" fmla="*/ 2147483647 h 7"/>
                      <a:gd name="T20" fmla="*/ 2147483647 w 5"/>
                      <a:gd name="T21" fmla="*/ 2147483647 h 7"/>
                      <a:gd name="T22" fmla="*/ 2147483647 w 5"/>
                      <a:gd name="T23" fmla="*/ 2147483647 h 7"/>
                      <a:gd name="T24" fmla="*/ 2147483647 w 5"/>
                      <a:gd name="T25" fmla="*/ 2147483647 h 7"/>
                      <a:gd name="T26" fmla="*/ 2147483647 w 5"/>
                      <a:gd name="T27" fmla="*/ 2147483647 h 7"/>
                      <a:gd name="T28" fmla="*/ 2147483647 w 5"/>
                      <a:gd name="T29" fmla="*/ 2147483647 h 7"/>
                      <a:gd name="T30" fmla="*/ 2147483647 w 5"/>
                      <a:gd name="T31" fmla="*/ 0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 h="7">
                        <a:moveTo>
                          <a:pt x="3" y="0"/>
                        </a:moveTo>
                        <a:lnTo>
                          <a:pt x="3" y="0"/>
                        </a:lnTo>
                        <a:lnTo>
                          <a:pt x="2" y="0"/>
                        </a:lnTo>
                        <a:lnTo>
                          <a:pt x="0" y="0"/>
                        </a:lnTo>
                        <a:lnTo>
                          <a:pt x="0" y="1"/>
                        </a:lnTo>
                        <a:lnTo>
                          <a:pt x="0" y="2"/>
                        </a:lnTo>
                        <a:lnTo>
                          <a:pt x="0" y="7"/>
                        </a:lnTo>
                        <a:lnTo>
                          <a:pt x="2" y="7"/>
                        </a:lnTo>
                        <a:lnTo>
                          <a:pt x="3" y="7"/>
                        </a:lnTo>
                        <a:lnTo>
                          <a:pt x="4" y="4"/>
                        </a:lnTo>
                        <a:lnTo>
                          <a:pt x="5" y="2"/>
                        </a:lnTo>
                        <a:lnTo>
                          <a:pt x="5" y="1"/>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1" name="Freeform 2324">
                    <a:extLst>
                      <a:ext uri="{FF2B5EF4-FFF2-40B4-BE49-F238E27FC236}">
                        <a16:creationId xmlns:a16="http://schemas.microsoft.com/office/drawing/2014/main" xmlns="" id="{67665F90-666D-4080-BFB6-44A039312FA6}"/>
                      </a:ext>
                    </a:extLst>
                  </p:cNvPr>
                  <p:cNvSpPr>
                    <a:spLocks/>
                  </p:cNvSpPr>
                  <p:nvPr/>
                </p:nvSpPr>
                <p:spPr bwMode="gray">
                  <a:xfrm>
                    <a:off x="3695546" y="2623389"/>
                    <a:ext cx="15575" cy="26698"/>
                  </a:xfrm>
                  <a:custGeom>
                    <a:avLst/>
                    <a:gdLst>
                      <a:gd name="T0" fmla="*/ 2147483647 w 14"/>
                      <a:gd name="T1" fmla="*/ 0 h 24"/>
                      <a:gd name="T2" fmla="*/ 2147483647 w 14"/>
                      <a:gd name="T3" fmla="*/ 2147483647 h 24"/>
                      <a:gd name="T4" fmla="*/ 2147483647 w 14"/>
                      <a:gd name="T5" fmla="*/ 2147483647 h 24"/>
                      <a:gd name="T6" fmla="*/ 2147483647 w 14"/>
                      <a:gd name="T7" fmla="*/ 2147483647 h 24"/>
                      <a:gd name="T8" fmla="*/ 0 w 14"/>
                      <a:gd name="T9" fmla="*/ 2147483647 h 24"/>
                      <a:gd name="T10" fmla="*/ 2147483647 w 14"/>
                      <a:gd name="T11" fmla="*/ 2147483647 h 24"/>
                      <a:gd name="T12" fmla="*/ 2147483647 w 14"/>
                      <a:gd name="T13" fmla="*/ 2147483647 h 24"/>
                      <a:gd name="T14" fmla="*/ 2147483647 w 14"/>
                      <a:gd name="T15" fmla="*/ 2147483647 h 24"/>
                      <a:gd name="T16" fmla="*/ 2147483647 w 14"/>
                      <a:gd name="T17" fmla="*/ 2147483647 h 24"/>
                      <a:gd name="T18" fmla="*/ 2147483647 w 14"/>
                      <a:gd name="T19" fmla="*/ 2147483647 h 24"/>
                      <a:gd name="T20" fmla="*/ 2147483647 w 14"/>
                      <a:gd name="T21" fmla="*/ 2147483647 h 24"/>
                      <a:gd name="T22" fmla="*/ 2147483647 w 14"/>
                      <a:gd name="T23" fmla="*/ 2147483647 h 24"/>
                      <a:gd name="T24" fmla="*/ 2147483647 w 14"/>
                      <a:gd name="T25" fmla="*/ 2147483647 h 24"/>
                      <a:gd name="T26" fmla="*/ 2147483647 w 14"/>
                      <a:gd name="T27" fmla="*/ 2147483647 h 24"/>
                      <a:gd name="T28" fmla="*/ 2147483647 w 14"/>
                      <a:gd name="T29" fmla="*/ 2147483647 h 24"/>
                      <a:gd name="T30" fmla="*/ 2147483647 w 14"/>
                      <a:gd name="T31" fmla="*/ 2147483647 h 24"/>
                      <a:gd name="T32" fmla="*/ 2147483647 w 14"/>
                      <a:gd name="T33" fmla="*/ 0 h 24"/>
                      <a:gd name="T34" fmla="*/ 2147483647 w 14"/>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 h="24">
                        <a:moveTo>
                          <a:pt x="7" y="0"/>
                        </a:moveTo>
                        <a:lnTo>
                          <a:pt x="7" y="6"/>
                        </a:lnTo>
                        <a:lnTo>
                          <a:pt x="5" y="9"/>
                        </a:lnTo>
                        <a:lnTo>
                          <a:pt x="3" y="14"/>
                        </a:lnTo>
                        <a:lnTo>
                          <a:pt x="0" y="21"/>
                        </a:lnTo>
                        <a:lnTo>
                          <a:pt x="5" y="21"/>
                        </a:lnTo>
                        <a:lnTo>
                          <a:pt x="5" y="22"/>
                        </a:lnTo>
                        <a:lnTo>
                          <a:pt x="5" y="23"/>
                        </a:lnTo>
                        <a:lnTo>
                          <a:pt x="7" y="24"/>
                        </a:lnTo>
                        <a:lnTo>
                          <a:pt x="11" y="17"/>
                        </a:lnTo>
                        <a:lnTo>
                          <a:pt x="14" y="14"/>
                        </a:lnTo>
                        <a:lnTo>
                          <a:pt x="13" y="11"/>
                        </a:lnTo>
                        <a:lnTo>
                          <a:pt x="12" y="7"/>
                        </a:lnTo>
                        <a:lnTo>
                          <a:pt x="11" y="4"/>
                        </a:lnTo>
                        <a:lnTo>
                          <a:pt x="11" y="0"/>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2" name="Freeform 2326">
                    <a:extLst>
                      <a:ext uri="{FF2B5EF4-FFF2-40B4-BE49-F238E27FC236}">
                        <a16:creationId xmlns:a16="http://schemas.microsoft.com/office/drawing/2014/main" xmlns="" id="{C406AA92-7342-437E-8E5C-BC31CCDA5701}"/>
                      </a:ext>
                    </a:extLst>
                  </p:cNvPr>
                  <p:cNvSpPr>
                    <a:spLocks/>
                  </p:cNvSpPr>
                  <p:nvPr/>
                </p:nvSpPr>
                <p:spPr bwMode="gray">
                  <a:xfrm>
                    <a:off x="3685534" y="2652312"/>
                    <a:ext cx="10013" cy="12237"/>
                  </a:xfrm>
                  <a:custGeom>
                    <a:avLst/>
                    <a:gdLst>
                      <a:gd name="T0" fmla="*/ 2147483647 w 9"/>
                      <a:gd name="T1" fmla="*/ 0 h 11"/>
                      <a:gd name="T2" fmla="*/ 2147483647 w 9"/>
                      <a:gd name="T3" fmla="*/ 2147483647 h 11"/>
                      <a:gd name="T4" fmla="*/ 2147483647 w 9"/>
                      <a:gd name="T5" fmla="*/ 2147483647 h 11"/>
                      <a:gd name="T6" fmla="*/ 2147483647 w 9"/>
                      <a:gd name="T7" fmla="*/ 2147483647 h 11"/>
                      <a:gd name="T8" fmla="*/ 0 w 9"/>
                      <a:gd name="T9" fmla="*/ 2147483647 h 11"/>
                      <a:gd name="T10" fmla="*/ 2147483647 w 9"/>
                      <a:gd name="T11" fmla="*/ 2147483647 h 11"/>
                      <a:gd name="T12" fmla="*/ 2147483647 w 9"/>
                      <a:gd name="T13" fmla="*/ 2147483647 h 11"/>
                      <a:gd name="T14" fmla="*/ 2147483647 w 9"/>
                      <a:gd name="T15" fmla="*/ 2147483647 h 11"/>
                      <a:gd name="T16" fmla="*/ 2147483647 w 9"/>
                      <a:gd name="T17" fmla="*/ 2147483647 h 11"/>
                      <a:gd name="T18" fmla="*/ 2147483647 w 9"/>
                      <a:gd name="T19" fmla="*/ 2147483647 h 11"/>
                      <a:gd name="T20" fmla="*/ 2147483647 w 9"/>
                      <a:gd name="T21" fmla="*/ 2147483647 h 11"/>
                      <a:gd name="T22" fmla="*/ 2147483647 w 9"/>
                      <a:gd name="T23" fmla="*/ 2147483647 h 11"/>
                      <a:gd name="T24" fmla="*/ 2147483647 w 9"/>
                      <a:gd name="T25" fmla="*/ 2147483647 h 11"/>
                      <a:gd name="T26" fmla="*/ 2147483647 w 9"/>
                      <a:gd name="T27" fmla="*/ 2147483647 h 11"/>
                      <a:gd name="T28" fmla="*/ 2147483647 w 9"/>
                      <a:gd name="T29" fmla="*/ 2147483647 h 11"/>
                      <a:gd name="T30" fmla="*/ 2147483647 w 9"/>
                      <a:gd name="T31" fmla="*/ 2147483647 h 11"/>
                      <a:gd name="T32" fmla="*/ 2147483647 w 9"/>
                      <a:gd name="T33" fmla="*/ 2147483647 h 11"/>
                      <a:gd name="T34" fmla="*/ 2147483647 w 9"/>
                      <a:gd name="T35" fmla="*/ 2147483647 h 11"/>
                      <a:gd name="T36" fmla="*/ 2147483647 w 9"/>
                      <a:gd name="T37" fmla="*/ 2147483647 h 11"/>
                      <a:gd name="T38" fmla="*/ 2147483647 w 9"/>
                      <a:gd name="T39" fmla="*/ 0 h 11"/>
                      <a:gd name="T40" fmla="*/ 2147483647 w 9"/>
                      <a:gd name="T41" fmla="*/ 0 h 11"/>
                      <a:gd name="T42" fmla="*/ 2147483647 w 9"/>
                      <a:gd name="T43" fmla="*/ 0 h 11"/>
                      <a:gd name="T44" fmla="*/ 2147483647 w 9"/>
                      <a:gd name="T45" fmla="*/ 0 h 11"/>
                      <a:gd name="T46" fmla="*/ 2147483647 w 9"/>
                      <a:gd name="T47" fmla="*/ 0 h 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 h="11">
                        <a:moveTo>
                          <a:pt x="3" y="0"/>
                        </a:moveTo>
                        <a:lnTo>
                          <a:pt x="2" y="3"/>
                        </a:lnTo>
                        <a:lnTo>
                          <a:pt x="2" y="5"/>
                        </a:lnTo>
                        <a:lnTo>
                          <a:pt x="2" y="7"/>
                        </a:lnTo>
                        <a:lnTo>
                          <a:pt x="0" y="11"/>
                        </a:lnTo>
                        <a:lnTo>
                          <a:pt x="1" y="11"/>
                        </a:lnTo>
                        <a:lnTo>
                          <a:pt x="2" y="11"/>
                        </a:lnTo>
                        <a:lnTo>
                          <a:pt x="3" y="11"/>
                        </a:lnTo>
                        <a:lnTo>
                          <a:pt x="3" y="9"/>
                        </a:lnTo>
                        <a:lnTo>
                          <a:pt x="3" y="8"/>
                        </a:lnTo>
                        <a:lnTo>
                          <a:pt x="5" y="7"/>
                        </a:lnTo>
                        <a:lnTo>
                          <a:pt x="8" y="5"/>
                        </a:lnTo>
                        <a:lnTo>
                          <a:pt x="9" y="5"/>
                        </a:lnTo>
                        <a:lnTo>
                          <a:pt x="9" y="4"/>
                        </a:lnTo>
                        <a:lnTo>
                          <a:pt x="9" y="3"/>
                        </a:lnTo>
                        <a:lnTo>
                          <a:pt x="9" y="2"/>
                        </a:lnTo>
                        <a:lnTo>
                          <a:pt x="9" y="0"/>
                        </a:lnTo>
                        <a:lnTo>
                          <a:pt x="8" y="0"/>
                        </a:lnTo>
                        <a:lnTo>
                          <a:pt x="6" y="0"/>
                        </a:lnTo>
                        <a:lnTo>
                          <a:pt x="5" y="0"/>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3" name="Freeform 2328">
                    <a:extLst>
                      <a:ext uri="{FF2B5EF4-FFF2-40B4-BE49-F238E27FC236}">
                        <a16:creationId xmlns:a16="http://schemas.microsoft.com/office/drawing/2014/main" xmlns="" id="{258804BA-8270-48FE-AD35-67AFB349E5AC}"/>
                      </a:ext>
                    </a:extLst>
                  </p:cNvPr>
                  <p:cNvSpPr>
                    <a:spLocks/>
                  </p:cNvSpPr>
                  <p:nvPr/>
                </p:nvSpPr>
                <p:spPr bwMode="gray">
                  <a:xfrm>
                    <a:off x="3768969" y="2664548"/>
                    <a:ext cx="6675" cy="10012"/>
                  </a:xfrm>
                  <a:custGeom>
                    <a:avLst/>
                    <a:gdLst>
                      <a:gd name="T0" fmla="*/ 2147483647 w 6"/>
                      <a:gd name="T1" fmla="*/ 0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2147483647 h 9"/>
                      <a:gd name="T12" fmla="*/ 2147483647 w 6"/>
                      <a:gd name="T13" fmla="*/ 2147483647 h 9"/>
                      <a:gd name="T14" fmla="*/ 0 w 6"/>
                      <a:gd name="T15" fmla="*/ 2147483647 h 9"/>
                      <a:gd name="T16" fmla="*/ 0 w 6"/>
                      <a:gd name="T17" fmla="*/ 2147483647 h 9"/>
                      <a:gd name="T18" fmla="*/ 0 w 6"/>
                      <a:gd name="T19" fmla="*/ 2147483647 h 9"/>
                      <a:gd name="T20" fmla="*/ 2147483647 w 6"/>
                      <a:gd name="T21" fmla="*/ 2147483647 h 9"/>
                      <a:gd name="T22" fmla="*/ 2147483647 w 6"/>
                      <a:gd name="T23" fmla="*/ 2147483647 h 9"/>
                      <a:gd name="T24" fmla="*/ 2147483647 w 6"/>
                      <a:gd name="T25" fmla="*/ 2147483647 h 9"/>
                      <a:gd name="T26" fmla="*/ 2147483647 w 6"/>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 h="9">
                        <a:moveTo>
                          <a:pt x="6" y="0"/>
                        </a:moveTo>
                        <a:lnTo>
                          <a:pt x="5" y="3"/>
                        </a:lnTo>
                        <a:lnTo>
                          <a:pt x="5" y="5"/>
                        </a:lnTo>
                        <a:lnTo>
                          <a:pt x="5" y="7"/>
                        </a:lnTo>
                        <a:lnTo>
                          <a:pt x="2" y="9"/>
                        </a:lnTo>
                        <a:lnTo>
                          <a:pt x="0" y="8"/>
                        </a:lnTo>
                        <a:lnTo>
                          <a:pt x="0" y="7"/>
                        </a:lnTo>
                        <a:lnTo>
                          <a:pt x="0" y="6"/>
                        </a:lnTo>
                        <a:lnTo>
                          <a:pt x="1" y="6"/>
                        </a:lnTo>
                        <a:lnTo>
                          <a:pt x="2" y="5"/>
                        </a:lnTo>
                        <a:lnTo>
                          <a:pt x="3" y="3"/>
                        </a:lnTo>
                        <a:lnTo>
                          <a:pt x="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4" name="Freeform 2330">
                    <a:extLst>
                      <a:ext uri="{FF2B5EF4-FFF2-40B4-BE49-F238E27FC236}">
                        <a16:creationId xmlns:a16="http://schemas.microsoft.com/office/drawing/2014/main" xmlns="" id="{AB739592-997F-4C0D-B6F5-835A98594B1B}"/>
                      </a:ext>
                    </a:extLst>
                  </p:cNvPr>
                  <p:cNvSpPr>
                    <a:spLocks/>
                  </p:cNvSpPr>
                  <p:nvPr/>
                </p:nvSpPr>
                <p:spPr bwMode="gray">
                  <a:xfrm>
                    <a:off x="3733371" y="2667885"/>
                    <a:ext cx="11125" cy="14462"/>
                  </a:xfrm>
                  <a:custGeom>
                    <a:avLst/>
                    <a:gdLst>
                      <a:gd name="T0" fmla="*/ 2147483647 w 10"/>
                      <a:gd name="T1" fmla="*/ 0 h 13"/>
                      <a:gd name="T2" fmla="*/ 2147483647 w 10"/>
                      <a:gd name="T3" fmla="*/ 0 h 13"/>
                      <a:gd name="T4" fmla="*/ 2147483647 w 10"/>
                      <a:gd name="T5" fmla="*/ 0 h 13"/>
                      <a:gd name="T6" fmla="*/ 0 w 10"/>
                      <a:gd name="T7" fmla="*/ 0 h 13"/>
                      <a:gd name="T8" fmla="*/ 2147483647 w 10"/>
                      <a:gd name="T9" fmla="*/ 2147483647 h 13"/>
                      <a:gd name="T10" fmla="*/ 2147483647 w 10"/>
                      <a:gd name="T11" fmla="*/ 2147483647 h 13"/>
                      <a:gd name="T12" fmla="*/ 2147483647 w 10"/>
                      <a:gd name="T13" fmla="*/ 2147483647 h 13"/>
                      <a:gd name="T14" fmla="*/ 2147483647 w 10"/>
                      <a:gd name="T15" fmla="*/ 2147483647 h 13"/>
                      <a:gd name="T16" fmla="*/ 2147483647 w 10"/>
                      <a:gd name="T17" fmla="*/ 2147483647 h 13"/>
                      <a:gd name="T18" fmla="*/ 2147483647 w 10"/>
                      <a:gd name="T19" fmla="*/ 2147483647 h 13"/>
                      <a:gd name="T20" fmla="*/ 2147483647 w 10"/>
                      <a:gd name="T21" fmla="*/ 2147483647 h 13"/>
                      <a:gd name="T22" fmla="*/ 2147483647 w 10"/>
                      <a:gd name="T23" fmla="*/ 2147483647 h 13"/>
                      <a:gd name="T24" fmla="*/ 2147483647 w 10"/>
                      <a:gd name="T25" fmla="*/ 2147483647 h 13"/>
                      <a:gd name="T26" fmla="*/ 2147483647 w 10"/>
                      <a:gd name="T27" fmla="*/ 2147483647 h 13"/>
                      <a:gd name="T28" fmla="*/ 2147483647 w 10"/>
                      <a:gd name="T29" fmla="*/ 2147483647 h 13"/>
                      <a:gd name="T30" fmla="*/ 2147483647 w 10"/>
                      <a:gd name="T31" fmla="*/ 2147483647 h 13"/>
                      <a:gd name="T32" fmla="*/ 2147483647 w 10"/>
                      <a:gd name="T33" fmla="*/ 0 h 13"/>
                      <a:gd name="T34" fmla="*/ 2147483647 w 10"/>
                      <a:gd name="T35" fmla="*/ 0 h 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 h="13">
                        <a:moveTo>
                          <a:pt x="7" y="0"/>
                        </a:moveTo>
                        <a:lnTo>
                          <a:pt x="6" y="0"/>
                        </a:lnTo>
                        <a:lnTo>
                          <a:pt x="5" y="0"/>
                        </a:lnTo>
                        <a:lnTo>
                          <a:pt x="0" y="0"/>
                        </a:lnTo>
                        <a:lnTo>
                          <a:pt x="2" y="4"/>
                        </a:lnTo>
                        <a:lnTo>
                          <a:pt x="3" y="8"/>
                        </a:lnTo>
                        <a:lnTo>
                          <a:pt x="3" y="13"/>
                        </a:lnTo>
                        <a:lnTo>
                          <a:pt x="5" y="13"/>
                        </a:lnTo>
                        <a:lnTo>
                          <a:pt x="6" y="13"/>
                        </a:lnTo>
                        <a:lnTo>
                          <a:pt x="7" y="13"/>
                        </a:lnTo>
                        <a:lnTo>
                          <a:pt x="7" y="11"/>
                        </a:lnTo>
                        <a:lnTo>
                          <a:pt x="9" y="9"/>
                        </a:lnTo>
                        <a:lnTo>
                          <a:pt x="10" y="7"/>
                        </a:lnTo>
                        <a:lnTo>
                          <a:pt x="9" y="3"/>
                        </a:lnTo>
                        <a:lnTo>
                          <a:pt x="7" y="1"/>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5" name="Freeform 2332">
                    <a:extLst>
                      <a:ext uri="{FF2B5EF4-FFF2-40B4-BE49-F238E27FC236}">
                        <a16:creationId xmlns:a16="http://schemas.microsoft.com/office/drawing/2014/main" xmlns="" id="{B4BCFC99-0DFC-4505-989A-7A4C54D3F4EB}"/>
                      </a:ext>
                    </a:extLst>
                  </p:cNvPr>
                  <p:cNvSpPr>
                    <a:spLocks/>
                  </p:cNvSpPr>
                  <p:nvPr/>
                </p:nvSpPr>
                <p:spPr bwMode="gray">
                  <a:xfrm>
                    <a:off x="3715571" y="2696808"/>
                    <a:ext cx="10013" cy="10012"/>
                  </a:xfrm>
                  <a:custGeom>
                    <a:avLst/>
                    <a:gdLst>
                      <a:gd name="T0" fmla="*/ 2147483647 w 9"/>
                      <a:gd name="T1" fmla="*/ 0 h 9"/>
                      <a:gd name="T2" fmla="*/ 2147483647 w 9"/>
                      <a:gd name="T3" fmla="*/ 0 h 9"/>
                      <a:gd name="T4" fmla="*/ 0 w 9"/>
                      <a:gd name="T5" fmla="*/ 2147483647 h 9"/>
                      <a:gd name="T6" fmla="*/ 0 w 9"/>
                      <a:gd name="T7" fmla="*/ 2147483647 h 9"/>
                      <a:gd name="T8" fmla="*/ 0 w 9"/>
                      <a:gd name="T9" fmla="*/ 2147483647 h 9"/>
                      <a:gd name="T10" fmla="*/ 2147483647 w 9"/>
                      <a:gd name="T11" fmla="*/ 2147483647 h 9"/>
                      <a:gd name="T12" fmla="*/ 2147483647 w 9"/>
                      <a:gd name="T13" fmla="*/ 2147483647 h 9"/>
                      <a:gd name="T14" fmla="*/ 2147483647 w 9"/>
                      <a:gd name="T15" fmla="*/ 2147483647 h 9"/>
                      <a:gd name="T16" fmla="*/ 2147483647 w 9"/>
                      <a:gd name="T17" fmla="*/ 2147483647 h 9"/>
                      <a:gd name="T18" fmla="*/ 2147483647 w 9"/>
                      <a:gd name="T19" fmla="*/ 0 h 9"/>
                      <a:gd name="T20" fmla="*/ 2147483647 w 9"/>
                      <a:gd name="T21" fmla="*/ 0 h 9"/>
                      <a:gd name="T22" fmla="*/ 2147483647 w 9"/>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 h="9">
                        <a:moveTo>
                          <a:pt x="5" y="0"/>
                        </a:moveTo>
                        <a:lnTo>
                          <a:pt x="2" y="0"/>
                        </a:lnTo>
                        <a:lnTo>
                          <a:pt x="0" y="2"/>
                        </a:lnTo>
                        <a:lnTo>
                          <a:pt x="0" y="6"/>
                        </a:lnTo>
                        <a:lnTo>
                          <a:pt x="0" y="7"/>
                        </a:lnTo>
                        <a:lnTo>
                          <a:pt x="2" y="9"/>
                        </a:lnTo>
                        <a:lnTo>
                          <a:pt x="5" y="7"/>
                        </a:lnTo>
                        <a:lnTo>
                          <a:pt x="8" y="4"/>
                        </a:lnTo>
                        <a:lnTo>
                          <a:pt x="9" y="2"/>
                        </a:lnTo>
                        <a:lnTo>
                          <a:pt x="9" y="0"/>
                        </a:lnTo>
                        <a:lnTo>
                          <a:pt x="8" y="0"/>
                        </a:lnTo>
                        <a:lnTo>
                          <a:pt x="5"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6" name="Freeform 2334">
                    <a:extLst>
                      <a:ext uri="{FF2B5EF4-FFF2-40B4-BE49-F238E27FC236}">
                        <a16:creationId xmlns:a16="http://schemas.microsoft.com/office/drawing/2014/main" xmlns="" id="{2EEFB88D-0DF9-46C3-B200-17B20050CF67}"/>
                      </a:ext>
                    </a:extLst>
                  </p:cNvPr>
                  <p:cNvSpPr>
                    <a:spLocks/>
                  </p:cNvSpPr>
                  <p:nvPr/>
                </p:nvSpPr>
                <p:spPr bwMode="gray">
                  <a:xfrm>
                    <a:off x="3697772" y="2702370"/>
                    <a:ext cx="8900" cy="6675"/>
                  </a:xfrm>
                  <a:custGeom>
                    <a:avLst/>
                    <a:gdLst>
                      <a:gd name="T0" fmla="*/ 2147483647 w 8"/>
                      <a:gd name="T1" fmla="*/ 2147483647 h 6"/>
                      <a:gd name="T2" fmla="*/ 0 w 8"/>
                      <a:gd name="T3" fmla="*/ 2147483647 h 6"/>
                      <a:gd name="T4" fmla="*/ 0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2147483647 w 8"/>
                      <a:gd name="T15" fmla="*/ 0 h 6"/>
                      <a:gd name="T16" fmla="*/ 2147483647 w 8"/>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6">
                        <a:moveTo>
                          <a:pt x="3" y="1"/>
                        </a:moveTo>
                        <a:lnTo>
                          <a:pt x="0" y="2"/>
                        </a:lnTo>
                        <a:lnTo>
                          <a:pt x="0" y="4"/>
                        </a:lnTo>
                        <a:lnTo>
                          <a:pt x="2" y="6"/>
                        </a:lnTo>
                        <a:lnTo>
                          <a:pt x="6" y="5"/>
                        </a:lnTo>
                        <a:lnTo>
                          <a:pt x="8" y="4"/>
                        </a:lnTo>
                        <a:lnTo>
                          <a:pt x="7" y="2"/>
                        </a:lnTo>
                        <a:lnTo>
                          <a:pt x="5" y="0"/>
                        </a:lnTo>
                        <a:lnTo>
                          <a:pt x="3"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7" name="Freeform 2336">
                    <a:extLst>
                      <a:ext uri="{FF2B5EF4-FFF2-40B4-BE49-F238E27FC236}">
                        <a16:creationId xmlns:a16="http://schemas.microsoft.com/office/drawing/2014/main" xmlns="" id="{8A41B4F0-B4FC-4494-8DDB-ACDD12643B4C}"/>
                      </a:ext>
                    </a:extLst>
                  </p:cNvPr>
                  <p:cNvSpPr>
                    <a:spLocks/>
                  </p:cNvSpPr>
                  <p:nvPr/>
                </p:nvSpPr>
                <p:spPr bwMode="gray">
                  <a:xfrm>
                    <a:off x="3718908" y="2746866"/>
                    <a:ext cx="3338" cy="6675"/>
                  </a:xfrm>
                  <a:custGeom>
                    <a:avLst/>
                    <a:gdLst>
                      <a:gd name="T0" fmla="*/ 0 w 3"/>
                      <a:gd name="T1" fmla="*/ 0 h 6"/>
                      <a:gd name="T2" fmla="*/ 0 w 3"/>
                      <a:gd name="T3" fmla="*/ 2147483647 h 6"/>
                      <a:gd name="T4" fmla="*/ 0 w 3"/>
                      <a:gd name="T5" fmla="*/ 2147483647 h 6"/>
                      <a:gd name="T6" fmla="*/ 0 w 3"/>
                      <a:gd name="T7" fmla="*/ 2147483647 h 6"/>
                      <a:gd name="T8" fmla="*/ 0 w 3"/>
                      <a:gd name="T9" fmla="*/ 2147483647 h 6"/>
                      <a:gd name="T10" fmla="*/ 0 w 3"/>
                      <a:gd name="T11" fmla="*/ 2147483647 h 6"/>
                      <a:gd name="T12" fmla="*/ 2147483647 w 3"/>
                      <a:gd name="T13" fmla="*/ 2147483647 h 6"/>
                      <a:gd name="T14" fmla="*/ 2147483647 w 3"/>
                      <a:gd name="T15" fmla="*/ 2147483647 h 6"/>
                      <a:gd name="T16" fmla="*/ 2147483647 w 3"/>
                      <a:gd name="T17" fmla="*/ 2147483647 h 6"/>
                      <a:gd name="T18" fmla="*/ 2147483647 w 3"/>
                      <a:gd name="T19" fmla="*/ 2147483647 h 6"/>
                      <a:gd name="T20" fmla="*/ 2147483647 w 3"/>
                      <a:gd name="T21" fmla="*/ 0 h 6"/>
                      <a:gd name="T22" fmla="*/ 2147483647 w 3"/>
                      <a:gd name="T23" fmla="*/ 0 h 6"/>
                      <a:gd name="T24" fmla="*/ 0 w 3"/>
                      <a:gd name="T25" fmla="*/ 0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 h="6">
                        <a:moveTo>
                          <a:pt x="0" y="0"/>
                        </a:moveTo>
                        <a:lnTo>
                          <a:pt x="0" y="1"/>
                        </a:lnTo>
                        <a:lnTo>
                          <a:pt x="0" y="3"/>
                        </a:lnTo>
                        <a:lnTo>
                          <a:pt x="0" y="5"/>
                        </a:lnTo>
                        <a:lnTo>
                          <a:pt x="0" y="6"/>
                        </a:lnTo>
                        <a:lnTo>
                          <a:pt x="1" y="6"/>
                        </a:lnTo>
                        <a:lnTo>
                          <a:pt x="2" y="6"/>
                        </a:lnTo>
                        <a:lnTo>
                          <a:pt x="3" y="6"/>
                        </a:lnTo>
                        <a:lnTo>
                          <a:pt x="3" y="2"/>
                        </a:lnTo>
                        <a:lnTo>
                          <a:pt x="3"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8" name="Freeform 2338">
                    <a:extLst>
                      <a:ext uri="{FF2B5EF4-FFF2-40B4-BE49-F238E27FC236}">
                        <a16:creationId xmlns:a16="http://schemas.microsoft.com/office/drawing/2014/main" xmlns="" id="{51997E16-9490-4510-BBC4-871CAB3DA8A7}"/>
                      </a:ext>
                    </a:extLst>
                  </p:cNvPr>
                  <p:cNvSpPr>
                    <a:spLocks/>
                  </p:cNvSpPr>
                  <p:nvPr/>
                </p:nvSpPr>
                <p:spPr bwMode="gray">
                  <a:xfrm>
                    <a:off x="3695546" y="2753540"/>
                    <a:ext cx="44499" cy="28923"/>
                  </a:xfrm>
                  <a:custGeom>
                    <a:avLst/>
                    <a:gdLst>
                      <a:gd name="T0" fmla="*/ 2147483647 w 40"/>
                      <a:gd name="T1" fmla="*/ 0 h 26"/>
                      <a:gd name="T2" fmla="*/ 2147483647 w 40"/>
                      <a:gd name="T3" fmla="*/ 2147483647 h 26"/>
                      <a:gd name="T4" fmla="*/ 2147483647 w 40"/>
                      <a:gd name="T5" fmla="*/ 2147483647 h 26"/>
                      <a:gd name="T6" fmla="*/ 2147483647 w 40"/>
                      <a:gd name="T7" fmla="*/ 2147483647 h 26"/>
                      <a:gd name="T8" fmla="*/ 2147483647 w 40"/>
                      <a:gd name="T9" fmla="*/ 2147483647 h 26"/>
                      <a:gd name="T10" fmla="*/ 2147483647 w 40"/>
                      <a:gd name="T11" fmla="*/ 2147483647 h 26"/>
                      <a:gd name="T12" fmla="*/ 2147483647 w 40"/>
                      <a:gd name="T13" fmla="*/ 2147483647 h 26"/>
                      <a:gd name="T14" fmla="*/ 2147483647 w 40"/>
                      <a:gd name="T15" fmla="*/ 2147483647 h 26"/>
                      <a:gd name="T16" fmla="*/ 2147483647 w 40"/>
                      <a:gd name="T17" fmla="*/ 2147483647 h 26"/>
                      <a:gd name="T18" fmla="*/ 2147483647 w 40"/>
                      <a:gd name="T19" fmla="*/ 2147483647 h 26"/>
                      <a:gd name="T20" fmla="*/ 2147483647 w 40"/>
                      <a:gd name="T21" fmla="*/ 2147483647 h 26"/>
                      <a:gd name="T22" fmla="*/ 2147483647 w 40"/>
                      <a:gd name="T23" fmla="*/ 2147483647 h 26"/>
                      <a:gd name="T24" fmla="*/ 2147483647 w 40"/>
                      <a:gd name="T25" fmla="*/ 2147483647 h 26"/>
                      <a:gd name="T26" fmla="*/ 2147483647 w 40"/>
                      <a:gd name="T27" fmla="*/ 2147483647 h 26"/>
                      <a:gd name="T28" fmla="*/ 0 w 40"/>
                      <a:gd name="T29" fmla="*/ 2147483647 h 26"/>
                      <a:gd name="T30" fmla="*/ 2147483647 w 40"/>
                      <a:gd name="T31" fmla="*/ 2147483647 h 26"/>
                      <a:gd name="T32" fmla="*/ 2147483647 w 40"/>
                      <a:gd name="T33" fmla="*/ 2147483647 h 26"/>
                      <a:gd name="T34" fmla="*/ 2147483647 w 40"/>
                      <a:gd name="T35" fmla="*/ 2147483647 h 26"/>
                      <a:gd name="T36" fmla="*/ 2147483647 w 40"/>
                      <a:gd name="T37" fmla="*/ 2147483647 h 26"/>
                      <a:gd name="T38" fmla="*/ 2147483647 w 40"/>
                      <a:gd name="T39" fmla="*/ 2147483647 h 26"/>
                      <a:gd name="T40" fmla="*/ 2147483647 w 40"/>
                      <a:gd name="T41" fmla="*/ 2147483647 h 26"/>
                      <a:gd name="T42" fmla="*/ 2147483647 w 40"/>
                      <a:gd name="T43" fmla="*/ 2147483647 h 26"/>
                      <a:gd name="T44" fmla="*/ 2147483647 w 40"/>
                      <a:gd name="T45" fmla="*/ 2147483647 h 26"/>
                      <a:gd name="T46" fmla="*/ 2147483647 w 40"/>
                      <a:gd name="T47" fmla="*/ 2147483647 h 26"/>
                      <a:gd name="T48" fmla="*/ 2147483647 w 40"/>
                      <a:gd name="T49" fmla="*/ 2147483647 h 26"/>
                      <a:gd name="T50" fmla="*/ 2147483647 w 40"/>
                      <a:gd name="T51" fmla="*/ 2147483647 h 26"/>
                      <a:gd name="T52" fmla="*/ 2147483647 w 40"/>
                      <a:gd name="T53" fmla="*/ 2147483647 h 26"/>
                      <a:gd name="T54" fmla="*/ 2147483647 w 40"/>
                      <a:gd name="T55" fmla="*/ 2147483647 h 26"/>
                      <a:gd name="T56" fmla="*/ 2147483647 w 40"/>
                      <a:gd name="T57" fmla="*/ 2147483647 h 26"/>
                      <a:gd name="T58" fmla="*/ 2147483647 w 40"/>
                      <a:gd name="T59" fmla="*/ 2147483647 h 26"/>
                      <a:gd name="T60" fmla="*/ 2147483647 w 40"/>
                      <a:gd name="T61" fmla="*/ 2147483647 h 26"/>
                      <a:gd name="T62" fmla="*/ 2147483647 w 40"/>
                      <a:gd name="T63" fmla="*/ 2147483647 h 26"/>
                      <a:gd name="T64" fmla="*/ 2147483647 w 40"/>
                      <a:gd name="T65" fmla="*/ 2147483647 h 26"/>
                      <a:gd name="T66" fmla="*/ 2147483647 w 40"/>
                      <a:gd name="T67" fmla="*/ 2147483647 h 26"/>
                      <a:gd name="T68" fmla="*/ 2147483647 w 40"/>
                      <a:gd name="T69" fmla="*/ 2147483647 h 26"/>
                      <a:gd name="T70" fmla="*/ 2147483647 w 40"/>
                      <a:gd name="T71" fmla="*/ 2147483647 h 26"/>
                      <a:gd name="T72" fmla="*/ 2147483647 w 40"/>
                      <a:gd name="T73" fmla="*/ 2147483647 h 26"/>
                      <a:gd name="T74" fmla="*/ 2147483647 w 40"/>
                      <a:gd name="T75" fmla="*/ 2147483647 h 26"/>
                      <a:gd name="T76" fmla="*/ 2147483647 w 40"/>
                      <a:gd name="T77" fmla="*/ 2147483647 h 26"/>
                      <a:gd name="T78" fmla="*/ 2147483647 w 40"/>
                      <a:gd name="T79" fmla="*/ 2147483647 h 26"/>
                      <a:gd name="T80" fmla="*/ 2147483647 w 40"/>
                      <a:gd name="T81" fmla="*/ 2147483647 h 26"/>
                      <a:gd name="T82" fmla="*/ 2147483647 w 40"/>
                      <a:gd name="T83" fmla="*/ 2147483647 h 26"/>
                      <a:gd name="T84" fmla="*/ 2147483647 w 40"/>
                      <a:gd name="T85" fmla="*/ 2147483647 h 26"/>
                      <a:gd name="T86" fmla="*/ 2147483647 w 40"/>
                      <a:gd name="T87" fmla="*/ 2147483647 h 26"/>
                      <a:gd name="T88" fmla="*/ 2147483647 w 40"/>
                      <a:gd name="T89" fmla="*/ 0 h 26"/>
                      <a:gd name="T90" fmla="*/ 2147483647 w 40"/>
                      <a:gd name="T91" fmla="*/ 0 h 26"/>
                      <a:gd name="T92" fmla="*/ 2147483647 w 40"/>
                      <a:gd name="T93" fmla="*/ 0 h 26"/>
                      <a:gd name="T94" fmla="*/ 2147483647 w 40"/>
                      <a:gd name="T95" fmla="*/ 0 h 26"/>
                      <a:gd name="T96" fmla="*/ 2147483647 w 40"/>
                      <a:gd name="T97" fmla="*/ 0 h 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0" h="26">
                        <a:moveTo>
                          <a:pt x="36" y="0"/>
                        </a:moveTo>
                        <a:lnTo>
                          <a:pt x="32" y="3"/>
                        </a:lnTo>
                        <a:lnTo>
                          <a:pt x="30" y="5"/>
                        </a:lnTo>
                        <a:lnTo>
                          <a:pt x="27" y="8"/>
                        </a:lnTo>
                        <a:lnTo>
                          <a:pt x="23" y="10"/>
                        </a:lnTo>
                        <a:lnTo>
                          <a:pt x="20" y="10"/>
                        </a:lnTo>
                        <a:lnTo>
                          <a:pt x="20" y="7"/>
                        </a:lnTo>
                        <a:lnTo>
                          <a:pt x="16" y="7"/>
                        </a:lnTo>
                        <a:lnTo>
                          <a:pt x="13" y="7"/>
                        </a:lnTo>
                        <a:lnTo>
                          <a:pt x="10" y="8"/>
                        </a:lnTo>
                        <a:lnTo>
                          <a:pt x="7" y="10"/>
                        </a:lnTo>
                        <a:lnTo>
                          <a:pt x="6" y="10"/>
                        </a:lnTo>
                        <a:lnTo>
                          <a:pt x="5" y="13"/>
                        </a:lnTo>
                        <a:lnTo>
                          <a:pt x="3" y="15"/>
                        </a:lnTo>
                        <a:lnTo>
                          <a:pt x="0" y="16"/>
                        </a:lnTo>
                        <a:lnTo>
                          <a:pt x="2" y="18"/>
                        </a:lnTo>
                        <a:lnTo>
                          <a:pt x="3" y="19"/>
                        </a:lnTo>
                        <a:lnTo>
                          <a:pt x="5" y="19"/>
                        </a:lnTo>
                        <a:lnTo>
                          <a:pt x="6" y="19"/>
                        </a:lnTo>
                        <a:lnTo>
                          <a:pt x="7" y="19"/>
                        </a:lnTo>
                        <a:lnTo>
                          <a:pt x="8" y="22"/>
                        </a:lnTo>
                        <a:lnTo>
                          <a:pt x="9" y="24"/>
                        </a:lnTo>
                        <a:lnTo>
                          <a:pt x="10" y="25"/>
                        </a:lnTo>
                        <a:lnTo>
                          <a:pt x="12" y="25"/>
                        </a:lnTo>
                        <a:lnTo>
                          <a:pt x="14" y="25"/>
                        </a:lnTo>
                        <a:lnTo>
                          <a:pt x="17" y="26"/>
                        </a:lnTo>
                        <a:lnTo>
                          <a:pt x="18" y="24"/>
                        </a:lnTo>
                        <a:lnTo>
                          <a:pt x="19" y="22"/>
                        </a:lnTo>
                        <a:lnTo>
                          <a:pt x="20" y="20"/>
                        </a:lnTo>
                        <a:lnTo>
                          <a:pt x="20" y="16"/>
                        </a:lnTo>
                        <a:lnTo>
                          <a:pt x="22" y="17"/>
                        </a:lnTo>
                        <a:lnTo>
                          <a:pt x="23" y="17"/>
                        </a:lnTo>
                        <a:lnTo>
                          <a:pt x="24" y="17"/>
                        </a:lnTo>
                        <a:lnTo>
                          <a:pt x="26" y="16"/>
                        </a:lnTo>
                        <a:lnTo>
                          <a:pt x="28" y="14"/>
                        </a:lnTo>
                        <a:lnTo>
                          <a:pt x="32" y="11"/>
                        </a:lnTo>
                        <a:lnTo>
                          <a:pt x="36" y="7"/>
                        </a:lnTo>
                        <a:lnTo>
                          <a:pt x="40" y="4"/>
                        </a:lnTo>
                        <a:lnTo>
                          <a:pt x="40" y="3"/>
                        </a:lnTo>
                        <a:lnTo>
                          <a:pt x="40" y="2"/>
                        </a:lnTo>
                        <a:lnTo>
                          <a:pt x="40" y="1"/>
                        </a:lnTo>
                        <a:lnTo>
                          <a:pt x="40" y="0"/>
                        </a:lnTo>
                        <a:lnTo>
                          <a:pt x="39" y="0"/>
                        </a:lnTo>
                        <a:lnTo>
                          <a:pt x="38" y="0"/>
                        </a:lnTo>
                        <a:lnTo>
                          <a:pt x="37" y="0"/>
                        </a:lnTo>
                        <a:lnTo>
                          <a:pt x="36"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59" name="Freeform 2340">
                    <a:extLst>
                      <a:ext uri="{FF2B5EF4-FFF2-40B4-BE49-F238E27FC236}">
                        <a16:creationId xmlns:a16="http://schemas.microsoft.com/office/drawing/2014/main" xmlns="" id="{EEF337C3-6176-4829-8A26-11E8EC429B6E}"/>
                      </a:ext>
                    </a:extLst>
                  </p:cNvPr>
                  <p:cNvSpPr>
                    <a:spLocks/>
                  </p:cNvSpPr>
                  <p:nvPr/>
                </p:nvSpPr>
                <p:spPr bwMode="gray">
                  <a:xfrm>
                    <a:off x="3750057" y="2769114"/>
                    <a:ext cx="3338" cy="5563"/>
                  </a:xfrm>
                  <a:custGeom>
                    <a:avLst/>
                    <a:gdLst>
                      <a:gd name="T0" fmla="*/ 2147483647 w 3"/>
                      <a:gd name="T1" fmla="*/ 0 h 5"/>
                      <a:gd name="T2" fmla="*/ 2147483647 w 3"/>
                      <a:gd name="T3" fmla="*/ 2147483647 h 5"/>
                      <a:gd name="T4" fmla="*/ 2147483647 w 3"/>
                      <a:gd name="T5" fmla="*/ 2147483647 h 5"/>
                      <a:gd name="T6" fmla="*/ 0 w 3"/>
                      <a:gd name="T7" fmla="*/ 2147483647 h 5"/>
                      <a:gd name="T8" fmla="*/ 0 w 3"/>
                      <a:gd name="T9" fmla="*/ 2147483647 h 5"/>
                      <a:gd name="T10" fmla="*/ 0 w 3"/>
                      <a:gd name="T11" fmla="*/ 2147483647 h 5"/>
                      <a:gd name="T12" fmla="*/ 2147483647 w 3"/>
                      <a:gd name="T13" fmla="*/ 0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5">
                        <a:moveTo>
                          <a:pt x="3" y="0"/>
                        </a:moveTo>
                        <a:lnTo>
                          <a:pt x="3" y="1"/>
                        </a:lnTo>
                        <a:lnTo>
                          <a:pt x="2" y="2"/>
                        </a:lnTo>
                        <a:lnTo>
                          <a:pt x="0" y="4"/>
                        </a:lnTo>
                        <a:lnTo>
                          <a:pt x="0" y="5"/>
                        </a:lnTo>
                        <a:lnTo>
                          <a:pt x="0" y="2"/>
                        </a:lnTo>
                        <a:lnTo>
                          <a:pt x="3"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0" name="Freeform 2342">
                    <a:extLst>
                      <a:ext uri="{FF2B5EF4-FFF2-40B4-BE49-F238E27FC236}">
                        <a16:creationId xmlns:a16="http://schemas.microsoft.com/office/drawing/2014/main" xmlns="" id="{37F24DC1-62BB-4B46-B1F7-942483438BC6}"/>
                      </a:ext>
                    </a:extLst>
                  </p:cNvPr>
                  <p:cNvSpPr>
                    <a:spLocks/>
                  </p:cNvSpPr>
                  <p:nvPr/>
                </p:nvSpPr>
                <p:spPr bwMode="gray">
                  <a:xfrm>
                    <a:off x="3771194" y="2769114"/>
                    <a:ext cx="7787" cy="7787"/>
                  </a:xfrm>
                  <a:custGeom>
                    <a:avLst/>
                    <a:gdLst>
                      <a:gd name="T0" fmla="*/ 2147483647 w 7"/>
                      <a:gd name="T1" fmla="*/ 0 h 7"/>
                      <a:gd name="T2" fmla="*/ 2147483647 w 7"/>
                      <a:gd name="T3" fmla="*/ 2147483647 h 7"/>
                      <a:gd name="T4" fmla="*/ 2147483647 w 7"/>
                      <a:gd name="T5" fmla="*/ 2147483647 h 7"/>
                      <a:gd name="T6" fmla="*/ 2147483647 w 7"/>
                      <a:gd name="T7" fmla="*/ 2147483647 h 7"/>
                      <a:gd name="T8" fmla="*/ 2147483647 w 7"/>
                      <a:gd name="T9" fmla="*/ 2147483647 h 7"/>
                      <a:gd name="T10" fmla="*/ 2147483647 w 7"/>
                      <a:gd name="T11" fmla="*/ 2147483647 h 7"/>
                      <a:gd name="T12" fmla="*/ 2147483647 w 7"/>
                      <a:gd name="T13" fmla="*/ 2147483647 h 7"/>
                      <a:gd name="T14" fmla="*/ 0 w 7"/>
                      <a:gd name="T15" fmla="*/ 2147483647 h 7"/>
                      <a:gd name="T16" fmla="*/ 2147483647 w 7"/>
                      <a:gd name="T17" fmla="*/ 2147483647 h 7"/>
                      <a:gd name="T18" fmla="*/ 2147483647 w 7"/>
                      <a:gd name="T19" fmla="*/ 2147483647 h 7"/>
                      <a:gd name="T20" fmla="*/ 2147483647 w 7"/>
                      <a:gd name="T21" fmla="*/ 2147483647 h 7"/>
                      <a:gd name="T22" fmla="*/ 2147483647 w 7"/>
                      <a:gd name="T23" fmla="*/ 2147483647 h 7"/>
                      <a:gd name="T24" fmla="*/ 2147483647 w 7"/>
                      <a:gd name="T25" fmla="*/ 0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 h="7">
                        <a:moveTo>
                          <a:pt x="7" y="0"/>
                        </a:moveTo>
                        <a:lnTo>
                          <a:pt x="5" y="2"/>
                        </a:lnTo>
                        <a:lnTo>
                          <a:pt x="6" y="3"/>
                        </a:lnTo>
                        <a:lnTo>
                          <a:pt x="6" y="5"/>
                        </a:lnTo>
                        <a:lnTo>
                          <a:pt x="7" y="5"/>
                        </a:lnTo>
                        <a:lnTo>
                          <a:pt x="4" y="6"/>
                        </a:lnTo>
                        <a:lnTo>
                          <a:pt x="2" y="7"/>
                        </a:lnTo>
                        <a:lnTo>
                          <a:pt x="0" y="7"/>
                        </a:lnTo>
                        <a:lnTo>
                          <a:pt x="1" y="5"/>
                        </a:lnTo>
                        <a:lnTo>
                          <a:pt x="2" y="4"/>
                        </a:lnTo>
                        <a:lnTo>
                          <a:pt x="3" y="3"/>
                        </a:lnTo>
                        <a:lnTo>
                          <a:pt x="4" y="1"/>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1" name="Freeform 2344">
                    <a:extLst>
                      <a:ext uri="{FF2B5EF4-FFF2-40B4-BE49-F238E27FC236}">
                        <a16:creationId xmlns:a16="http://schemas.microsoft.com/office/drawing/2014/main" xmlns="" id="{248272FF-F80F-49C5-9A03-50A450E46EED}"/>
                      </a:ext>
                    </a:extLst>
                  </p:cNvPr>
                  <p:cNvSpPr>
                    <a:spLocks/>
                  </p:cNvSpPr>
                  <p:nvPr/>
                </p:nvSpPr>
                <p:spPr bwMode="gray">
                  <a:xfrm>
                    <a:off x="3740045" y="2790250"/>
                    <a:ext cx="13350" cy="28923"/>
                  </a:xfrm>
                  <a:custGeom>
                    <a:avLst/>
                    <a:gdLst>
                      <a:gd name="T0" fmla="*/ 2147483647 w 12"/>
                      <a:gd name="T1" fmla="*/ 0 h 26"/>
                      <a:gd name="T2" fmla="*/ 2147483647 w 12"/>
                      <a:gd name="T3" fmla="*/ 2147483647 h 26"/>
                      <a:gd name="T4" fmla="*/ 0 w 12"/>
                      <a:gd name="T5" fmla="*/ 2147483647 h 26"/>
                      <a:gd name="T6" fmla="*/ 0 w 12"/>
                      <a:gd name="T7" fmla="*/ 2147483647 h 26"/>
                      <a:gd name="T8" fmla="*/ 0 w 12"/>
                      <a:gd name="T9" fmla="*/ 2147483647 h 26"/>
                      <a:gd name="T10" fmla="*/ 2147483647 w 12"/>
                      <a:gd name="T11" fmla="*/ 2147483647 h 26"/>
                      <a:gd name="T12" fmla="*/ 2147483647 w 12"/>
                      <a:gd name="T13" fmla="*/ 2147483647 h 26"/>
                      <a:gd name="T14" fmla="*/ 2147483647 w 12"/>
                      <a:gd name="T15" fmla="*/ 2147483647 h 26"/>
                      <a:gd name="T16" fmla="*/ 2147483647 w 12"/>
                      <a:gd name="T17" fmla="*/ 2147483647 h 26"/>
                      <a:gd name="T18" fmla="*/ 2147483647 w 12"/>
                      <a:gd name="T19" fmla="*/ 2147483647 h 26"/>
                      <a:gd name="T20" fmla="*/ 2147483647 w 12"/>
                      <a:gd name="T21" fmla="*/ 2147483647 h 26"/>
                      <a:gd name="T22" fmla="*/ 2147483647 w 12"/>
                      <a:gd name="T23" fmla="*/ 2147483647 h 26"/>
                      <a:gd name="T24" fmla="*/ 2147483647 w 12"/>
                      <a:gd name="T25" fmla="*/ 2147483647 h 26"/>
                      <a:gd name="T26" fmla="*/ 2147483647 w 12"/>
                      <a:gd name="T27" fmla="*/ 2147483647 h 26"/>
                      <a:gd name="T28" fmla="*/ 2147483647 w 12"/>
                      <a:gd name="T29" fmla="*/ 2147483647 h 26"/>
                      <a:gd name="T30" fmla="*/ 2147483647 w 12"/>
                      <a:gd name="T31" fmla="*/ 2147483647 h 26"/>
                      <a:gd name="T32" fmla="*/ 2147483647 w 12"/>
                      <a:gd name="T33" fmla="*/ 2147483647 h 26"/>
                      <a:gd name="T34" fmla="*/ 2147483647 w 12"/>
                      <a:gd name="T35" fmla="*/ 2147483647 h 26"/>
                      <a:gd name="T36" fmla="*/ 2147483647 w 12"/>
                      <a:gd name="T37" fmla="*/ 2147483647 h 26"/>
                      <a:gd name="T38" fmla="*/ 2147483647 w 12"/>
                      <a:gd name="T39" fmla="*/ 2147483647 h 26"/>
                      <a:gd name="T40" fmla="*/ 2147483647 w 12"/>
                      <a:gd name="T41" fmla="*/ 2147483647 h 26"/>
                      <a:gd name="T42" fmla="*/ 2147483647 w 12"/>
                      <a:gd name="T43" fmla="*/ 2147483647 h 26"/>
                      <a:gd name="T44" fmla="*/ 2147483647 w 12"/>
                      <a:gd name="T45" fmla="*/ 2147483647 h 26"/>
                      <a:gd name="T46" fmla="*/ 2147483647 w 12"/>
                      <a:gd name="T47" fmla="*/ 2147483647 h 26"/>
                      <a:gd name="T48" fmla="*/ 2147483647 w 12"/>
                      <a:gd name="T49" fmla="*/ 0 h 26"/>
                      <a:gd name="T50" fmla="*/ 2147483647 w 12"/>
                      <a:gd name="T51" fmla="*/ 0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 h="26">
                        <a:moveTo>
                          <a:pt x="2" y="0"/>
                        </a:moveTo>
                        <a:lnTo>
                          <a:pt x="1" y="4"/>
                        </a:lnTo>
                        <a:lnTo>
                          <a:pt x="0" y="9"/>
                        </a:lnTo>
                        <a:lnTo>
                          <a:pt x="0" y="14"/>
                        </a:lnTo>
                        <a:lnTo>
                          <a:pt x="0" y="20"/>
                        </a:lnTo>
                        <a:lnTo>
                          <a:pt x="2" y="22"/>
                        </a:lnTo>
                        <a:lnTo>
                          <a:pt x="4" y="23"/>
                        </a:lnTo>
                        <a:lnTo>
                          <a:pt x="6" y="25"/>
                        </a:lnTo>
                        <a:lnTo>
                          <a:pt x="9" y="26"/>
                        </a:lnTo>
                        <a:lnTo>
                          <a:pt x="8" y="26"/>
                        </a:lnTo>
                        <a:lnTo>
                          <a:pt x="9" y="25"/>
                        </a:lnTo>
                        <a:lnTo>
                          <a:pt x="11" y="24"/>
                        </a:lnTo>
                        <a:lnTo>
                          <a:pt x="12" y="23"/>
                        </a:lnTo>
                        <a:lnTo>
                          <a:pt x="12" y="18"/>
                        </a:lnTo>
                        <a:lnTo>
                          <a:pt x="11" y="13"/>
                        </a:lnTo>
                        <a:lnTo>
                          <a:pt x="11" y="8"/>
                        </a:lnTo>
                        <a:lnTo>
                          <a:pt x="12" y="3"/>
                        </a:lnTo>
                        <a:lnTo>
                          <a:pt x="10" y="3"/>
                        </a:lnTo>
                        <a:lnTo>
                          <a:pt x="9" y="3"/>
                        </a:lnTo>
                        <a:lnTo>
                          <a:pt x="7" y="4"/>
                        </a:lnTo>
                        <a:lnTo>
                          <a:pt x="6" y="5"/>
                        </a:lnTo>
                        <a:lnTo>
                          <a:pt x="6" y="6"/>
                        </a:lnTo>
                        <a:lnTo>
                          <a:pt x="6" y="7"/>
                        </a:lnTo>
                        <a:lnTo>
                          <a:pt x="6" y="0"/>
                        </a:lnTo>
                        <a:lnTo>
                          <a:pt x="2"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2" name="Freeform 2346">
                    <a:extLst>
                      <a:ext uri="{FF2B5EF4-FFF2-40B4-BE49-F238E27FC236}">
                        <a16:creationId xmlns:a16="http://schemas.microsoft.com/office/drawing/2014/main" xmlns="" id="{FAE6B88C-D578-4BD0-90AF-595A92C59420}"/>
                      </a:ext>
                    </a:extLst>
                  </p:cNvPr>
                  <p:cNvSpPr>
                    <a:spLocks/>
                  </p:cNvSpPr>
                  <p:nvPr/>
                </p:nvSpPr>
                <p:spPr bwMode="gray">
                  <a:xfrm>
                    <a:off x="3743383" y="3313082"/>
                    <a:ext cx="5563" cy="3337"/>
                  </a:xfrm>
                  <a:custGeom>
                    <a:avLst/>
                    <a:gdLst>
                      <a:gd name="T0" fmla="*/ 0 w 5"/>
                      <a:gd name="T1" fmla="*/ 0 h 3"/>
                      <a:gd name="T2" fmla="*/ 0 w 5"/>
                      <a:gd name="T3" fmla="*/ 2147483647 h 3"/>
                      <a:gd name="T4" fmla="*/ 2147483647 w 5"/>
                      <a:gd name="T5" fmla="*/ 2147483647 h 3"/>
                      <a:gd name="T6" fmla="*/ 2147483647 w 5"/>
                      <a:gd name="T7" fmla="*/ 2147483647 h 3"/>
                      <a:gd name="T8" fmla="*/ 2147483647 w 5"/>
                      <a:gd name="T9" fmla="*/ 0 h 3"/>
                      <a:gd name="T10" fmla="*/ 0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0" y="0"/>
                        </a:moveTo>
                        <a:lnTo>
                          <a:pt x="0" y="3"/>
                        </a:lnTo>
                        <a:lnTo>
                          <a:pt x="4" y="3"/>
                        </a:lnTo>
                        <a:lnTo>
                          <a:pt x="5" y="2"/>
                        </a:lnTo>
                        <a:lnTo>
                          <a:pt x="4"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3" name="Freeform 2348">
                    <a:extLst>
                      <a:ext uri="{FF2B5EF4-FFF2-40B4-BE49-F238E27FC236}">
                        <a16:creationId xmlns:a16="http://schemas.microsoft.com/office/drawing/2014/main" xmlns="" id="{0D40AB15-D576-4568-A2D3-6C3544EB38B2}"/>
                      </a:ext>
                    </a:extLst>
                  </p:cNvPr>
                  <p:cNvSpPr>
                    <a:spLocks/>
                  </p:cNvSpPr>
                  <p:nvPr/>
                </p:nvSpPr>
                <p:spPr bwMode="gray">
                  <a:xfrm>
                    <a:off x="3711121" y="3324206"/>
                    <a:ext cx="11125" cy="10012"/>
                  </a:xfrm>
                  <a:custGeom>
                    <a:avLst/>
                    <a:gdLst>
                      <a:gd name="T0" fmla="*/ 2147483647 w 10"/>
                      <a:gd name="T1" fmla="*/ 0 h 9"/>
                      <a:gd name="T2" fmla="*/ 2147483647 w 10"/>
                      <a:gd name="T3" fmla="*/ 2147483647 h 9"/>
                      <a:gd name="T4" fmla="*/ 0 w 10"/>
                      <a:gd name="T5" fmla="*/ 2147483647 h 9"/>
                      <a:gd name="T6" fmla="*/ 0 w 10"/>
                      <a:gd name="T7" fmla="*/ 2147483647 h 9"/>
                      <a:gd name="T8" fmla="*/ 2147483647 w 10"/>
                      <a:gd name="T9" fmla="*/ 2147483647 h 9"/>
                      <a:gd name="T10" fmla="*/ 2147483647 w 10"/>
                      <a:gd name="T11" fmla="*/ 2147483647 h 9"/>
                      <a:gd name="T12" fmla="*/ 2147483647 w 10"/>
                      <a:gd name="T13" fmla="*/ 2147483647 h 9"/>
                      <a:gd name="T14" fmla="*/ 2147483647 w 10"/>
                      <a:gd name="T15" fmla="*/ 2147483647 h 9"/>
                      <a:gd name="T16" fmla="*/ 2147483647 w 10"/>
                      <a:gd name="T17" fmla="*/ 2147483647 h 9"/>
                      <a:gd name="T18" fmla="*/ 2147483647 w 10"/>
                      <a:gd name="T19" fmla="*/ 2147483647 h 9"/>
                      <a:gd name="T20" fmla="*/ 2147483647 w 10"/>
                      <a:gd name="T21" fmla="*/ 2147483647 h 9"/>
                      <a:gd name="T22" fmla="*/ 2147483647 w 10"/>
                      <a:gd name="T23" fmla="*/ 2147483647 h 9"/>
                      <a:gd name="T24" fmla="*/ 2147483647 w 10"/>
                      <a:gd name="T25" fmla="*/ 2147483647 h 9"/>
                      <a:gd name="T26" fmla="*/ 2147483647 w 10"/>
                      <a:gd name="T27" fmla="*/ 0 h 9"/>
                      <a:gd name="T28" fmla="*/ 2147483647 w 10"/>
                      <a:gd name="T29" fmla="*/ 0 h 9"/>
                      <a:gd name="T30" fmla="*/ 2147483647 w 10"/>
                      <a:gd name="T31" fmla="*/ 0 h 9"/>
                      <a:gd name="T32" fmla="*/ 2147483647 w 10"/>
                      <a:gd name="T33" fmla="*/ 0 h 9"/>
                      <a:gd name="T34" fmla="*/ 2147483647 w 10"/>
                      <a:gd name="T35" fmla="*/ 0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 h="9">
                        <a:moveTo>
                          <a:pt x="7" y="0"/>
                        </a:moveTo>
                        <a:lnTo>
                          <a:pt x="3" y="2"/>
                        </a:lnTo>
                        <a:lnTo>
                          <a:pt x="0" y="4"/>
                        </a:lnTo>
                        <a:lnTo>
                          <a:pt x="0" y="6"/>
                        </a:lnTo>
                        <a:lnTo>
                          <a:pt x="1" y="8"/>
                        </a:lnTo>
                        <a:lnTo>
                          <a:pt x="3" y="9"/>
                        </a:lnTo>
                        <a:lnTo>
                          <a:pt x="7" y="9"/>
                        </a:lnTo>
                        <a:lnTo>
                          <a:pt x="8" y="7"/>
                        </a:lnTo>
                        <a:lnTo>
                          <a:pt x="9" y="5"/>
                        </a:lnTo>
                        <a:lnTo>
                          <a:pt x="10" y="3"/>
                        </a:lnTo>
                        <a:lnTo>
                          <a:pt x="10" y="2"/>
                        </a:lnTo>
                        <a:lnTo>
                          <a:pt x="10" y="0"/>
                        </a:lnTo>
                        <a:lnTo>
                          <a:pt x="9" y="0"/>
                        </a:lnTo>
                        <a:lnTo>
                          <a:pt x="8" y="0"/>
                        </a:lnTo>
                        <a:lnTo>
                          <a:pt x="7"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4" name="Freeform 2350">
                    <a:extLst>
                      <a:ext uri="{FF2B5EF4-FFF2-40B4-BE49-F238E27FC236}">
                        <a16:creationId xmlns:a16="http://schemas.microsoft.com/office/drawing/2014/main" xmlns="" id="{8E8AB7A5-7830-488E-8D1E-BDAB6A8D5163}"/>
                      </a:ext>
                    </a:extLst>
                  </p:cNvPr>
                  <p:cNvSpPr>
                    <a:spLocks/>
                  </p:cNvSpPr>
                  <p:nvPr/>
                </p:nvSpPr>
                <p:spPr bwMode="gray">
                  <a:xfrm>
                    <a:off x="3730033" y="3334217"/>
                    <a:ext cx="1113" cy="3337"/>
                  </a:xfrm>
                  <a:custGeom>
                    <a:avLst/>
                    <a:gdLst>
                      <a:gd name="T0" fmla="*/ 0 w 1"/>
                      <a:gd name="T1" fmla="*/ 0 h 3"/>
                      <a:gd name="T2" fmla="*/ 0 w 1"/>
                      <a:gd name="T3" fmla="*/ 2147483647 h 3"/>
                      <a:gd name="T4" fmla="*/ 0 w 1"/>
                      <a:gd name="T5" fmla="*/ 2147483647 h 3"/>
                      <a:gd name="T6" fmla="*/ 0 w 1"/>
                      <a:gd name="T7" fmla="*/ 2147483647 h 3"/>
                      <a:gd name="T8" fmla="*/ 2147483647 w 1"/>
                      <a:gd name="T9" fmla="*/ 2147483647 h 3"/>
                      <a:gd name="T10" fmla="*/ 2147483647 w 1"/>
                      <a:gd name="T11" fmla="*/ 2147483647 h 3"/>
                      <a:gd name="T12" fmla="*/ 0 w 1"/>
                      <a:gd name="T13" fmla="*/ 2147483647 h 3"/>
                      <a:gd name="T14" fmla="*/ 0 w 1"/>
                      <a:gd name="T15" fmla="*/ 0 h 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 h="3">
                        <a:moveTo>
                          <a:pt x="0" y="0"/>
                        </a:moveTo>
                        <a:lnTo>
                          <a:pt x="0" y="1"/>
                        </a:lnTo>
                        <a:lnTo>
                          <a:pt x="0" y="3"/>
                        </a:lnTo>
                        <a:lnTo>
                          <a:pt x="1" y="3"/>
                        </a:lnTo>
                        <a:lnTo>
                          <a:pt x="1" y="2"/>
                        </a:lnTo>
                        <a:lnTo>
                          <a:pt x="0" y="1"/>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5" name="Freeform 2352">
                    <a:extLst>
                      <a:ext uri="{FF2B5EF4-FFF2-40B4-BE49-F238E27FC236}">
                        <a16:creationId xmlns:a16="http://schemas.microsoft.com/office/drawing/2014/main" xmlns="" id="{30B75705-4ABC-4485-A5F2-2BF40FE756D5}"/>
                      </a:ext>
                    </a:extLst>
                  </p:cNvPr>
                  <p:cNvSpPr>
                    <a:spLocks/>
                  </p:cNvSpPr>
                  <p:nvPr/>
                </p:nvSpPr>
                <p:spPr bwMode="gray">
                  <a:xfrm>
                    <a:off x="3730033" y="3347567"/>
                    <a:ext cx="8900" cy="11125"/>
                  </a:xfrm>
                  <a:custGeom>
                    <a:avLst/>
                    <a:gdLst>
                      <a:gd name="T0" fmla="*/ 0 w 8"/>
                      <a:gd name="T1" fmla="*/ 0 h 10"/>
                      <a:gd name="T2" fmla="*/ 0 w 8"/>
                      <a:gd name="T3" fmla="*/ 2147483647 h 10"/>
                      <a:gd name="T4" fmla="*/ 0 w 8"/>
                      <a:gd name="T5" fmla="*/ 2147483647 h 10"/>
                      <a:gd name="T6" fmla="*/ 0 w 8"/>
                      <a:gd name="T7" fmla="*/ 2147483647 h 10"/>
                      <a:gd name="T8" fmla="*/ 2147483647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0 h 10"/>
                      <a:gd name="T20" fmla="*/ 2147483647 w 8"/>
                      <a:gd name="T21" fmla="*/ 0 h 10"/>
                      <a:gd name="T22" fmla="*/ 2147483647 w 8"/>
                      <a:gd name="T23" fmla="*/ 0 h 10"/>
                      <a:gd name="T24" fmla="*/ 2147483647 w 8"/>
                      <a:gd name="T25" fmla="*/ 0 h 10"/>
                      <a:gd name="T26" fmla="*/ 0 w 8"/>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10">
                        <a:moveTo>
                          <a:pt x="0" y="0"/>
                        </a:moveTo>
                        <a:lnTo>
                          <a:pt x="0" y="2"/>
                        </a:lnTo>
                        <a:lnTo>
                          <a:pt x="0" y="4"/>
                        </a:lnTo>
                        <a:lnTo>
                          <a:pt x="0" y="8"/>
                        </a:lnTo>
                        <a:lnTo>
                          <a:pt x="2" y="10"/>
                        </a:lnTo>
                        <a:lnTo>
                          <a:pt x="6" y="9"/>
                        </a:lnTo>
                        <a:lnTo>
                          <a:pt x="7" y="7"/>
                        </a:lnTo>
                        <a:lnTo>
                          <a:pt x="8" y="5"/>
                        </a:lnTo>
                        <a:lnTo>
                          <a:pt x="7" y="4"/>
                        </a:lnTo>
                        <a:lnTo>
                          <a:pt x="5" y="0"/>
                        </a:lnTo>
                        <a:lnTo>
                          <a:pt x="3" y="0"/>
                        </a:lnTo>
                        <a:lnTo>
                          <a:pt x="2" y="0"/>
                        </a:lnTo>
                        <a:lnTo>
                          <a:pt x="0"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6" name="Freeform 2354">
                    <a:extLst>
                      <a:ext uri="{FF2B5EF4-FFF2-40B4-BE49-F238E27FC236}">
                        <a16:creationId xmlns:a16="http://schemas.microsoft.com/office/drawing/2014/main" xmlns="" id="{B5802DDF-2947-4CDC-A88B-578675F08074}"/>
                      </a:ext>
                    </a:extLst>
                  </p:cNvPr>
                  <p:cNvSpPr>
                    <a:spLocks/>
                  </p:cNvSpPr>
                  <p:nvPr/>
                </p:nvSpPr>
                <p:spPr bwMode="gray">
                  <a:xfrm>
                    <a:off x="3654385" y="2853656"/>
                    <a:ext cx="15575" cy="16686"/>
                  </a:xfrm>
                  <a:custGeom>
                    <a:avLst/>
                    <a:gdLst>
                      <a:gd name="T0" fmla="*/ 2147483647 w 14"/>
                      <a:gd name="T1" fmla="*/ 0 h 15"/>
                      <a:gd name="T2" fmla="*/ 2147483647 w 14"/>
                      <a:gd name="T3" fmla="*/ 2147483647 h 15"/>
                      <a:gd name="T4" fmla="*/ 2147483647 w 14"/>
                      <a:gd name="T5" fmla="*/ 2147483647 h 15"/>
                      <a:gd name="T6" fmla="*/ 2147483647 w 14"/>
                      <a:gd name="T7" fmla="*/ 2147483647 h 15"/>
                      <a:gd name="T8" fmla="*/ 2147483647 w 14"/>
                      <a:gd name="T9" fmla="*/ 2147483647 h 15"/>
                      <a:gd name="T10" fmla="*/ 2147483647 w 14"/>
                      <a:gd name="T11" fmla="*/ 2147483647 h 15"/>
                      <a:gd name="T12" fmla="*/ 2147483647 w 14"/>
                      <a:gd name="T13" fmla="*/ 2147483647 h 15"/>
                      <a:gd name="T14" fmla="*/ 2147483647 w 14"/>
                      <a:gd name="T15" fmla="*/ 2147483647 h 15"/>
                      <a:gd name="T16" fmla="*/ 2147483647 w 14"/>
                      <a:gd name="T17" fmla="*/ 2147483647 h 15"/>
                      <a:gd name="T18" fmla="*/ 2147483647 w 14"/>
                      <a:gd name="T19" fmla="*/ 2147483647 h 15"/>
                      <a:gd name="T20" fmla="*/ 2147483647 w 14"/>
                      <a:gd name="T21" fmla="*/ 2147483647 h 15"/>
                      <a:gd name="T22" fmla="*/ 2147483647 w 14"/>
                      <a:gd name="T23" fmla="*/ 2147483647 h 15"/>
                      <a:gd name="T24" fmla="*/ 2147483647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w 14"/>
                      <a:gd name="T35" fmla="*/ 2147483647 h 15"/>
                      <a:gd name="T36" fmla="*/ 2147483647 w 14"/>
                      <a:gd name="T37" fmla="*/ 2147483647 h 15"/>
                      <a:gd name="T38" fmla="*/ 2147483647 w 14"/>
                      <a:gd name="T39" fmla="*/ 2147483647 h 15"/>
                      <a:gd name="T40" fmla="*/ 2147483647 w 14"/>
                      <a:gd name="T41" fmla="*/ 2147483647 h 15"/>
                      <a:gd name="T42" fmla="*/ 2147483647 w 14"/>
                      <a:gd name="T43" fmla="*/ 2147483647 h 15"/>
                      <a:gd name="T44" fmla="*/ 2147483647 w 14"/>
                      <a:gd name="T45" fmla="*/ 2147483647 h 15"/>
                      <a:gd name="T46" fmla="*/ 2147483647 w 14"/>
                      <a:gd name="T47" fmla="*/ 2147483647 h 15"/>
                      <a:gd name="T48" fmla="*/ 2147483647 w 14"/>
                      <a:gd name="T49" fmla="*/ 2147483647 h 15"/>
                      <a:gd name="T50" fmla="*/ 2147483647 w 14"/>
                      <a:gd name="T51" fmla="*/ 2147483647 h 15"/>
                      <a:gd name="T52" fmla="*/ 2147483647 w 14"/>
                      <a:gd name="T53" fmla="*/ 0 h 15"/>
                      <a:gd name="T54" fmla="*/ 2147483647 w 14"/>
                      <a:gd name="T55" fmla="*/ 0 h 15"/>
                      <a:gd name="T56" fmla="*/ 2147483647 w 14"/>
                      <a:gd name="T57" fmla="*/ 0 h 15"/>
                      <a:gd name="T58" fmla="*/ 2147483647 w 14"/>
                      <a:gd name="T59" fmla="*/ 0 h 15"/>
                      <a:gd name="T60" fmla="*/ 2147483647 w 14"/>
                      <a:gd name="T61" fmla="*/ 0 h 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 h="15">
                        <a:moveTo>
                          <a:pt x="9" y="0"/>
                        </a:moveTo>
                        <a:lnTo>
                          <a:pt x="9" y="1"/>
                        </a:lnTo>
                        <a:lnTo>
                          <a:pt x="10" y="2"/>
                        </a:lnTo>
                        <a:lnTo>
                          <a:pt x="11" y="3"/>
                        </a:lnTo>
                        <a:lnTo>
                          <a:pt x="13" y="4"/>
                        </a:lnTo>
                        <a:lnTo>
                          <a:pt x="13" y="6"/>
                        </a:lnTo>
                        <a:lnTo>
                          <a:pt x="14" y="7"/>
                        </a:lnTo>
                        <a:lnTo>
                          <a:pt x="14" y="8"/>
                        </a:lnTo>
                        <a:lnTo>
                          <a:pt x="13" y="10"/>
                        </a:lnTo>
                        <a:lnTo>
                          <a:pt x="12" y="10"/>
                        </a:lnTo>
                        <a:lnTo>
                          <a:pt x="11" y="10"/>
                        </a:lnTo>
                        <a:lnTo>
                          <a:pt x="9" y="10"/>
                        </a:lnTo>
                        <a:lnTo>
                          <a:pt x="8" y="14"/>
                        </a:lnTo>
                        <a:lnTo>
                          <a:pt x="8" y="15"/>
                        </a:lnTo>
                        <a:lnTo>
                          <a:pt x="5" y="14"/>
                        </a:lnTo>
                        <a:lnTo>
                          <a:pt x="3" y="14"/>
                        </a:lnTo>
                        <a:lnTo>
                          <a:pt x="0" y="14"/>
                        </a:lnTo>
                        <a:lnTo>
                          <a:pt x="2" y="13"/>
                        </a:lnTo>
                        <a:lnTo>
                          <a:pt x="3" y="12"/>
                        </a:lnTo>
                        <a:lnTo>
                          <a:pt x="3" y="11"/>
                        </a:lnTo>
                        <a:lnTo>
                          <a:pt x="4" y="10"/>
                        </a:lnTo>
                        <a:lnTo>
                          <a:pt x="7" y="4"/>
                        </a:lnTo>
                        <a:lnTo>
                          <a:pt x="8" y="3"/>
                        </a:lnTo>
                        <a:lnTo>
                          <a:pt x="8" y="2"/>
                        </a:lnTo>
                        <a:lnTo>
                          <a:pt x="7" y="1"/>
                        </a:lnTo>
                        <a:lnTo>
                          <a:pt x="7" y="0"/>
                        </a:lnTo>
                        <a:lnTo>
                          <a:pt x="8" y="0"/>
                        </a:lnTo>
                        <a:lnTo>
                          <a:pt x="9"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7" name="Freeform 2356">
                    <a:extLst>
                      <a:ext uri="{FF2B5EF4-FFF2-40B4-BE49-F238E27FC236}">
                        <a16:creationId xmlns:a16="http://schemas.microsoft.com/office/drawing/2014/main" xmlns="" id="{47E4AE42-6586-4C49-946B-71EA662E8638}"/>
                      </a:ext>
                    </a:extLst>
                  </p:cNvPr>
                  <p:cNvSpPr>
                    <a:spLocks/>
                  </p:cNvSpPr>
                  <p:nvPr/>
                </p:nvSpPr>
                <p:spPr bwMode="gray">
                  <a:xfrm>
                    <a:off x="3747832" y="2913728"/>
                    <a:ext cx="2225" cy="1113"/>
                  </a:xfrm>
                  <a:custGeom>
                    <a:avLst/>
                    <a:gdLst>
                      <a:gd name="T0" fmla="*/ 2147483647 w 2"/>
                      <a:gd name="T1" fmla="*/ 2147483647 h 1"/>
                      <a:gd name="T2" fmla="*/ 2147483647 w 2"/>
                      <a:gd name="T3" fmla="*/ 2147483647 h 1"/>
                      <a:gd name="T4" fmla="*/ 2147483647 w 2"/>
                      <a:gd name="T5" fmla="*/ 2147483647 h 1"/>
                      <a:gd name="T6" fmla="*/ 0 w 2"/>
                      <a:gd name="T7" fmla="*/ 2147483647 h 1"/>
                      <a:gd name="T8" fmla="*/ 0 w 2"/>
                      <a:gd name="T9" fmla="*/ 2147483647 h 1"/>
                      <a:gd name="T10" fmla="*/ 0 w 2"/>
                      <a:gd name="T11" fmla="*/ 2147483647 h 1"/>
                      <a:gd name="T12" fmla="*/ 0 w 2"/>
                      <a:gd name="T13" fmla="*/ 0 h 1"/>
                      <a:gd name="T14" fmla="*/ 2147483647 w 2"/>
                      <a:gd name="T15" fmla="*/ 0 h 1"/>
                      <a:gd name="T16" fmla="*/ 2147483647 w 2"/>
                      <a:gd name="T17" fmla="*/ 2147483647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1">
                        <a:moveTo>
                          <a:pt x="2" y="1"/>
                        </a:moveTo>
                        <a:lnTo>
                          <a:pt x="1" y="1"/>
                        </a:lnTo>
                        <a:lnTo>
                          <a:pt x="0" y="1"/>
                        </a:lnTo>
                        <a:lnTo>
                          <a:pt x="0" y="0"/>
                        </a:lnTo>
                        <a:lnTo>
                          <a:pt x="1" y="0"/>
                        </a:lnTo>
                        <a:lnTo>
                          <a:pt x="2" y="1"/>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8" name="Freeform 2358">
                    <a:extLst>
                      <a:ext uri="{FF2B5EF4-FFF2-40B4-BE49-F238E27FC236}">
                        <a16:creationId xmlns:a16="http://schemas.microsoft.com/office/drawing/2014/main" xmlns="" id="{4804B9EF-D09E-476A-887D-D773BECDB2A5}"/>
                      </a:ext>
                    </a:extLst>
                  </p:cNvPr>
                  <p:cNvSpPr>
                    <a:spLocks/>
                  </p:cNvSpPr>
                  <p:nvPr/>
                </p:nvSpPr>
                <p:spPr bwMode="gray">
                  <a:xfrm>
                    <a:off x="3578737" y="2563318"/>
                    <a:ext cx="420512" cy="701930"/>
                  </a:xfrm>
                  <a:custGeom>
                    <a:avLst/>
                    <a:gdLst>
                      <a:gd name="T0" fmla="*/ 2147483647 w 378"/>
                      <a:gd name="T1" fmla="*/ 2147483647 h 631"/>
                      <a:gd name="T2" fmla="*/ 2147483647 w 378"/>
                      <a:gd name="T3" fmla="*/ 2147483647 h 631"/>
                      <a:gd name="T4" fmla="*/ 2147483647 w 378"/>
                      <a:gd name="T5" fmla="*/ 2147483647 h 631"/>
                      <a:gd name="T6" fmla="*/ 2147483647 w 378"/>
                      <a:gd name="T7" fmla="*/ 2147483647 h 631"/>
                      <a:gd name="T8" fmla="*/ 2147483647 w 378"/>
                      <a:gd name="T9" fmla="*/ 2147483647 h 631"/>
                      <a:gd name="T10" fmla="*/ 2147483647 w 378"/>
                      <a:gd name="T11" fmla="*/ 2147483647 h 631"/>
                      <a:gd name="T12" fmla="*/ 2147483647 w 378"/>
                      <a:gd name="T13" fmla="*/ 2147483647 h 631"/>
                      <a:gd name="T14" fmla="*/ 2147483647 w 378"/>
                      <a:gd name="T15" fmla="*/ 2147483647 h 631"/>
                      <a:gd name="T16" fmla="*/ 2147483647 w 378"/>
                      <a:gd name="T17" fmla="*/ 2147483647 h 631"/>
                      <a:gd name="T18" fmla="*/ 2147483647 w 378"/>
                      <a:gd name="T19" fmla="*/ 2147483647 h 631"/>
                      <a:gd name="T20" fmla="*/ 2147483647 w 378"/>
                      <a:gd name="T21" fmla="*/ 2147483647 h 631"/>
                      <a:gd name="T22" fmla="*/ 2147483647 w 378"/>
                      <a:gd name="T23" fmla="*/ 2147483647 h 631"/>
                      <a:gd name="T24" fmla="*/ 2147483647 w 378"/>
                      <a:gd name="T25" fmla="*/ 2147483647 h 631"/>
                      <a:gd name="T26" fmla="*/ 2147483647 w 378"/>
                      <a:gd name="T27" fmla="*/ 2147483647 h 631"/>
                      <a:gd name="T28" fmla="*/ 2147483647 w 378"/>
                      <a:gd name="T29" fmla="*/ 2147483647 h 631"/>
                      <a:gd name="T30" fmla="*/ 2147483647 w 378"/>
                      <a:gd name="T31" fmla="*/ 2147483647 h 631"/>
                      <a:gd name="T32" fmla="*/ 2147483647 w 378"/>
                      <a:gd name="T33" fmla="*/ 2147483647 h 631"/>
                      <a:gd name="T34" fmla="*/ 2147483647 w 378"/>
                      <a:gd name="T35" fmla="*/ 2147483647 h 631"/>
                      <a:gd name="T36" fmla="*/ 2147483647 w 378"/>
                      <a:gd name="T37" fmla="*/ 2147483647 h 631"/>
                      <a:gd name="T38" fmla="*/ 2147483647 w 378"/>
                      <a:gd name="T39" fmla="*/ 2147483647 h 631"/>
                      <a:gd name="T40" fmla="*/ 2147483647 w 378"/>
                      <a:gd name="T41" fmla="*/ 2147483647 h 631"/>
                      <a:gd name="T42" fmla="*/ 2147483647 w 378"/>
                      <a:gd name="T43" fmla="*/ 2147483647 h 631"/>
                      <a:gd name="T44" fmla="*/ 2147483647 w 378"/>
                      <a:gd name="T45" fmla="*/ 2147483647 h 631"/>
                      <a:gd name="T46" fmla="*/ 2147483647 w 378"/>
                      <a:gd name="T47" fmla="*/ 2147483647 h 631"/>
                      <a:gd name="T48" fmla="*/ 2147483647 w 378"/>
                      <a:gd name="T49" fmla="*/ 2147483647 h 631"/>
                      <a:gd name="T50" fmla="*/ 2147483647 w 378"/>
                      <a:gd name="T51" fmla="*/ 2147483647 h 631"/>
                      <a:gd name="T52" fmla="*/ 2147483647 w 378"/>
                      <a:gd name="T53" fmla="*/ 2147483647 h 631"/>
                      <a:gd name="T54" fmla="*/ 2147483647 w 378"/>
                      <a:gd name="T55" fmla="*/ 2147483647 h 631"/>
                      <a:gd name="T56" fmla="*/ 2147483647 w 378"/>
                      <a:gd name="T57" fmla="*/ 2147483647 h 631"/>
                      <a:gd name="T58" fmla="*/ 2147483647 w 378"/>
                      <a:gd name="T59" fmla="*/ 2147483647 h 631"/>
                      <a:gd name="T60" fmla="*/ 2147483647 w 378"/>
                      <a:gd name="T61" fmla="*/ 2147483647 h 631"/>
                      <a:gd name="T62" fmla="*/ 2147483647 w 378"/>
                      <a:gd name="T63" fmla="*/ 2147483647 h 631"/>
                      <a:gd name="T64" fmla="*/ 2147483647 w 378"/>
                      <a:gd name="T65" fmla="*/ 2147483647 h 631"/>
                      <a:gd name="T66" fmla="*/ 2147483647 w 378"/>
                      <a:gd name="T67" fmla="*/ 2147483647 h 631"/>
                      <a:gd name="T68" fmla="*/ 2147483647 w 378"/>
                      <a:gd name="T69" fmla="*/ 2147483647 h 631"/>
                      <a:gd name="T70" fmla="*/ 2147483647 w 378"/>
                      <a:gd name="T71" fmla="*/ 2147483647 h 631"/>
                      <a:gd name="T72" fmla="*/ 2147483647 w 378"/>
                      <a:gd name="T73" fmla="*/ 2147483647 h 631"/>
                      <a:gd name="T74" fmla="*/ 2147483647 w 378"/>
                      <a:gd name="T75" fmla="*/ 2147483647 h 631"/>
                      <a:gd name="T76" fmla="*/ 2147483647 w 378"/>
                      <a:gd name="T77" fmla="*/ 2147483647 h 631"/>
                      <a:gd name="T78" fmla="*/ 2147483647 w 378"/>
                      <a:gd name="T79" fmla="*/ 2147483647 h 631"/>
                      <a:gd name="T80" fmla="*/ 2147483647 w 378"/>
                      <a:gd name="T81" fmla="*/ 2147483647 h 631"/>
                      <a:gd name="T82" fmla="*/ 2147483647 w 378"/>
                      <a:gd name="T83" fmla="*/ 2147483647 h 631"/>
                      <a:gd name="T84" fmla="*/ 2147483647 w 378"/>
                      <a:gd name="T85" fmla="*/ 2147483647 h 631"/>
                      <a:gd name="T86" fmla="*/ 2147483647 w 378"/>
                      <a:gd name="T87" fmla="*/ 2147483647 h 631"/>
                      <a:gd name="T88" fmla="*/ 2147483647 w 378"/>
                      <a:gd name="T89" fmla="*/ 2147483647 h 631"/>
                      <a:gd name="T90" fmla="*/ 2147483647 w 378"/>
                      <a:gd name="T91" fmla="*/ 2147483647 h 631"/>
                      <a:gd name="T92" fmla="*/ 2147483647 w 378"/>
                      <a:gd name="T93" fmla="*/ 2147483647 h 631"/>
                      <a:gd name="T94" fmla="*/ 2147483647 w 378"/>
                      <a:gd name="T95" fmla="*/ 2147483647 h 631"/>
                      <a:gd name="T96" fmla="*/ 2147483647 w 378"/>
                      <a:gd name="T97" fmla="*/ 2147483647 h 631"/>
                      <a:gd name="T98" fmla="*/ 2147483647 w 378"/>
                      <a:gd name="T99" fmla="*/ 2147483647 h 631"/>
                      <a:gd name="T100" fmla="*/ 2147483647 w 378"/>
                      <a:gd name="T101" fmla="*/ 2147483647 h 631"/>
                      <a:gd name="T102" fmla="*/ 2147483647 w 378"/>
                      <a:gd name="T103" fmla="*/ 2147483647 h 631"/>
                      <a:gd name="T104" fmla="*/ 2147483647 w 378"/>
                      <a:gd name="T105" fmla="*/ 2147483647 h 631"/>
                      <a:gd name="T106" fmla="*/ 2147483647 w 378"/>
                      <a:gd name="T107" fmla="*/ 2147483647 h 631"/>
                      <a:gd name="T108" fmla="*/ 2147483647 w 378"/>
                      <a:gd name="T109" fmla="*/ 2147483647 h 631"/>
                      <a:gd name="T110" fmla="*/ 2147483647 w 378"/>
                      <a:gd name="T111" fmla="*/ 2147483647 h 631"/>
                      <a:gd name="T112" fmla="*/ 2147483647 w 378"/>
                      <a:gd name="T113" fmla="*/ 2147483647 h 631"/>
                      <a:gd name="T114" fmla="*/ 2147483647 w 378"/>
                      <a:gd name="T115" fmla="*/ 2147483647 h 631"/>
                      <a:gd name="T116" fmla="*/ 2147483647 w 378"/>
                      <a:gd name="T117" fmla="*/ 2147483647 h 631"/>
                      <a:gd name="T118" fmla="*/ 2147483647 w 378"/>
                      <a:gd name="T119" fmla="*/ 2147483647 h 631"/>
                      <a:gd name="T120" fmla="*/ 2147483647 w 378"/>
                      <a:gd name="T121" fmla="*/ 2147483647 h 631"/>
                      <a:gd name="T122" fmla="*/ 2147483647 w 378"/>
                      <a:gd name="T123" fmla="*/ 2147483647 h 6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78" h="631">
                        <a:moveTo>
                          <a:pt x="177" y="135"/>
                        </a:moveTo>
                        <a:lnTo>
                          <a:pt x="158" y="155"/>
                        </a:lnTo>
                        <a:lnTo>
                          <a:pt x="156" y="157"/>
                        </a:lnTo>
                        <a:lnTo>
                          <a:pt x="155" y="160"/>
                        </a:lnTo>
                        <a:lnTo>
                          <a:pt x="154" y="162"/>
                        </a:lnTo>
                        <a:lnTo>
                          <a:pt x="152" y="165"/>
                        </a:lnTo>
                        <a:lnTo>
                          <a:pt x="152" y="167"/>
                        </a:lnTo>
                        <a:lnTo>
                          <a:pt x="153" y="168"/>
                        </a:lnTo>
                        <a:lnTo>
                          <a:pt x="154" y="170"/>
                        </a:lnTo>
                        <a:lnTo>
                          <a:pt x="155" y="170"/>
                        </a:lnTo>
                        <a:lnTo>
                          <a:pt x="152" y="172"/>
                        </a:lnTo>
                        <a:lnTo>
                          <a:pt x="149" y="174"/>
                        </a:lnTo>
                        <a:lnTo>
                          <a:pt x="146" y="175"/>
                        </a:lnTo>
                        <a:lnTo>
                          <a:pt x="145" y="177"/>
                        </a:lnTo>
                        <a:lnTo>
                          <a:pt x="143" y="181"/>
                        </a:lnTo>
                        <a:lnTo>
                          <a:pt x="142" y="186"/>
                        </a:lnTo>
                        <a:lnTo>
                          <a:pt x="142" y="192"/>
                        </a:lnTo>
                        <a:lnTo>
                          <a:pt x="141" y="196"/>
                        </a:lnTo>
                        <a:lnTo>
                          <a:pt x="138" y="199"/>
                        </a:lnTo>
                        <a:lnTo>
                          <a:pt x="136" y="201"/>
                        </a:lnTo>
                        <a:lnTo>
                          <a:pt x="133" y="204"/>
                        </a:lnTo>
                        <a:lnTo>
                          <a:pt x="132" y="206"/>
                        </a:lnTo>
                        <a:lnTo>
                          <a:pt x="131" y="209"/>
                        </a:lnTo>
                        <a:lnTo>
                          <a:pt x="131" y="213"/>
                        </a:lnTo>
                        <a:lnTo>
                          <a:pt x="130" y="216"/>
                        </a:lnTo>
                        <a:lnTo>
                          <a:pt x="129" y="219"/>
                        </a:lnTo>
                        <a:lnTo>
                          <a:pt x="127" y="221"/>
                        </a:lnTo>
                        <a:lnTo>
                          <a:pt x="124" y="222"/>
                        </a:lnTo>
                        <a:lnTo>
                          <a:pt x="123" y="222"/>
                        </a:lnTo>
                        <a:lnTo>
                          <a:pt x="122" y="222"/>
                        </a:lnTo>
                        <a:lnTo>
                          <a:pt x="122" y="224"/>
                        </a:lnTo>
                        <a:lnTo>
                          <a:pt x="122" y="225"/>
                        </a:lnTo>
                        <a:lnTo>
                          <a:pt x="126" y="227"/>
                        </a:lnTo>
                        <a:lnTo>
                          <a:pt x="127" y="228"/>
                        </a:lnTo>
                        <a:lnTo>
                          <a:pt x="129" y="229"/>
                        </a:lnTo>
                        <a:lnTo>
                          <a:pt x="132" y="229"/>
                        </a:lnTo>
                        <a:lnTo>
                          <a:pt x="134" y="226"/>
                        </a:lnTo>
                        <a:lnTo>
                          <a:pt x="135" y="222"/>
                        </a:lnTo>
                        <a:lnTo>
                          <a:pt x="139" y="213"/>
                        </a:lnTo>
                        <a:lnTo>
                          <a:pt x="143" y="205"/>
                        </a:lnTo>
                        <a:lnTo>
                          <a:pt x="146" y="202"/>
                        </a:lnTo>
                        <a:lnTo>
                          <a:pt x="148" y="200"/>
                        </a:lnTo>
                        <a:lnTo>
                          <a:pt x="150" y="200"/>
                        </a:lnTo>
                        <a:lnTo>
                          <a:pt x="150" y="201"/>
                        </a:lnTo>
                        <a:lnTo>
                          <a:pt x="150" y="202"/>
                        </a:lnTo>
                        <a:lnTo>
                          <a:pt x="152" y="203"/>
                        </a:lnTo>
                        <a:lnTo>
                          <a:pt x="155" y="196"/>
                        </a:lnTo>
                        <a:lnTo>
                          <a:pt x="157" y="196"/>
                        </a:lnTo>
                        <a:lnTo>
                          <a:pt x="158" y="196"/>
                        </a:lnTo>
                        <a:lnTo>
                          <a:pt x="159" y="196"/>
                        </a:lnTo>
                        <a:lnTo>
                          <a:pt x="160" y="194"/>
                        </a:lnTo>
                        <a:lnTo>
                          <a:pt x="160" y="193"/>
                        </a:lnTo>
                        <a:lnTo>
                          <a:pt x="161" y="193"/>
                        </a:lnTo>
                        <a:lnTo>
                          <a:pt x="164" y="193"/>
                        </a:lnTo>
                        <a:lnTo>
                          <a:pt x="163" y="197"/>
                        </a:lnTo>
                        <a:lnTo>
                          <a:pt x="162" y="200"/>
                        </a:lnTo>
                        <a:lnTo>
                          <a:pt x="162" y="202"/>
                        </a:lnTo>
                        <a:lnTo>
                          <a:pt x="162" y="203"/>
                        </a:lnTo>
                        <a:lnTo>
                          <a:pt x="163" y="203"/>
                        </a:lnTo>
                        <a:lnTo>
                          <a:pt x="165" y="202"/>
                        </a:lnTo>
                        <a:lnTo>
                          <a:pt x="167" y="199"/>
                        </a:lnTo>
                        <a:lnTo>
                          <a:pt x="171" y="196"/>
                        </a:lnTo>
                        <a:lnTo>
                          <a:pt x="171" y="206"/>
                        </a:lnTo>
                        <a:lnTo>
                          <a:pt x="167" y="206"/>
                        </a:lnTo>
                        <a:lnTo>
                          <a:pt x="167" y="216"/>
                        </a:lnTo>
                        <a:lnTo>
                          <a:pt x="168" y="216"/>
                        </a:lnTo>
                        <a:lnTo>
                          <a:pt x="169" y="217"/>
                        </a:lnTo>
                        <a:lnTo>
                          <a:pt x="170" y="218"/>
                        </a:lnTo>
                        <a:lnTo>
                          <a:pt x="171" y="219"/>
                        </a:lnTo>
                        <a:lnTo>
                          <a:pt x="171" y="222"/>
                        </a:lnTo>
                        <a:lnTo>
                          <a:pt x="171" y="225"/>
                        </a:lnTo>
                        <a:lnTo>
                          <a:pt x="171" y="228"/>
                        </a:lnTo>
                        <a:lnTo>
                          <a:pt x="171" y="229"/>
                        </a:lnTo>
                        <a:lnTo>
                          <a:pt x="170" y="231"/>
                        </a:lnTo>
                        <a:lnTo>
                          <a:pt x="167" y="234"/>
                        </a:lnTo>
                        <a:lnTo>
                          <a:pt x="165" y="236"/>
                        </a:lnTo>
                        <a:lnTo>
                          <a:pt x="164" y="239"/>
                        </a:lnTo>
                        <a:lnTo>
                          <a:pt x="162" y="239"/>
                        </a:lnTo>
                        <a:lnTo>
                          <a:pt x="161" y="239"/>
                        </a:lnTo>
                        <a:lnTo>
                          <a:pt x="160" y="239"/>
                        </a:lnTo>
                        <a:lnTo>
                          <a:pt x="158" y="239"/>
                        </a:lnTo>
                        <a:lnTo>
                          <a:pt x="155" y="241"/>
                        </a:lnTo>
                        <a:lnTo>
                          <a:pt x="155" y="243"/>
                        </a:lnTo>
                        <a:lnTo>
                          <a:pt x="155" y="244"/>
                        </a:lnTo>
                        <a:lnTo>
                          <a:pt x="155" y="246"/>
                        </a:lnTo>
                        <a:lnTo>
                          <a:pt x="155" y="248"/>
                        </a:lnTo>
                        <a:lnTo>
                          <a:pt x="154" y="248"/>
                        </a:lnTo>
                        <a:lnTo>
                          <a:pt x="153" y="249"/>
                        </a:lnTo>
                        <a:lnTo>
                          <a:pt x="148" y="253"/>
                        </a:lnTo>
                        <a:lnTo>
                          <a:pt x="144" y="256"/>
                        </a:lnTo>
                        <a:lnTo>
                          <a:pt x="142" y="257"/>
                        </a:lnTo>
                        <a:lnTo>
                          <a:pt x="141" y="258"/>
                        </a:lnTo>
                        <a:lnTo>
                          <a:pt x="139" y="258"/>
                        </a:lnTo>
                        <a:lnTo>
                          <a:pt x="136" y="258"/>
                        </a:lnTo>
                        <a:lnTo>
                          <a:pt x="136" y="259"/>
                        </a:lnTo>
                        <a:lnTo>
                          <a:pt x="136" y="261"/>
                        </a:lnTo>
                        <a:lnTo>
                          <a:pt x="138" y="264"/>
                        </a:lnTo>
                        <a:lnTo>
                          <a:pt x="138" y="265"/>
                        </a:lnTo>
                        <a:lnTo>
                          <a:pt x="138" y="266"/>
                        </a:lnTo>
                        <a:lnTo>
                          <a:pt x="138" y="267"/>
                        </a:lnTo>
                        <a:lnTo>
                          <a:pt x="139" y="267"/>
                        </a:lnTo>
                        <a:lnTo>
                          <a:pt x="140" y="267"/>
                        </a:lnTo>
                        <a:lnTo>
                          <a:pt x="141" y="267"/>
                        </a:lnTo>
                        <a:lnTo>
                          <a:pt x="140" y="273"/>
                        </a:lnTo>
                        <a:lnTo>
                          <a:pt x="139" y="278"/>
                        </a:lnTo>
                        <a:lnTo>
                          <a:pt x="140" y="283"/>
                        </a:lnTo>
                        <a:lnTo>
                          <a:pt x="141" y="287"/>
                        </a:lnTo>
                        <a:lnTo>
                          <a:pt x="142" y="287"/>
                        </a:lnTo>
                        <a:lnTo>
                          <a:pt x="143" y="285"/>
                        </a:lnTo>
                        <a:lnTo>
                          <a:pt x="144" y="283"/>
                        </a:lnTo>
                        <a:lnTo>
                          <a:pt x="145" y="280"/>
                        </a:lnTo>
                        <a:lnTo>
                          <a:pt x="145" y="278"/>
                        </a:lnTo>
                        <a:lnTo>
                          <a:pt x="145" y="277"/>
                        </a:lnTo>
                        <a:lnTo>
                          <a:pt x="145" y="276"/>
                        </a:lnTo>
                        <a:lnTo>
                          <a:pt x="145" y="274"/>
                        </a:lnTo>
                        <a:lnTo>
                          <a:pt x="146" y="274"/>
                        </a:lnTo>
                        <a:lnTo>
                          <a:pt x="148" y="274"/>
                        </a:lnTo>
                        <a:lnTo>
                          <a:pt x="150" y="274"/>
                        </a:lnTo>
                        <a:lnTo>
                          <a:pt x="152" y="274"/>
                        </a:lnTo>
                        <a:lnTo>
                          <a:pt x="153" y="275"/>
                        </a:lnTo>
                        <a:lnTo>
                          <a:pt x="155" y="277"/>
                        </a:lnTo>
                        <a:lnTo>
                          <a:pt x="155" y="279"/>
                        </a:lnTo>
                        <a:lnTo>
                          <a:pt x="155" y="280"/>
                        </a:lnTo>
                        <a:lnTo>
                          <a:pt x="155" y="282"/>
                        </a:lnTo>
                        <a:lnTo>
                          <a:pt x="155" y="284"/>
                        </a:lnTo>
                        <a:lnTo>
                          <a:pt x="157" y="285"/>
                        </a:lnTo>
                        <a:lnTo>
                          <a:pt x="158" y="287"/>
                        </a:lnTo>
                        <a:lnTo>
                          <a:pt x="159" y="288"/>
                        </a:lnTo>
                        <a:lnTo>
                          <a:pt x="160" y="288"/>
                        </a:lnTo>
                        <a:lnTo>
                          <a:pt x="160" y="289"/>
                        </a:lnTo>
                        <a:lnTo>
                          <a:pt x="161" y="289"/>
                        </a:lnTo>
                        <a:lnTo>
                          <a:pt x="162" y="289"/>
                        </a:lnTo>
                        <a:lnTo>
                          <a:pt x="163" y="289"/>
                        </a:lnTo>
                        <a:lnTo>
                          <a:pt x="164" y="289"/>
                        </a:lnTo>
                        <a:lnTo>
                          <a:pt x="164" y="288"/>
                        </a:lnTo>
                        <a:lnTo>
                          <a:pt x="166" y="285"/>
                        </a:lnTo>
                        <a:lnTo>
                          <a:pt x="167" y="283"/>
                        </a:lnTo>
                        <a:lnTo>
                          <a:pt x="167" y="280"/>
                        </a:lnTo>
                        <a:lnTo>
                          <a:pt x="171" y="280"/>
                        </a:lnTo>
                        <a:lnTo>
                          <a:pt x="171" y="281"/>
                        </a:lnTo>
                        <a:lnTo>
                          <a:pt x="172" y="284"/>
                        </a:lnTo>
                        <a:lnTo>
                          <a:pt x="174" y="286"/>
                        </a:lnTo>
                        <a:lnTo>
                          <a:pt x="174" y="287"/>
                        </a:lnTo>
                        <a:lnTo>
                          <a:pt x="177" y="288"/>
                        </a:lnTo>
                        <a:lnTo>
                          <a:pt x="181" y="289"/>
                        </a:lnTo>
                        <a:lnTo>
                          <a:pt x="184" y="288"/>
                        </a:lnTo>
                        <a:lnTo>
                          <a:pt x="187" y="287"/>
                        </a:lnTo>
                        <a:lnTo>
                          <a:pt x="188" y="287"/>
                        </a:lnTo>
                        <a:lnTo>
                          <a:pt x="189" y="287"/>
                        </a:lnTo>
                        <a:lnTo>
                          <a:pt x="190" y="287"/>
                        </a:lnTo>
                        <a:lnTo>
                          <a:pt x="191" y="287"/>
                        </a:lnTo>
                        <a:lnTo>
                          <a:pt x="195" y="286"/>
                        </a:lnTo>
                        <a:lnTo>
                          <a:pt x="196" y="286"/>
                        </a:lnTo>
                        <a:lnTo>
                          <a:pt x="198" y="287"/>
                        </a:lnTo>
                        <a:lnTo>
                          <a:pt x="200" y="287"/>
                        </a:lnTo>
                        <a:lnTo>
                          <a:pt x="202" y="287"/>
                        </a:lnTo>
                        <a:lnTo>
                          <a:pt x="203" y="285"/>
                        </a:lnTo>
                        <a:lnTo>
                          <a:pt x="205" y="284"/>
                        </a:lnTo>
                        <a:lnTo>
                          <a:pt x="207" y="284"/>
                        </a:lnTo>
                        <a:lnTo>
                          <a:pt x="209" y="284"/>
                        </a:lnTo>
                        <a:lnTo>
                          <a:pt x="210" y="284"/>
                        </a:lnTo>
                        <a:lnTo>
                          <a:pt x="211" y="284"/>
                        </a:lnTo>
                        <a:lnTo>
                          <a:pt x="213" y="284"/>
                        </a:lnTo>
                        <a:lnTo>
                          <a:pt x="214" y="284"/>
                        </a:lnTo>
                        <a:lnTo>
                          <a:pt x="215" y="285"/>
                        </a:lnTo>
                        <a:lnTo>
                          <a:pt x="217" y="287"/>
                        </a:lnTo>
                        <a:lnTo>
                          <a:pt x="215" y="288"/>
                        </a:lnTo>
                        <a:lnTo>
                          <a:pt x="214" y="288"/>
                        </a:lnTo>
                        <a:lnTo>
                          <a:pt x="213" y="289"/>
                        </a:lnTo>
                        <a:lnTo>
                          <a:pt x="211" y="291"/>
                        </a:lnTo>
                        <a:lnTo>
                          <a:pt x="208" y="293"/>
                        </a:lnTo>
                        <a:lnTo>
                          <a:pt x="206" y="294"/>
                        </a:lnTo>
                        <a:lnTo>
                          <a:pt x="203" y="296"/>
                        </a:lnTo>
                        <a:lnTo>
                          <a:pt x="203" y="298"/>
                        </a:lnTo>
                        <a:lnTo>
                          <a:pt x="203" y="299"/>
                        </a:lnTo>
                        <a:lnTo>
                          <a:pt x="203" y="300"/>
                        </a:lnTo>
                        <a:lnTo>
                          <a:pt x="202" y="300"/>
                        </a:lnTo>
                        <a:lnTo>
                          <a:pt x="200" y="301"/>
                        </a:lnTo>
                        <a:lnTo>
                          <a:pt x="200" y="303"/>
                        </a:lnTo>
                        <a:lnTo>
                          <a:pt x="198" y="303"/>
                        </a:lnTo>
                        <a:lnTo>
                          <a:pt x="197" y="305"/>
                        </a:lnTo>
                        <a:lnTo>
                          <a:pt x="197" y="306"/>
                        </a:lnTo>
                        <a:lnTo>
                          <a:pt x="196" y="309"/>
                        </a:lnTo>
                        <a:lnTo>
                          <a:pt x="194" y="311"/>
                        </a:lnTo>
                        <a:lnTo>
                          <a:pt x="192" y="312"/>
                        </a:lnTo>
                        <a:lnTo>
                          <a:pt x="191" y="312"/>
                        </a:lnTo>
                        <a:lnTo>
                          <a:pt x="191" y="317"/>
                        </a:lnTo>
                        <a:lnTo>
                          <a:pt x="192" y="318"/>
                        </a:lnTo>
                        <a:lnTo>
                          <a:pt x="194" y="319"/>
                        </a:lnTo>
                        <a:lnTo>
                          <a:pt x="194" y="323"/>
                        </a:lnTo>
                        <a:lnTo>
                          <a:pt x="193" y="327"/>
                        </a:lnTo>
                        <a:lnTo>
                          <a:pt x="191" y="330"/>
                        </a:lnTo>
                        <a:lnTo>
                          <a:pt x="191" y="332"/>
                        </a:lnTo>
                        <a:lnTo>
                          <a:pt x="191" y="334"/>
                        </a:lnTo>
                        <a:lnTo>
                          <a:pt x="193" y="336"/>
                        </a:lnTo>
                        <a:lnTo>
                          <a:pt x="194" y="340"/>
                        </a:lnTo>
                        <a:lnTo>
                          <a:pt x="194" y="341"/>
                        </a:lnTo>
                        <a:lnTo>
                          <a:pt x="195" y="341"/>
                        </a:lnTo>
                        <a:lnTo>
                          <a:pt x="196" y="341"/>
                        </a:lnTo>
                        <a:lnTo>
                          <a:pt x="197" y="341"/>
                        </a:lnTo>
                        <a:lnTo>
                          <a:pt x="197" y="343"/>
                        </a:lnTo>
                        <a:lnTo>
                          <a:pt x="197" y="345"/>
                        </a:lnTo>
                        <a:lnTo>
                          <a:pt x="197" y="347"/>
                        </a:lnTo>
                        <a:lnTo>
                          <a:pt x="197" y="351"/>
                        </a:lnTo>
                        <a:lnTo>
                          <a:pt x="199" y="350"/>
                        </a:lnTo>
                        <a:lnTo>
                          <a:pt x="200" y="350"/>
                        </a:lnTo>
                        <a:lnTo>
                          <a:pt x="201" y="351"/>
                        </a:lnTo>
                        <a:lnTo>
                          <a:pt x="203" y="351"/>
                        </a:lnTo>
                        <a:lnTo>
                          <a:pt x="203" y="348"/>
                        </a:lnTo>
                        <a:lnTo>
                          <a:pt x="204" y="346"/>
                        </a:lnTo>
                        <a:lnTo>
                          <a:pt x="205" y="345"/>
                        </a:lnTo>
                        <a:lnTo>
                          <a:pt x="210" y="345"/>
                        </a:lnTo>
                        <a:lnTo>
                          <a:pt x="210" y="344"/>
                        </a:lnTo>
                        <a:lnTo>
                          <a:pt x="211" y="344"/>
                        </a:lnTo>
                        <a:lnTo>
                          <a:pt x="212" y="347"/>
                        </a:lnTo>
                        <a:lnTo>
                          <a:pt x="213" y="350"/>
                        </a:lnTo>
                        <a:lnTo>
                          <a:pt x="213" y="351"/>
                        </a:lnTo>
                        <a:lnTo>
                          <a:pt x="213" y="352"/>
                        </a:lnTo>
                        <a:lnTo>
                          <a:pt x="212" y="353"/>
                        </a:lnTo>
                        <a:lnTo>
                          <a:pt x="211" y="354"/>
                        </a:lnTo>
                        <a:lnTo>
                          <a:pt x="210" y="355"/>
                        </a:lnTo>
                        <a:lnTo>
                          <a:pt x="210" y="356"/>
                        </a:lnTo>
                        <a:lnTo>
                          <a:pt x="210" y="357"/>
                        </a:lnTo>
                        <a:lnTo>
                          <a:pt x="210" y="358"/>
                        </a:lnTo>
                        <a:lnTo>
                          <a:pt x="207" y="358"/>
                        </a:lnTo>
                        <a:lnTo>
                          <a:pt x="205" y="358"/>
                        </a:lnTo>
                        <a:lnTo>
                          <a:pt x="203" y="358"/>
                        </a:lnTo>
                        <a:lnTo>
                          <a:pt x="203" y="362"/>
                        </a:lnTo>
                        <a:lnTo>
                          <a:pt x="203" y="363"/>
                        </a:lnTo>
                        <a:lnTo>
                          <a:pt x="203" y="364"/>
                        </a:lnTo>
                        <a:lnTo>
                          <a:pt x="202" y="364"/>
                        </a:lnTo>
                        <a:lnTo>
                          <a:pt x="200" y="365"/>
                        </a:lnTo>
                        <a:lnTo>
                          <a:pt x="200" y="367"/>
                        </a:lnTo>
                        <a:lnTo>
                          <a:pt x="200" y="368"/>
                        </a:lnTo>
                        <a:lnTo>
                          <a:pt x="200" y="369"/>
                        </a:lnTo>
                        <a:lnTo>
                          <a:pt x="200" y="374"/>
                        </a:lnTo>
                        <a:lnTo>
                          <a:pt x="199" y="376"/>
                        </a:lnTo>
                        <a:lnTo>
                          <a:pt x="198" y="377"/>
                        </a:lnTo>
                        <a:lnTo>
                          <a:pt x="196" y="378"/>
                        </a:lnTo>
                        <a:lnTo>
                          <a:pt x="194" y="380"/>
                        </a:lnTo>
                        <a:lnTo>
                          <a:pt x="192" y="384"/>
                        </a:lnTo>
                        <a:lnTo>
                          <a:pt x="191" y="387"/>
                        </a:lnTo>
                        <a:lnTo>
                          <a:pt x="191" y="396"/>
                        </a:lnTo>
                        <a:lnTo>
                          <a:pt x="189" y="396"/>
                        </a:lnTo>
                        <a:lnTo>
                          <a:pt x="187" y="396"/>
                        </a:lnTo>
                        <a:lnTo>
                          <a:pt x="186" y="396"/>
                        </a:lnTo>
                        <a:lnTo>
                          <a:pt x="184" y="396"/>
                        </a:lnTo>
                        <a:lnTo>
                          <a:pt x="184" y="400"/>
                        </a:lnTo>
                        <a:lnTo>
                          <a:pt x="183" y="399"/>
                        </a:lnTo>
                        <a:lnTo>
                          <a:pt x="180" y="398"/>
                        </a:lnTo>
                        <a:lnTo>
                          <a:pt x="177" y="397"/>
                        </a:lnTo>
                        <a:lnTo>
                          <a:pt x="174" y="396"/>
                        </a:lnTo>
                        <a:lnTo>
                          <a:pt x="172" y="397"/>
                        </a:lnTo>
                        <a:lnTo>
                          <a:pt x="169" y="398"/>
                        </a:lnTo>
                        <a:lnTo>
                          <a:pt x="166" y="399"/>
                        </a:lnTo>
                        <a:lnTo>
                          <a:pt x="164" y="400"/>
                        </a:lnTo>
                        <a:lnTo>
                          <a:pt x="162" y="397"/>
                        </a:lnTo>
                        <a:lnTo>
                          <a:pt x="161" y="395"/>
                        </a:lnTo>
                        <a:lnTo>
                          <a:pt x="160" y="393"/>
                        </a:lnTo>
                        <a:lnTo>
                          <a:pt x="158" y="393"/>
                        </a:lnTo>
                        <a:lnTo>
                          <a:pt x="156" y="393"/>
                        </a:lnTo>
                        <a:lnTo>
                          <a:pt x="155" y="395"/>
                        </a:lnTo>
                        <a:lnTo>
                          <a:pt x="154" y="396"/>
                        </a:lnTo>
                        <a:lnTo>
                          <a:pt x="152" y="396"/>
                        </a:lnTo>
                        <a:lnTo>
                          <a:pt x="141" y="396"/>
                        </a:lnTo>
                        <a:lnTo>
                          <a:pt x="143" y="393"/>
                        </a:lnTo>
                        <a:lnTo>
                          <a:pt x="143" y="391"/>
                        </a:lnTo>
                        <a:lnTo>
                          <a:pt x="144" y="389"/>
                        </a:lnTo>
                        <a:lnTo>
                          <a:pt x="142" y="389"/>
                        </a:lnTo>
                        <a:lnTo>
                          <a:pt x="138" y="390"/>
                        </a:lnTo>
                        <a:lnTo>
                          <a:pt x="137" y="385"/>
                        </a:lnTo>
                        <a:lnTo>
                          <a:pt x="136" y="383"/>
                        </a:lnTo>
                        <a:lnTo>
                          <a:pt x="136" y="381"/>
                        </a:lnTo>
                        <a:lnTo>
                          <a:pt x="134" y="380"/>
                        </a:lnTo>
                        <a:lnTo>
                          <a:pt x="130" y="380"/>
                        </a:lnTo>
                        <a:lnTo>
                          <a:pt x="127" y="380"/>
                        </a:lnTo>
                        <a:lnTo>
                          <a:pt x="122" y="380"/>
                        </a:lnTo>
                        <a:lnTo>
                          <a:pt x="122" y="383"/>
                        </a:lnTo>
                        <a:lnTo>
                          <a:pt x="121" y="385"/>
                        </a:lnTo>
                        <a:lnTo>
                          <a:pt x="119" y="387"/>
                        </a:lnTo>
                        <a:lnTo>
                          <a:pt x="119" y="390"/>
                        </a:lnTo>
                        <a:lnTo>
                          <a:pt x="123" y="396"/>
                        </a:lnTo>
                        <a:lnTo>
                          <a:pt x="127" y="400"/>
                        </a:lnTo>
                        <a:lnTo>
                          <a:pt x="128" y="402"/>
                        </a:lnTo>
                        <a:lnTo>
                          <a:pt x="128" y="404"/>
                        </a:lnTo>
                        <a:lnTo>
                          <a:pt x="126" y="406"/>
                        </a:lnTo>
                        <a:lnTo>
                          <a:pt x="122" y="409"/>
                        </a:lnTo>
                        <a:lnTo>
                          <a:pt x="119" y="411"/>
                        </a:lnTo>
                        <a:lnTo>
                          <a:pt x="115" y="412"/>
                        </a:lnTo>
                        <a:lnTo>
                          <a:pt x="106" y="412"/>
                        </a:lnTo>
                        <a:lnTo>
                          <a:pt x="106" y="414"/>
                        </a:lnTo>
                        <a:lnTo>
                          <a:pt x="105" y="415"/>
                        </a:lnTo>
                        <a:lnTo>
                          <a:pt x="104" y="415"/>
                        </a:lnTo>
                        <a:lnTo>
                          <a:pt x="103" y="415"/>
                        </a:lnTo>
                        <a:lnTo>
                          <a:pt x="103" y="417"/>
                        </a:lnTo>
                        <a:lnTo>
                          <a:pt x="103" y="419"/>
                        </a:lnTo>
                        <a:lnTo>
                          <a:pt x="103" y="420"/>
                        </a:lnTo>
                        <a:lnTo>
                          <a:pt x="103" y="422"/>
                        </a:lnTo>
                        <a:lnTo>
                          <a:pt x="106" y="422"/>
                        </a:lnTo>
                        <a:lnTo>
                          <a:pt x="108" y="421"/>
                        </a:lnTo>
                        <a:lnTo>
                          <a:pt x="109" y="421"/>
                        </a:lnTo>
                        <a:lnTo>
                          <a:pt x="110" y="422"/>
                        </a:lnTo>
                        <a:lnTo>
                          <a:pt x="112" y="422"/>
                        </a:lnTo>
                        <a:lnTo>
                          <a:pt x="115" y="423"/>
                        </a:lnTo>
                        <a:lnTo>
                          <a:pt x="119" y="422"/>
                        </a:lnTo>
                        <a:lnTo>
                          <a:pt x="123" y="420"/>
                        </a:lnTo>
                        <a:lnTo>
                          <a:pt x="126" y="419"/>
                        </a:lnTo>
                        <a:lnTo>
                          <a:pt x="128" y="419"/>
                        </a:lnTo>
                        <a:lnTo>
                          <a:pt x="129" y="420"/>
                        </a:lnTo>
                        <a:lnTo>
                          <a:pt x="130" y="422"/>
                        </a:lnTo>
                        <a:lnTo>
                          <a:pt x="132" y="422"/>
                        </a:lnTo>
                        <a:lnTo>
                          <a:pt x="132" y="432"/>
                        </a:lnTo>
                        <a:lnTo>
                          <a:pt x="128" y="436"/>
                        </a:lnTo>
                        <a:lnTo>
                          <a:pt x="126" y="437"/>
                        </a:lnTo>
                        <a:lnTo>
                          <a:pt x="126" y="438"/>
                        </a:lnTo>
                        <a:lnTo>
                          <a:pt x="126" y="441"/>
                        </a:lnTo>
                        <a:lnTo>
                          <a:pt x="126" y="445"/>
                        </a:lnTo>
                        <a:lnTo>
                          <a:pt x="126" y="448"/>
                        </a:lnTo>
                        <a:lnTo>
                          <a:pt x="126" y="451"/>
                        </a:lnTo>
                        <a:lnTo>
                          <a:pt x="124" y="452"/>
                        </a:lnTo>
                        <a:lnTo>
                          <a:pt x="124" y="453"/>
                        </a:lnTo>
                        <a:lnTo>
                          <a:pt x="125" y="454"/>
                        </a:lnTo>
                        <a:lnTo>
                          <a:pt x="126" y="455"/>
                        </a:lnTo>
                        <a:lnTo>
                          <a:pt x="116" y="464"/>
                        </a:lnTo>
                        <a:lnTo>
                          <a:pt x="110" y="467"/>
                        </a:lnTo>
                        <a:lnTo>
                          <a:pt x="102" y="468"/>
                        </a:lnTo>
                        <a:lnTo>
                          <a:pt x="93" y="468"/>
                        </a:lnTo>
                        <a:lnTo>
                          <a:pt x="84" y="467"/>
                        </a:lnTo>
                        <a:lnTo>
                          <a:pt x="83" y="470"/>
                        </a:lnTo>
                        <a:lnTo>
                          <a:pt x="82" y="471"/>
                        </a:lnTo>
                        <a:lnTo>
                          <a:pt x="80" y="472"/>
                        </a:lnTo>
                        <a:lnTo>
                          <a:pt x="77" y="470"/>
                        </a:lnTo>
                        <a:lnTo>
                          <a:pt x="75" y="470"/>
                        </a:lnTo>
                        <a:lnTo>
                          <a:pt x="73" y="469"/>
                        </a:lnTo>
                        <a:lnTo>
                          <a:pt x="71" y="468"/>
                        </a:lnTo>
                        <a:lnTo>
                          <a:pt x="71" y="467"/>
                        </a:lnTo>
                        <a:lnTo>
                          <a:pt x="61" y="477"/>
                        </a:lnTo>
                        <a:lnTo>
                          <a:pt x="64" y="480"/>
                        </a:lnTo>
                        <a:lnTo>
                          <a:pt x="65" y="481"/>
                        </a:lnTo>
                        <a:lnTo>
                          <a:pt x="64" y="482"/>
                        </a:lnTo>
                        <a:lnTo>
                          <a:pt x="63" y="484"/>
                        </a:lnTo>
                        <a:lnTo>
                          <a:pt x="61" y="486"/>
                        </a:lnTo>
                        <a:lnTo>
                          <a:pt x="59" y="487"/>
                        </a:lnTo>
                        <a:lnTo>
                          <a:pt x="59" y="488"/>
                        </a:lnTo>
                        <a:lnTo>
                          <a:pt x="61" y="490"/>
                        </a:lnTo>
                        <a:lnTo>
                          <a:pt x="62" y="492"/>
                        </a:lnTo>
                        <a:lnTo>
                          <a:pt x="63" y="493"/>
                        </a:lnTo>
                        <a:lnTo>
                          <a:pt x="64" y="493"/>
                        </a:lnTo>
                        <a:lnTo>
                          <a:pt x="65" y="494"/>
                        </a:lnTo>
                        <a:lnTo>
                          <a:pt x="64" y="493"/>
                        </a:lnTo>
                        <a:lnTo>
                          <a:pt x="63" y="495"/>
                        </a:lnTo>
                        <a:lnTo>
                          <a:pt x="63" y="496"/>
                        </a:lnTo>
                        <a:lnTo>
                          <a:pt x="61" y="496"/>
                        </a:lnTo>
                        <a:lnTo>
                          <a:pt x="61" y="497"/>
                        </a:lnTo>
                        <a:lnTo>
                          <a:pt x="61" y="498"/>
                        </a:lnTo>
                        <a:lnTo>
                          <a:pt x="61" y="499"/>
                        </a:lnTo>
                        <a:lnTo>
                          <a:pt x="61" y="500"/>
                        </a:lnTo>
                        <a:lnTo>
                          <a:pt x="64" y="500"/>
                        </a:lnTo>
                        <a:lnTo>
                          <a:pt x="68" y="501"/>
                        </a:lnTo>
                        <a:lnTo>
                          <a:pt x="72" y="503"/>
                        </a:lnTo>
                        <a:lnTo>
                          <a:pt x="77" y="503"/>
                        </a:lnTo>
                        <a:lnTo>
                          <a:pt x="78" y="503"/>
                        </a:lnTo>
                        <a:lnTo>
                          <a:pt x="79" y="501"/>
                        </a:lnTo>
                        <a:lnTo>
                          <a:pt x="80" y="500"/>
                        </a:lnTo>
                        <a:lnTo>
                          <a:pt x="81" y="500"/>
                        </a:lnTo>
                        <a:lnTo>
                          <a:pt x="84" y="500"/>
                        </a:lnTo>
                        <a:lnTo>
                          <a:pt x="87" y="500"/>
                        </a:lnTo>
                        <a:lnTo>
                          <a:pt x="90" y="500"/>
                        </a:lnTo>
                        <a:lnTo>
                          <a:pt x="93" y="500"/>
                        </a:lnTo>
                        <a:lnTo>
                          <a:pt x="94" y="501"/>
                        </a:lnTo>
                        <a:lnTo>
                          <a:pt x="95" y="503"/>
                        </a:lnTo>
                        <a:lnTo>
                          <a:pt x="96" y="505"/>
                        </a:lnTo>
                        <a:lnTo>
                          <a:pt x="97" y="507"/>
                        </a:lnTo>
                        <a:lnTo>
                          <a:pt x="98" y="507"/>
                        </a:lnTo>
                        <a:lnTo>
                          <a:pt x="99" y="507"/>
                        </a:lnTo>
                        <a:lnTo>
                          <a:pt x="100" y="509"/>
                        </a:lnTo>
                        <a:lnTo>
                          <a:pt x="95" y="509"/>
                        </a:lnTo>
                        <a:lnTo>
                          <a:pt x="94" y="509"/>
                        </a:lnTo>
                        <a:lnTo>
                          <a:pt x="93" y="509"/>
                        </a:lnTo>
                        <a:lnTo>
                          <a:pt x="93" y="511"/>
                        </a:lnTo>
                        <a:lnTo>
                          <a:pt x="92" y="512"/>
                        </a:lnTo>
                        <a:lnTo>
                          <a:pt x="92" y="513"/>
                        </a:lnTo>
                        <a:lnTo>
                          <a:pt x="93" y="515"/>
                        </a:lnTo>
                        <a:lnTo>
                          <a:pt x="95" y="517"/>
                        </a:lnTo>
                        <a:lnTo>
                          <a:pt x="99" y="519"/>
                        </a:lnTo>
                        <a:lnTo>
                          <a:pt x="104" y="521"/>
                        </a:lnTo>
                        <a:lnTo>
                          <a:pt x="110" y="522"/>
                        </a:lnTo>
                        <a:lnTo>
                          <a:pt x="110" y="521"/>
                        </a:lnTo>
                        <a:lnTo>
                          <a:pt x="110" y="519"/>
                        </a:lnTo>
                        <a:lnTo>
                          <a:pt x="111" y="517"/>
                        </a:lnTo>
                        <a:lnTo>
                          <a:pt x="112" y="515"/>
                        </a:lnTo>
                        <a:lnTo>
                          <a:pt x="117" y="524"/>
                        </a:lnTo>
                        <a:lnTo>
                          <a:pt x="122" y="531"/>
                        </a:lnTo>
                        <a:lnTo>
                          <a:pt x="125" y="535"/>
                        </a:lnTo>
                        <a:lnTo>
                          <a:pt x="129" y="537"/>
                        </a:lnTo>
                        <a:lnTo>
                          <a:pt x="133" y="538"/>
                        </a:lnTo>
                        <a:lnTo>
                          <a:pt x="138" y="538"/>
                        </a:lnTo>
                        <a:lnTo>
                          <a:pt x="140" y="537"/>
                        </a:lnTo>
                        <a:lnTo>
                          <a:pt x="143" y="535"/>
                        </a:lnTo>
                        <a:lnTo>
                          <a:pt x="147" y="532"/>
                        </a:lnTo>
                        <a:lnTo>
                          <a:pt x="148" y="531"/>
                        </a:lnTo>
                        <a:lnTo>
                          <a:pt x="151" y="532"/>
                        </a:lnTo>
                        <a:lnTo>
                          <a:pt x="153" y="533"/>
                        </a:lnTo>
                        <a:lnTo>
                          <a:pt x="154" y="534"/>
                        </a:lnTo>
                        <a:lnTo>
                          <a:pt x="155" y="535"/>
                        </a:lnTo>
                        <a:lnTo>
                          <a:pt x="157" y="534"/>
                        </a:lnTo>
                        <a:lnTo>
                          <a:pt x="159" y="533"/>
                        </a:lnTo>
                        <a:lnTo>
                          <a:pt x="160" y="532"/>
                        </a:lnTo>
                        <a:lnTo>
                          <a:pt x="161" y="531"/>
                        </a:lnTo>
                        <a:lnTo>
                          <a:pt x="171" y="531"/>
                        </a:lnTo>
                        <a:lnTo>
                          <a:pt x="169" y="531"/>
                        </a:lnTo>
                        <a:lnTo>
                          <a:pt x="169" y="532"/>
                        </a:lnTo>
                        <a:lnTo>
                          <a:pt x="169" y="533"/>
                        </a:lnTo>
                        <a:lnTo>
                          <a:pt x="167" y="535"/>
                        </a:lnTo>
                        <a:lnTo>
                          <a:pt x="164" y="537"/>
                        </a:lnTo>
                        <a:lnTo>
                          <a:pt x="160" y="538"/>
                        </a:lnTo>
                        <a:lnTo>
                          <a:pt x="154" y="539"/>
                        </a:lnTo>
                        <a:lnTo>
                          <a:pt x="148" y="541"/>
                        </a:lnTo>
                        <a:lnTo>
                          <a:pt x="146" y="544"/>
                        </a:lnTo>
                        <a:lnTo>
                          <a:pt x="145" y="547"/>
                        </a:lnTo>
                        <a:lnTo>
                          <a:pt x="143" y="550"/>
                        </a:lnTo>
                        <a:lnTo>
                          <a:pt x="141" y="554"/>
                        </a:lnTo>
                        <a:lnTo>
                          <a:pt x="139" y="553"/>
                        </a:lnTo>
                        <a:lnTo>
                          <a:pt x="136" y="553"/>
                        </a:lnTo>
                        <a:lnTo>
                          <a:pt x="133" y="553"/>
                        </a:lnTo>
                        <a:lnTo>
                          <a:pt x="129" y="551"/>
                        </a:lnTo>
                        <a:lnTo>
                          <a:pt x="129" y="550"/>
                        </a:lnTo>
                        <a:lnTo>
                          <a:pt x="129" y="549"/>
                        </a:lnTo>
                        <a:lnTo>
                          <a:pt x="129" y="548"/>
                        </a:lnTo>
                        <a:lnTo>
                          <a:pt x="124" y="548"/>
                        </a:lnTo>
                        <a:lnTo>
                          <a:pt x="123" y="548"/>
                        </a:lnTo>
                        <a:lnTo>
                          <a:pt x="122" y="548"/>
                        </a:lnTo>
                        <a:lnTo>
                          <a:pt x="121" y="546"/>
                        </a:lnTo>
                        <a:lnTo>
                          <a:pt x="119" y="545"/>
                        </a:lnTo>
                        <a:lnTo>
                          <a:pt x="118" y="545"/>
                        </a:lnTo>
                        <a:lnTo>
                          <a:pt x="117" y="545"/>
                        </a:lnTo>
                        <a:lnTo>
                          <a:pt x="116" y="545"/>
                        </a:lnTo>
                        <a:lnTo>
                          <a:pt x="114" y="544"/>
                        </a:lnTo>
                        <a:lnTo>
                          <a:pt x="112" y="543"/>
                        </a:lnTo>
                        <a:lnTo>
                          <a:pt x="112" y="540"/>
                        </a:lnTo>
                        <a:lnTo>
                          <a:pt x="110" y="538"/>
                        </a:lnTo>
                        <a:lnTo>
                          <a:pt x="109" y="538"/>
                        </a:lnTo>
                        <a:lnTo>
                          <a:pt x="107" y="538"/>
                        </a:lnTo>
                        <a:lnTo>
                          <a:pt x="101" y="540"/>
                        </a:lnTo>
                        <a:lnTo>
                          <a:pt x="94" y="541"/>
                        </a:lnTo>
                        <a:lnTo>
                          <a:pt x="91" y="541"/>
                        </a:lnTo>
                        <a:lnTo>
                          <a:pt x="90" y="541"/>
                        </a:lnTo>
                        <a:lnTo>
                          <a:pt x="88" y="542"/>
                        </a:lnTo>
                        <a:lnTo>
                          <a:pt x="88" y="545"/>
                        </a:lnTo>
                        <a:lnTo>
                          <a:pt x="87" y="547"/>
                        </a:lnTo>
                        <a:lnTo>
                          <a:pt x="87" y="548"/>
                        </a:lnTo>
                        <a:lnTo>
                          <a:pt x="84" y="548"/>
                        </a:lnTo>
                        <a:lnTo>
                          <a:pt x="80" y="548"/>
                        </a:lnTo>
                        <a:lnTo>
                          <a:pt x="71" y="548"/>
                        </a:lnTo>
                        <a:lnTo>
                          <a:pt x="69" y="553"/>
                        </a:lnTo>
                        <a:lnTo>
                          <a:pt x="67" y="558"/>
                        </a:lnTo>
                        <a:lnTo>
                          <a:pt x="66" y="564"/>
                        </a:lnTo>
                        <a:lnTo>
                          <a:pt x="64" y="567"/>
                        </a:lnTo>
                        <a:lnTo>
                          <a:pt x="60" y="568"/>
                        </a:lnTo>
                        <a:lnTo>
                          <a:pt x="57" y="569"/>
                        </a:lnTo>
                        <a:lnTo>
                          <a:pt x="55" y="571"/>
                        </a:lnTo>
                        <a:lnTo>
                          <a:pt x="54" y="571"/>
                        </a:lnTo>
                        <a:lnTo>
                          <a:pt x="53" y="572"/>
                        </a:lnTo>
                        <a:lnTo>
                          <a:pt x="52" y="573"/>
                        </a:lnTo>
                        <a:lnTo>
                          <a:pt x="51" y="574"/>
                        </a:lnTo>
                        <a:lnTo>
                          <a:pt x="46" y="573"/>
                        </a:lnTo>
                        <a:lnTo>
                          <a:pt x="44" y="572"/>
                        </a:lnTo>
                        <a:lnTo>
                          <a:pt x="41" y="571"/>
                        </a:lnTo>
                        <a:lnTo>
                          <a:pt x="41" y="572"/>
                        </a:lnTo>
                        <a:lnTo>
                          <a:pt x="40" y="573"/>
                        </a:lnTo>
                        <a:lnTo>
                          <a:pt x="39" y="574"/>
                        </a:lnTo>
                        <a:lnTo>
                          <a:pt x="39" y="576"/>
                        </a:lnTo>
                        <a:lnTo>
                          <a:pt x="39" y="577"/>
                        </a:lnTo>
                        <a:lnTo>
                          <a:pt x="37" y="579"/>
                        </a:lnTo>
                        <a:lnTo>
                          <a:pt x="33" y="581"/>
                        </a:lnTo>
                        <a:lnTo>
                          <a:pt x="29" y="582"/>
                        </a:lnTo>
                        <a:lnTo>
                          <a:pt x="25" y="583"/>
                        </a:lnTo>
                        <a:lnTo>
                          <a:pt x="21" y="584"/>
                        </a:lnTo>
                        <a:lnTo>
                          <a:pt x="17" y="585"/>
                        </a:lnTo>
                        <a:lnTo>
                          <a:pt x="13" y="585"/>
                        </a:lnTo>
                        <a:lnTo>
                          <a:pt x="9" y="586"/>
                        </a:lnTo>
                        <a:lnTo>
                          <a:pt x="8" y="587"/>
                        </a:lnTo>
                        <a:lnTo>
                          <a:pt x="7" y="588"/>
                        </a:lnTo>
                        <a:lnTo>
                          <a:pt x="4" y="589"/>
                        </a:lnTo>
                        <a:lnTo>
                          <a:pt x="3" y="590"/>
                        </a:lnTo>
                        <a:lnTo>
                          <a:pt x="2" y="590"/>
                        </a:lnTo>
                        <a:lnTo>
                          <a:pt x="1" y="590"/>
                        </a:lnTo>
                        <a:lnTo>
                          <a:pt x="0" y="590"/>
                        </a:lnTo>
                        <a:lnTo>
                          <a:pt x="0" y="600"/>
                        </a:lnTo>
                        <a:lnTo>
                          <a:pt x="2" y="600"/>
                        </a:lnTo>
                        <a:lnTo>
                          <a:pt x="4" y="601"/>
                        </a:lnTo>
                        <a:lnTo>
                          <a:pt x="6" y="601"/>
                        </a:lnTo>
                        <a:lnTo>
                          <a:pt x="9" y="600"/>
                        </a:lnTo>
                        <a:lnTo>
                          <a:pt x="9" y="599"/>
                        </a:lnTo>
                        <a:lnTo>
                          <a:pt x="9" y="598"/>
                        </a:lnTo>
                        <a:lnTo>
                          <a:pt x="9" y="597"/>
                        </a:lnTo>
                        <a:lnTo>
                          <a:pt x="9" y="596"/>
                        </a:lnTo>
                        <a:lnTo>
                          <a:pt x="13" y="600"/>
                        </a:lnTo>
                        <a:lnTo>
                          <a:pt x="16" y="603"/>
                        </a:lnTo>
                        <a:lnTo>
                          <a:pt x="18" y="606"/>
                        </a:lnTo>
                        <a:lnTo>
                          <a:pt x="19" y="612"/>
                        </a:lnTo>
                        <a:lnTo>
                          <a:pt x="21" y="610"/>
                        </a:lnTo>
                        <a:lnTo>
                          <a:pt x="24" y="609"/>
                        </a:lnTo>
                        <a:lnTo>
                          <a:pt x="29" y="609"/>
                        </a:lnTo>
                        <a:lnTo>
                          <a:pt x="29" y="608"/>
                        </a:lnTo>
                        <a:lnTo>
                          <a:pt x="29" y="605"/>
                        </a:lnTo>
                        <a:lnTo>
                          <a:pt x="29" y="603"/>
                        </a:lnTo>
                        <a:lnTo>
                          <a:pt x="29" y="602"/>
                        </a:lnTo>
                        <a:lnTo>
                          <a:pt x="31" y="602"/>
                        </a:lnTo>
                        <a:lnTo>
                          <a:pt x="32" y="602"/>
                        </a:lnTo>
                        <a:lnTo>
                          <a:pt x="34" y="602"/>
                        </a:lnTo>
                        <a:lnTo>
                          <a:pt x="36" y="601"/>
                        </a:lnTo>
                        <a:lnTo>
                          <a:pt x="37" y="600"/>
                        </a:lnTo>
                        <a:lnTo>
                          <a:pt x="39" y="600"/>
                        </a:lnTo>
                        <a:lnTo>
                          <a:pt x="40" y="600"/>
                        </a:lnTo>
                        <a:lnTo>
                          <a:pt x="41" y="600"/>
                        </a:lnTo>
                        <a:lnTo>
                          <a:pt x="43" y="599"/>
                        </a:lnTo>
                        <a:lnTo>
                          <a:pt x="44" y="598"/>
                        </a:lnTo>
                        <a:lnTo>
                          <a:pt x="45" y="593"/>
                        </a:lnTo>
                        <a:lnTo>
                          <a:pt x="49" y="594"/>
                        </a:lnTo>
                        <a:lnTo>
                          <a:pt x="51" y="595"/>
                        </a:lnTo>
                        <a:lnTo>
                          <a:pt x="53" y="596"/>
                        </a:lnTo>
                        <a:lnTo>
                          <a:pt x="55" y="596"/>
                        </a:lnTo>
                        <a:lnTo>
                          <a:pt x="57" y="596"/>
                        </a:lnTo>
                        <a:lnTo>
                          <a:pt x="60" y="595"/>
                        </a:lnTo>
                        <a:lnTo>
                          <a:pt x="62" y="595"/>
                        </a:lnTo>
                        <a:lnTo>
                          <a:pt x="64" y="596"/>
                        </a:lnTo>
                        <a:lnTo>
                          <a:pt x="67" y="598"/>
                        </a:lnTo>
                        <a:lnTo>
                          <a:pt x="71" y="601"/>
                        </a:lnTo>
                        <a:lnTo>
                          <a:pt x="74" y="605"/>
                        </a:lnTo>
                        <a:lnTo>
                          <a:pt x="77" y="609"/>
                        </a:lnTo>
                        <a:lnTo>
                          <a:pt x="81" y="607"/>
                        </a:lnTo>
                        <a:lnTo>
                          <a:pt x="84" y="607"/>
                        </a:lnTo>
                        <a:lnTo>
                          <a:pt x="85" y="608"/>
                        </a:lnTo>
                        <a:lnTo>
                          <a:pt x="87" y="612"/>
                        </a:lnTo>
                        <a:lnTo>
                          <a:pt x="87" y="613"/>
                        </a:lnTo>
                        <a:lnTo>
                          <a:pt x="88" y="614"/>
                        </a:lnTo>
                        <a:lnTo>
                          <a:pt x="88" y="615"/>
                        </a:lnTo>
                        <a:lnTo>
                          <a:pt x="90" y="616"/>
                        </a:lnTo>
                        <a:lnTo>
                          <a:pt x="91" y="616"/>
                        </a:lnTo>
                        <a:lnTo>
                          <a:pt x="93" y="616"/>
                        </a:lnTo>
                        <a:lnTo>
                          <a:pt x="98" y="610"/>
                        </a:lnTo>
                        <a:lnTo>
                          <a:pt x="102" y="608"/>
                        </a:lnTo>
                        <a:lnTo>
                          <a:pt x="106" y="605"/>
                        </a:lnTo>
                        <a:lnTo>
                          <a:pt x="106" y="603"/>
                        </a:lnTo>
                        <a:lnTo>
                          <a:pt x="106" y="602"/>
                        </a:lnTo>
                        <a:lnTo>
                          <a:pt x="106" y="600"/>
                        </a:lnTo>
                        <a:lnTo>
                          <a:pt x="106" y="596"/>
                        </a:lnTo>
                        <a:lnTo>
                          <a:pt x="110" y="595"/>
                        </a:lnTo>
                        <a:lnTo>
                          <a:pt x="112" y="593"/>
                        </a:lnTo>
                        <a:lnTo>
                          <a:pt x="116" y="591"/>
                        </a:lnTo>
                        <a:lnTo>
                          <a:pt x="119" y="590"/>
                        </a:lnTo>
                        <a:lnTo>
                          <a:pt x="126" y="590"/>
                        </a:lnTo>
                        <a:lnTo>
                          <a:pt x="133" y="590"/>
                        </a:lnTo>
                        <a:lnTo>
                          <a:pt x="138" y="591"/>
                        </a:lnTo>
                        <a:lnTo>
                          <a:pt x="141" y="593"/>
                        </a:lnTo>
                        <a:lnTo>
                          <a:pt x="143" y="594"/>
                        </a:lnTo>
                        <a:lnTo>
                          <a:pt x="144" y="595"/>
                        </a:lnTo>
                        <a:lnTo>
                          <a:pt x="145" y="600"/>
                        </a:lnTo>
                        <a:lnTo>
                          <a:pt x="147" y="601"/>
                        </a:lnTo>
                        <a:lnTo>
                          <a:pt x="150" y="603"/>
                        </a:lnTo>
                        <a:lnTo>
                          <a:pt x="152" y="605"/>
                        </a:lnTo>
                        <a:lnTo>
                          <a:pt x="155" y="609"/>
                        </a:lnTo>
                        <a:lnTo>
                          <a:pt x="155" y="608"/>
                        </a:lnTo>
                        <a:lnTo>
                          <a:pt x="155" y="607"/>
                        </a:lnTo>
                        <a:lnTo>
                          <a:pt x="155" y="605"/>
                        </a:lnTo>
                        <a:lnTo>
                          <a:pt x="164" y="605"/>
                        </a:lnTo>
                        <a:lnTo>
                          <a:pt x="164" y="606"/>
                        </a:lnTo>
                        <a:lnTo>
                          <a:pt x="164" y="609"/>
                        </a:lnTo>
                        <a:lnTo>
                          <a:pt x="164" y="611"/>
                        </a:lnTo>
                        <a:lnTo>
                          <a:pt x="164" y="612"/>
                        </a:lnTo>
                        <a:lnTo>
                          <a:pt x="167" y="613"/>
                        </a:lnTo>
                        <a:lnTo>
                          <a:pt x="171" y="614"/>
                        </a:lnTo>
                        <a:lnTo>
                          <a:pt x="174" y="615"/>
                        </a:lnTo>
                        <a:lnTo>
                          <a:pt x="177" y="616"/>
                        </a:lnTo>
                        <a:lnTo>
                          <a:pt x="179" y="613"/>
                        </a:lnTo>
                        <a:lnTo>
                          <a:pt x="180" y="610"/>
                        </a:lnTo>
                        <a:lnTo>
                          <a:pt x="179" y="608"/>
                        </a:lnTo>
                        <a:lnTo>
                          <a:pt x="177" y="605"/>
                        </a:lnTo>
                        <a:lnTo>
                          <a:pt x="180" y="605"/>
                        </a:lnTo>
                        <a:lnTo>
                          <a:pt x="184" y="605"/>
                        </a:lnTo>
                        <a:lnTo>
                          <a:pt x="188" y="605"/>
                        </a:lnTo>
                        <a:lnTo>
                          <a:pt x="191" y="605"/>
                        </a:lnTo>
                        <a:lnTo>
                          <a:pt x="191" y="606"/>
                        </a:lnTo>
                        <a:lnTo>
                          <a:pt x="193" y="607"/>
                        </a:lnTo>
                        <a:lnTo>
                          <a:pt x="194" y="608"/>
                        </a:lnTo>
                        <a:lnTo>
                          <a:pt x="194" y="609"/>
                        </a:lnTo>
                        <a:lnTo>
                          <a:pt x="194" y="610"/>
                        </a:lnTo>
                        <a:lnTo>
                          <a:pt x="194" y="612"/>
                        </a:lnTo>
                        <a:lnTo>
                          <a:pt x="203" y="622"/>
                        </a:lnTo>
                        <a:lnTo>
                          <a:pt x="209" y="622"/>
                        </a:lnTo>
                        <a:lnTo>
                          <a:pt x="213" y="621"/>
                        </a:lnTo>
                        <a:lnTo>
                          <a:pt x="214" y="621"/>
                        </a:lnTo>
                        <a:lnTo>
                          <a:pt x="214" y="619"/>
                        </a:lnTo>
                        <a:lnTo>
                          <a:pt x="213" y="618"/>
                        </a:lnTo>
                        <a:lnTo>
                          <a:pt x="210" y="616"/>
                        </a:lnTo>
                        <a:lnTo>
                          <a:pt x="210" y="614"/>
                        </a:lnTo>
                        <a:lnTo>
                          <a:pt x="210" y="613"/>
                        </a:lnTo>
                        <a:lnTo>
                          <a:pt x="210" y="612"/>
                        </a:lnTo>
                        <a:lnTo>
                          <a:pt x="206" y="611"/>
                        </a:lnTo>
                        <a:lnTo>
                          <a:pt x="204" y="611"/>
                        </a:lnTo>
                        <a:lnTo>
                          <a:pt x="202" y="612"/>
                        </a:lnTo>
                        <a:lnTo>
                          <a:pt x="200" y="612"/>
                        </a:lnTo>
                        <a:lnTo>
                          <a:pt x="199" y="611"/>
                        </a:lnTo>
                        <a:lnTo>
                          <a:pt x="197" y="612"/>
                        </a:lnTo>
                        <a:lnTo>
                          <a:pt x="197" y="609"/>
                        </a:lnTo>
                        <a:lnTo>
                          <a:pt x="201" y="608"/>
                        </a:lnTo>
                        <a:lnTo>
                          <a:pt x="205" y="607"/>
                        </a:lnTo>
                        <a:lnTo>
                          <a:pt x="207" y="606"/>
                        </a:lnTo>
                        <a:lnTo>
                          <a:pt x="210" y="605"/>
                        </a:lnTo>
                        <a:lnTo>
                          <a:pt x="211" y="608"/>
                        </a:lnTo>
                        <a:lnTo>
                          <a:pt x="213" y="612"/>
                        </a:lnTo>
                        <a:lnTo>
                          <a:pt x="216" y="614"/>
                        </a:lnTo>
                        <a:lnTo>
                          <a:pt x="220" y="616"/>
                        </a:lnTo>
                        <a:lnTo>
                          <a:pt x="220" y="615"/>
                        </a:lnTo>
                        <a:lnTo>
                          <a:pt x="221" y="614"/>
                        </a:lnTo>
                        <a:lnTo>
                          <a:pt x="222" y="613"/>
                        </a:lnTo>
                        <a:lnTo>
                          <a:pt x="222" y="612"/>
                        </a:lnTo>
                        <a:lnTo>
                          <a:pt x="225" y="613"/>
                        </a:lnTo>
                        <a:lnTo>
                          <a:pt x="227" y="614"/>
                        </a:lnTo>
                        <a:lnTo>
                          <a:pt x="229" y="616"/>
                        </a:lnTo>
                        <a:lnTo>
                          <a:pt x="229" y="619"/>
                        </a:lnTo>
                        <a:lnTo>
                          <a:pt x="238" y="618"/>
                        </a:lnTo>
                        <a:lnTo>
                          <a:pt x="246" y="618"/>
                        </a:lnTo>
                        <a:lnTo>
                          <a:pt x="255" y="617"/>
                        </a:lnTo>
                        <a:lnTo>
                          <a:pt x="262" y="619"/>
                        </a:lnTo>
                        <a:lnTo>
                          <a:pt x="265" y="622"/>
                        </a:lnTo>
                        <a:lnTo>
                          <a:pt x="268" y="625"/>
                        </a:lnTo>
                        <a:lnTo>
                          <a:pt x="271" y="628"/>
                        </a:lnTo>
                        <a:lnTo>
                          <a:pt x="274" y="631"/>
                        </a:lnTo>
                        <a:lnTo>
                          <a:pt x="275" y="631"/>
                        </a:lnTo>
                        <a:lnTo>
                          <a:pt x="276" y="631"/>
                        </a:lnTo>
                        <a:lnTo>
                          <a:pt x="277" y="630"/>
                        </a:lnTo>
                        <a:lnTo>
                          <a:pt x="278" y="628"/>
                        </a:lnTo>
                        <a:lnTo>
                          <a:pt x="280" y="627"/>
                        </a:lnTo>
                        <a:lnTo>
                          <a:pt x="282" y="626"/>
                        </a:lnTo>
                        <a:lnTo>
                          <a:pt x="284" y="625"/>
                        </a:lnTo>
                        <a:lnTo>
                          <a:pt x="287" y="624"/>
                        </a:lnTo>
                        <a:lnTo>
                          <a:pt x="291" y="624"/>
                        </a:lnTo>
                        <a:lnTo>
                          <a:pt x="294" y="625"/>
                        </a:lnTo>
                        <a:lnTo>
                          <a:pt x="297" y="625"/>
                        </a:lnTo>
                        <a:lnTo>
                          <a:pt x="298" y="624"/>
                        </a:lnTo>
                        <a:lnTo>
                          <a:pt x="300" y="623"/>
                        </a:lnTo>
                        <a:lnTo>
                          <a:pt x="300" y="622"/>
                        </a:lnTo>
                        <a:lnTo>
                          <a:pt x="303" y="621"/>
                        </a:lnTo>
                        <a:lnTo>
                          <a:pt x="305" y="621"/>
                        </a:lnTo>
                        <a:lnTo>
                          <a:pt x="308" y="622"/>
                        </a:lnTo>
                        <a:lnTo>
                          <a:pt x="310" y="622"/>
                        </a:lnTo>
                        <a:lnTo>
                          <a:pt x="311" y="622"/>
                        </a:lnTo>
                        <a:lnTo>
                          <a:pt x="314" y="620"/>
                        </a:lnTo>
                        <a:lnTo>
                          <a:pt x="316" y="618"/>
                        </a:lnTo>
                        <a:lnTo>
                          <a:pt x="316" y="616"/>
                        </a:lnTo>
                        <a:lnTo>
                          <a:pt x="326" y="615"/>
                        </a:lnTo>
                        <a:lnTo>
                          <a:pt x="330" y="614"/>
                        </a:lnTo>
                        <a:lnTo>
                          <a:pt x="333" y="612"/>
                        </a:lnTo>
                        <a:lnTo>
                          <a:pt x="335" y="610"/>
                        </a:lnTo>
                        <a:lnTo>
                          <a:pt x="336" y="607"/>
                        </a:lnTo>
                        <a:lnTo>
                          <a:pt x="336" y="602"/>
                        </a:lnTo>
                        <a:lnTo>
                          <a:pt x="337" y="601"/>
                        </a:lnTo>
                        <a:lnTo>
                          <a:pt x="339" y="598"/>
                        </a:lnTo>
                        <a:lnTo>
                          <a:pt x="342" y="596"/>
                        </a:lnTo>
                        <a:lnTo>
                          <a:pt x="343" y="593"/>
                        </a:lnTo>
                        <a:lnTo>
                          <a:pt x="342" y="593"/>
                        </a:lnTo>
                        <a:lnTo>
                          <a:pt x="341" y="593"/>
                        </a:lnTo>
                        <a:lnTo>
                          <a:pt x="343" y="593"/>
                        </a:lnTo>
                        <a:lnTo>
                          <a:pt x="338" y="593"/>
                        </a:lnTo>
                        <a:lnTo>
                          <a:pt x="337" y="593"/>
                        </a:lnTo>
                        <a:lnTo>
                          <a:pt x="336" y="593"/>
                        </a:lnTo>
                        <a:lnTo>
                          <a:pt x="331" y="593"/>
                        </a:lnTo>
                        <a:lnTo>
                          <a:pt x="326" y="593"/>
                        </a:lnTo>
                        <a:lnTo>
                          <a:pt x="321" y="592"/>
                        </a:lnTo>
                        <a:lnTo>
                          <a:pt x="319" y="590"/>
                        </a:lnTo>
                        <a:lnTo>
                          <a:pt x="317" y="589"/>
                        </a:lnTo>
                        <a:lnTo>
                          <a:pt x="316" y="588"/>
                        </a:lnTo>
                        <a:lnTo>
                          <a:pt x="316" y="583"/>
                        </a:lnTo>
                        <a:lnTo>
                          <a:pt x="312" y="583"/>
                        </a:lnTo>
                        <a:lnTo>
                          <a:pt x="311" y="583"/>
                        </a:lnTo>
                        <a:lnTo>
                          <a:pt x="310" y="583"/>
                        </a:lnTo>
                        <a:lnTo>
                          <a:pt x="310" y="582"/>
                        </a:lnTo>
                        <a:lnTo>
                          <a:pt x="310" y="580"/>
                        </a:lnTo>
                        <a:lnTo>
                          <a:pt x="310" y="577"/>
                        </a:lnTo>
                        <a:lnTo>
                          <a:pt x="311" y="577"/>
                        </a:lnTo>
                        <a:lnTo>
                          <a:pt x="312" y="577"/>
                        </a:lnTo>
                        <a:lnTo>
                          <a:pt x="316" y="577"/>
                        </a:lnTo>
                        <a:lnTo>
                          <a:pt x="321" y="572"/>
                        </a:lnTo>
                        <a:lnTo>
                          <a:pt x="324" y="568"/>
                        </a:lnTo>
                        <a:lnTo>
                          <a:pt x="326" y="564"/>
                        </a:lnTo>
                        <a:lnTo>
                          <a:pt x="336" y="563"/>
                        </a:lnTo>
                        <a:lnTo>
                          <a:pt x="340" y="562"/>
                        </a:lnTo>
                        <a:lnTo>
                          <a:pt x="343" y="560"/>
                        </a:lnTo>
                        <a:lnTo>
                          <a:pt x="344" y="559"/>
                        </a:lnTo>
                        <a:lnTo>
                          <a:pt x="344" y="558"/>
                        </a:lnTo>
                        <a:lnTo>
                          <a:pt x="343" y="557"/>
                        </a:lnTo>
                        <a:lnTo>
                          <a:pt x="345" y="555"/>
                        </a:lnTo>
                        <a:lnTo>
                          <a:pt x="348" y="554"/>
                        </a:lnTo>
                        <a:lnTo>
                          <a:pt x="352" y="554"/>
                        </a:lnTo>
                        <a:lnTo>
                          <a:pt x="352" y="552"/>
                        </a:lnTo>
                        <a:lnTo>
                          <a:pt x="354" y="550"/>
                        </a:lnTo>
                        <a:lnTo>
                          <a:pt x="355" y="549"/>
                        </a:lnTo>
                        <a:lnTo>
                          <a:pt x="355" y="548"/>
                        </a:lnTo>
                        <a:lnTo>
                          <a:pt x="356" y="548"/>
                        </a:lnTo>
                        <a:lnTo>
                          <a:pt x="357" y="548"/>
                        </a:lnTo>
                        <a:lnTo>
                          <a:pt x="358" y="548"/>
                        </a:lnTo>
                        <a:lnTo>
                          <a:pt x="359" y="548"/>
                        </a:lnTo>
                        <a:lnTo>
                          <a:pt x="361" y="545"/>
                        </a:lnTo>
                        <a:lnTo>
                          <a:pt x="362" y="541"/>
                        </a:lnTo>
                        <a:lnTo>
                          <a:pt x="363" y="538"/>
                        </a:lnTo>
                        <a:lnTo>
                          <a:pt x="365" y="535"/>
                        </a:lnTo>
                        <a:lnTo>
                          <a:pt x="366" y="530"/>
                        </a:lnTo>
                        <a:lnTo>
                          <a:pt x="367" y="528"/>
                        </a:lnTo>
                        <a:lnTo>
                          <a:pt x="372" y="522"/>
                        </a:lnTo>
                        <a:lnTo>
                          <a:pt x="375" y="518"/>
                        </a:lnTo>
                        <a:lnTo>
                          <a:pt x="376" y="512"/>
                        </a:lnTo>
                        <a:lnTo>
                          <a:pt x="377" y="506"/>
                        </a:lnTo>
                        <a:lnTo>
                          <a:pt x="378" y="503"/>
                        </a:lnTo>
                        <a:lnTo>
                          <a:pt x="369" y="493"/>
                        </a:lnTo>
                        <a:lnTo>
                          <a:pt x="367" y="490"/>
                        </a:lnTo>
                        <a:lnTo>
                          <a:pt x="365" y="486"/>
                        </a:lnTo>
                        <a:lnTo>
                          <a:pt x="363" y="483"/>
                        </a:lnTo>
                        <a:lnTo>
                          <a:pt x="359" y="481"/>
                        </a:lnTo>
                        <a:lnTo>
                          <a:pt x="356" y="479"/>
                        </a:lnTo>
                        <a:lnTo>
                          <a:pt x="353" y="478"/>
                        </a:lnTo>
                        <a:lnTo>
                          <a:pt x="344" y="474"/>
                        </a:lnTo>
                        <a:lnTo>
                          <a:pt x="335" y="472"/>
                        </a:lnTo>
                        <a:lnTo>
                          <a:pt x="331" y="471"/>
                        </a:lnTo>
                        <a:lnTo>
                          <a:pt x="329" y="470"/>
                        </a:lnTo>
                        <a:lnTo>
                          <a:pt x="326" y="473"/>
                        </a:lnTo>
                        <a:lnTo>
                          <a:pt x="323" y="477"/>
                        </a:lnTo>
                        <a:lnTo>
                          <a:pt x="320" y="479"/>
                        </a:lnTo>
                        <a:lnTo>
                          <a:pt x="316" y="481"/>
                        </a:lnTo>
                        <a:lnTo>
                          <a:pt x="313" y="480"/>
                        </a:lnTo>
                        <a:lnTo>
                          <a:pt x="311" y="478"/>
                        </a:lnTo>
                        <a:lnTo>
                          <a:pt x="310" y="476"/>
                        </a:lnTo>
                        <a:lnTo>
                          <a:pt x="310" y="474"/>
                        </a:lnTo>
                        <a:lnTo>
                          <a:pt x="308" y="474"/>
                        </a:lnTo>
                        <a:lnTo>
                          <a:pt x="307" y="474"/>
                        </a:lnTo>
                        <a:lnTo>
                          <a:pt x="305" y="474"/>
                        </a:lnTo>
                        <a:lnTo>
                          <a:pt x="303" y="474"/>
                        </a:lnTo>
                        <a:lnTo>
                          <a:pt x="305" y="472"/>
                        </a:lnTo>
                        <a:lnTo>
                          <a:pt x="309" y="470"/>
                        </a:lnTo>
                        <a:lnTo>
                          <a:pt x="316" y="464"/>
                        </a:lnTo>
                        <a:lnTo>
                          <a:pt x="324" y="458"/>
                        </a:lnTo>
                        <a:lnTo>
                          <a:pt x="327" y="456"/>
                        </a:lnTo>
                        <a:lnTo>
                          <a:pt x="329" y="455"/>
                        </a:lnTo>
                        <a:lnTo>
                          <a:pt x="329" y="453"/>
                        </a:lnTo>
                        <a:lnTo>
                          <a:pt x="329" y="450"/>
                        </a:lnTo>
                        <a:lnTo>
                          <a:pt x="327" y="441"/>
                        </a:lnTo>
                        <a:lnTo>
                          <a:pt x="326" y="433"/>
                        </a:lnTo>
                        <a:lnTo>
                          <a:pt x="324" y="431"/>
                        </a:lnTo>
                        <a:lnTo>
                          <a:pt x="323" y="429"/>
                        </a:lnTo>
                        <a:lnTo>
                          <a:pt x="322" y="428"/>
                        </a:lnTo>
                        <a:lnTo>
                          <a:pt x="321" y="427"/>
                        </a:lnTo>
                        <a:lnTo>
                          <a:pt x="316" y="422"/>
                        </a:lnTo>
                        <a:lnTo>
                          <a:pt x="319" y="422"/>
                        </a:lnTo>
                        <a:lnTo>
                          <a:pt x="321" y="422"/>
                        </a:lnTo>
                        <a:lnTo>
                          <a:pt x="323" y="422"/>
                        </a:lnTo>
                        <a:lnTo>
                          <a:pt x="324" y="422"/>
                        </a:lnTo>
                        <a:lnTo>
                          <a:pt x="326" y="422"/>
                        </a:lnTo>
                        <a:lnTo>
                          <a:pt x="326" y="415"/>
                        </a:lnTo>
                        <a:lnTo>
                          <a:pt x="323" y="409"/>
                        </a:lnTo>
                        <a:lnTo>
                          <a:pt x="320" y="403"/>
                        </a:lnTo>
                        <a:lnTo>
                          <a:pt x="319" y="396"/>
                        </a:lnTo>
                        <a:lnTo>
                          <a:pt x="319" y="395"/>
                        </a:lnTo>
                        <a:lnTo>
                          <a:pt x="319" y="393"/>
                        </a:lnTo>
                        <a:lnTo>
                          <a:pt x="319" y="391"/>
                        </a:lnTo>
                        <a:lnTo>
                          <a:pt x="319" y="390"/>
                        </a:lnTo>
                        <a:lnTo>
                          <a:pt x="318" y="391"/>
                        </a:lnTo>
                        <a:lnTo>
                          <a:pt x="318" y="390"/>
                        </a:lnTo>
                        <a:lnTo>
                          <a:pt x="319" y="389"/>
                        </a:lnTo>
                        <a:lnTo>
                          <a:pt x="319" y="386"/>
                        </a:lnTo>
                        <a:lnTo>
                          <a:pt x="320" y="386"/>
                        </a:lnTo>
                        <a:lnTo>
                          <a:pt x="321" y="386"/>
                        </a:lnTo>
                        <a:lnTo>
                          <a:pt x="322" y="386"/>
                        </a:lnTo>
                        <a:lnTo>
                          <a:pt x="323" y="386"/>
                        </a:lnTo>
                        <a:lnTo>
                          <a:pt x="322" y="381"/>
                        </a:lnTo>
                        <a:lnTo>
                          <a:pt x="321" y="378"/>
                        </a:lnTo>
                        <a:lnTo>
                          <a:pt x="320" y="374"/>
                        </a:lnTo>
                        <a:lnTo>
                          <a:pt x="319" y="370"/>
                        </a:lnTo>
                        <a:lnTo>
                          <a:pt x="318" y="368"/>
                        </a:lnTo>
                        <a:lnTo>
                          <a:pt x="318" y="365"/>
                        </a:lnTo>
                        <a:lnTo>
                          <a:pt x="317" y="361"/>
                        </a:lnTo>
                        <a:lnTo>
                          <a:pt x="316" y="358"/>
                        </a:lnTo>
                        <a:lnTo>
                          <a:pt x="315" y="358"/>
                        </a:lnTo>
                        <a:lnTo>
                          <a:pt x="314" y="358"/>
                        </a:lnTo>
                        <a:lnTo>
                          <a:pt x="314" y="356"/>
                        </a:lnTo>
                        <a:lnTo>
                          <a:pt x="314" y="355"/>
                        </a:lnTo>
                        <a:lnTo>
                          <a:pt x="314" y="353"/>
                        </a:lnTo>
                        <a:lnTo>
                          <a:pt x="314" y="351"/>
                        </a:lnTo>
                        <a:lnTo>
                          <a:pt x="313" y="351"/>
                        </a:lnTo>
                        <a:lnTo>
                          <a:pt x="312" y="351"/>
                        </a:lnTo>
                        <a:lnTo>
                          <a:pt x="311" y="351"/>
                        </a:lnTo>
                        <a:lnTo>
                          <a:pt x="310" y="351"/>
                        </a:lnTo>
                        <a:lnTo>
                          <a:pt x="305" y="342"/>
                        </a:lnTo>
                        <a:lnTo>
                          <a:pt x="303" y="338"/>
                        </a:lnTo>
                        <a:lnTo>
                          <a:pt x="300" y="335"/>
                        </a:lnTo>
                        <a:lnTo>
                          <a:pt x="297" y="335"/>
                        </a:lnTo>
                        <a:lnTo>
                          <a:pt x="294" y="334"/>
                        </a:lnTo>
                        <a:lnTo>
                          <a:pt x="292" y="333"/>
                        </a:lnTo>
                        <a:lnTo>
                          <a:pt x="291" y="332"/>
                        </a:lnTo>
                        <a:lnTo>
                          <a:pt x="290" y="329"/>
                        </a:lnTo>
                        <a:lnTo>
                          <a:pt x="290" y="324"/>
                        </a:lnTo>
                        <a:lnTo>
                          <a:pt x="291" y="319"/>
                        </a:lnTo>
                        <a:lnTo>
                          <a:pt x="291" y="315"/>
                        </a:lnTo>
                        <a:lnTo>
                          <a:pt x="291" y="311"/>
                        </a:lnTo>
                        <a:lnTo>
                          <a:pt x="289" y="305"/>
                        </a:lnTo>
                        <a:lnTo>
                          <a:pt x="288" y="298"/>
                        </a:lnTo>
                        <a:lnTo>
                          <a:pt x="288" y="293"/>
                        </a:lnTo>
                        <a:lnTo>
                          <a:pt x="288" y="288"/>
                        </a:lnTo>
                        <a:lnTo>
                          <a:pt x="289" y="285"/>
                        </a:lnTo>
                        <a:lnTo>
                          <a:pt x="291" y="282"/>
                        </a:lnTo>
                        <a:lnTo>
                          <a:pt x="291" y="277"/>
                        </a:lnTo>
                        <a:lnTo>
                          <a:pt x="290" y="264"/>
                        </a:lnTo>
                        <a:lnTo>
                          <a:pt x="287" y="249"/>
                        </a:lnTo>
                        <a:lnTo>
                          <a:pt x="285" y="242"/>
                        </a:lnTo>
                        <a:lnTo>
                          <a:pt x="283" y="237"/>
                        </a:lnTo>
                        <a:lnTo>
                          <a:pt x="280" y="232"/>
                        </a:lnTo>
                        <a:lnTo>
                          <a:pt x="278" y="229"/>
                        </a:lnTo>
                        <a:lnTo>
                          <a:pt x="278" y="227"/>
                        </a:lnTo>
                        <a:lnTo>
                          <a:pt x="277" y="227"/>
                        </a:lnTo>
                        <a:lnTo>
                          <a:pt x="276" y="227"/>
                        </a:lnTo>
                        <a:lnTo>
                          <a:pt x="274" y="225"/>
                        </a:lnTo>
                        <a:lnTo>
                          <a:pt x="273" y="223"/>
                        </a:lnTo>
                        <a:lnTo>
                          <a:pt x="271" y="221"/>
                        </a:lnTo>
                        <a:lnTo>
                          <a:pt x="271" y="219"/>
                        </a:lnTo>
                        <a:lnTo>
                          <a:pt x="268" y="219"/>
                        </a:lnTo>
                        <a:lnTo>
                          <a:pt x="267" y="218"/>
                        </a:lnTo>
                        <a:lnTo>
                          <a:pt x="265" y="216"/>
                        </a:lnTo>
                        <a:lnTo>
                          <a:pt x="263" y="213"/>
                        </a:lnTo>
                        <a:lnTo>
                          <a:pt x="262" y="210"/>
                        </a:lnTo>
                        <a:lnTo>
                          <a:pt x="256" y="210"/>
                        </a:lnTo>
                        <a:lnTo>
                          <a:pt x="250" y="211"/>
                        </a:lnTo>
                        <a:lnTo>
                          <a:pt x="244" y="212"/>
                        </a:lnTo>
                        <a:lnTo>
                          <a:pt x="239" y="213"/>
                        </a:lnTo>
                        <a:lnTo>
                          <a:pt x="239" y="210"/>
                        </a:lnTo>
                        <a:lnTo>
                          <a:pt x="243" y="208"/>
                        </a:lnTo>
                        <a:lnTo>
                          <a:pt x="246" y="205"/>
                        </a:lnTo>
                        <a:lnTo>
                          <a:pt x="250" y="201"/>
                        </a:lnTo>
                        <a:lnTo>
                          <a:pt x="252" y="200"/>
                        </a:lnTo>
                        <a:lnTo>
                          <a:pt x="254" y="200"/>
                        </a:lnTo>
                        <a:lnTo>
                          <a:pt x="255" y="201"/>
                        </a:lnTo>
                        <a:lnTo>
                          <a:pt x="256" y="202"/>
                        </a:lnTo>
                        <a:lnTo>
                          <a:pt x="258" y="203"/>
                        </a:lnTo>
                        <a:lnTo>
                          <a:pt x="263" y="202"/>
                        </a:lnTo>
                        <a:lnTo>
                          <a:pt x="266" y="201"/>
                        </a:lnTo>
                        <a:lnTo>
                          <a:pt x="268" y="200"/>
                        </a:lnTo>
                        <a:lnTo>
                          <a:pt x="271" y="200"/>
                        </a:lnTo>
                        <a:lnTo>
                          <a:pt x="271" y="199"/>
                        </a:lnTo>
                        <a:lnTo>
                          <a:pt x="271" y="198"/>
                        </a:lnTo>
                        <a:lnTo>
                          <a:pt x="271" y="197"/>
                        </a:lnTo>
                        <a:lnTo>
                          <a:pt x="271" y="196"/>
                        </a:lnTo>
                        <a:lnTo>
                          <a:pt x="270" y="194"/>
                        </a:lnTo>
                        <a:lnTo>
                          <a:pt x="269" y="193"/>
                        </a:lnTo>
                        <a:lnTo>
                          <a:pt x="268" y="192"/>
                        </a:lnTo>
                        <a:lnTo>
                          <a:pt x="265" y="190"/>
                        </a:lnTo>
                        <a:lnTo>
                          <a:pt x="265" y="189"/>
                        </a:lnTo>
                        <a:lnTo>
                          <a:pt x="265" y="187"/>
                        </a:lnTo>
                        <a:lnTo>
                          <a:pt x="265" y="185"/>
                        </a:lnTo>
                        <a:lnTo>
                          <a:pt x="265" y="184"/>
                        </a:lnTo>
                        <a:lnTo>
                          <a:pt x="267" y="184"/>
                        </a:lnTo>
                        <a:lnTo>
                          <a:pt x="268" y="184"/>
                        </a:lnTo>
                        <a:lnTo>
                          <a:pt x="278" y="184"/>
                        </a:lnTo>
                        <a:lnTo>
                          <a:pt x="280" y="182"/>
                        </a:lnTo>
                        <a:lnTo>
                          <a:pt x="282" y="180"/>
                        </a:lnTo>
                        <a:lnTo>
                          <a:pt x="284" y="179"/>
                        </a:lnTo>
                        <a:lnTo>
                          <a:pt x="284" y="177"/>
                        </a:lnTo>
                        <a:lnTo>
                          <a:pt x="286" y="177"/>
                        </a:lnTo>
                        <a:lnTo>
                          <a:pt x="287" y="175"/>
                        </a:lnTo>
                        <a:lnTo>
                          <a:pt x="288" y="174"/>
                        </a:lnTo>
                        <a:lnTo>
                          <a:pt x="291" y="171"/>
                        </a:lnTo>
                        <a:lnTo>
                          <a:pt x="293" y="168"/>
                        </a:lnTo>
                        <a:lnTo>
                          <a:pt x="297" y="166"/>
                        </a:lnTo>
                        <a:lnTo>
                          <a:pt x="300" y="165"/>
                        </a:lnTo>
                        <a:lnTo>
                          <a:pt x="300" y="160"/>
                        </a:lnTo>
                        <a:lnTo>
                          <a:pt x="300" y="158"/>
                        </a:lnTo>
                        <a:lnTo>
                          <a:pt x="310" y="148"/>
                        </a:lnTo>
                        <a:lnTo>
                          <a:pt x="312" y="145"/>
                        </a:lnTo>
                        <a:lnTo>
                          <a:pt x="314" y="142"/>
                        </a:lnTo>
                        <a:lnTo>
                          <a:pt x="315" y="138"/>
                        </a:lnTo>
                        <a:lnTo>
                          <a:pt x="316" y="135"/>
                        </a:lnTo>
                        <a:lnTo>
                          <a:pt x="316" y="133"/>
                        </a:lnTo>
                        <a:lnTo>
                          <a:pt x="318" y="132"/>
                        </a:lnTo>
                        <a:lnTo>
                          <a:pt x="319" y="131"/>
                        </a:lnTo>
                        <a:lnTo>
                          <a:pt x="319" y="129"/>
                        </a:lnTo>
                        <a:lnTo>
                          <a:pt x="321" y="128"/>
                        </a:lnTo>
                        <a:lnTo>
                          <a:pt x="322" y="127"/>
                        </a:lnTo>
                        <a:lnTo>
                          <a:pt x="323" y="126"/>
                        </a:lnTo>
                        <a:lnTo>
                          <a:pt x="323" y="125"/>
                        </a:lnTo>
                        <a:lnTo>
                          <a:pt x="323" y="123"/>
                        </a:lnTo>
                        <a:lnTo>
                          <a:pt x="326" y="122"/>
                        </a:lnTo>
                        <a:lnTo>
                          <a:pt x="327" y="121"/>
                        </a:lnTo>
                        <a:lnTo>
                          <a:pt x="329" y="120"/>
                        </a:lnTo>
                        <a:lnTo>
                          <a:pt x="329" y="117"/>
                        </a:lnTo>
                        <a:lnTo>
                          <a:pt x="328" y="113"/>
                        </a:lnTo>
                        <a:lnTo>
                          <a:pt x="327" y="109"/>
                        </a:lnTo>
                        <a:lnTo>
                          <a:pt x="326" y="106"/>
                        </a:lnTo>
                        <a:lnTo>
                          <a:pt x="323" y="104"/>
                        </a:lnTo>
                        <a:lnTo>
                          <a:pt x="319" y="103"/>
                        </a:lnTo>
                        <a:lnTo>
                          <a:pt x="310" y="103"/>
                        </a:lnTo>
                        <a:lnTo>
                          <a:pt x="308" y="101"/>
                        </a:lnTo>
                        <a:lnTo>
                          <a:pt x="307" y="99"/>
                        </a:lnTo>
                        <a:lnTo>
                          <a:pt x="305" y="98"/>
                        </a:lnTo>
                        <a:lnTo>
                          <a:pt x="303" y="96"/>
                        </a:lnTo>
                        <a:lnTo>
                          <a:pt x="301" y="96"/>
                        </a:lnTo>
                        <a:lnTo>
                          <a:pt x="300" y="96"/>
                        </a:lnTo>
                        <a:lnTo>
                          <a:pt x="299" y="96"/>
                        </a:lnTo>
                        <a:lnTo>
                          <a:pt x="297" y="96"/>
                        </a:lnTo>
                        <a:lnTo>
                          <a:pt x="296" y="96"/>
                        </a:lnTo>
                        <a:lnTo>
                          <a:pt x="295" y="95"/>
                        </a:lnTo>
                        <a:lnTo>
                          <a:pt x="294" y="94"/>
                        </a:lnTo>
                        <a:lnTo>
                          <a:pt x="293" y="94"/>
                        </a:lnTo>
                        <a:lnTo>
                          <a:pt x="284" y="94"/>
                        </a:lnTo>
                        <a:lnTo>
                          <a:pt x="284" y="87"/>
                        </a:lnTo>
                        <a:lnTo>
                          <a:pt x="281" y="87"/>
                        </a:lnTo>
                        <a:lnTo>
                          <a:pt x="278" y="85"/>
                        </a:lnTo>
                        <a:lnTo>
                          <a:pt x="274" y="84"/>
                        </a:lnTo>
                        <a:lnTo>
                          <a:pt x="271" y="84"/>
                        </a:lnTo>
                        <a:lnTo>
                          <a:pt x="268" y="84"/>
                        </a:lnTo>
                        <a:lnTo>
                          <a:pt x="267" y="85"/>
                        </a:lnTo>
                        <a:lnTo>
                          <a:pt x="264" y="87"/>
                        </a:lnTo>
                        <a:lnTo>
                          <a:pt x="262" y="87"/>
                        </a:lnTo>
                        <a:lnTo>
                          <a:pt x="261" y="87"/>
                        </a:lnTo>
                        <a:lnTo>
                          <a:pt x="260" y="85"/>
                        </a:lnTo>
                        <a:lnTo>
                          <a:pt x="259" y="84"/>
                        </a:lnTo>
                        <a:lnTo>
                          <a:pt x="258" y="84"/>
                        </a:lnTo>
                        <a:lnTo>
                          <a:pt x="256" y="85"/>
                        </a:lnTo>
                        <a:lnTo>
                          <a:pt x="253" y="87"/>
                        </a:lnTo>
                        <a:lnTo>
                          <a:pt x="251" y="89"/>
                        </a:lnTo>
                        <a:lnTo>
                          <a:pt x="248" y="90"/>
                        </a:lnTo>
                        <a:lnTo>
                          <a:pt x="245" y="90"/>
                        </a:lnTo>
                        <a:lnTo>
                          <a:pt x="243" y="90"/>
                        </a:lnTo>
                        <a:lnTo>
                          <a:pt x="240" y="90"/>
                        </a:lnTo>
                        <a:lnTo>
                          <a:pt x="239" y="90"/>
                        </a:lnTo>
                        <a:lnTo>
                          <a:pt x="239" y="87"/>
                        </a:lnTo>
                        <a:lnTo>
                          <a:pt x="240" y="85"/>
                        </a:lnTo>
                        <a:lnTo>
                          <a:pt x="241" y="84"/>
                        </a:lnTo>
                        <a:lnTo>
                          <a:pt x="244" y="82"/>
                        </a:lnTo>
                        <a:lnTo>
                          <a:pt x="245" y="80"/>
                        </a:lnTo>
                        <a:lnTo>
                          <a:pt x="250" y="75"/>
                        </a:lnTo>
                        <a:lnTo>
                          <a:pt x="254" y="73"/>
                        </a:lnTo>
                        <a:lnTo>
                          <a:pt x="258" y="71"/>
                        </a:lnTo>
                        <a:lnTo>
                          <a:pt x="260" y="71"/>
                        </a:lnTo>
                        <a:lnTo>
                          <a:pt x="259" y="70"/>
                        </a:lnTo>
                        <a:lnTo>
                          <a:pt x="257" y="70"/>
                        </a:lnTo>
                        <a:lnTo>
                          <a:pt x="252" y="68"/>
                        </a:lnTo>
                        <a:lnTo>
                          <a:pt x="248" y="68"/>
                        </a:lnTo>
                        <a:lnTo>
                          <a:pt x="248" y="65"/>
                        </a:lnTo>
                        <a:lnTo>
                          <a:pt x="251" y="63"/>
                        </a:lnTo>
                        <a:lnTo>
                          <a:pt x="255" y="61"/>
                        </a:lnTo>
                        <a:lnTo>
                          <a:pt x="259" y="60"/>
                        </a:lnTo>
                        <a:lnTo>
                          <a:pt x="262" y="58"/>
                        </a:lnTo>
                        <a:lnTo>
                          <a:pt x="264" y="58"/>
                        </a:lnTo>
                        <a:lnTo>
                          <a:pt x="265" y="58"/>
                        </a:lnTo>
                        <a:lnTo>
                          <a:pt x="267" y="58"/>
                        </a:lnTo>
                        <a:lnTo>
                          <a:pt x="268" y="58"/>
                        </a:lnTo>
                        <a:lnTo>
                          <a:pt x="268" y="57"/>
                        </a:lnTo>
                        <a:lnTo>
                          <a:pt x="268" y="56"/>
                        </a:lnTo>
                        <a:lnTo>
                          <a:pt x="269" y="55"/>
                        </a:lnTo>
                        <a:lnTo>
                          <a:pt x="271" y="54"/>
                        </a:lnTo>
                        <a:lnTo>
                          <a:pt x="273" y="54"/>
                        </a:lnTo>
                        <a:lnTo>
                          <a:pt x="275" y="53"/>
                        </a:lnTo>
                        <a:lnTo>
                          <a:pt x="278" y="51"/>
                        </a:lnTo>
                        <a:lnTo>
                          <a:pt x="280" y="51"/>
                        </a:lnTo>
                        <a:lnTo>
                          <a:pt x="281" y="49"/>
                        </a:lnTo>
                        <a:lnTo>
                          <a:pt x="282" y="48"/>
                        </a:lnTo>
                        <a:lnTo>
                          <a:pt x="284" y="48"/>
                        </a:lnTo>
                        <a:lnTo>
                          <a:pt x="287" y="47"/>
                        </a:lnTo>
                        <a:lnTo>
                          <a:pt x="289" y="47"/>
                        </a:lnTo>
                        <a:lnTo>
                          <a:pt x="292" y="47"/>
                        </a:lnTo>
                        <a:lnTo>
                          <a:pt x="293" y="45"/>
                        </a:lnTo>
                        <a:lnTo>
                          <a:pt x="294" y="45"/>
                        </a:lnTo>
                        <a:lnTo>
                          <a:pt x="295" y="43"/>
                        </a:lnTo>
                        <a:lnTo>
                          <a:pt x="298" y="38"/>
                        </a:lnTo>
                        <a:lnTo>
                          <a:pt x="302" y="33"/>
                        </a:lnTo>
                        <a:lnTo>
                          <a:pt x="303" y="29"/>
                        </a:lnTo>
                        <a:lnTo>
                          <a:pt x="303" y="25"/>
                        </a:lnTo>
                        <a:lnTo>
                          <a:pt x="303" y="24"/>
                        </a:lnTo>
                        <a:lnTo>
                          <a:pt x="302" y="24"/>
                        </a:lnTo>
                        <a:lnTo>
                          <a:pt x="300" y="23"/>
                        </a:lnTo>
                        <a:lnTo>
                          <a:pt x="298" y="21"/>
                        </a:lnTo>
                        <a:lnTo>
                          <a:pt x="296" y="20"/>
                        </a:lnTo>
                        <a:lnTo>
                          <a:pt x="293" y="20"/>
                        </a:lnTo>
                        <a:lnTo>
                          <a:pt x="290" y="22"/>
                        </a:lnTo>
                        <a:lnTo>
                          <a:pt x="284" y="23"/>
                        </a:lnTo>
                        <a:lnTo>
                          <a:pt x="284" y="18"/>
                        </a:lnTo>
                        <a:lnTo>
                          <a:pt x="283" y="17"/>
                        </a:lnTo>
                        <a:lnTo>
                          <a:pt x="281" y="16"/>
                        </a:lnTo>
                        <a:lnTo>
                          <a:pt x="279" y="17"/>
                        </a:lnTo>
                        <a:lnTo>
                          <a:pt x="278" y="18"/>
                        </a:lnTo>
                        <a:lnTo>
                          <a:pt x="276" y="19"/>
                        </a:lnTo>
                        <a:lnTo>
                          <a:pt x="274" y="20"/>
                        </a:lnTo>
                        <a:lnTo>
                          <a:pt x="272" y="18"/>
                        </a:lnTo>
                        <a:lnTo>
                          <a:pt x="269" y="16"/>
                        </a:lnTo>
                        <a:lnTo>
                          <a:pt x="268" y="14"/>
                        </a:lnTo>
                        <a:lnTo>
                          <a:pt x="265" y="13"/>
                        </a:lnTo>
                        <a:lnTo>
                          <a:pt x="264" y="13"/>
                        </a:lnTo>
                        <a:lnTo>
                          <a:pt x="261" y="15"/>
                        </a:lnTo>
                        <a:lnTo>
                          <a:pt x="258" y="16"/>
                        </a:lnTo>
                        <a:lnTo>
                          <a:pt x="255" y="16"/>
                        </a:lnTo>
                        <a:lnTo>
                          <a:pt x="255" y="15"/>
                        </a:lnTo>
                        <a:lnTo>
                          <a:pt x="255" y="13"/>
                        </a:lnTo>
                        <a:lnTo>
                          <a:pt x="253" y="11"/>
                        </a:lnTo>
                        <a:lnTo>
                          <a:pt x="250" y="10"/>
                        </a:lnTo>
                        <a:lnTo>
                          <a:pt x="249" y="10"/>
                        </a:lnTo>
                        <a:lnTo>
                          <a:pt x="248" y="9"/>
                        </a:lnTo>
                        <a:lnTo>
                          <a:pt x="247" y="8"/>
                        </a:lnTo>
                        <a:lnTo>
                          <a:pt x="245" y="7"/>
                        </a:lnTo>
                        <a:lnTo>
                          <a:pt x="245" y="6"/>
                        </a:lnTo>
                        <a:lnTo>
                          <a:pt x="243" y="4"/>
                        </a:lnTo>
                        <a:lnTo>
                          <a:pt x="239" y="3"/>
                        </a:lnTo>
                        <a:lnTo>
                          <a:pt x="236" y="1"/>
                        </a:lnTo>
                        <a:lnTo>
                          <a:pt x="233" y="0"/>
                        </a:lnTo>
                        <a:lnTo>
                          <a:pt x="230" y="1"/>
                        </a:lnTo>
                        <a:lnTo>
                          <a:pt x="228" y="3"/>
                        </a:lnTo>
                        <a:lnTo>
                          <a:pt x="226" y="6"/>
                        </a:lnTo>
                        <a:lnTo>
                          <a:pt x="226" y="9"/>
                        </a:lnTo>
                        <a:lnTo>
                          <a:pt x="226" y="10"/>
                        </a:lnTo>
                        <a:lnTo>
                          <a:pt x="226" y="11"/>
                        </a:lnTo>
                        <a:lnTo>
                          <a:pt x="226" y="12"/>
                        </a:lnTo>
                        <a:lnTo>
                          <a:pt x="226" y="13"/>
                        </a:lnTo>
                        <a:lnTo>
                          <a:pt x="225" y="13"/>
                        </a:lnTo>
                        <a:lnTo>
                          <a:pt x="224" y="13"/>
                        </a:lnTo>
                        <a:lnTo>
                          <a:pt x="223" y="13"/>
                        </a:lnTo>
                        <a:lnTo>
                          <a:pt x="222" y="13"/>
                        </a:lnTo>
                        <a:lnTo>
                          <a:pt x="222" y="15"/>
                        </a:lnTo>
                        <a:lnTo>
                          <a:pt x="221" y="18"/>
                        </a:lnTo>
                        <a:lnTo>
                          <a:pt x="220" y="22"/>
                        </a:lnTo>
                        <a:lnTo>
                          <a:pt x="220" y="25"/>
                        </a:lnTo>
                        <a:lnTo>
                          <a:pt x="218" y="24"/>
                        </a:lnTo>
                        <a:lnTo>
                          <a:pt x="215" y="23"/>
                        </a:lnTo>
                        <a:lnTo>
                          <a:pt x="210" y="23"/>
                        </a:lnTo>
                        <a:lnTo>
                          <a:pt x="210" y="24"/>
                        </a:lnTo>
                        <a:lnTo>
                          <a:pt x="210" y="26"/>
                        </a:lnTo>
                        <a:lnTo>
                          <a:pt x="210" y="29"/>
                        </a:lnTo>
                        <a:lnTo>
                          <a:pt x="210" y="32"/>
                        </a:lnTo>
                        <a:lnTo>
                          <a:pt x="208" y="32"/>
                        </a:lnTo>
                        <a:lnTo>
                          <a:pt x="207" y="32"/>
                        </a:lnTo>
                        <a:lnTo>
                          <a:pt x="206" y="33"/>
                        </a:lnTo>
                        <a:lnTo>
                          <a:pt x="205" y="34"/>
                        </a:lnTo>
                        <a:lnTo>
                          <a:pt x="204" y="36"/>
                        </a:lnTo>
                        <a:lnTo>
                          <a:pt x="203" y="39"/>
                        </a:lnTo>
                        <a:lnTo>
                          <a:pt x="205" y="39"/>
                        </a:lnTo>
                        <a:lnTo>
                          <a:pt x="206" y="40"/>
                        </a:lnTo>
                        <a:lnTo>
                          <a:pt x="207" y="42"/>
                        </a:lnTo>
                        <a:lnTo>
                          <a:pt x="206" y="42"/>
                        </a:lnTo>
                        <a:lnTo>
                          <a:pt x="205" y="42"/>
                        </a:lnTo>
                        <a:lnTo>
                          <a:pt x="203" y="42"/>
                        </a:lnTo>
                        <a:lnTo>
                          <a:pt x="203" y="43"/>
                        </a:lnTo>
                        <a:lnTo>
                          <a:pt x="202" y="44"/>
                        </a:lnTo>
                        <a:lnTo>
                          <a:pt x="200" y="45"/>
                        </a:lnTo>
                        <a:lnTo>
                          <a:pt x="199" y="45"/>
                        </a:lnTo>
                        <a:lnTo>
                          <a:pt x="198" y="45"/>
                        </a:lnTo>
                        <a:lnTo>
                          <a:pt x="197" y="45"/>
                        </a:lnTo>
                        <a:lnTo>
                          <a:pt x="197" y="42"/>
                        </a:lnTo>
                        <a:lnTo>
                          <a:pt x="187" y="42"/>
                        </a:lnTo>
                        <a:lnTo>
                          <a:pt x="186" y="43"/>
                        </a:lnTo>
                        <a:lnTo>
                          <a:pt x="185" y="44"/>
                        </a:lnTo>
                        <a:lnTo>
                          <a:pt x="183" y="48"/>
                        </a:lnTo>
                        <a:lnTo>
                          <a:pt x="181" y="52"/>
                        </a:lnTo>
                        <a:lnTo>
                          <a:pt x="181" y="54"/>
                        </a:lnTo>
                        <a:lnTo>
                          <a:pt x="181" y="59"/>
                        </a:lnTo>
                        <a:lnTo>
                          <a:pt x="181" y="61"/>
                        </a:lnTo>
                        <a:lnTo>
                          <a:pt x="180" y="63"/>
                        </a:lnTo>
                        <a:lnTo>
                          <a:pt x="179" y="64"/>
                        </a:lnTo>
                        <a:lnTo>
                          <a:pt x="174" y="65"/>
                        </a:lnTo>
                        <a:lnTo>
                          <a:pt x="174" y="68"/>
                        </a:lnTo>
                        <a:lnTo>
                          <a:pt x="173" y="72"/>
                        </a:lnTo>
                        <a:lnTo>
                          <a:pt x="173" y="77"/>
                        </a:lnTo>
                        <a:lnTo>
                          <a:pt x="174" y="80"/>
                        </a:lnTo>
                        <a:lnTo>
                          <a:pt x="176" y="81"/>
                        </a:lnTo>
                        <a:lnTo>
                          <a:pt x="177" y="82"/>
                        </a:lnTo>
                        <a:lnTo>
                          <a:pt x="177" y="83"/>
                        </a:lnTo>
                        <a:lnTo>
                          <a:pt x="177" y="84"/>
                        </a:lnTo>
                        <a:lnTo>
                          <a:pt x="176" y="86"/>
                        </a:lnTo>
                        <a:lnTo>
                          <a:pt x="176" y="87"/>
                        </a:lnTo>
                        <a:lnTo>
                          <a:pt x="176" y="88"/>
                        </a:lnTo>
                        <a:lnTo>
                          <a:pt x="174" y="90"/>
                        </a:lnTo>
                        <a:lnTo>
                          <a:pt x="174" y="88"/>
                        </a:lnTo>
                        <a:lnTo>
                          <a:pt x="172" y="87"/>
                        </a:lnTo>
                        <a:lnTo>
                          <a:pt x="171" y="87"/>
                        </a:lnTo>
                        <a:lnTo>
                          <a:pt x="169" y="87"/>
                        </a:lnTo>
                        <a:lnTo>
                          <a:pt x="167" y="87"/>
                        </a:lnTo>
                        <a:lnTo>
                          <a:pt x="166" y="87"/>
                        </a:lnTo>
                        <a:lnTo>
                          <a:pt x="164" y="87"/>
                        </a:lnTo>
                        <a:lnTo>
                          <a:pt x="164" y="85"/>
                        </a:lnTo>
                        <a:lnTo>
                          <a:pt x="163" y="84"/>
                        </a:lnTo>
                        <a:lnTo>
                          <a:pt x="161" y="84"/>
                        </a:lnTo>
                        <a:lnTo>
                          <a:pt x="161" y="80"/>
                        </a:lnTo>
                        <a:lnTo>
                          <a:pt x="161" y="77"/>
                        </a:lnTo>
                        <a:lnTo>
                          <a:pt x="161" y="74"/>
                        </a:lnTo>
                        <a:lnTo>
                          <a:pt x="161" y="71"/>
                        </a:lnTo>
                        <a:lnTo>
                          <a:pt x="163" y="69"/>
                        </a:lnTo>
                        <a:lnTo>
                          <a:pt x="165" y="67"/>
                        </a:lnTo>
                        <a:lnTo>
                          <a:pt x="167" y="65"/>
                        </a:lnTo>
                        <a:lnTo>
                          <a:pt x="167" y="61"/>
                        </a:lnTo>
                        <a:lnTo>
                          <a:pt x="164" y="58"/>
                        </a:lnTo>
                        <a:lnTo>
                          <a:pt x="164" y="57"/>
                        </a:lnTo>
                        <a:lnTo>
                          <a:pt x="164" y="56"/>
                        </a:lnTo>
                        <a:lnTo>
                          <a:pt x="164" y="51"/>
                        </a:lnTo>
                        <a:lnTo>
                          <a:pt x="164" y="50"/>
                        </a:lnTo>
                        <a:lnTo>
                          <a:pt x="164" y="48"/>
                        </a:lnTo>
                        <a:lnTo>
                          <a:pt x="161" y="48"/>
                        </a:lnTo>
                        <a:lnTo>
                          <a:pt x="160" y="49"/>
                        </a:lnTo>
                        <a:lnTo>
                          <a:pt x="158" y="52"/>
                        </a:lnTo>
                        <a:lnTo>
                          <a:pt x="158" y="55"/>
                        </a:lnTo>
                        <a:lnTo>
                          <a:pt x="158" y="58"/>
                        </a:lnTo>
                        <a:lnTo>
                          <a:pt x="156" y="58"/>
                        </a:lnTo>
                        <a:lnTo>
                          <a:pt x="155" y="58"/>
                        </a:lnTo>
                        <a:lnTo>
                          <a:pt x="153" y="56"/>
                        </a:lnTo>
                        <a:lnTo>
                          <a:pt x="152" y="54"/>
                        </a:lnTo>
                        <a:lnTo>
                          <a:pt x="152" y="53"/>
                        </a:lnTo>
                        <a:lnTo>
                          <a:pt x="152" y="51"/>
                        </a:lnTo>
                        <a:lnTo>
                          <a:pt x="148" y="51"/>
                        </a:lnTo>
                        <a:lnTo>
                          <a:pt x="147" y="54"/>
                        </a:lnTo>
                        <a:lnTo>
                          <a:pt x="147" y="56"/>
                        </a:lnTo>
                        <a:lnTo>
                          <a:pt x="147" y="57"/>
                        </a:lnTo>
                        <a:lnTo>
                          <a:pt x="146" y="57"/>
                        </a:lnTo>
                        <a:lnTo>
                          <a:pt x="145" y="57"/>
                        </a:lnTo>
                        <a:lnTo>
                          <a:pt x="141" y="58"/>
                        </a:lnTo>
                        <a:lnTo>
                          <a:pt x="141" y="60"/>
                        </a:lnTo>
                        <a:lnTo>
                          <a:pt x="140" y="61"/>
                        </a:lnTo>
                        <a:lnTo>
                          <a:pt x="138" y="61"/>
                        </a:lnTo>
                        <a:lnTo>
                          <a:pt x="140" y="62"/>
                        </a:lnTo>
                        <a:lnTo>
                          <a:pt x="139" y="63"/>
                        </a:lnTo>
                        <a:lnTo>
                          <a:pt x="139" y="64"/>
                        </a:lnTo>
                        <a:lnTo>
                          <a:pt x="138" y="65"/>
                        </a:lnTo>
                        <a:lnTo>
                          <a:pt x="141" y="67"/>
                        </a:lnTo>
                        <a:lnTo>
                          <a:pt x="143" y="68"/>
                        </a:lnTo>
                        <a:lnTo>
                          <a:pt x="146" y="69"/>
                        </a:lnTo>
                        <a:lnTo>
                          <a:pt x="148" y="71"/>
                        </a:lnTo>
                        <a:lnTo>
                          <a:pt x="148" y="75"/>
                        </a:lnTo>
                        <a:lnTo>
                          <a:pt x="148" y="78"/>
                        </a:lnTo>
                        <a:lnTo>
                          <a:pt x="148" y="84"/>
                        </a:lnTo>
                        <a:lnTo>
                          <a:pt x="150" y="85"/>
                        </a:lnTo>
                        <a:lnTo>
                          <a:pt x="151" y="85"/>
                        </a:lnTo>
                        <a:lnTo>
                          <a:pt x="151" y="86"/>
                        </a:lnTo>
                        <a:lnTo>
                          <a:pt x="152" y="87"/>
                        </a:lnTo>
                        <a:lnTo>
                          <a:pt x="152" y="88"/>
                        </a:lnTo>
                        <a:lnTo>
                          <a:pt x="152" y="89"/>
                        </a:lnTo>
                        <a:lnTo>
                          <a:pt x="152" y="90"/>
                        </a:lnTo>
                        <a:lnTo>
                          <a:pt x="156" y="91"/>
                        </a:lnTo>
                        <a:lnTo>
                          <a:pt x="158" y="92"/>
                        </a:lnTo>
                        <a:lnTo>
                          <a:pt x="158" y="94"/>
                        </a:lnTo>
                        <a:lnTo>
                          <a:pt x="156" y="97"/>
                        </a:lnTo>
                        <a:lnTo>
                          <a:pt x="157" y="99"/>
                        </a:lnTo>
                        <a:lnTo>
                          <a:pt x="159" y="99"/>
                        </a:lnTo>
                        <a:lnTo>
                          <a:pt x="164" y="99"/>
                        </a:lnTo>
                        <a:lnTo>
                          <a:pt x="164" y="100"/>
                        </a:lnTo>
                        <a:lnTo>
                          <a:pt x="164" y="101"/>
                        </a:lnTo>
                        <a:lnTo>
                          <a:pt x="164" y="102"/>
                        </a:lnTo>
                        <a:lnTo>
                          <a:pt x="164" y="103"/>
                        </a:lnTo>
                        <a:lnTo>
                          <a:pt x="163" y="103"/>
                        </a:lnTo>
                        <a:lnTo>
                          <a:pt x="162" y="103"/>
                        </a:lnTo>
                        <a:lnTo>
                          <a:pt x="161" y="104"/>
                        </a:lnTo>
                        <a:lnTo>
                          <a:pt x="161" y="106"/>
                        </a:lnTo>
                        <a:lnTo>
                          <a:pt x="160" y="110"/>
                        </a:lnTo>
                        <a:lnTo>
                          <a:pt x="158" y="114"/>
                        </a:lnTo>
                        <a:lnTo>
                          <a:pt x="157" y="118"/>
                        </a:lnTo>
                        <a:lnTo>
                          <a:pt x="155" y="120"/>
                        </a:lnTo>
                        <a:lnTo>
                          <a:pt x="152" y="121"/>
                        </a:lnTo>
                        <a:lnTo>
                          <a:pt x="149" y="122"/>
                        </a:lnTo>
                        <a:lnTo>
                          <a:pt x="146" y="122"/>
                        </a:lnTo>
                        <a:lnTo>
                          <a:pt x="145" y="122"/>
                        </a:lnTo>
                        <a:lnTo>
                          <a:pt x="146" y="124"/>
                        </a:lnTo>
                        <a:lnTo>
                          <a:pt x="148" y="125"/>
                        </a:lnTo>
                        <a:lnTo>
                          <a:pt x="150" y="127"/>
                        </a:lnTo>
                        <a:lnTo>
                          <a:pt x="149" y="128"/>
                        </a:lnTo>
                        <a:lnTo>
                          <a:pt x="149" y="129"/>
                        </a:lnTo>
                        <a:lnTo>
                          <a:pt x="148" y="129"/>
                        </a:lnTo>
                        <a:lnTo>
                          <a:pt x="143" y="128"/>
                        </a:lnTo>
                        <a:lnTo>
                          <a:pt x="141" y="127"/>
                        </a:lnTo>
                        <a:lnTo>
                          <a:pt x="138" y="125"/>
                        </a:lnTo>
                        <a:lnTo>
                          <a:pt x="138" y="126"/>
                        </a:lnTo>
                        <a:lnTo>
                          <a:pt x="138" y="127"/>
                        </a:lnTo>
                        <a:lnTo>
                          <a:pt x="137" y="128"/>
                        </a:lnTo>
                        <a:lnTo>
                          <a:pt x="136" y="129"/>
                        </a:lnTo>
                        <a:lnTo>
                          <a:pt x="135" y="129"/>
                        </a:lnTo>
                        <a:lnTo>
                          <a:pt x="134" y="131"/>
                        </a:lnTo>
                        <a:lnTo>
                          <a:pt x="133" y="133"/>
                        </a:lnTo>
                        <a:lnTo>
                          <a:pt x="132" y="135"/>
                        </a:lnTo>
                        <a:lnTo>
                          <a:pt x="136" y="135"/>
                        </a:lnTo>
                        <a:lnTo>
                          <a:pt x="138" y="135"/>
                        </a:lnTo>
                        <a:lnTo>
                          <a:pt x="138" y="136"/>
                        </a:lnTo>
                        <a:lnTo>
                          <a:pt x="138" y="137"/>
                        </a:lnTo>
                        <a:lnTo>
                          <a:pt x="138" y="138"/>
                        </a:lnTo>
                        <a:lnTo>
                          <a:pt x="138" y="139"/>
                        </a:lnTo>
                        <a:lnTo>
                          <a:pt x="138" y="141"/>
                        </a:lnTo>
                        <a:lnTo>
                          <a:pt x="136" y="142"/>
                        </a:lnTo>
                        <a:lnTo>
                          <a:pt x="134" y="144"/>
                        </a:lnTo>
                        <a:lnTo>
                          <a:pt x="132" y="145"/>
                        </a:lnTo>
                        <a:lnTo>
                          <a:pt x="130" y="145"/>
                        </a:lnTo>
                        <a:lnTo>
                          <a:pt x="126" y="144"/>
                        </a:lnTo>
                        <a:lnTo>
                          <a:pt x="126" y="146"/>
                        </a:lnTo>
                        <a:lnTo>
                          <a:pt x="126" y="148"/>
                        </a:lnTo>
                        <a:lnTo>
                          <a:pt x="126" y="150"/>
                        </a:lnTo>
                        <a:lnTo>
                          <a:pt x="126" y="151"/>
                        </a:lnTo>
                        <a:lnTo>
                          <a:pt x="136" y="151"/>
                        </a:lnTo>
                        <a:lnTo>
                          <a:pt x="137" y="151"/>
                        </a:lnTo>
                        <a:lnTo>
                          <a:pt x="138" y="150"/>
                        </a:lnTo>
                        <a:lnTo>
                          <a:pt x="139" y="150"/>
                        </a:lnTo>
                        <a:lnTo>
                          <a:pt x="141" y="151"/>
                        </a:lnTo>
                        <a:lnTo>
                          <a:pt x="143" y="152"/>
                        </a:lnTo>
                        <a:lnTo>
                          <a:pt x="145" y="153"/>
                        </a:lnTo>
                        <a:lnTo>
                          <a:pt x="147" y="154"/>
                        </a:lnTo>
                        <a:lnTo>
                          <a:pt x="148" y="155"/>
                        </a:lnTo>
                        <a:lnTo>
                          <a:pt x="149" y="155"/>
                        </a:lnTo>
                        <a:lnTo>
                          <a:pt x="150" y="155"/>
                        </a:lnTo>
                        <a:lnTo>
                          <a:pt x="151" y="155"/>
                        </a:lnTo>
                        <a:lnTo>
                          <a:pt x="152" y="155"/>
                        </a:lnTo>
                        <a:lnTo>
                          <a:pt x="153" y="154"/>
                        </a:lnTo>
                        <a:lnTo>
                          <a:pt x="154" y="153"/>
                        </a:lnTo>
                        <a:lnTo>
                          <a:pt x="155" y="152"/>
                        </a:lnTo>
                        <a:lnTo>
                          <a:pt x="155" y="151"/>
                        </a:lnTo>
                        <a:lnTo>
                          <a:pt x="158" y="151"/>
                        </a:lnTo>
                        <a:lnTo>
                          <a:pt x="158" y="149"/>
                        </a:lnTo>
                        <a:lnTo>
                          <a:pt x="157" y="146"/>
                        </a:lnTo>
                        <a:lnTo>
                          <a:pt x="155" y="144"/>
                        </a:lnTo>
                        <a:lnTo>
                          <a:pt x="155" y="142"/>
                        </a:lnTo>
                        <a:lnTo>
                          <a:pt x="157" y="142"/>
                        </a:lnTo>
                        <a:lnTo>
                          <a:pt x="158" y="142"/>
                        </a:lnTo>
                        <a:lnTo>
                          <a:pt x="160" y="142"/>
                        </a:lnTo>
                        <a:lnTo>
                          <a:pt x="161" y="142"/>
                        </a:lnTo>
                        <a:lnTo>
                          <a:pt x="162" y="140"/>
                        </a:lnTo>
                        <a:lnTo>
                          <a:pt x="163" y="139"/>
                        </a:lnTo>
                        <a:lnTo>
                          <a:pt x="164" y="139"/>
                        </a:lnTo>
                        <a:lnTo>
                          <a:pt x="166" y="139"/>
                        </a:lnTo>
                        <a:lnTo>
                          <a:pt x="167" y="139"/>
                        </a:lnTo>
                        <a:lnTo>
                          <a:pt x="168" y="138"/>
                        </a:lnTo>
                        <a:lnTo>
                          <a:pt x="169" y="135"/>
                        </a:lnTo>
                        <a:lnTo>
                          <a:pt x="170" y="133"/>
                        </a:lnTo>
                        <a:lnTo>
                          <a:pt x="171" y="132"/>
                        </a:lnTo>
                        <a:lnTo>
                          <a:pt x="173" y="134"/>
                        </a:lnTo>
                        <a:lnTo>
                          <a:pt x="175" y="135"/>
                        </a:lnTo>
                        <a:lnTo>
                          <a:pt x="177" y="135"/>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sp>
                <p:nvSpPr>
                  <p:cNvPr id="569" name="Freeform 2360">
                    <a:extLst>
                      <a:ext uri="{FF2B5EF4-FFF2-40B4-BE49-F238E27FC236}">
                        <a16:creationId xmlns:a16="http://schemas.microsoft.com/office/drawing/2014/main" xmlns="" id="{9B015112-2D27-4BE5-B78F-D8DE21E33458}"/>
                      </a:ext>
                    </a:extLst>
                  </p:cNvPr>
                  <p:cNvSpPr>
                    <a:spLocks/>
                  </p:cNvSpPr>
                  <p:nvPr/>
                </p:nvSpPr>
                <p:spPr bwMode="gray">
                  <a:xfrm>
                    <a:off x="3730033" y="2908165"/>
                    <a:ext cx="24475" cy="26698"/>
                  </a:xfrm>
                  <a:custGeom>
                    <a:avLst/>
                    <a:gdLst>
                      <a:gd name="T0" fmla="*/ 2147483647 w 22"/>
                      <a:gd name="T1" fmla="*/ 0 h 24"/>
                      <a:gd name="T2" fmla="*/ 2147483647 w 22"/>
                      <a:gd name="T3" fmla="*/ 0 h 24"/>
                      <a:gd name="T4" fmla="*/ 2147483647 w 22"/>
                      <a:gd name="T5" fmla="*/ 2147483647 h 24"/>
                      <a:gd name="T6" fmla="*/ 2147483647 w 22"/>
                      <a:gd name="T7" fmla="*/ 2147483647 h 24"/>
                      <a:gd name="T8" fmla="*/ 2147483647 w 22"/>
                      <a:gd name="T9" fmla="*/ 2147483647 h 24"/>
                      <a:gd name="T10" fmla="*/ 2147483647 w 22"/>
                      <a:gd name="T11" fmla="*/ 2147483647 h 24"/>
                      <a:gd name="T12" fmla="*/ 2147483647 w 22"/>
                      <a:gd name="T13" fmla="*/ 2147483647 h 24"/>
                      <a:gd name="T14" fmla="*/ 2147483647 w 22"/>
                      <a:gd name="T15" fmla="*/ 2147483647 h 24"/>
                      <a:gd name="T16" fmla="*/ 2147483647 w 22"/>
                      <a:gd name="T17" fmla="*/ 2147483647 h 24"/>
                      <a:gd name="T18" fmla="*/ 0 w 22"/>
                      <a:gd name="T19" fmla="*/ 2147483647 h 24"/>
                      <a:gd name="T20" fmla="*/ 0 w 22"/>
                      <a:gd name="T21" fmla="*/ 2147483647 h 24"/>
                      <a:gd name="T22" fmla="*/ 0 w 22"/>
                      <a:gd name="T23" fmla="*/ 2147483647 h 24"/>
                      <a:gd name="T24" fmla="*/ 0 w 22"/>
                      <a:gd name="T25" fmla="*/ 2147483647 h 24"/>
                      <a:gd name="T26" fmla="*/ 0 w 22"/>
                      <a:gd name="T27" fmla="*/ 2147483647 h 24"/>
                      <a:gd name="T28" fmla="*/ 0 w 22"/>
                      <a:gd name="T29" fmla="*/ 2147483647 h 24"/>
                      <a:gd name="T30" fmla="*/ 2147483647 w 22"/>
                      <a:gd name="T31" fmla="*/ 2147483647 h 24"/>
                      <a:gd name="T32" fmla="*/ 2147483647 w 22"/>
                      <a:gd name="T33" fmla="*/ 2147483647 h 24"/>
                      <a:gd name="T34" fmla="*/ 2147483647 w 22"/>
                      <a:gd name="T35" fmla="*/ 2147483647 h 24"/>
                      <a:gd name="T36" fmla="*/ 2147483647 w 22"/>
                      <a:gd name="T37" fmla="*/ 2147483647 h 24"/>
                      <a:gd name="T38" fmla="*/ 2147483647 w 22"/>
                      <a:gd name="T39" fmla="*/ 2147483647 h 24"/>
                      <a:gd name="T40" fmla="*/ 2147483647 w 22"/>
                      <a:gd name="T41" fmla="*/ 2147483647 h 24"/>
                      <a:gd name="T42" fmla="*/ 2147483647 w 22"/>
                      <a:gd name="T43" fmla="*/ 2147483647 h 24"/>
                      <a:gd name="T44" fmla="*/ 2147483647 w 22"/>
                      <a:gd name="T45" fmla="*/ 2147483647 h 24"/>
                      <a:gd name="T46" fmla="*/ 2147483647 w 22"/>
                      <a:gd name="T47" fmla="*/ 2147483647 h 24"/>
                      <a:gd name="T48" fmla="*/ 2147483647 w 22"/>
                      <a:gd name="T49" fmla="*/ 2147483647 h 24"/>
                      <a:gd name="T50" fmla="*/ 2147483647 w 22"/>
                      <a:gd name="T51" fmla="*/ 2147483647 h 24"/>
                      <a:gd name="T52" fmla="*/ 2147483647 w 22"/>
                      <a:gd name="T53" fmla="*/ 2147483647 h 24"/>
                      <a:gd name="T54" fmla="*/ 2147483647 w 22"/>
                      <a:gd name="T55" fmla="*/ 2147483647 h 24"/>
                      <a:gd name="T56" fmla="*/ 2147483647 w 22"/>
                      <a:gd name="T57" fmla="*/ 2147483647 h 24"/>
                      <a:gd name="T58" fmla="*/ 2147483647 w 22"/>
                      <a:gd name="T59" fmla="*/ 2147483647 h 24"/>
                      <a:gd name="T60" fmla="*/ 2147483647 w 22"/>
                      <a:gd name="T61" fmla="*/ 2147483647 h 24"/>
                      <a:gd name="T62" fmla="*/ 2147483647 w 22"/>
                      <a:gd name="T63" fmla="*/ 2147483647 h 24"/>
                      <a:gd name="T64" fmla="*/ 2147483647 w 22"/>
                      <a:gd name="T65" fmla="*/ 2147483647 h 24"/>
                      <a:gd name="T66" fmla="*/ 2147483647 w 22"/>
                      <a:gd name="T67" fmla="*/ 0 h 24"/>
                      <a:gd name="T68" fmla="*/ 2147483647 w 22"/>
                      <a:gd name="T69" fmla="*/ 0 h 24"/>
                      <a:gd name="T70" fmla="*/ 2147483647 w 22"/>
                      <a:gd name="T71" fmla="*/ 0 h 24"/>
                      <a:gd name="T72" fmla="*/ 2147483647 w 22"/>
                      <a:gd name="T73" fmla="*/ 0 h 24"/>
                      <a:gd name="T74" fmla="*/ 2147483647 w 22"/>
                      <a:gd name="T75" fmla="*/ 0 h 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2" h="24">
                        <a:moveTo>
                          <a:pt x="18" y="0"/>
                        </a:moveTo>
                        <a:lnTo>
                          <a:pt x="16" y="0"/>
                        </a:lnTo>
                        <a:lnTo>
                          <a:pt x="14" y="2"/>
                        </a:lnTo>
                        <a:lnTo>
                          <a:pt x="13" y="3"/>
                        </a:lnTo>
                        <a:lnTo>
                          <a:pt x="12" y="5"/>
                        </a:lnTo>
                        <a:lnTo>
                          <a:pt x="8" y="6"/>
                        </a:lnTo>
                        <a:lnTo>
                          <a:pt x="5" y="6"/>
                        </a:lnTo>
                        <a:lnTo>
                          <a:pt x="2" y="6"/>
                        </a:lnTo>
                        <a:lnTo>
                          <a:pt x="1" y="7"/>
                        </a:lnTo>
                        <a:lnTo>
                          <a:pt x="0" y="9"/>
                        </a:lnTo>
                        <a:lnTo>
                          <a:pt x="0" y="13"/>
                        </a:lnTo>
                        <a:lnTo>
                          <a:pt x="0" y="15"/>
                        </a:lnTo>
                        <a:lnTo>
                          <a:pt x="0" y="18"/>
                        </a:lnTo>
                        <a:lnTo>
                          <a:pt x="0" y="22"/>
                        </a:lnTo>
                        <a:lnTo>
                          <a:pt x="1" y="22"/>
                        </a:lnTo>
                        <a:lnTo>
                          <a:pt x="3" y="22"/>
                        </a:lnTo>
                        <a:lnTo>
                          <a:pt x="3" y="23"/>
                        </a:lnTo>
                        <a:lnTo>
                          <a:pt x="4" y="23"/>
                        </a:lnTo>
                        <a:lnTo>
                          <a:pt x="5" y="24"/>
                        </a:lnTo>
                        <a:lnTo>
                          <a:pt x="5" y="22"/>
                        </a:lnTo>
                        <a:lnTo>
                          <a:pt x="7" y="21"/>
                        </a:lnTo>
                        <a:lnTo>
                          <a:pt x="9" y="20"/>
                        </a:lnTo>
                        <a:lnTo>
                          <a:pt x="10" y="20"/>
                        </a:lnTo>
                        <a:lnTo>
                          <a:pt x="12" y="19"/>
                        </a:lnTo>
                        <a:lnTo>
                          <a:pt x="13" y="18"/>
                        </a:lnTo>
                        <a:lnTo>
                          <a:pt x="14" y="17"/>
                        </a:lnTo>
                        <a:lnTo>
                          <a:pt x="15" y="16"/>
                        </a:lnTo>
                        <a:lnTo>
                          <a:pt x="16" y="15"/>
                        </a:lnTo>
                        <a:lnTo>
                          <a:pt x="17" y="13"/>
                        </a:lnTo>
                        <a:lnTo>
                          <a:pt x="20" y="10"/>
                        </a:lnTo>
                        <a:lnTo>
                          <a:pt x="22" y="5"/>
                        </a:lnTo>
                        <a:lnTo>
                          <a:pt x="21" y="0"/>
                        </a:lnTo>
                        <a:lnTo>
                          <a:pt x="20" y="0"/>
                        </a:lnTo>
                        <a:lnTo>
                          <a:pt x="18" y="0"/>
                        </a:lnTo>
                        <a:close/>
                      </a:path>
                    </a:pathLst>
                  </a:custGeom>
                  <a:solidFill>
                    <a:srgbClr val="EAEAEA"/>
                  </a:solidFill>
                  <a:ln w="6350" cap="flat" cmpd="sng">
                    <a:solidFill>
                      <a:srgbClr val="C0C0C0"/>
                    </a:solidFill>
                    <a:prstDash val="solid"/>
                    <a:round/>
                    <a:headEnd type="none" w="med" len="med"/>
                    <a:tailEnd type="none" w="med" len="med"/>
                  </a:ln>
                </p:spPr>
                <p:txBody>
                  <a:bodyPr lIns="72000" tIns="72000" rIns="72000" bIns="72000" anchor="ctr"/>
                  <a:lstStyle/>
                  <a:p>
                    <a:pPr algn="ctr"/>
                    <a:endParaRPr lang="en-US" sz="1100" b="1" dirty="0">
                      <a:solidFill>
                        <a:srgbClr val="5E5E5E"/>
                      </a:solidFill>
                    </a:endParaRPr>
                  </a:p>
                </p:txBody>
              </p:sp>
              <p:cxnSp>
                <p:nvCxnSpPr>
                  <p:cNvPr id="570" name="Straight Connector 998">
                    <a:extLst>
                      <a:ext uri="{FF2B5EF4-FFF2-40B4-BE49-F238E27FC236}">
                        <a16:creationId xmlns:a16="http://schemas.microsoft.com/office/drawing/2014/main" xmlns="" id="{436934B9-BC85-4316-BDBA-FDC7D834ACB8}"/>
                      </a:ext>
                    </a:extLst>
                  </p:cNvPr>
                  <p:cNvCxnSpPr/>
                  <p:nvPr/>
                </p:nvCxnSpPr>
                <p:spPr bwMode="gray">
                  <a:xfrm>
                    <a:off x="3998138" y="3128186"/>
                    <a:ext cx="144622" cy="8344"/>
                  </a:xfrm>
                  <a:prstGeom prst="line">
                    <a:avLst/>
                  </a:prstGeom>
                  <a:solidFill>
                    <a:schemeClr val="folHlink"/>
                  </a:solidFill>
                  <a:ln w="19050" cap="flat" cmpd="sng" algn="ctr">
                    <a:solidFill>
                      <a:schemeClr val="accent3"/>
                    </a:solidFill>
                    <a:prstDash val="solid"/>
                    <a:round/>
                    <a:headEnd type="oval" w="sm" len="sm"/>
                    <a:tailEnd type="oval"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1" name="Straight Connector 999">
                    <a:extLst>
                      <a:ext uri="{FF2B5EF4-FFF2-40B4-BE49-F238E27FC236}">
                        <a16:creationId xmlns:a16="http://schemas.microsoft.com/office/drawing/2014/main" xmlns="" id="{4304F30B-4D27-4D23-BEE5-C025FAB667B4}"/>
                      </a:ext>
                    </a:extLst>
                  </p:cNvPr>
                  <p:cNvCxnSpPr>
                    <a:stCxn id="575" idx="31"/>
                  </p:cNvCxnSpPr>
                  <p:nvPr/>
                </p:nvCxnSpPr>
                <p:spPr bwMode="gray">
                  <a:xfrm flipH="1">
                    <a:off x="4533235" y="3115731"/>
                    <a:ext cx="47178" cy="321941"/>
                  </a:xfrm>
                  <a:prstGeom prst="line">
                    <a:avLst/>
                  </a:prstGeom>
                  <a:solidFill>
                    <a:schemeClr val="folHlink"/>
                  </a:solidFill>
                  <a:ln w="9525" cap="flat" cmpd="sng" algn="ctr">
                    <a:solidFill>
                      <a:schemeClr val="accent3"/>
                    </a:solidFill>
                    <a:prstDash val="solid"/>
                    <a:round/>
                    <a:headEnd type="oval" w="sm" len="sm"/>
                    <a:tailEnd type="oval"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2" name="Straight Connector 1000">
                    <a:extLst>
                      <a:ext uri="{FF2B5EF4-FFF2-40B4-BE49-F238E27FC236}">
                        <a16:creationId xmlns:a16="http://schemas.microsoft.com/office/drawing/2014/main" xmlns="" id="{EA077D95-674A-4FDD-9146-DDD9EE400CDC}"/>
                      </a:ext>
                    </a:extLst>
                  </p:cNvPr>
                  <p:cNvCxnSpPr/>
                  <p:nvPr/>
                </p:nvCxnSpPr>
                <p:spPr bwMode="gray">
                  <a:xfrm>
                    <a:off x="4248587" y="3595727"/>
                    <a:ext cx="44410" cy="147856"/>
                  </a:xfrm>
                  <a:prstGeom prst="line">
                    <a:avLst/>
                  </a:prstGeom>
                  <a:solidFill>
                    <a:schemeClr val="folHlink"/>
                  </a:solidFill>
                  <a:ln w="19050" cap="flat" cmpd="sng" algn="ctr">
                    <a:solidFill>
                      <a:schemeClr val="accent3"/>
                    </a:solidFill>
                    <a:prstDash val="solid"/>
                    <a:round/>
                    <a:headEnd type="oval" w="sm" len="sm"/>
                    <a:tailEnd type="oval"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3" name="TextBox 1001">
                    <a:extLst>
                      <a:ext uri="{FF2B5EF4-FFF2-40B4-BE49-F238E27FC236}">
                        <a16:creationId xmlns:a16="http://schemas.microsoft.com/office/drawing/2014/main" xmlns="" id="{85A0A1A7-7DAB-4FB5-9F4A-CBC69E468DDE}"/>
                      </a:ext>
                    </a:extLst>
                  </p:cNvPr>
                  <p:cNvSpPr txBox="1"/>
                  <p:nvPr/>
                </p:nvSpPr>
                <p:spPr bwMode="gray">
                  <a:xfrm>
                    <a:off x="3944173" y="2936477"/>
                    <a:ext cx="303049" cy="151092"/>
                  </a:xfrm>
                  <a:prstGeom prst="rect">
                    <a:avLst/>
                  </a:prstGeom>
                  <a:noFill/>
                  <a:ln w="6350">
                    <a:noFill/>
                  </a:ln>
                </p:spPr>
                <p:txBody>
                  <a:bodyPr wrap="square" lIns="0" tIns="0" rIns="0" bIns="0" rtlCol="0">
                    <a:spAutoFit/>
                  </a:bodyPr>
                  <a:lstStyle/>
                  <a:p>
                    <a:pPr algn="ctr"/>
                    <a:r>
                      <a:rPr lang="en-US" sz="400" b="1" dirty="0">
                        <a:solidFill>
                          <a:srgbClr val="0097EE"/>
                        </a:solidFill>
                      </a:rPr>
                      <a:t>BBL</a:t>
                    </a:r>
                  </a:p>
                </p:txBody>
              </p:sp>
              <p:sp>
                <p:nvSpPr>
                  <p:cNvPr id="574" name="TextBox 1002">
                    <a:extLst>
                      <a:ext uri="{FF2B5EF4-FFF2-40B4-BE49-F238E27FC236}">
                        <a16:creationId xmlns:a16="http://schemas.microsoft.com/office/drawing/2014/main" xmlns="" id="{5BBE7B4B-8A03-456C-9D06-93562F07B2E6}"/>
                      </a:ext>
                    </a:extLst>
                  </p:cNvPr>
                  <p:cNvSpPr txBox="1"/>
                  <p:nvPr/>
                </p:nvSpPr>
                <p:spPr bwMode="gray">
                  <a:xfrm>
                    <a:off x="4657928" y="3188297"/>
                    <a:ext cx="462176" cy="173088"/>
                  </a:xfrm>
                  <a:prstGeom prst="rect">
                    <a:avLst/>
                  </a:prstGeom>
                  <a:noFill/>
                  <a:ln w="6350">
                    <a:noFill/>
                  </a:ln>
                </p:spPr>
                <p:txBody>
                  <a:bodyPr wrap="square" lIns="0" tIns="0" rIns="0" bIns="0" rtlCol="0" anchor="ctr">
                    <a:noAutofit/>
                  </a:bodyPr>
                  <a:lstStyle>
                    <a:defPPr>
                      <a:defRPr lang="de-DE"/>
                    </a:defPPr>
                    <a:lvl1pPr algn="ctr">
                      <a:defRPr sz="800" b="1" baseline="0">
                        <a:solidFill>
                          <a:schemeClr val="accent5"/>
                        </a:solidFill>
                        <a:ea typeface="+mj-ea"/>
                      </a:defRPr>
                    </a:lvl1pPr>
                  </a:lstStyle>
                  <a:p>
                    <a:r>
                      <a:rPr lang="en-US" sz="400" dirty="0">
                        <a:solidFill>
                          <a:srgbClr val="0097EE"/>
                        </a:solidFill>
                      </a:rPr>
                      <a:t>OPAL</a:t>
                    </a:r>
                  </a:p>
                </p:txBody>
              </p:sp>
              <p:sp>
                <p:nvSpPr>
                  <p:cNvPr id="575" name="Freeform 1003">
                    <a:extLst>
                      <a:ext uri="{FF2B5EF4-FFF2-40B4-BE49-F238E27FC236}">
                        <a16:creationId xmlns:a16="http://schemas.microsoft.com/office/drawing/2014/main" xmlns="" id="{033A60A1-AF92-4CD5-A38C-D254F1D85088}"/>
                      </a:ext>
                    </a:extLst>
                  </p:cNvPr>
                  <p:cNvSpPr/>
                  <p:nvPr/>
                </p:nvSpPr>
                <p:spPr bwMode="gray">
                  <a:xfrm>
                    <a:off x="4580414" y="2559080"/>
                    <a:ext cx="651932" cy="557091"/>
                  </a:xfrm>
                  <a:custGeom>
                    <a:avLst/>
                    <a:gdLst>
                      <a:gd name="connsiteX0" fmla="*/ 1362075 w 1362075"/>
                      <a:gd name="connsiteY0" fmla="*/ 0 h 1058112"/>
                      <a:gd name="connsiteX1" fmla="*/ 1362075 w 1362075"/>
                      <a:gd name="connsiteY1" fmla="*/ 0 h 1058112"/>
                      <a:gd name="connsiteX2" fmla="*/ 1276350 w 1362075"/>
                      <a:gd name="connsiteY2" fmla="*/ 19050 h 1058112"/>
                      <a:gd name="connsiteX3" fmla="*/ 1247775 w 1362075"/>
                      <a:gd name="connsiteY3" fmla="*/ 38100 h 1058112"/>
                      <a:gd name="connsiteX4" fmla="*/ 1162050 w 1362075"/>
                      <a:gd name="connsiteY4" fmla="*/ 57150 h 1058112"/>
                      <a:gd name="connsiteX5" fmla="*/ 1104900 w 1362075"/>
                      <a:gd name="connsiteY5" fmla="*/ 76200 h 1058112"/>
                      <a:gd name="connsiteX6" fmla="*/ 1066800 w 1362075"/>
                      <a:gd name="connsiteY6" fmla="*/ 95250 h 1058112"/>
                      <a:gd name="connsiteX7" fmla="*/ 990600 w 1362075"/>
                      <a:gd name="connsiteY7" fmla="*/ 114300 h 1058112"/>
                      <a:gd name="connsiteX8" fmla="*/ 904875 w 1362075"/>
                      <a:gd name="connsiteY8" fmla="*/ 142875 h 1058112"/>
                      <a:gd name="connsiteX9" fmla="*/ 876300 w 1362075"/>
                      <a:gd name="connsiteY9" fmla="*/ 161925 h 1058112"/>
                      <a:gd name="connsiteX10" fmla="*/ 847725 w 1362075"/>
                      <a:gd name="connsiteY10" fmla="*/ 171450 h 1058112"/>
                      <a:gd name="connsiteX11" fmla="*/ 762000 w 1362075"/>
                      <a:gd name="connsiteY11" fmla="*/ 219075 h 1058112"/>
                      <a:gd name="connsiteX12" fmla="*/ 733425 w 1362075"/>
                      <a:gd name="connsiteY12" fmla="*/ 247650 h 1058112"/>
                      <a:gd name="connsiteX13" fmla="*/ 704850 w 1362075"/>
                      <a:gd name="connsiteY13" fmla="*/ 266700 h 1058112"/>
                      <a:gd name="connsiteX14" fmla="*/ 676275 w 1362075"/>
                      <a:gd name="connsiteY14" fmla="*/ 323850 h 1058112"/>
                      <a:gd name="connsiteX15" fmla="*/ 638175 w 1362075"/>
                      <a:gd name="connsiteY15" fmla="*/ 381000 h 1058112"/>
                      <a:gd name="connsiteX16" fmla="*/ 561975 w 1362075"/>
                      <a:gd name="connsiteY16" fmla="*/ 495300 h 1058112"/>
                      <a:gd name="connsiteX17" fmla="*/ 533400 w 1362075"/>
                      <a:gd name="connsiteY17" fmla="*/ 523875 h 1058112"/>
                      <a:gd name="connsiteX18" fmla="*/ 495300 w 1362075"/>
                      <a:gd name="connsiteY18" fmla="*/ 581025 h 1058112"/>
                      <a:gd name="connsiteX19" fmla="*/ 485775 w 1362075"/>
                      <a:gd name="connsiteY19" fmla="*/ 609600 h 1058112"/>
                      <a:gd name="connsiteX20" fmla="*/ 466725 w 1362075"/>
                      <a:gd name="connsiteY20" fmla="*/ 638175 h 1058112"/>
                      <a:gd name="connsiteX21" fmla="*/ 447675 w 1362075"/>
                      <a:gd name="connsiteY21" fmla="*/ 695325 h 1058112"/>
                      <a:gd name="connsiteX22" fmla="*/ 428625 w 1362075"/>
                      <a:gd name="connsiteY22" fmla="*/ 723900 h 1058112"/>
                      <a:gd name="connsiteX23" fmla="*/ 419100 w 1362075"/>
                      <a:gd name="connsiteY23" fmla="*/ 752475 h 1058112"/>
                      <a:gd name="connsiteX24" fmla="*/ 361950 w 1362075"/>
                      <a:gd name="connsiteY24" fmla="*/ 838200 h 1058112"/>
                      <a:gd name="connsiteX25" fmla="*/ 276225 w 1362075"/>
                      <a:gd name="connsiteY25" fmla="*/ 914400 h 1058112"/>
                      <a:gd name="connsiteX26" fmla="*/ 238125 w 1362075"/>
                      <a:gd name="connsiteY26" fmla="*/ 942975 h 1058112"/>
                      <a:gd name="connsiteX27" fmla="*/ 219075 w 1362075"/>
                      <a:gd name="connsiteY27" fmla="*/ 971550 h 1058112"/>
                      <a:gd name="connsiteX28" fmla="*/ 161925 w 1362075"/>
                      <a:gd name="connsiteY28" fmla="*/ 1000125 h 1058112"/>
                      <a:gd name="connsiteX29" fmla="*/ 133350 w 1362075"/>
                      <a:gd name="connsiteY29" fmla="*/ 1028700 h 1058112"/>
                      <a:gd name="connsiteX30" fmla="*/ 76200 w 1362075"/>
                      <a:gd name="connsiteY30" fmla="*/ 1047750 h 1058112"/>
                      <a:gd name="connsiteX31" fmla="*/ 0 w 1362075"/>
                      <a:gd name="connsiteY31" fmla="*/ 1057275 h 1058112"/>
                      <a:gd name="connsiteX32" fmla="*/ 0 w 1362075"/>
                      <a:gd name="connsiteY32" fmla="*/ 1047750 h 105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62075" h="1058112">
                        <a:moveTo>
                          <a:pt x="1362075" y="0"/>
                        </a:moveTo>
                        <a:lnTo>
                          <a:pt x="1362075" y="0"/>
                        </a:lnTo>
                        <a:cubicBezTo>
                          <a:pt x="1333500" y="6350"/>
                          <a:pt x="1304120" y="9793"/>
                          <a:pt x="1276350" y="19050"/>
                        </a:cubicBezTo>
                        <a:cubicBezTo>
                          <a:pt x="1265490" y="22670"/>
                          <a:pt x="1258014" y="32980"/>
                          <a:pt x="1247775" y="38100"/>
                        </a:cubicBezTo>
                        <a:cubicBezTo>
                          <a:pt x="1224327" y="49824"/>
                          <a:pt x="1184000" y="53492"/>
                          <a:pt x="1162050" y="57150"/>
                        </a:cubicBezTo>
                        <a:lnTo>
                          <a:pt x="1104900" y="76200"/>
                        </a:lnTo>
                        <a:cubicBezTo>
                          <a:pt x="1091430" y="80690"/>
                          <a:pt x="1080270" y="90760"/>
                          <a:pt x="1066800" y="95250"/>
                        </a:cubicBezTo>
                        <a:cubicBezTo>
                          <a:pt x="1041962" y="103529"/>
                          <a:pt x="1014018" y="102591"/>
                          <a:pt x="990600" y="114300"/>
                        </a:cubicBezTo>
                        <a:cubicBezTo>
                          <a:pt x="938020" y="140590"/>
                          <a:pt x="966423" y="130565"/>
                          <a:pt x="904875" y="142875"/>
                        </a:cubicBezTo>
                        <a:cubicBezTo>
                          <a:pt x="895350" y="149225"/>
                          <a:pt x="886539" y="156805"/>
                          <a:pt x="876300" y="161925"/>
                        </a:cubicBezTo>
                        <a:cubicBezTo>
                          <a:pt x="867320" y="166415"/>
                          <a:pt x="856502" y="166574"/>
                          <a:pt x="847725" y="171450"/>
                        </a:cubicBezTo>
                        <a:cubicBezTo>
                          <a:pt x="749469" y="226037"/>
                          <a:pt x="826658" y="197522"/>
                          <a:pt x="762000" y="219075"/>
                        </a:cubicBezTo>
                        <a:cubicBezTo>
                          <a:pt x="752475" y="228600"/>
                          <a:pt x="743773" y="239026"/>
                          <a:pt x="733425" y="247650"/>
                        </a:cubicBezTo>
                        <a:cubicBezTo>
                          <a:pt x="724631" y="254979"/>
                          <a:pt x="712945" y="258605"/>
                          <a:pt x="704850" y="266700"/>
                        </a:cubicBezTo>
                        <a:cubicBezTo>
                          <a:pt x="673136" y="298414"/>
                          <a:pt x="695642" y="288989"/>
                          <a:pt x="676275" y="323850"/>
                        </a:cubicBezTo>
                        <a:cubicBezTo>
                          <a:pt x="665156" y="343864"/>
                          <a:pt x="650875" y="361950"/>
                          <a:pt x="638175" y="381000"/>
                        </a:cubicBezTo>
                        <a:lnTo>
                          <a:pt x="561975" y="495300"/>
                        </a:lnTo>
                        <a:cubicBezTo>
                          <a:pt x="554503" y="506508"/>
                          <a:pt x="541670" y="513242"/>
                          <a:pt x="533400" y="523875"/>
                        </a:cubicBezTo>
                        <a:cubicBezTo>
                          <a:pt x="519344" y="541947"/>
                          <a:pt x="508000" y="561975"/>
                          <a:pt x="495300" y="581025"/>
                        </a:cubicBezTo>
                        <a:cubicBezTo>
                          <a:pt x="489731" y="589379"/>
                          <a:pt x="490265" y="600620"/>
                          <a:pt x="485775" y="609600"/>
                        </a:cubicBezTo>
                        <a:cubicBezTo>
                          <a:pt x="480655" y="619839"/>
                          <a:pt x="471374" y="627714"/>
                          <a:pt x="466725" y="638175"/>
                        </a:cubicBezTo>
                        <a:cubicBezTo>
                          <a:pt x="458570" y="656525"/>
                          <a:pt x="458814" y="678617"/>
                          <a:pt x="447675" y="695325"/>
                        </a:cubicBezTo>
                        <a:cubicBezTo>
                          <a:pt x="441325" y="704850"/>
                          <a:pt x="433745" y="713661"/>
                          <a:pt x="428625" y="723900"/>
                        </a:cubicBezTo>
                        <a:cubicBezTo>
                          <a:pt x="424135" y="732880"/>
                          <a:pt x="423976" y="743698"/>
                          <a:pt x="419100" y="752475"/>
                        </a:cubicBezTo>
                        <a:lnTo>
                          <a:pt x="361950" y="838200"/>
                        </a:lnTo>
                        <a:cubicBezTo>
                          <a:pt x="330952" y="884697"/>
                          <a:pt x="312664" y="888372"/>
                          <a:pt x="276225" y="914400"/>
                        </a:cubicBezTo>
                        <a:cubicBezTo>
                          <a:pt x="263307" y="923627"/>
                          <a:pt x="249350" y="931750"/>
                          <a:pt x="238125" y="942975"/>
                        </a:cubicBezTo>
                        <a:cubicBezTo>
                          <a:pt x="230030" y="951070"/>
                          <a:pt x="227170" y="963455"/>
                          <a:pt x="219075" y="971550"/>
                        </a:cubicBezTo>
                        <a:cubicBezTo>
                          <a:pt x="200611" y="990014"/>
                          <a:pt x="185166" y="992378"/>
                          <a:pt x="161925" y="1000125"/>
                        </a:cubicBezTo>
                        <a:cubicBezTo>
                          <a:pt x="152400" y="1009650"/>
                          <a:pt x="145125" y="1022158"/>
                          <a:pt x="133350" y="1028700"/>
                        </a:cubicBezTo>
                        <a:cubicBezTo>
                          <a:pt x="115797" y="1038452"/>
                          <a:pt x="95250" y="1041400"/>
                          <a:pt x="76200" y="1047750"/>
                        </a:cubicBezTo>
                        <a:cubicBezTo>
                          <a:pt x="32565" y="1062295"/>
                          <a:pt x="57665" y="1057275"/>
                          <a:pt x="0" y="1057275"/>
                        </a:cubicBezTo>
                        <a:lnTo>
                          <a:pt x="0" y="1047750"/>
                        </a:lnTo>
                      </a:path>
                    </a:pathLst>
                  </a:custGeom>
                  <a:noFill/>
                  <a:ln w="9525" cap="flat" cmpd="sng" algn="ctr">
                    <a:solidFill>
                      <a:schemeClr val="accent3"/>
                    </a:solidFill>
                    <a:prstDash val="dash"/>
                    <a:round/>
                    <a:headEnd type="oval" w="sm" len="sm"/>
                    <a:tailEnd type="oval"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en-US" sz="1100" b="1" dirty="0">
                      <a:solidFill>
                        <a:srgbClr val="5E5E5E"/>
                      </a:solidFill>
                    </a:endParaRPr>
                  </a:p>
                </p:txBody>
              </p:sp>
            </p:grpSp>
            <p:sp>
              <p:nvSpPr>
                <p:cNvPr id="112" name="TextBox 539">
                  <a:extLst>
                    <a:ext uri="{FF2B5EF4-FFF2-40B4-BE49-F238E27FC236}">
                      <a16:creationId xmlns:a16="http://schemas.microsoft.com/office/drawing/2014/main" xmlns="" id="{76219753-3687-4BBE-9FFF-4CA5108AFB3E}"/>
                    </a:ext>
                  </a:extLst>
                </p:cNvPr>
                <p:cNvSpPr txBox="1"/>
                <p:nvPr/>
              </p:nvSpPr>
              <p:spPr bwMode="gray">
                <a:xfrm>
                  <a:off x="4875355" y="2789809"/>
                  <a:ext cx="826526" cy="235064"/>
                </a:xfrm>
                <a:prstGeom prst="rect">
                  <a:avLst/>
                </a:prstGeom>
                <a:noFill/>
                <a:ln w="6350">
                  <a:noFill/>
                </a:ln>
              </p:spPr>
              <p:txBody>
                <a:bodyPr wrap="square" lIns="0" tIns="0" rIns="0" bIns="0" rtlCol="0">
                  <a:noAutofit/>
                </a:bodyPr>
                <a:lstStyle>
                  <a:defPPr>
                    <a:defRPr lang="de-DE"/>
                  </a:defPPr>
                  <a:lvl1pPr algn="ctr">
                    <a:defRPr sz="800" b="1" baseline="0">
                      <a:solidFill>
                        <a:schemeClr val="accent5"/>
                      </a:solidFill>
                      <a:ea typeface="+mj-ea"/>
                    </a:defRPr>
                  </a:lvl1pPr>
                </a:lstStyle>
                <a:p>
                  <a:r>
                    <a:rPr lang="en-US" sz="400" dirty="0">
                      <a:solidFill>
                        <a:srgbClr val="0097EE"/>
                      </a:solidFill>
                    </a:rPr>
                    <a:t>Nord Stream II</a:t>
                  </a:r>
                </a:p>
              </p:txBody>
            </p:sp>
          </p:grpSp>
          <p:sp>
            <p:nvSpPr>
              <p:cNvPr id="101" name="TextBox 537">
                <a:extLst>
                  <a:ext uri="{FF2B5EF4-FFF2-40B4-BE49-F238E27FC236}">
                    <a16:creationId xmlns:a16="http://schemas.microsoft.com/office/drawing/2014/main" xmlns="" id="{84A6081B-4DED-406B-A414-EEF9C7F263D0}"/>
                  </a:ext>
                </a:extLst>
              </p:cNvPr>
              <p:cNvSpPr txBox="1"/>
              <p:nvPr/>
            </p:nvSpPr>
            <p:spPr bwMode="gray">
              <a:xfrm>
                <a:off x="4403012" y="3557994"/>
                <a:ext cx="736587" cy="215444"/>
              </a:xfrm>
              <a:prstGeom prst="rect">
                <a:avLst/>
              </a:prstGeom>
              <a:noFill/>
              <a:ln w="6350">
                <a:noFill/>
              </a:ln>
            </p:spPr>
            <p:txBody>
              <a:bodyPr wrap="square" lIns="0" tIns="0" rIns="0" bIns="0" rtlCol="0" anchor="ctr">
                <a:noAutofit/>
              </a:bodyPr>
              <a:lstStyle>
                <a:defPPr>
                  <a:defRPr lang="de-DE"/>
                </a:defPPr>
                <a:lvl1pPr algn="ctr">
                  <a:defRPr sz="800" b="1" baseline="0">
                    <a:solidFill>
                      <a:schemeClr val="accent5"/>
                    </a:solidFill>
                    <a:ea typeface="+mj-ea"/>
                  </a:defRPr>
                </a:lvl1pPr>
              </a:lstStyle>
              <a:p>
                <a:r>
                  <a:rPr lang="en-US" sz="400" dirty="0">
                    <a:solidFill>
                      <a:srgbClr val="0097EE"/>
                    </a:solidFill>
                  </a:rPr>
                  <a:t>Transitgas</a:t>
                </a:r>
              </a:p>
            </p:txBody>
          </p:sp>
        </p:grpSp>
        <p:sp>
          <p:nvSpPr>
            <p:cNvPr id="74" name="TextBox 534">
              <a:extLst>
                <a:ext uri="{FF2B5EF4-FFF2-40B4-BE49-F238E27FC236}">
                  <a16:creationId xmlns:a16="http://schemas.microsoft.com/office/drawing/2014/main" xmlns="" id="{D6CEDEF5-DF17-40C9-B5A2-FCEA8484E9C4}"/>
                </a:ext>
              </a:extLst>
            </p:cNvPr>
            <p:cNvSpPr txBox="1"/>
            <p:nvPr/>
          </p:nvSpPr>
          <p:spPr bwMode="gray">
            <a:xfrm>
              <a:off x="4209852" y="3986116"/>
              <a:ext cx="400192" cy="211200"/>
            </a:xfrm>
            <a:prstGeom prst="rect">
              <a:avLst/>
            </a:prstGeom>
            <a:noFill/>
            <a:ln w="6350">
              <a:noFill/>
            </a:ln>
          </p:spPr>
          <p:txBody>
            <a:bodyPr wrap="square" lIns="0" tIns="0" rIns="0" bIns="0" rtlCol="0" anchor="ctr">
              <a:noAutofit/>
            </a:bodyPr>
            <a:lstStyle>
              <a:defPPr>
                <a:defRPr lang="de-DE"/>
              </a:defPPr>
              <a:lvl1pPr algn="ctr">
                <a:defRPr sz="800" b="1" baseline="0">
                  <a:solidFill>
                    <a:schemeClr val="accent5"/>
                  </a:solidFill>
                  <a:ea typeface="+mj-ea"/>
                </a:defRPr>
              </a:lvl1pPr>
            </a:lstStyle>
            <a:p>
              <a:r>
                <a:rPr lang="en-US" sz="400" dirty="0">
                  <a:solidFill>
                    <a:srgbClr val="0097EE"/>
                  </a:solidFill>
                </a:rPr>
                <a:t>OLT</a:t>
              </a:r>
            </a:p>
          </p:txBody>
        </p:sp>
        <p:sp>
          <p:nvSpPr>
            <p:cNvPr id="95" name="Rectangle 535">
              <a:extLst>
                <a:ext uri="{FF2B5EF4-FFF2-40B4-BE49-F238E27FC236}">
                  <a16:creationId xmlns:a16="http://schemas.microsoft.com/office/drawing/2014/main" xmlns="" id="{0D43FB21-EB67-436A-BB2E-8E380AAD1297}"/>
                </a:ext>
              </a:extLst>
            </p:cNvPr>
            <p:cNvSpPr/>
            <p:nvPr/>
          </p:nvSpPr>
          <p:spPr bwMode="gray">
            <a:xfrm>
              <a:off x="4271925" y="3905549"/>
              <a:ext cx="72000" cy="72867"/>
            </a:xfrm>
            <a:prstGeom prst="rect">
              <a:avLst/>
            </a:prstGeom>
            <a:solidFill>
              <a:schemeClr val="accent3"/>
            </a:solidFill>
            <a:ln w="9525" cap="flat" cmpd="sng" algn="ctr">
              <a:solidFill>
                <a:schemeClr val="accent3"/>
              </a:solidFill>
              <a:prstDash val="solid"/>
              <a:round/>
              <a:headEnd type="oval" w="med" len="med"/>
              <a:tailEnd type="oval" w="med" len="med"/>
            </a:ln>
            <a:effectLst/>
          </p:spPr>
          <p:txBody>
            <a:bodyPr rtlCol="0" anchor="ctr"/>
            <a:lstStyle/>
            <a:p>
              <a:pPr algn="ctr"/>
              <a:endParaRPr lang="en-GB" sz="1100" b="1" dirty="0">
                <a:solidFill>
                  <a:srgbClr val="5E5E5E"/>
                </a:solidFill>
              </a:endParaRPr>
            </a:p>
          </p:txBody>
        </p:sp>
      </p:grpSp>
      <p:sp>
        <p:nvSpPr>
          <p:cNvPr id="576" name="Inhaltsplatzhalter 2">
            <a:extLst>
              <a:ext uri="{FF2B5EF4-FFF2-40B4-BE49-F238E27FC236}">
                <a16:creationId xmlns:a16="http://schemas.microsoft.com/office/drawing/2014/main" xmlns="" id="{31F99CAC-8E31-4B3E-A80C-2D3C22FB6A70}"/>
              </a:ext>
            </a:extLst>
          </p:cNvPr>
          <p:cNvSpPr txBox="1">
            <a:spLocks/>
          </p:cNvSpPr>
          <p:nvPr/>
        </p:nvSpPr>
        <p:spPr>
          <a:xfrm>
            <a:off x="529878" y="1312345"/>
            <a:ext cx="8110122" cy="370930"/>
          </a:xfrm>
          <a:prstGeom prst="rect">
            <a:avLst/>
          </a:prstGeom>
          <a:ln>
            <a:noFill/>
          </a:ln>
          <a:extLst>
            <a:ext uri="{91240B29-F687-4F45-9708-019B960494DF}">
              <a14:hiddenLine xmlns:a14="http://schemas.microsoft.com/office/drawing/2010/main">
                <a:solidFill>
                  <a:srgbClr val="5E5E5E"/>
                </a:solidFill>
              </a14:hiddenLine>
            </a:ext>
          </a:extLst>
        </p:spPr>
        <p:txBody>
          <a:bodyPr vert="horz" lIns="0" tIns="72000" rIns="0" bIns="0" rtlCol="0">
            <a:noAutofit/>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pPr marL="85725">
              <a:spcAft>
                <a:spcPts val="0"/>
              </a:spcAft>
            </a:pPr>
            <a:r>
              <a:rPr lang="en-GB" sz="1400" b="1" dirty="0">
                <a:solidFill>
                  <a:srgbClr val="0097EE"/>
                </a:solidFill>
              </a:rPr>
              <a:t>Global Commodities: Gas value chain</a:t>
            </a:r>
            <a:endParaRPr lang="de-DE" sz="1100" b="1" baseline="30000" dirty="0">
              <a:solidFill>
                <a:srgbClr val="00A7F0"/>
              </a:solidFill>
            </a:endParaRPr>
          </a:p>
        </p:txBody>
      </p:sp>
      <p:pic>
        <p:nvPicPr>
          <p:cNvPr id="577" name="Picture 116">
            <a:extLst>
              <a:ext uri="{FF2B5EF4-FFF2-40B4-BE49-F238E27FC236}">
                <a16:creationId xmlns:a16="http://schemas.microsoft.com/office/drawing/2014/main" xmlns="" id="{133D2535-3377-44C0-9830-368BB8E1D3C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0539" r="5806" b="24109"/>
          <a:stretch/>
        </p:blipFill>
        <p:spPr bwMode="auto">
          <a:xfrm>
            <a:off x="2275840" y="1867658"/>
            <a:ext cx="1347236" cy="695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8" name="Picture 19">
            <a:extLst>
              <a:ext uri="{FF2B5EF4-FFF2-40B4-BE49-F238E27FC236}">
                <a16:creationId xmlns:a16="http://schemas.microsoft.com/office/drawing/2014/main" xmlns="" id="{D9A1052D-5460-487E-BD20-37867AA7951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45" t="26551" r="3310" b="918"/>
          <a:stretch/>
        </p:blipFill>
        <p:spPr bwMode="auto">
          <a:xfrm>
            <a:off x="589939" y="1866099"/>
            <a:ext cx="1427057" cy="695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9" name="Picture 114">
            <a:extLst>
              <a:ext uri="{FF2B5EF4-FFF2-40B4-BE49-F238E27FC236}">
                <a16:creationId xmlns:a16="http://schemas.microsoft.com/office/drawing/2014/main" xmlns="" id="{A8F490BE-8EAB-42F2-8E8D-20052171571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036" r="5813" b="31360"/>
          <a:stretch/>
        </p:blipFill>
        <p:spPr bwMode="auto">
          <a:xfrm>
            <a:off x="5516029" y="1881571"/>
            <a:ext cx="1352618" cy="668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0" name="Picture 115">
            <a:extLst>
              <a:ext uri="{FF2B5EF4-FFF2-40B4-BE49-F238E27FC236}">
                <a16:creationId xmlns:a16="http://schemas.microsoft.com/office/drawing/2014/main" xmlns="" id="{D16AB759-D898-4B7B-A2CA-2136A82E508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657" r="5806" b="26722"/>
          <a:stretch/>
        </p:blipFill>
        <p:spPr bwMode="auto">
          <a:xfrm>
            <a:off x="3870960" y="1867467"/>
            <a:ext cx="1379712" cy="695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1" name="Freeform 5">
            <a:extLst>
              <a:ext uri="{FF2B5EF4-FFF2-40B4-BE49-F238E27FC236}">
                <a16:creationId xmlns:a16="http://schemas.microsoft.com/office/drawing/2014/main" xmlns="" id="{9EF4CD97-0313-4428-B080-294C04E069B8}"/>
              </a:ext>
            </a:extLst>
          </p:cNvPr>
          <p:cNvSpPr>
            <a:spLocks/>
          </p:cNvSpPr>
          <p:nvPr/>
        </p:nvSpPr>
        <p:spPr bwMode="gray">
          <a:xfrm>
            <a:off x="7036882" y="1780674"/>
            <a:ext cx="1600608" cy="4094417"/>
          </a:xfrm>
          <a:custGeom>
            <a:avLst/>
            <a:gdLst>
              <a:gd name="T0" fmla="*/ 0 w 848"/>
              <a:gd name="T1" fmla="*/ 853 h 853"/>
              <a:gd name="T2" fmla="*/ 0 w 848"/>
              <a:gd name="T3" fmla="*/ 0 h 853"/>
              <a:gd name="T4" fmla="*/ 848 w 848"/>
              <a:gd name="T5" fmla="*/ 0 h 853"/>
              <a:gd name="T6" fmla="*/ 848 w 848"/>
              <a:gd name="T7" fmla="*/ 629 h 853"/>
              <a:gd name="T8" fmla="*/ 624 w 848"/>
              <a:gd name="T9" fmla="*/ 853 h 853"/>
              <a:gd name="T10" fmla="*/ 0 w 848"/>
              <a:gd name="T11" fmla="*/ 853 h 853"/>
            </a:gdLst>
            <a:ahLst/>
            <a:cxnLst>
              <a:cxn ang="0">
                <a:pos x="T0" y="T1"/>
              </a:cxn>
              <a:cxn ang="0">
                <a:pos x="T2" y="T3"/>
              </a:cxn>
              <a:cxn ang="0">
                <a:pos x="T4" y="T5"/>
              </a:cxn>
              <a:cxn ang="0">
                <a:pos x="T6" y="T7"/>
              </a:cxn>
              <a:cxn ang="0">
                <a:pos x="T8" y="T9"/>
              </a:cxn>
              <a:cxn ang="0">
                <a:pos x="T10" y="T11"/>
              </a:cxn>
            </a:cxnLst>
            <a:rect l="0" t="0" r="r" b="b"/>
            <a:pathLst>
              <a:path w="848" h="853">
                <a:moveTo>
                  <a:pt x="0" y="853"/>
                </a:moveTo>
                <a:cubicBezTo>
                  <a:pt x="0" y="0"/>
                  <a:pt x="0" y="0"/>
                  <a:pt x="0" y="0"/>
                </a:cubicBezTo>
                <a:cubicBezTo>
                  <a:pt x="848" y="0"/>
                  <a:pt x="848" y="0"/>
                  <a:pt x="848" y="0"/>
                </a:cubicBezTo>
                <a:cubicBezTo>
                  <a:pt x="848" y="629"/>
                  <a:pt x="848" y="629"/>
                  <a:pt x="848" y="629"/>
                </a:cubicBezTo>
                <a:cubicBezTo>
                  <a:pt x="848" y="772"/>
                  <a:pt x="792" y="853"/>
                  <a:pt x="624" y="853"/>
                </a:cubicBezTo>
                <a:lnTo>
                  <a:pt x="0" y="853"/>
                </a:lnTo>
                <a:close/>
              </a:path>
            </a:pathLst>
          </a:custGeom>
          <a:solidFill>
            <a:srgbClr val="E6F4FE"/>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1296000" rIns="90000" bIns="36000" rtlCol="0" anchor="t" anchorCtr="0"/>
          <a:lstStyle/>
          <a:p>
            <a:pPr marL="179388" lvl="1" indent="-179388" fontAlgn="base">
              <a:spcAft>
                <a:spcPts val="300"/>
              </a:spcAft>
              <a:buClr>
                <a:srgbClr val="0078DC"/>
              </a:buClr>
              <a:buSzPct val="100000"/>
              <a:buFont typeface="Wingdings"/>
              <a:buChar char=""/>
            </a:pPr>
            <a:r>
              <a:rPr lang="en-GB" sz="1050" dirty="0">
                <a:solidFill>
                  <a:srgbClr val="5E5E5E"/>
                </a:solidFill>
              </a:rPr>
              <a:t>Gas Sales of in total ~1,700 </a:t>
            </a:r>
            <a:r>
              <a:rPr lang="en-GB" sz="1050" dirty="0" err="1">
                <a:solidFill>
                  <a:srgbClr val="5E5E5E"/>
                </a:solidFill>
              </a:rPr>
              <a:t>TWh</a:t>
            </a:r>
            <a:r>
              <a:rPr lang="en-GB" sz="1050" dirty="0">
                <a:solidFill>
                  <a:srgbClr val="5E5E5E"/>
                </a:solidFill>
              </a:rPr>
              <a:t>, thereof around 20%</a:t>
            </a:r>
            <a:r>
              <a:rPr lang="en-GB" sz="1050" baseline="30000" dirty="0">
                <a:solidFill>
                  <a:srgbClr val="5E5E5E"/>
                </a:solidFill>
              </a:rPr>
              <a:t>2</a:t>
            </a:r>
            <a:r>
              <a:rPr lang="en-GB" sz="1050" dirty="0">
                <a:solidFill>
                  <a:srgbClr val="5E5E5E"/>
                </a:solidFill>
              </a:rPr>
              <a:t> con-</a:t>
            </a:r>
            <a:r>
              <a:rPr lang="en-GB" sz="1050" dirty="0" err="1">
                <a:solidFill>
                  <a:srgbClr val="5E5E5E"/>
                </a:solidFill>
              </a:rPr>
              <a:t>tracted</a:t>
            </a:r>
            <a:r>
              <a:rPr lang="en-GB" sz="1050" dirty="0">
                <a:solidFill>
                  <a:srgbClr val="5E5E5E"/>
                </a:solidFill>
              </a:rPr>
              <a:t> to traditional sales customers with specific demand patterns</a:t>
            </a:r>
          </a:p>
          <a:p>
            <a:pPr marL="179388" lvl="1" indent="-179388" fontAlgn="base">
              <a:spcAft>
                <a:spcPts val="300"/>
              </a:spcAft>
              <a:buClr>
                <a:srgbClr val="0078DC"/>
              </a:buClr>
              <a:buSzPct val="100000"/>
              <a:buFont typeface="Wingdings"/>
              <a:buChar char=""/>
            </a:pPr>
            <a:r>
              <a:rPr lang="en-GB" sz="1050" dirty="0">
                <a:solidFill>
                  <a:srgbClr val="5E5E5E"/>
                </a:solidFill>
              </a:rPr>
              <a:t>&gt;1,000 customers, mainly municipal utilities, industrials and power plants</a:t>
            </a:r>
          </a:p>
          <a:p>
            <a:pPr marL="179388" lvl="1" indent="-179388" fontAlgn="base">
              <a:spcAft>
                <a:spcPts val="300"/>
              </a:spcAft>
              <a:buClr>
                <a:srgbClr val="0078DC"/>
              </a:buClr>
              <a:buSzPct val="100000"/>
              <a:buFont typeface="Wingdings"/>
              <a:buChar char=""/>
            </a:pPr>
            <a:r>
              <a:rPr lang="en-GB" sz="1050" dirty="0">
                <a:solidFill>
                  <a:srgbClr val="5E5E5E"/>
                </a:solidFill>
              </a:rPr>
              <a:t>Gas, power, energy related services </a:t>
            </a:r>
          </a:p>
          <a:p>
            <a:pPr marL="179388" lvl="1" indent="-179388" fontAlgn="base">
              <a:spcAft>
                <a:spcPts val="300"/>
              </a:spcAft>
              <a:buClr>
                <a:srgbClr val="0078DC"/>
              </a:buClr>
              <a:buSzPct val="100000"/>
              <a:buFont typeface="Wingdings"/>
              <a:buChar char=""/>
            </a:pPr>
            <a:r>
              <a:rPr lang="en-GB" sz="1050" dirty="0">
                <a:solidFill>
                  <a:srgbClr val="5E5E5E"/>
                </a:solidFill>
              </a:rPr>
              <a:t>Market share ~40%</a:t>
            </a:r>
            <a:endParaRPr lang="en-US" sz="1050" dirty="0">
              <a:solidFill>
                <a:srgbClr val="5E5E5E"/>
              </a:solidFill>
            </a:endParaRPr>
          </a:p>
          <a:p>
            <a:pPr marL="180975" lvl="1" indent="-180975" fontAlgn="base">
              <a:spcBef>
                <a:spcPts val="400"/>
              </a:spcBef>
              <a:spcAft>
                <a:spcPts val="400"/>
              </a:spcAft>
              <a:buClr>
                <a:srgbClr val="0078DC"/>
              </a:buClr>
              <a:buSzPct val="100000"/>
              <a:buFont typeface="Wingdings"/>
              <a:buChar char=""/>
            </a:pPr>
            <a:endParaRPr lang="en-US" sz="1000" dirty="0">
              <a:solidFill>
                <a:srgbClr val="5E5E5E"/>
              </a:solidFill>
            </a:endParaRPr>
          </a:p>
          <a:p>
            <a:pPr marL="180975" lvl="1" indent="-180975" fontAlgn="base">
              <a:spcBef>
                <a:spcPts val="400"/>
              </a:spcBef>
              <a:spcAft>
                <a:spcPts val="400"/>
              </a:spcAft>
              <a:buClr>
                <a:srgbClr val="0078DC"/>
              </a:buClr>
              <a:buSzPct val="100000"/>
              <a:buFont typeface="Wingdings"/>
              <a:buChar char=""/>
            </a:pPr>
            <a:endParaRPr lang="en-GB" sz="1000" dirty="0">
              <a:solidFill>
                <a:srgbClr val="5E5E5E"/>
              </a:solidFill>
            </a:endParaRPr>
          </a:p>
        </p:txBody>
      </p:sp>
      <p:pic>
        <p:nvPicPr>
          <p:cNvPr id="582" name="Picture 2">
            <a:extLst>
              <a:ext uri="{FF2B5EF4-FFF2-40B4-BE49-F238E27FC236}">
                <a16:creationId xmlns:a16="http://schemas.microsoft.com/office/drawing/2014/main" xmlns="" id="{F4AB5448-8A65-464A-9461-4538C6C14390}"/>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1139" r="5222"/>
          <a:stretch/>
        </p:blipFill>
        <p:spPr bwMode="auto">
          <a:xfrm>
            <a:off x="7127239" y="1879473"/>
            <a:ext cx="1400191" cy="668045"/>
          </a:xfrm>
          <a:prstGeom prst="rect">
            <a:avLst/>
          </a:prstGeom>
          <a:noFill/>
          <a:ln w="12700">
            <a:no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1"/>
                </a:solidFill>
                <a:miter lim="800000"/>
                <a:headEnd/>
                <a:tailEnd/>
              </a14:hiddenLine>
            </a:ext>
          </a:extLst>
        </p:spPr>
      </p:pic>
      <p:graphicFrame>
        <p:nvGraphicFramePr>
          <p:cNvPr id="584" name="COL-5886651273">
            <a:extLst>
              <a:ext uri="{FF2B5EF4-FFF2-40B4-BE49-F238E27FC236}">
                <a16:creationId xmlns:a16="http://schemas.microsoft.com/office/drawing/2014/main" xmlns="" id="{86C24BAF-120E-44F2-A532-FEBB60F609C5}"/>
              </a:ext>
            </a:extLst>
          </p:cNvPr>
          <p:cNvGraphicFramePr>
            <a:graphicFrameLocks/>
          </p:cNvGraphicFramePr>
          <p:nvPr>
            <p:extLst/>
          </p:nvPr>
        </p:nvGraphicFramePr>
        <p:xfrm>
          <a:off x="5437956" y="4400763"/>
          <a:ext cx="1494000" cy="1166400"/>
        </p:xfrm>
        <a:graphic>
          <a:graphicData uri="http://schemas.openxmlformats.org/drawingml/2006/chart">
            <c:chart xmlns:c="http://schemas.openxmlformats.org/drawingml/2006/chart" xmlns:r="http://schemas.openxmlformats.org/officeDocument/2006/relationships" r:id="rId10"/>
          </a:graphicData>
        </a:graphic>
      </p:graphicFrame>
      <p:sp>
        <p:nvSpPr>
          <p:cNvPr id="585" name="Rectangle 520">
            <a:extLst>
              <a:ext uri="{FF2B5EF4-FFF2-40B4-BE49-F238E27FC236}">
                <a16:creationId xmlns:a16="http://schemas.microsoft.com/office/drawing/2014/main" xmlns="" id="{0EDD62F1-9B45-4F4C-8148-08D4063F9304}"/>
              </a:ext>
            </a:extLst>
          </p:cNvPr>
          <p:cNvSpPr/>
          <p:nvPr/>
        </p:nvSpPr>
        <p:spPr>
          <a:xfrm>
            <a:off x="5571476" y="4478941"/>
            <a:ext cx="412115" cy="215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tx1"/>
                </a:solidFill>
              </a:rPr>
              <a:t>25 </a:t>
            </a:r>
            <a:r>
              <a:rPr lang="en-GB" sz="900" b="1" dirty="0" err="1">
                <a:solidFill>
                  <a:schemeClr val="tx1"/>
                </a:solidFill>
              </a:rPr>
              <a:t>bcm</a:t>
            </a:r>
            <a:endParaRPr lang="en-GB" sz="800" b="1" dirty="0">
              <a:solidFill>
                <a:schemeClr val="tx1"/>
              </a:solidFill>
            </a:endParaRPr>
          </a:p>
        </p:txBody>
      </p:sp>
      <p:sp>
        <p:nvSpPr>
          <p:cNvPr id="586" name="Rectangle 521">
            <a:extLst>
              <a:ext uri="{FF2B5EF4-FFF2-40B4-BE49-F238E27FC236}">
                <a16:creationId xmlns:a16="http://schemas.microsoft.com/office/drawing/2014/main" xmlns="" id="{071D72C0-A80B-46D6-B209-24E2E8FB4314}"/>
              </a:ext>
            </a:extLst>
          </p:cNvPr>
          <p:cNvSpPr/>
          <p:nvPr/>
        </p:nvSpPr>
        <p:spPr>
          <a:xfrm>
            <a:off x="5978195" y="4939178"/>
            <a:ext cx="412115" cy="215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tx1"/>
                </a:solidFill>
              </a:rPr>
              <a:t>8bcm</a:t>
            </a:r>
          </a:p>
        </p:txBody>
      </p:sp>
      <p:sp>
        <p:nvSpPr>
          <p:cNvPr id="587" name="Rectangle 522">
            <a:extLst>
              <a:ext uri="{FF2B5EF4-FFF2-40B4-BE49-F238E27FC236}">
                <a16:creationId xmlns:a16="http://schemas.microsoft.com/office/drawing/2014/main" xmlns="" id="{E63E8208-C9AE-45CB-969C-7C0CBE1877CA}"/>
              </a:ext>
            </a:extLst>
          </p:cNvPr>
          <p:cNvSpPr/>
          <p:nvPr/>
        </p:nvSpPr>
        <p:spPr>
          <a:xfrm>
            <a:off x="6399776" y="5090774"/>
            <a:ext cx="412115" cy="215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tx1"/>
                </a:solidFill>
              </a:rPr>
              <a:t>5bcm</a:t>
            </a:r>
          </a:p>
        </p:txBody>
      </p:sp>
      <p:sp>
        <p:nvSpPr>
          <p:cNvPr id="588" name="Rectangle 523">
            <a:extLst>
              <a:ext uri="{FF2B5EF4-FFF2-40B4-BE49-F238E27FC236}">
                <a16:creationId xmlns:a16="http://schemas.microsoft.com/office/drawing/2014/main" xmlns="" id="{3C0AB533-274F-4297-BAB5-BE5F696E82CE}"/>
              </a:ext>
            </a:extLst>
          </p:cNvPr>
          <p:cNvSpPr/>
          <p:nvPr/>
        </p:nvSpPr>
        <p:spPr>
          <a:xfrm>
            <a:off x="5561749" y="4296584"/>
            <a:ext cx="412115" cy="215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accent3"/>
                </a:solidFill>
              </a:rPr>
              <a:t>~30%</a:t>
            </a:r>
          </a:p>
        </p:txBody>
      </p:sp>
      <p:sp>
        <p:nvSpPr>
          <p:cNvPr id="589" name="Rectangle 524">
            <a:extLst>
              <a:ext uri="{FF2B5EF4-FFF2-40B4-BE49-F238E27FC236}">
                <a16:creationId xmlns:a16="http://schemas.microsoft.com/office/drawing/2014/main" xmlns="" id="{E93ACF58-4240-45A1-88ED-E5C512D116DF}"/>
              </a:ext>
            </a:extLst>
          </p:cNvPr>
          <p:cNvSpPr/>
          <p:nvPr/>
        </p:nvSpPr>
        <p:spPr>
          <a:xfrm>
            <a:off x="5978195" y="4296584"/>
            <a:ext cx="412115" cy="215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accent3"/>
                </a:solidFill>
              </a:rPr>
              <a:t>21%</a:t>
            </a:r>
          </a:p>
        </p:txBody>
      </p:sp>
      <p:sp>
        <p:nvSpPr>
          <p:cNvPr id="590" name="Rectangle 525">
            <a:extLst>
              <a:ext uri="{FF2B5EF4-FFF2-40B4-BE49-F238E27FC236}">
                <a16:creationId xmlns:a16="http://schemas.microsoft.com/office/drawing/2014/main" xmlns="" id="{0B0FDF3C-F70E-4BE5-B828-7B0835EB71F6}"/>
              </a:ext>
            </a:extLst>
          </p:cNvPr>
          <p:cNvSpPr/>
          <p:nvPr/>
        </p:nvSpPr>
        <p:spPr>
          <a:xfrm>
            <a:off x="6371260" y="4296584"/>
            <a:ext cx="412115" cy="215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accent3"/>
                </a:solidFill>
              </a:rPr>
              <a:t>3%</a:t>
            </a:r>
          </a:p>
        </p:txBody>
      </p:sp>
      <p:sp>
        <p:nvSpPr>
          <p:cNvPr id="591" name="Rectangle 526">
            <a:extLst>
              <a:ext uri="{FF2B5EF4-FFF2-40B4-BE49-F238E27FC236}">
                <a16:creationId xmlns:a16="http://schemas.microsoft.com/office/drawing/2014/main" xmlns="" id="{6BFAE1B5-B2FD-4B70-8C76-2C65B4DAA253}"/>
              </a:ext>
            </a:extLst>
          </p:cNvPr>
          <p:cNvSpPr/>
          <p:nvPr/>
        </p:nvSpPr>
        <p:spPr>
          <a:xfrm>
            <a:off x="5587450" y="4158472"/>
            <a:ext cx="1136018" cy="215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err="1">
                <a:solidFill>
                  <a:schemeClr val="accent3"/>
                </a:solidFill>
              </a:rPr>
              <a:t>Uniper</a:t>
            </a:r>
            <a:r>
              <a:rPr lang="en-GB" sz="900" b="1" dirty="0">
                <a:solidFill>
                  <a:schemeClr val="accent3"/>
                </a:solidFill>
              </a:rPr>
              <a:t> Market Share</a:t>
            </a:r>
          </a:p>
        </p:txBody>
      </p:sp>
      <p:sp>
        <p:nvSpPr>
          <p:cNvPr id="592" name="Rectangle 527">
            <a:extLst>
              <a:ext uri="{FF2B5EF4-FFF2-40B4-BE49-F238E27FC236}">
                <a16:creationId xmlns:a16="http://schemas.microsoft.com/office/drawing/2014/main" xmlns="" id="{9502482E-8F9F-4BF6-9076-45380531F0D1}"/>
              </a:ext>
            </a:extLst>
          </p:cNvPr>
          <p:cNvSpPr/>
          <p:nvPr/>
        </p:nvSpPr>
        <p:spPr>
          <a:xfrm rot="16200000">
            <a:off x="5038590" y="4981647"/>
            <a:ext cx="935786" cy="215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accent3"/>
                </a:solidFill>
              </a:rPr>
              <a:t>Market Capacity</a:t>
            </a:r>
          </a:p>
        </p:txBody>
      </p:sp>
      <p:sp>
        <p:nvSpPr>
          <p:cNvPr id="593" name="Pentagon 38">
            <a:extLst>
              <a:ext uri="{FF2B5EF4-FFF2-40B4-BE49-F238E27FC236}">
                <a16:creationId xmlns:a16="http://schemas.microsoft.com/office/drawing/2014/main" xmlns="" id="{30449BCA-69F8-4C12-87B0-C2C9066FEB23}"/>
              </a:ext>
            </a:extLst>
          </p:cNvPr>
          <p:cNvSpPr/>
          <p:nvPr/>
        </p:nvSpPr>
        <p:spPr>
          <a:xfrm>
            <a:off x="6968732" y="2636617"/>
            <a:ext cx="1656000" cy="417374"/>
          </a:xfrm>
          <a:prstGeom prst="homePlate">
            <a:avLst>
              <a:gd name="adj" fmla="val 19911"/>
            </a:avLst>
          </a:prstGeom>
          <a:solidFill>
            <a:schemeClr val="accent6"/>
          </a:solidFill>
          <a:ln w="19050">
            <a:solidFill>
              <a:schemeClr val="bg1"/>
            </a:solidFill>
            <a:round/>
            <a:headEnd/>
            <a:tailEnd/>
          </a:ln>
        </p:spPr>
        <p:txBody>
          <a:bodyPr lIns="0" tIns="0" rIns="0" bIns="0" rtlCol="0" anchor="ctr"/>
          <a:lstStyle/>
          <a:p>
            <a:pPr algn="ctr" defTabSz="1219170"/>
            <a:r>
              <a:rPr lang="en-GB" sz="1100" b="1" kern="0" dirty="0">
                <a:solidFill>
                  <a:srgbClr val="FFFFFF"/>
                </a:solidFill>
              </a:rPr>
              <a:t>Sales Portfolio</a:t>
            </a:r>
          </a:p>
        </p:txBody>
      </p:sp>
      <p:sp>
        <p:nvSpPr>
          <p:cNvPr id="594" name="Pentagon 514">
            <a:extLst>
              <a:ext uri="{FF2B5EF4-FFF2-40B4-BE49-F238E27FC236}">
                <a16:creationId xmlns:a16="http://schemas.microsoft.com/office/drawing/2014/main" xmlns="" id="{5935CD34-89DA-4F27-BD64-83EE1F809E12}"/>
              </a:ext>
            </a:extLst>
          </p:cNvPr>
          <p:cNvSpPr/>
          <p:nvPr/>
        </p:nvSpPr>
        <p:spPr>
          <a:xfrm>
            <a:off x="5334671" y="2647383"/>
            <a:ext cx="1702212" cy="406608"/>
          </a:xfrm>
          <a:prstGeom prst="homePlate">
            <a:avLst>
              <a:gd name="adj" fmla="val 19911"/>
            </a:avLst>
          </a:prstGeom>
          <a:solidFill>
            <a:schemeClr val="tx2">
              <a:lumMod val="60000"/>
              <a:lumOff val="40000"/>
            </a:schemeClr>
          </a:solidFill>
          <a:ln w="19050">
            <a:solidFill>
              <a:schemeClr val="bg1"/>
            </a:solidFill>
            <a:round/>
            <a:headEnd/>
            <a:tailEnd/>
          </a:ln>
        </p:spPr>
        <p:txBody>
          <a:bodyPr lIns="0" tIns="0" rIns="0" bIns="0" rtlCol="0" anchor="ctr"/>
          <a:lstStyle/>
          <a:p>
            <a:pPr algn="ctr" defTabSz="1219170"/>
            <a:r>
              <a:rPr lang="en-GB" sz="1100" b="1" kern="0" dirty="0">
                <a:solidFill>
                  <a:srgbClr val="FFFFFF"/>
                </a:solidFill>
              </a:rPr>
              <a:t/>
            </a:r>
            <a:br>
              <a:rPr lang="en-GB" sz="1100" b="1" kern="0" dirty="0">
                <a:solidFill>
                  <a:srgbClr val="FFFFFF"/>
                </a:solidFill>
              </a:rPr>
            </a:br>
            <a:r>
              <a:rPr lang="en-GB" sz="1100" b="1" kern="0" dirty="0">
                <a:solidFill>
                  <a:srgbClr val="FFFFFF"/>
                </a:solidFill>
              </a:rPr>
              <a:t>Storage</a:t>
            </a:r>
          </a:p>
        </p:txBody>
      </p:sp>
      <p:sp>
        <p:nvSpPr>
          <p:cNvPr id="595" name="Pentagon 125">
            <a:extLst>
              <a:ext uri="{FF2B5EF4-FFF2-40B4-BE49-F238E27FC236}">
                <a16:creationId xmlns:a16="http://schemas.microsoft.com/office/drawing/2014/main" xmlns="" id="{D17C1180-125C-4691-B3AE-082299E9B2A7}"/>
              </a:ext>
            </a:extLst>
          </p:cNvPr>
          <p:cNvSpPr/>
          <p:nvPr/>
        </p:nvSpPr>
        <p:spPr>
          <a:xfrm>
            <a:off x="3706546" y="2647383"/>
            <a:ext cx="1717041" cy="406608"/>
          </a:xfrm>
          <a:prstGeom prst="homePlate">
            <a:avLst>
              <a:gd name="adj" fmla="val 20410"/>
            </a:avLst>
          </a:prstGeom>
          <a:solidFill>
            <a:schemeClr val="accent5"/>
          </a:solidFill>
          <a:ln w="19050">
            <a:solidFill>
              <a:schemeClr val="bg1"/>
            </a:solidFill>
            <a:round/>
            <a:headEnd/>
            <a:tailEnd/>
          </a:ln>
        </p:spPr>
        <p:txBody>
          <a:bodyPr lIns="0" tIns="0" rIns="0" bIns="0" rtlCol="0" anchor="ctr"/>
          <a:lstStyle/>
          <a:p>
            <a:pPr algn="ctr" defTabSz="1219170"/>
            <a:r>
              <a:rPr lang="en-GB" sz="1100" b="1" kern="0" dirty="0">
                <a:solidFill>
                  <a:srgbClr val="FFFFFF"/>
                </a:solidFill>
              </a:rPr>
              <a:t/>
            </a:r>
            <a:br>
              <a:rPr lang="en-GB" sz="1100" b="1" kern="0" dirty="0">
                <a:solidFill>
                  <a:srgbClr val="FFFFFF"/>
                </a:solidFill>
              </a:rPr>
            </a:br>
            <a:r>
              <a:rPr lang="en-GB" sz="1100" b="1" kern="0" dirty="0">
                <a:solidFill>
                  <a:srgbClr val="FFFFFF"/>
                </a:solidFill>
              </a:rPr>
              <a:t>Transmission</a:t>
            </a:r>
          </a:p>
        </p:txBody>
      </p:sp>
      <p:sp>
        <p:nvSpPr>
          <p:cNvPr id="596" name="Pentagon 128">
            <a:extLst>
              <a:ext uri="{FF2B5EF4-FFF2-40B4-BE49-F238E27FC236}">
                <a16:creationId xmlns:a16="http://schemas.microsoft.com/office/drawing/2014/main" xmlns="" id="{6696689B-A701-4162-9FA3-3F6C1D01F6BC}"/>
              </a:ext>
            </a:extLst>
          </p:cNvPr>
          <p:cNvSpPr/>
          <p:nvPr/>
        </p:nvSpPr>
        <p:spPr>
          <a:xfrm>
            <a:off x="2099216" y="2647383"/>
            <a:ext cx="1704091" cy="406608"/>
          </a:xfrm>
          <a:prstGeom prst="homePlate">
            <a:avLst>
              <a:gd name="adj" fmla="val 23367"/>
            </a:avLst>
          </a:prstGeom>
          <a:solidFill>
            <a:schemeClr val="accent2"/>
          </a:solidFill>
          <a:ln w="19050">
            <a:solidFill>
              <a:schemeClr val="bg1"/>
            </a:solidFill>
            <a:round/>
            <a:headEnd/>
            <a:tailEnd/>
          </a:ln>
        </p:spPr>
        <p:txBody>
          <a:bodyPr lIns="0" tIns="0" rIns="0" bIns="0" rtlCol="0" anchor="ctr"/>
          <a:lstStyle/>
          <a:p>
            <a:pPr algn="ctr" defTabSz="1219170"/>
            <a:r>
              <a:rPr lang="en-GB" sz="1100" b="1" kern="0" dirty="0">
                <a:solidFill>
                  <a:srgbClr val="FFFFFF"/>
                </a:solidFill>
              </a:rPr>
              <a:t/>
            </a:r>
            <a:br>
              <a:rPr lang="en-GB" sz="1100" b="1" kern="0" dirty="0">
                <a:solidFill>
                  <a:srgbClr val="FFFFFF"/>
                </a:solidFill>
              </a:rPr>
            </a:br>
            <a:r>
              <a:rPr lang="en-GB" sz="1100" b="1" kern="0" dirty="0">
                <a:solidFill>
                  <a:srgbClr val="FFFFFF"/>
                </a:solidFill>
              </a:rPr>
              <a:t>LNG </a:t>
            </a:r>
            <a:r>
              <a:rPr lang="en-GB" sz="1100" b="1" kern="0" dirty="0" err="1">
                <a:solidFill>
                  <a:srgbClr val="FFFFFF"/>
                </a:solidFill>
              </a:rPr>
              <a:t>Regas</a:t>
            </a:r>
            <a:endParaRPr lang="en-GB" sz="1100" b="1" kern="0" dirty="0">
              <a:solidFill>
                <a:srgbClr val="FFFFFF"/>
              </a:solidFill>
            </a:endParaRPr>
          </a:p>
        </p:txBody>
      </p:sp>
      <p:sp>
        <p:nvSpPr>
          <p:cNvPr id="597" name="Pentagon 509">
            <a:extLst>
              <a:ext uri="{FF2B5EF4-FFF2-40B4-BE49-F238E27FC236}">
                <a16:creationId xmlns:a16="http://schemas.microsoft.com/office/drawing/2014/main" xmlns="" id="{ACB2B15C-1ED4-4700-ACE9-ABE5E9D11D73}"/>
              </a:ext>
            </a:extLst>
          </p:cNvPr>
          <p:cNvSpPr/>
          <p:nvPr/>
        </p:nvSpPr>
        <p:spPr>
          <a:xfrm>
            <a:off x="2046978" y="2647383"/>
            <a:ext cx="4942772" cy="203304"/>
          </a:xfrm>
          <a:prstGeom prst="homePlate">
            <a:avLst>
              <a:gd name="adj" fmla="val 20410"/>
            </a:avLst>
          </a:prstGeom>
          <a:solidFill>
            <a:srgbClr val="0868A3"/>
          </a:solidFill>
          <a:ln w="19050">
            <a:noFill/>
            <a:round/>
            <a:headEnd/>
            <a:tailEnd/>
          </a:ln>
        </p:spPr>
        <p:txBody>
          <a:bodyPr lIns="0" tIns="0" rIns="0" bIns="0" rtlCol="0" anchor="ctr"/>
          <a:lstStyle/>
          <a:p>
            <a:pPr algn="ctr" defTabSz="1219170"/>
            <a:r>
              <a:rPr lang="en-GB" sz="1100" b="1" kern="0" dirty="0">
                <a:solidFill>
                  <a:srgbClr val="FFFFFF"/>
                </a:solidFill>
              </a:rPr>
              <a:t>Infrastructure shareholdings and bookings</a:t>
            </a:r>
          </a:p>
        </p:txBody>
      </p:sp>
      <p:sp>
        <p:nvSpPr>
          <p:cNvPr id="598" name="Isosceles Triangle 7">
            <a:extLst>
              <a:ext uri="{FF2B5EF4-FFF2-40B4-BE49-F238E27FC236}">
                <a16:creationId xmlns:a16="http://schemas.microsoft.com/office/drawing/2014/main" xmlns="" id="{8CD08316-0275-4ACD-819D-A6D00F1E7754}"/>
              </a:ext>
            </a:extLst>
          </p:cNvPr>
          <p:cNvSpPr/>
          <p:nvPr/>
        </p:nvSpPr>
        <p:spPr bwMode="gray">
          <a:xfrm>
            <a:off x="6948174" y="2738870"/>
            <a:ext cx="79616" cy="111817"/>
          </a:xfrm>
          <a:prstGeom prst="triangle">
            <a:avLst/>
          </a:prstGeom>
          <a:solidFill>
            <a:schemeClr val="accent3"/>
          </a:solidFill>
          <a:ln w="635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GB" sz="1100" kern="0" dirty="0">
              <a:solidFill>
                <a:srgbClr val="53565A"/>
              </a:solidFill>
              <a:ea typeface="STKaiti"/>
            </a:endParaRPr>
          </a:p>
        </p:txBody>
      </p:sp>
      <p:sp>
        <p:nvSpPr>
          <p:cNvPr id="599" name="Pentagon 133">
            <a:extLst>
              <a:ext uri="{FF2B5EF4-FFF2-40B4-BE49-F238E27FC236}">
                <a16:creationId xmlns:a16="http://schemas.microsoft.com/office/drawing/2014/main" xmlns="" id="{453B940B-CCB8-433C-B937-D20E5D012C10}"/>
              </a:ext>
            </a:extLst>
          </p:cNvPr>
          <p:cNvSpPr/>
          <p:nvPr/>
        </p:nvSpPr>
        <p:spPr>
          <a:xfrm>
            <a:off x="518824" y="2636617"/>
            <a:ext cx="1656359" cy="417374"/>
          </a:xfrm>
          <a:prstGeom prst="homePlate">
            <a:avLst>
              <a:gd name="adj" fmla="val 19911"/>
            </a:avLst>
          </a:prstGeom>
          <a:solidFill>
            <a:srgbClr val="0078DC"/>
          </a:solidFill>
          <a:ln w="19050">
            <a:solidFill>
              <a:schemeClr val="bg1"/>
            </a:solidFill>
            <a:round/>
            <a:headEnd/>
            <a:tailEnd/>
          </a:ln>
        </p:spPr>
        <p:txBody>
          <a:bodyPr lIns="0" tIns="0" rIns="0" bIns="0" rtlCol="0" anchor="ctr"/>
          <a:lstStyle/>
          <a:p>
            <a:pPr algn="ctr" defTabSz="1219170"/>
            <a:r>
              <a:rPr lang="en-GB" sz="1100" b="1" kern="0" dirty="0">
                <a:solidFill>
                  <a:schemeClr val="bg1"/>
                </a:solidFill>
              </a:rPr>
              <a:t>Supply Portfolio</a:t>
            </a:r>
          </a:p>
        </p:txBody>
      </p:sp>
      <p:pic>
        <p:nvPicPr>
          <p:cNvPr id="600" name="Picture 6">
            <a:extLst>
              <a:ext uri="{FF2B5EF4-FFF2-40B4-BE49-F238E27FC236}">
                <a16:creationId xmlns:a16="http://schemas.microsoft.com/office/drawing/2014/main" xmlns="" id="{4CBA4856-72BD-42E5-A5A2-499AC96832C9}"/>
              </a:ext>
            </a:extLst>
          </p:cNvPr>
          <p:cNvPicPr>
            <a:picLocks noChangeAspect="1"/>
          </p:cNvPicPr>
          <p:nvPr/>
        </p:nvPicPr>
        <p:blipFill>
          <a:blip r:embed="rId11"/>
          <a:stretch>
            <a:fillRect/>
          </a:stretch>
        </p:blipFill>
        <p:spPr>
          <a:xfrm>
            <a:off x="803083" y="4712392"/>
            <a:ext cx="1164461" cy="1092876"/>
          </a:xfrm>
          <a:prstGeom prst="rect">
            <a:avLst/>
          </a:prstGeom>
        </p:spPr>
      </p:pic>
      <p:sp>
        <p:nvSpPr>
          <p:cNvPr id="3" name="Textfeld 2">
            <a:extLst>
              <a:ext uri="{FF2B5EF4-FFF2-40B4-BE49-F238E27FC236}">
                <a16:creationId xmlns:a16="http://schemas.microsoft.com/office/drawing/2014/main" xmlns="" id="{389B01FD-4B00-407D-A108-1B184F424720}"/>
              </a:ext>
            </a:extLst>
          </p:cNvPr>
          <p:cNvSpPr txBox="1"/>
          <p:nvPr/>
        </p:nvSpPr>
        <p:spPr>
          <a:xfrm>
            <a:off x="1354118" y="4693023"/>
            <a:ext cx="672634" cy="230832"/>
          </a:xfrm>
          <a:prstGeom prst="rect">
            <a:avLst/>
          </a:prstGeom>
          <a:solidFill>
            <a:srgbClr val="E6F4FE"/>
          </a:solidFill>
        </p:spPr>
        <p:txBody>
          <a:bodyPr wrap="square" rtlCol="0">
            <a:spAutoFit/>
          </a:bodyPr>
          <a:lstStyle/>
          <a:p>
            <a:r>
              <a:rPr lang="de-DE" sz="900" b="1" dirty="0">
                <a:solidFill>
                  <a:srgbClr val="5E5E5E"/>
                </a:solidFill>
              </a:rPr>
              <a:t>985 TWh</a:t>
            </a:r>
          </a:p>
        </p:txBody>
      </p:sp>
      <p:sp>
        <p:nvSpPr>
          <p:cNvPr id="601" name="Textfeld 600">
            <a:extLst>
              <a:ext uri="{FF2B5EF4-FFF2-40B4-BE49-F238E27FC236}">
                <a16:creationId xmlns:a16="http://schemas.microsoft.com/office/drawing/2014/main" xmlns="" id="{35E69B1D-6026-4BAC-9460-F5CB8EF9DC2B}"/>
              </a:ext>
            </a:extLst>
          </p:cNvPr>
          <p:cNvSpPr txBox="1"/>
          <p:nvPr/>
        </p:nvSpPr>
        <p:spPr>
          <a:xfrm>
            <a:off x="663041" y="4986352"/>
            <a:ext cx="812378" cy="230832"/>
          </a:xfrm>
          <a:prstGeom prst="rect">
            <a:avLst/>
          </a:prstGeom>
          <a:solidFill>
            <a:srgbClr val="E6F4FE"/>
          </a:solidFill>
        </p:spPr>
        <p:txBody>
          <a:bodyPr wrap="square" rtlCol="0">
            <a:spAutoFit/>
          </a:bodyPr>
          <a:lstStyle/>
          <a:p>
            <a:pPr algn="r"/>
            <a:r>
              <a:rPr lang="de-DE" sz="900" b="1" dirty="0">
                <a:solidFill>
                  <a:srgbClr val="5E5E5E"/>
                </a:solidFill>
              </a:rPr>
              <a:t>~400 TWh</a:t>
            </a:r>
            <a:r>
              <a:rPr lang="de-DE" sz="900" b="1" baseline="30000" dirty="0">
                <a:solidFill>
                  <a:srgbClr val="5E5E5E"/>
                </a:solidFill>
              </a:rPr>
              <a:t>1</a:t>
            </a:r>
          </a:p>
        </p:txBody>
      </p:sp>
    </p:spTree>
    <p:extLst>
      <p:ext uri="{BB962C8B-B14F-4D97-AF65-F5344CB8AC3E}">
        <p14:creationId xmlns:p14="http://schemas.microsoft.com/office/powerpoint/2010/main" val="4069794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4000" y="228600"/>
            <a:ext cx="8136000" cy="900000"/>
          </a:xfrm>
        </p:spPr>
        <p:txBody>
          <a:bodyPr/>
          <a:lstStyle/>
          <a:p>
            <a:r>
              <a:rPr lang="en-US" sz="2400" dirty="0"/>
              <a:t>Changing world  </a:t>
            </a:r>
            <a:endParaRPr lang="ru-RU" sz="2400" dirty="0"/>
          </a:p>
        </p:txBody>
      </p:sp>
      <p:sp>
        <p:nvSpPr>
          <p:cNvPr id="5" name="Foliennummernplatzhalter 4"/>
          <p:cNvSpPr>
            <a:spLocks noGrp="1"/>
          </p:cNvSpPr>
          <p:nvPr>
            <p:ph type="sldNum" sz="quarter" idx="12"/>
          </p:nvPr>
        </p:nvSpPr>
        <p:spPr/>
        <p:txBody>
          <a:bodyPr/>
          <a:lstStyle/>
          <a:p>
            <a:fld id="{9D543ADB-E95E-4587-963D-D3C6AB2E96C0}" type="slidenum">
              <a:rPr lang="ru-RU" smtClean="0"/>
              <a:pPr/>
              <a:t>5</a:t>
            </a:fld>
            <a:endParaRPr lang="ru-RU" dirty="0"/>
          </a:p>
        </p:txBody>
      </p:sp>
      <p:pic>
        <p:nvPicPr>
          <p:cNvPr id="6" name="Picture 5"/>
          <p:cNvPicPr/>
          <p:nvPr/>
        </p:nvPicPr>
        <p:blipFill>
          <a:blip r:embed="rId2"/>
          <a:stretch>
            <a:fillRect/>
          </a:stretch>
        </p:blipFill>
        <p:spPr>
          <a:xfrm>
            <a:off x="1473200" y="4191000"/>
            <a:ext cx="6350000" cy="2184400"/>
          </a:xfrm>
          <a:prstGeom prst="rect">
            <a:avLst/>
          </a:prstGeom>
        </p:spPr>
      </p:pic>
      <p:pic>
        <p:nvPicPr>
          <p:cNvPr id="7" name="Picture 6"/>
          <p:cNvPicPr/>
          <p:nvPr/>
        </p:nvPicPr>
        <p:blipFill>
          <a:blip r:embed="rId3"/>
          <a:stretch>
            <a:fillRect/>
          </a:stretch>
        </p:blipFill>
        <p:spPr>
          <a:xfrm>
            <a:off x="1727200" y="1159748"/>
            <a:ext cx="5486400" cy="2574051"/>
          </a:xfrm>
          <a:prstGeom prst="rect">
            <a:avLst/>
          </a:prstGeom>
        </p:spPr>
      </p:pic>
      <p:sp>
        <p:nvSpPr>
          <p:cNvPr id="9" name="TextBox 8"/>
          <p:cNvSpPr txBox="1"/>
          <p:nvPr/>
        </p:nvSpPr>
        <p:spPr>
          <a:xfrm>
            <a:off x="1347544" y="6475140"/>
            <a:ext cx="5032147" cy="230832"/>
          </a:xfrm>
          <a:prstGeom prst="rect">
            <a:avLst/>
          </a:prstGeom>
          <a:noFill/>
        </p:spPr>
        <p:txBody>
          <a:bodyPr wrap="none" rtlCol="0">
            <a:spAutoFit/>
          </a:bodyPr>
          <a:lstStyle/>
          <a:p>
            <a:r>
              <a:rPr lang="en-US" sz="900" dirty="0"/>
              <a:t>Sources: Uniper Global Commodities, US National Archives, George Grantham Bain Collection</a:t>
            </a:r>
            <a:endParaRPr lang="ru-RU" sz="900" dirty="0"/>
          </a:p>
        </p:txBody>
      </p:sp>
      <p:sp>
        <p:nvSpPr>
          <p:cNvPr id="8" name="Content Placeholder 2"/>
          <p:cNvSpPr>
            <a:spLocks noGrp="1"/>
          </p:cNvSpPr>
          <p:nvPr>
            <p:ph sz="half" idx="1"/>
          </p:nvPr>
        </p:nvSpPr>
        <p:spPr>
          <a:xfrm>
            <a:off x="1168400" y="939800"/>
            <a:ext cx="6908800" cy="2823640"/>
          </a:xfrm>
          <a:ln w="12700">
            <a:solidFill>
              <a:schemeClr val="accent1"/>
            </a:solidFill>
          </a:ln>
        </p:spPr>
        <p:txBody>
          <a:bodyPr/>
          <a:lstStyle/>
          <a:p>
            <a:pPr marL="1588" lvl="1" indent="0">
              <a:buNone/>
            </a:pPr>
            <a:r>
              <a:rPr lang="en-US" sz="1200" dirty="0"/>
              <a:t>  </a:t>
            </a:r>
            <a:endParaRPr lang="ru-RU" sz="1200" dirty="0"/>
          </a:p>
        </p:txBody>
      </p:sp>
      <p:sp>
        <p:nvSpPr>
          <p:cNvPr id="11" name="Text Placeholder 9"/>
          <p:cNvSpPr txBox="1">
            <a:spLocks/>
          </p:cNvSpPr>
          <p:nvPr/>
        </p:nvSpPr>
        <p:spPr>
          <a:xfrm>
            <a:off x="1574800" y="802640"/>
            <a:ext cx="4013200" cy="257369"/>
          </a:xfrm>
          <a:prstGeom prst="rect">
            <a:avLst/>
          </a:prstGeom>
          <a:solidFill>
            <a:schemeClr val="bg1"/>
          </a:solidFill>
        </p:spPr>
        <p:txBody>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r>
              <a:rPr lang="en-US" sz="1200" b="1" dirty="0">
                <a:solidFill>
                  <a:srgbClr val="ED8C1C"/>
                </a:solidFill>
              </a:rPr>
              <a:t> Growth of automobile industry in early 20</a:t>
            </a:r>
            <a:r>
              <a:rPr lang="en-US" sz="1200" b="1" baseline="30000" dirty="0">
                <a:solidFill>
                  <a:srgbClr val="ED8C1C"/>
                </a:solidFill>
              </a:rPr>
              <a:t>th</a:t>
            </a:r>
            <a:r>
              <a:rPr lang="en-US" sz="1200" b="1" dirty="0">
                <a:solidFill>
                  <a:srgbClr val="ED8C1C"/>
                </a:solidFill>
              </a:rPr>
              <a:t> century </a:t>
            </a:r>
          </a:p>
        </p:txBody>
      </p:sp>
      <p:sp>
        <p:nvSpPr>
          <p:cNvPr id="12" name="Content Placeholder 2"/>
          <p:cNvSpPr>
            <a:spLocks noGrp="1"/>
          </p:cNvSpPr>
          <p:nvPr>
            <p:ph sz="half" idx="1"/>
          </p:nvPr>
        </p:nvSpPr>
        <p:spPr>
          <a:xfrm>
            <a:off x="1168400" y="4089400"/>
            <a:ext cx="6908800" cy="2184400"/>
          </a:xfrm>
          <a:ln w="12700">
            <a:solidFill>
              <a:schemeClr val="accent1"/>
            </a:solidFill>
          </a:ln>
        </p:spPr>
        <p:txBody>
          <a:bodyPr/>
          <a:lstStyle/>
          <a:p>
            <a:pPr marL="1588" lvl="1" indent="0">
              <a:buNone/>
            </a:pPr>
            <a:r>
              <a:rPr lang="en-US" sz="1200" dirty="0"/>
              <a:t>  </a:t>
            </a:r>
            <a:endParaRPr lang="ru-RU" sz="1200" dirty="0"/>
          </a:p>
        </p:txBody>
      </p:sp>
      <p:sp>
        <p:nvSpPr>
          <p:cNvPr id="13" name="Text Placeholder 9"/>
          <p:cNvSpPr txBox="1">
            <a:spLocks/>
          </p:cNvSpPr>
          <p:nvPr/>
        </p:nvSpPr>
        <p:spPr>
          <a:xfrm>
            <a:off x="1569720" y="3976811"/>
            <a:ext cx="3713480" cy="257369"/>
          </a:xfrm>
          <a:prstGeom prst="rect">
            <a:avLst/>
          </a:prstGeom>
          <a:solidFill>
            <a:schemeClr val="bg1"/>
          </a:solidFill>
        </p:spPr>
        <p:txBody>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r>
              <a:rPr lang="en-US" sz="1200" b="1" dirty="0">
                <a:solidFill>
                  <a:srgbClr val="ED8C1C"/>
                </a:solidFill>
              </a:rPr>
              <a:t> Spread of smartphones in early 21</a:t>
            </a:r>
            <a:r>
              <a:rPr lang="en-US" sz="1200" b="1" baseline="30000" dirty="0">
                <a:solidFill>
                  <a:srgbClr val="ED8C1C"/>
                </a:solidFill>
              </a:rPr>
              <a:t>th </a:t>
            </a:r>
            <a:r>
              <a:rPr lang="en-US" sz="1200" b="1" dirty="0">
                <a:solidFill>
                  <a:srgbClr val="ED8C1C"/>
                </a:solidFill>
              </a:rPr>
              <a:t>century </a:t>
            </a:r>
          </a:p>
        </p:txBody>
      </p:sp>
    </p:spTree>
    <p:extLst>
      <p:ext uri="{BB962C8B-B14F-4D97-AF65-F5344CB8AC3E}">
        <p14:creationId xmlns:p14="http://schemas.microsoft.com/office/powerpoint/2010/main" val="240741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z="2400" dirty="0">
                <a:solidFill>
                  <a:srgbClr val="00944A"/>
                </a:solidFill>
              </a:rPr>
              <a:t>Data exchange over the blockchain</a:t>
            </a:r>
            <a:endParaRPr lang="en-US" sz="2400" dirty="0">
              <a:solidFill>
                <a:srgbClr val="00944A"/>
              </a:solidFill>
              <a:latin typeface="+mn-lt"/>
              <a:ea typeface="+mn-ea"/>
              <a:cs typeface="+mn-cs"/>
            </a:endParaRPr>
          </a:p>
        </p:txBody>
      </p:sp>
      <p:sp>
        <p:nvSpPr>
          <p:cNvPr id="4" name="Foliennummernplatzhalt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43ADB-E95E-4587-963D-D3C6AB2E96C0}" type="slidenum">
              <a:rPr kumimoji="0" lang="en-US" sz="800" b="0" i="0" u="none" strike="noStrike" kern="1200" cap="none" spc="0" normalizeH="0" baseline="0" noProof="0" smtClean="0">
                <a:ln>
                  <a:noFill/>
                </a:ln>
                <a:solidFill>
                  <a:srgbClr val="0078D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78DC"/>
              </a:solidFill>
              <a:effectLst/>
              <a:uLnTx/>
              <a:uFillTx/>
              <a:latin typeface="Arial"/>
              <a:ea typeface="+mn-ea"/>
              <a:cs typeface="+mn-cs"/>
            </a:endParaRPr>
          </a:p>
        </p:txBody>
      </p:sp>
      <p:sp>
        <p:nvSpPr>
          <p:cNvPr id="5" name="TextBox 4"/>
          <p:cNvSpPr txBox="1"/>
          <p:nvPr/>
        </p:nvSpPr>
        <p:spPr>
          <a:xfrm>
            <a:off x="1727200" y="6542624"/>
            <a:ext cx="2454518" cy="230832"/>
          </a:xfrm>
          <a:prstGeom prst="rect">
            <a:avLst/>
          </a:prstGeom>
          <a:noFill/>
        </p:spPr>
        <p:txBody>
          <a:bodyPr wrap="none" rtlCol="0">
            <a:spAutoFit/>
          </a:bodyPr>
          <a:lstStyle/>
          <a:p>
            <a:r>
              <a:rPr lang="en-US" sz="900" dirty="0"/>
              <a:t>Source: </a:t>
            </a:r>
            <a:r>
              <a:rPr lang="en-US" sz="900" dirty="0" err="1"/>
              <a:t>Ponton</a:t>
            </a:r>
            <a:r>
              <a:rPr lang="en-US" sz="900" dirty="0"/>
              <a:t>, Uniper Global Commodities</a:t>
            </a:r>
            <a:endParaRPr lang="ru-RU" sz="900" dirty="0"/>
          </a:p>
        </p:txBody>
      </p:sp>
      <p:pic>
        <p:nvPicPr>
          <p:cNvPr id="11" name="Picture 10"/>
          <p:cNvPicPr>
            <a:picLocks noChangeAspect="1"/>
          </p:cNvPicPr>
          <p:nvPr/>
        </p:nvPicPr>
        <p:blipFill>
          <a:blip r:embed="rId2"/>
          <a:stretch>
            <a:fillRect/>
          </a:stretch>
        </p:blipFill>
        <p:spPr>
          <a:xfrm>
            <a:off x="390463" y="1458604"/>
            <a:ext cx="2673473" cy="1441308"/>
          </a:xfrm>
          <a:prstGeom prst="rect">
            <a:avLst/>
          </a:prstGeom>
        </p:spPr>
      </p:pic>
      <p:pic>
        <p:nvPicPr>
          <p:cNvPr id="12" name="Picture 11"/>
          <p:cNvPicPr>
            <a:picLocks noChangeAspect="1"/>
          </p:cNvPicPr>
          <p:nvPr/>
        </p:nvPicPr>
        <p:blipFill>
          <a:blip r:embed="rId3"/>
          <a:stretch>
            <a:fillRect/>
          </a:stretch>
        </p:blipFill>
        <p:spPr>
          <a:xfrm>
            <a:off x="967252" y="4416765"/>
            <a:ext cx="3944949" cy="1829111"/>
          </a:xfrm>
          <a:prstGeom prst="rect">
            <a:avLst/>
          </a:prstGeom>
        </p:spPr>
      </p:pic>
      <p:pic>
        <p:nvPicPr>
          <p:cNvPr id="14" name="Picture 13"/>
          <p:cNvPicPr>
            <a:picLocks noChangeAspect="1"/>
          </p:cNvPicPr>
          <p:nvPr/>
        </p:nvPicPr>
        <p:blipFill>
          <a:blip r:embed="rId4"/>
          <a:stretch>
            <a:fillRect/>
          </a:stretch>
        </p:blipFill>
        <p:spPr>
          <a:xfrm>
            <a:off x="5181600" y="4718689"/>
            <a:ext cx="3706028" cy="1700669"/>
          </a:xfrm>
          <a:prstGeom prst="rect">
            <a:avLst/>
          </a:prstGeom>
        </p:spPr>
      </p:pic>
      <p:pic>
        <p:nvPicPr>
          <p:cNvPr id="15" name="Picture 14"/>
          <p:cNvPicPr>
            <a:picLocks noChangeAspect="1"/>
          </p:cNvPicPr>
          <p:nvPr/>
        </p:nvPicPr>
        <p:blipFill>
          <a:blip r:embed="rId5"/>
          <a:stretch>
            <a:fillRect/>
          </a:stretch>
        </p:blipFill>
        <p:spPr>
          <a:xfrm>
            <a:off x="498061" y="3042378"/>
            <a:ext cx="2851559" cy="1394257"/>
          </a:xfrm>
          <a:prstGeom prst="rect">
            <a:avLst/>
          </a:prstGeom>
        </p:spPr>
      </p:pic>
      <p:sp>
        <p:nvSpPr>
          <p:cNvPr id="18" name="Text Placeholder 9"/>
          <p:cNvSpPr txBox="1">
            <a:spLocks/>
          </p:cNvSpPr>
          <p:nvPr/>
        </p:nvSpPr>
        <p:spPr>
          <a:xfrm>
            <a:off x="474370" y="1010930"/>
            <a:ext cx="3234030" cy="257369"/>
          </a:xfrm>
          <a:prstGeom prst="rect">
            <a:avLst/>
          </a:prstGeom>
          <a:solidFill>
            <a:schemeClr val="bg1"/>
          </a:solidFill>
        </p:spPr>
        <p:txBody>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r>
              <a:rPr lang="en-US" sz="1000" b="1" dirty="0">
                <a:solidFill>
                  <a:srgbClr val="00944A"/>
                </a:solidFill>
              </a:rPr>
              <a:t>Applications and nodes are key for transaction and storing communication history </a:t>
            </a:r>
          </a:p>
        </p:txBody>
      </p:sp>
      <p:sp>
        <p:nvSpPr>
          <p:cNvPr id="19" name="Text Placeholder 9"/>
          <p:cNvSpPr txBox="1">
            <a:spLocks/>
          </p:cNvSpPr>
          <p:nvPr/>
        </p:nvSpPr>
        <p:spPr>
          <a:xfrm>
            <a:off x="3845005" y="6136880"/>
            <a:ext cx="2200195" cy="257369"/>
          </a:xfrm>
          <a:prstGeom prst="rect">
            <a:avLst/>
          </a:prstGeom>
          <a:solidFill>
            <a:schemeClr val="bg1"/>
          </a:solidFill>
        </p:spPr>
        <p:txBody>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r>
              <a:rPr lang="en-US" sz="1000" b="1" dirty="0">
                <a:solidFill>
                  <a:srgbClr val="00944A"/>
                </a:solidFill>
              </a:rPr>
              <a:t>Successful validation is needed for execution of a transaction</a:t>
            </a:r>
          </a:p>
        </p:txBody>
      </p:sp>
      <p:sp>
        <p:nvSpPr>
          <p:cNvPr id="6" name="Rectangle 5"/>
          <p:cNvSpPr/>
          <p:nvPr/>
        </p:nvSpPr>
        <p:spPr>
          <a:xfrm>
            <a:off x="4174228" y="1104452"/>
            <a:ext cx="4213400" cy="3231654"/>
          </a:xfrm>
          <a:prstGeom prst="rect">
            <a:avLst/>
          </a:prstGeom>
        </p:spPr>
        <p:txBody>
          <a:bodyPr wrap="square">
            <a:spAutoFit/>
          </a:bodyPr>
          <a:lstStyle/>
          <a:p>
            <a:r>
              <a:rPr lang="en-GB" sz="1200" dirty="0">
                <a:solidFill>
                  <a:srgbClr val="0070C0"/>
                </a:solidFill>
              </a:rPr>
              <a:t>Blockchain is a distributed, digital transaction technology that allows for securely storing data and executing smart contracts in peer-to-peer networks</a:t>
            </a:r>
          </a:p>
          <a:p>
            <a:endParaRPr lang="en-GB" sz="1200" dirty="0">
              <a:solidFill>
                <a:srgbClr val="0070C0"/>
              </a:solidFill>
            </a:endParaRPr>
          </a:p>
          <a:p>
            <a:pPr marL="285750" indent="-285750">
              <a:buFont typeface="Arial" panose="020B0604020202020204" pitchFamily="34" charset="0"/>
              <a:buChar char="•"/>
            </a:pPr>
            <a:r>
              <a:rPr lang="en-GB" sz="1200" dirty="0"/>
              <a:t>contains a </a:t>
            </a:r>
            <a:r>
              <a:rPr lang="en-GB" sz="1200" b="1" dirty="0">
                <a:solidFill>
                  <a:srgbClr val="0070C0"/>
                </a:solidFill>
              </a:rPr>
              <a:t>continuously growing list of data records</a:t>
            </a:r>
            <a:r>
              <a:rPr lang="en-GB" sz="1200" dirty="0"/>
              <a:t>, the so-called blocks: </a:t>
            </a:r>
            <a:r>
              <a:rPr lang="en-GB" sz="1200" dirty="0">
                <a:solidFill>
                  <a:srgbClr val="0070C0"/>
                </a:solidFill>
              </a:rPr>
              <a:t>•</a:t>
            </a:r>
            <a:r>
              <a:rPr lang="en-GB" sz="1200" dirty="0"/>
              <a:t> time-stamped </a:t>
            </a:r>
            <a:r>
              <a:rPr lang="en-GB" sz="1200" dirty="0">
                <a:solidFill>
                  <a:srgbClr val="0070C0"/>
                </a:solidFill>
              </a:rPr>
              <a:t>•</a:t>
            </a:r>
            <a:r>
              <a:rPr lang="en-GB" sz="1200" dirty="0"/>
              <a:t> shared </a:t>
            </a:r>
            <a:r>
              <a:rPr lang="en-GB" sz="1200" dirty="0">
                <a:solidFill>
                  <a:srgbClr val="0070C0"/>
                </a:solidFill>
              </a:rPr>
              <a:t>•</a:t>
            </a:r>
            <a:r>
              <a:rPr lang="en-GB" sz="1200" dirty="0"/>
              <a:t> unalterable </a:t>
            </a:r>
            <a:r>
              <a:rPr lang="en-GB" sz="1200" dirty="0">
                <a:solidFill>
                  <a:srgbClr val="0070C0"/>
                </a:solidFill>
              </a:rPr>
              <a:t>•</a:t>
            </a:r>
            <a:r>
              <a:rPr lang="en-GB" sz="1200" dirty="0"/>
              <a:t> connected to preceding blocks;</a:t>
            </a:r>
          </a:p>
          <a:p>
            <a:pPr marL="285750" indent="-285750">
              <a:buFont typeface="Arial" panose="020B0604020202020204" pitchFamily="34" charset="0"/>
              <a:buChar char="•"/>
            </a:pPr>
            <a:r>
              <a:rPr lang="en-GB" sz="1200" dirty="0"/>
              <a:t>blocks contain data and programs, batches of individual transactions, and executables</a:t>
            </a:r>
          </a:p>
          <a:p>
            <a:pPr marL="285750" indent="-285750">
              <a:buFont typeface="Arial" panose="020B0604020202020204" pitchFamily="34" charset="0"/>
              <a:buChar char="•"/>
            </a:pPr>
            <a:r>
              <a:rPr lang="en-GB" sz="1200" dirty="0"/>
              <a:t>transactions are verified by computers run by the network’s users, the so-called nodes, in short intervals; they are distributed, public, and encrypted</a:t>
            </a:r>
          </a:p>
          <a:p>
            <a:pPr marL="285750" indent="-285750">
              <a:buFont typeface="Arial" panose="020B0604020202020204" pitchFamily="34" charset="0"/>
              <a:buChar char="•"/>
            </a:pPr>
            <a:endParaRPr lang="en-GB" sz="1200" dirty="0"/>
          </a:p>
          <a:p>
            <a:r>
              <a:rPr lang="en-GB" sz="1200" dirty="0"/>
              <a:t>A transaction platform based on Blockchain may be set up as a </a:t>
            </a:r>
            <a:r>
              <a:rPr lang="en-GB" sz="1200" b="1" dirty="0">
                <a:solidFill>
                  <a:srgbClr val="0070C0"/>
                </a:solidFill>
              </a:rPr>
              <a:t>private network </a:t>
            </a:r>
            <a:r>
              <a:rPr lang="en-GB" sz="1200" dirty="0"/>
              <a:t>with authorized access, for example as an internal strategy of a bank to reduce transaction costs, or as a public network with open access</a:t>
            </a:r>
          </a:p>
        </p:txBody>
      </p:sp>
      <p:sp>
        <p:nvSpPr>
          <p:cNvPr id="7" name="Oval 6"/>
          <p:cNvSpPr/>
          <p:nvPr/>
        </p:nvSpPr>
        <p:spPr>
          <a:xfrm>
            <a:off x="558800" y="1839213"/>
            <a:ext cx="245372" cy="218187"/>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200" dirty="0"/>
              <a:t>1</a:t>
            </a:r>
            <a:endParaRPr lang="ru-RU" sz="1200" dirty="0"/>
          </a:p>
        </p:txBody>
      </p:sp>
      <p:sp>
        <p:nvSpPr>
          <p:cNvPr id="20" name="Oval 19"/>
          <p:cNvSpPr/>
          <p:nvPr/>
        </p:nvSpPr>
        <p:spPr>
          <a:xfrm>
            <a:off x="558800" y="3378200"/>
            <a:ext cx="245372" cy="218187"/>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200" dirty="0"/>
              <a:t>2</a:t>
            </a:r>
            <a:endParaRPr lang="ru-RU" sz="1200" dirty="0"/>
          </a:p>
        </p:txBody>
      </p:sp>
      <p:sp>
        <p:nvSpPr>
          <p:cNvPr id="21" name="Oval 20"/>
          <p:cNvSpPr/>
          <p:nvPr/>
        </p:nvSpPr>
        <p:spPr>
          <a:xfrm>
            <a:off x="1532628" y="5242813"/>
            <a:ext cx="245372" cy="218187"/>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200" dirty="0"/>
              <a:t>3</a:t>
            </a:r>
            <a:endParaRPr lang="ru-RU" sz="1200" dirty="0"/>
          </a:p>
        </p:txBody>
      </p:sp>
      <p:sp>
        <p:nvSpPr>
          <p:cNvPr id="22" name="Oval 21"/>
          <p:cNvSpPr/>
          <p:nvPr/>
        </p:nvSpPr>
        <p:spPr>
          <a:xfrm>
            <a:off x="5181600" y="5395213"/>
            <a:ext cx="245372" cy="218187"/>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200" dirty="0"/>
              <a:t>4</a:t>
            </a:r>
            <a:endParaRPr lang="ru-RU" sz="1200" dirty="0"/>
          </a:p>
        </p:txBody>
      </p:sp>
    </p:spTree>
    <p:extLst>
      <p:ext uri="{BB962C8B-B14F-4D97-AF65-F5344CB8AC3E}">
        <p14:creationId xmlns:p14="http://schemas.microsoft.com/office/powerpoint/2010/main" val="19035597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400" dirty="0" err="1">
                <a:solidFill>
                  <a:srgbClr val="00944A"/>
                </a:solidFill>
              </a:rPr>
              <a:t>Cost</a:t>
            </a:r>
            <a:r>
              <a:rPr lang="de-DE" sz="2400" dirty="0">
                <a:solidFill>
                  <a:srgbClr val="00944A"/>
                </a:solidFill>
              </a:rPr>
              <a:t> </a:t>
            </a:r>
            <a:r>
              <a:rPr lang="de-DE" sz="2400" dirty="0" err="1">
                <a:solidFill>
                  <a:srgbClr val="00944A"/>
                </a:solidFill>
              </a:rPr>
              <a:t>drivers</a:t>
            </a:r>
            <a:r>
              <a:rPr lang="de-DE" sz="2400" dirty="0">
                <a:solidFill>
                  <a:srgbClr val="00944A"/>
                </a:solidFill>
              </a:rPr>
              <a:t> </a:t>
            </a:r>
            <a:r>
              <a:rPr lang="de-DE" sz="2400" dirty="0" err="1">
                <a:solidFill>
                  <a:srgbClr val="00944A"/>
                </a:solidFill>
              </a:rPr>
              <a:t>differ</a:t>
            </a:r>
            <a:r>
              <a:rPr lang="de-DE" sz="2400" dirty="0">
                <a:solidFill>
                  <a:srgbClr val="00944A"/>
                </a:solidFill>
              </a:rPr>
              <a:t> </a:t>
            </a:r>
            <a:r>
              <a:rPr lang="de-DE" sz="2400" dirty="0" err="1">
                <a:solidFill>
                  <a:srgbClr val="00944A"/>
                </a:solidFill>
              </a:rPr>
              <a:t>along</a:t>
            </a:r>
            <a:r>
              <a:rPr lang="de-DE" sz="2400" dirty="0">
                <a:solidFill>
                  <a:srgbClr val="00944A"/>
                </a:solidFill>
              </a:rPr>
              <a:t> </a:t>
            </a:r>
            <a:r>
              <a:rPr lang="de-DE" sz="2400" dirty="0" err="1">
                <a:solidFill>
                  <a:srgbClr val="00944A"/>
                </a:solidFill>
              </a:rPr>
              <a:t>the</a:t>
            </a:r>
            <a:r>
              <a:rPr lang="de-DE" sz="2400" dirty="0">
                <a:solidFill>
                  <a:srgbClr val="00944A"/>
                </a:solidFill>
              </a:rPr>
              <a:t> </a:t>
            </a:r>
            <a:r>
              <a:rPr lang="de-DE" sz="2400" dirty="0" err="1">
                <a:solidFill>
                  <a:srgbClr val="00944A"/>
                </a:solidFill>
              </a:rPr>
              <a:t>trade</a:t>
            </a:r>
            <a:r>
              <a:rPr lang="de-DE" sz="2400" dirty="0">
                <a:solidFill>
                  <a:srgbClr val="00944A"/>
                </a:solidFill>
              </a:rPr>
              <a:t> </a:t>
            </a:r>
            <a:r>
              <a:rPr lang="de-DE" sz="2400" dirty="0" err="1">
                <a:solidFill>
                  <a:srgbClr val="00944A"/>
                </a:solidFill>
              </a:rPr>
              <a:t>lifecycle</a:t>
            </a:r>
            <a:endParaRPr lang="de-DE" sz="2400" dirty="0">
              <a:solidFill>
                <a:srgbClr val="00944A"/>
              </a:solidFill>
            </a:endParaRPr>
          </a:p>
        </p:txBody>
      </p:sp>
      <p:sp>
        <p:nvSpPr>
          <p:cNvPr id="3" name="Foliennummernplatzhalter 2"/>
          <p:cNvSpPr>
            <a:spLocks noGrp="1"/>
          </p:cNvSpPr>
          <p:nvPr>
            <p:ph type="sldNum" sz="quarter" idx="12"/>
          </p:nvPr>
        </p:nvSpPr>
        <p:spPr/>
        <p:txBody>
          <a:bodyPr/>
          <a:lstStyle/>
          <a:p>
            <a:fld id="{9D543ADB-E95E-4587-963D-D3C6AB2E96C0}" type="slidenum">
              <a:rPr lang="de-DE" smtClean="0"/>
              <a:pPr/>
              <a:t>7</a:t>
            </a:fld>
            <a:endParaRPr lang="de-DE"/>
          </a:p>
        </p:txBody>
      </p:sp>
      <p:sp>
        <p:nvSpPr>
          <p:cNvPr id="4" name="Pfeil nach rechts 6"/>
          <p:cNvSpPr/>
          <p:nvPr/>
        </p:nvSpPr>
        <p:spPr bwMode="gray">
          <a:xfrm>
            <a:off x="2383348" y="2901476"/>
            <a:ext cx="6303452" cy="753767"/>
          </a:xfrm>
          <a:prstGeom prst="rightArrow">
            <a:avLst>
              <a:gd name="adj1" fmla="val 52527"/>
              <a:gd name="adj2" fmla="val 59234"/>
            </a:avLst>
          </a:prstGeom>
          <a:solidFill>
            <a:srgbClr val="B3B3B3"/>
          </a:solidFill>
          <a:ln w="12700">
            <a:noFill/>
            <a:round/>
            <a:headEnd/>
            <a:tailEnd/>
          </a:ln>
          <a:effectLst/>
        </p:spPr>
        <p:txBody>
          <a:bodyPr lIns="91438" tIns="45719" rIns="91438" bIns="45719" rtlCol="0" anchor="ctr"/>
          <a:lstStyle/>
          <a:p>
            <a:pPr marL="0" marR="0" lvl="0" indent="0" algn="ctr" defTabSz="1219170" eaLnBrk="1" fontAlgn="auto" latinLnBrk="0" hangingPunct="1">
              <a:lnSpc>
                <a:spcPct val="90000"/>
              </a:lnSpc>
              <a:spcBef>
                <a:spcPts val="0"/>
              </a:spcBef>
              <a:spcAft>
                <a:spcPts val="0"/>
              </a:spcAft>
              <a:buClrTx/>
              <a:buSzTx/>
              <a:buFontTx/>
              <a:buNone/>
              <a:tabLst/>
              <a:defRPr/>
            </a:pPr>
            <a:r>
              <a:rPr lang="en-US" sz="1600" kern="0" dirty="0">
                <a:solidFill>
                  <a:srgbClr val="FFFFFF"/>
                </a:solidFill>
              </a:rPr>
              <a:t>post-deal execution</a:t>
            </a:r>
            <a:endParaRPr kumimoji="0" lang="en-US" sz="1600" b="0" i="0" u="none" strike="noStrike" kern="0" cap="none" spc="0" normalizeH="0" baseline="0" noProof="0" dirty="0">
              <a:ln>
                <a:noFill/>
              </a:ln>
              <a:solidFill>
                <a:srgbClr val="FFFFFF"/>
              </a:solidFill>
              <a:effectLst/>
              <a:uLnTx/>
              <a:uFillTx/>
            </a:endParaRPr>
          </a:p>
        </p:txBody>
      </p:sp>
      <p:grpSp>
        <p:nvGrpSpPr>
          <p:cNvPr id="39" name="Gruppieren 38"/>
          <p:cNvGrpSpPr/>
          <p:nvPr/>
        </p:nvGrpSpPr>
        <p:grpSpPr>
          <a:xfrm>
            <a:off x="2444308" y="2057400"/>
            <a:ext cx="1314892" cy="1083573"/>
            <a:chOff x="2555144" y="2377068"/>
            <a:chExt cx="1314892" cy="1083573"/>
          </a:xfrm>
        </p:grpSpPr>
        <p:sp>
          <p:nvSpPr>
            <p:cNvPr id="9" name="Text Box 24" descr="© INSCALE GmbH, 26.05.2010&#10;http://www.presentationload.com/"/>
            <p:cNvSpPr txBox="1">
              <a:spLocks noChangeArrowheads="1"/>
            </p:cNvSpPr>
            <p:nvPr/>
          </p:nvSpPr>
          <p:spPr bwMode="gray">
            <a:xfrm>
              <a:off x="2555144" y="2377068"/>
              <a:ext cx="1314892" cy="738664"/>
            </a:xfrm>
            <a:prstGeom prst="rect">
              <a:avLst/>
            </a:prstGeom>
            <a:noFill/>
            <a:ln w="9525">
              <a:noFill/>
              <a:miter lim="800000"/>
              <a:headEnd/>
              <a:tailEnd/>
            </a:ln>
            <a:effectLst/>
          </p:spPr>
          <p:txBody>
            <a:bodyPr wrap="square" lIns="108000" tIns="0" rIns="0" bIns="0">
              <a:spAutoFit/>
            </a:bodyPr>
            <a:lstStyle/>
            <a:p>
              <a:pPr defTabSz="1219170"/>
              <a:r>
                <a:rPr lang="en-US" sz="1600" b="1" dirty="0">
                  <a:solidFill>
                    <a:schemeClr val="tx2">
                      <a:lumMod val="60000"/>
                      <a:lumOff val="40000"/>
                    </a:schemeClr>
                  </a:solidFill>
                  <a:cs typeface="Arial" charset="0"/>
                </a:rPr>
                <a:t>Deal Capture</a:t>
              </a:r>
              <a:br>
                <a:rPr lang="en-US" sz="1600" b="1" dirty="0">
                  <a:solidFill>
                    <a:schemeClr val="tx2">
                      <a:lumMod val="60000"/>
                      <a:lumOff val="40000"/>
                    </a:schemeClr>
                  </a:solidFill>
                  <a:cs typeface="Arial" charset="0"/>
                </a:rPr>
              </a:br>
              <a:endParaRPr lang="en-US" sz="1600" dirty="0">
                <a:solidFill>
                  <a:schemeClr val="tx2">
                    <a:lumMod val="60000"/>
                    <a:lumOff val="40000"/>
                  </a:schemeClr>
                </a:solidFill>
                <a:cs typeface="Arial" charset="0"/>
              </a:endParaRPr>
            </a:p>
          </p:txBody>
        </p:sp>
        <p:sp>
          <p:nvSpPr>
            <p:cNvPr id="10" name="Line 55" descr="© INSCALE GmbH, 26.05.2010&#10;http://www.presentationload.com/"/>
            <p:cNvSpPr>
              <a:spLocks noChangeShapeType="1"/>
            </p:cNvSpPr>
            <p:nvPr/>
          </p:nvSpPr>
          <p:spPr bwMode="gray">
            <a:xfrm flipV="1">
              <a:off x="2555144" y="2419971"/>
              <a:ext cx="0" cy="1040670"/>
            </a:xfrm>
            <a:prstGeom prst="line">
              <a:avLst/>
            </a:prstGeom>
            <a:noFill/>
            <a:ln w="9525">
              <a:solidFill>
                <a:srgbClr val="5E5E5E"/>
              </a:solidFill>
              <a:prstDash val="solid"/>
              <a:round/>
              <a:headEnd type="oval" w="med" len="med"/>
              <a:tailEnd type="none"/>
            </a:ln>
            <a:effectLst/>
          </p:spPr>
          <p:txBody>
            <a:bodyPr tIns="0"/>
            <a:lstStyle/>
            <a:p>
              <a:pPr marL="0" marR="0" lvl="0" indent="0" defTabSz="1219170" eaLnBrk="1" fontAlgn="auto" latinLnBrk="0" hangingPunct="1">
                <a:lnSpc>
                  <a:spcPct val="90000"/>
                </a:lnSpc>
                <a:spcBef>
                  <a:spcPts val="0"/>
                </a:spcBef>
                <a:spcAft>
                  <a:spcPts val="800"/>
                </a:spcAft>
                <a:buClrTx/>
                <a:buSzTx/>
                <a:buFontTx/>
                <a:buNone/>
                <a:tabLst/>
                <a:defRPr/>
              </a:pPr>
              <a:endParaRPr kumimoji="0" lang="en-US" sz="2400" b="0" i="0" u="none" strike="noStrike" kern="0" cap="none" spc="0" normalizeH="0" baseline="0" noProof="0" dirty="0">
                <a:ln>
                  <a:noFill/>
                </a:ln>
                <a:solidFill>
                  <a:schemeClr val="tx2">
                    <a:lumMod val="50000"/>
                  </a:schemeClr>
                </a:solidFill>
                <a:effectLst/>
                <a:uLnTx/>
                <a:uFillTx/>
              </a:endParaRPr>
            </a:p>
          </p:txBody>
        </p:sp>
      </p:grpSp>
      <p:grpSp>
        <p:nvGrpSpPr>
          <p:cNvPr id="43" name="Gruppieren 42"/>
          <p:cNvGrpSpPr/>
          <p:nvPr/>
        </p:nvGrpSpPr>
        <p:grpSpPr>
          <a:xfrm>
            <a:off x="4064048" y="1346200"/>
            <a:ext cx="1586486" cy="1764000"/>
            <a:chOff x="4276483" y="1695539"/>
            <a:chExt cx="1586486" cy="1764000"/>
          </a:xfrm>
        </p:grpSpPr>
        <p:sp>
          <p:nvSpPr>
            <p:cNvPr id="11" name="Text Box 24" descr="© INSCALE GmbH, 26.05.2010&#10;http://www.presentationload.com/"/>
            <p:cNvSpPr txBox="1">
              <a:spLocks noChangeArrowheads="1"/>
            </p:cNvSpPr>
            <p:nvPr/>
          </p:nvSpPr>
          <p:spPr bwMode="gray">
            <a:xfrm>
              <a:off x="4276483" y="1721253"/>
              <a:ext cx="1586486" cy="492443"/>
            </a:xfrm>
            <a:prstGeom prst="rect">
              <a:avLst/>
            </a:prstGeom>
            <a:noFill/>
            <a:ln w="9525">
              <a:noFill/>
              <a:miter lim="800000"/>
              <a:headEnd/>
              <a:tailEnd/>
            </a:ln>
            <a:effectLst/>
          </p:spPr>
          <p:txBody>
            <a:bodyPr lIns="108000" tIns="0" rIns="0" bIns="0">
              <a:spAutoFit/>
            </a:bodyPr>
            <a:lstStyle/>
            <a:p>
              <a:pPr defTabSz="1219170"/>
              <a:r>
                <a:rPr lang="en-US" sz="1600" b="1" dirty="0">
                  <a:solidFill>
                    <a:schemeClr val="tx2">
                      <a:lumMod val="50000"/>
                    </a:schemeClr>
                  </a:solidFill>
                  <a:cs typeface="Arial" charset="0"/>
                </a:rPr>
                <a:t>Confirmation</a:t>
              </a:r>
              <a:br>
                <a:rPr lang="en-US" sz="1600" b="1" dirty="0">
                  <a:solidFill>
                    <a:schemeClr val="tx2">
                      <a:lumMod val="50000"/>
                    </a:schemeClr>
                  </a:solidFill>
                  <a:cs typeface="Arial" charset="0"/>
                </a:rPr>
              </a:br>
              <a:endParaRPr lang="en-US" sz="1600" dirty="0">
                <a:solidFill>
                  <a:schemeClr val="tx2">
                    <a:lumMod val="50000"/>
                  </a:schemeClr>
                </a:solidFill>
                <a:cs typeface="Arial" charset="0"/>
              </a:endParaRPr>
            </a:p>
          </p:txBody>
        </p:sp>
        <p:sp>
          <p:nvSpPr>
            <p:cNvPr id="12" name="Line 55" descr="© INSCALE GmbH, 26.05.2010&#10;http://www.presentationload.com/"/>
            <p:cNvSpPr>
              <a:spLocks noChangeShapeType="1"/>
            </p:cNvSpPr>
            <p:nvPr/>
          </p:nvSpPr>
          <p:spPr bwMode="gray">
            <a:xfrm flipV="1">
              <a:off x="4276483" y="1695539"/>
              <a:ext cx="0" cy="1764000"/>
            </a:xfrm>
            <a:prstGeom prst="line">
              <a:avLst/>
            </a:prstGeom>
            <a:noFill/>
            <a:ln w="12700">
              <a:solidFill>
                <a:srgbClr val="5E5E5E"/>
              </a:solidFill>
              <a:prstDash val="solid"/>
              <a:round/>
              <a:headEnd type="oval" w="med" len="med"/>
              <a:tailEnd type="none"/>
            </a:ln>
            <a:effectLst/>
          </p:spPr>
          <p:txBody>
            <a:bodyPr tIns="0"/>
            <a:lstStyle/>
            <a:p>
              <a:pPr marL="0" marR="0" lvl="0" indent="0" defTabSz="1219170" eaLnBrk="1" fontAlgn="auto" latinLnBrk="0" hangingPunct="1">
                <a:lnSpc>
                  <a:spcPct val="90000"/>
                </a:lnSpc>
                <a:spcBef>
                  <a:spcPts val="0"/>
                </a:spcBef>
                <a:spcAft>
                  <a:spcPts val="800"/>
                </a:spcAft>
                <a:buClrTx/>
                <a:buSzTx/>
                <a:buFontTx/>
                <a:buNone/>
                <a:tabLst/>
                <a:defRPr/>
              </a:pPr>
              <a:endParaRPr kumimoji="0" lang="en-US" sz="2400" b="0" i="0" u="none" strike="noStrike" kern="0" cap="none" spc="0" normalizeH="0" baseline="0" noProof="0" dirty="0">
                <a:ln>
                  <a:noFill/>
                </a:ln>
                <a:solidFill>
                  <a:srgbClr val="5E5E5E">
                    <a:lumMod val="10000"/>
                  </a:srgbClr>
                </a:solidFill>
                <a:effectLst/>
                <a:uLnTx/>
                <a:uFillTx/>
              </a:endParaRPr>
            </a:p>
          </p:txBody>
        </p:sp>
      </p:grpSp>
      <p:grpSp>
        <p:nvGrpSpPr>
          <p:cNvPr id="40" name="Gruppieren 39"/>
          <p:cNvGrpSpPr/>
          <p:nvPr/>
        </p:nvGrpSpPr>
        <p:grpSpPr>
          <a:xfrm>
            <a:off x="5737076" y="2006600"/>
            <a:ext cx="1425774" cy="1083573"/>
            <a:chOff x="2555144" y="2377068"/>
            <a:chExt cx="1425774" cy="1083573"/>
          </a:xfrm>
        </p:grpSpPr>
        <p:sp>
          <p:nvSpPr>
            <p:cNvPr id="41" name="Text Box 24" descr="© INSCALE GmbH, 26.05.2010&#10;http://www.presentationload.com/"/>
            <p:cNvSpPr txBox="1">
              <a:spLocks noChangeArrowheads="1"/>
            </p:cNvSpPr>
            <p:nvPr/>
          </p:nvSpPr>
          <p:spPr bwMode="gray">
            <a:xfrm>
              <a:off x="2555144" y="2377068"/>
              <a:ext cx="1425774" cy="492443"/>
            </a:xfrm>
            <a:prstGeom prst="rect">
              <a:avLst/>
            </a:prstGeom>
            <a:noFill/>
            <a:ln w="9525">
              <a:noFill/>
              <a:miter lim="800000"/>
              <a:headEnd/>
              <a:tailEnd/>
            </a:ln>
            <a:effectLst/>
          </p:spPr>
          <p:txBody>
            <a:bodyPr wrap="square" lIns="108000" tIns="0" rIns="0" bIns="0">
              <a:spAutoFit/>
            </a:bodyPr>
            <a:lstStyle/>
            <a:p>
              <a:pPr defTabSz="1219170"/>
              <a:r>
                <a:rPr lang="en-US" sz="1600" b="1" dirty="0">
                  <a:solidFill>
                    <a:schemeClr val="tx2">
                      <a:lumMod val="60000"/>
                      <a:lumOff val="40000"/>
                    </a:schemeClr>
                  </a:solidFill>
                  <a:cs typeface="Arial" charset="0"/>
                </a:rPr>
                <a:t>Dispatching</a:t>
              </a:r>
              <a:br>
                <a:rPr lang="en-US" sz="1600" b="1" dirty="0">
                  <a:solidFill>
                    <a:schemeClr val="tx2">
                      <a:lumMod val="60000"/>
                      <a:lumOff val="40000"/>
                    </a:schemeClr>
                  </a:solidFill>
                  <a:cs typeface="Arial" charset="0"/>
                </a:rPr>
              </a:br>
              <a:endParaRPr lang="en-US" sz="1600" dirty="0">
                <a:solidFill>
                  <a:schemeClr val="tx2">
                    <a:lumMod val="60000"/>
                    <a:lumOff val="40000"/>
                  </a:schemeClr>
                </a:solidFill>
                <a:cs typeface="Arial" charset="0"/>
              </a:endParaRPr>
            </a:p>
          </p:txBody>
        </p:sp>
        <p:sp>
          <p:nvSpPr>
            <p:cNvPr id="42" name="Line 55" descr="© INSCALE GmbH, 26.05.2010&#10;http://www.presentationload.com/"/>
            <p:cNvSpPr>
              <a:spLocks noChangeShapeType="1"/>
            </p:cNvSpPr>
            <p:nvPr/>
          </p:nvSpPr>
          <p:spPr bwMode="gray">
            <a:xfrm flipV="1">
              <a:off x="2555144" y="2419971"/>
              <a:ext cx="0" cy="1040670"/>
            </a:xfrm>
            <a:prstGeom prst="line">
              <a:avLst/>
            </a:prstGeom>
            <a:noFill/>
            <a:ln w="9525">
              <a:solidFill>
                <a:srgbClr val="5E5E5E"/>
              </a:solidFill>
              <a:prstDash val="solid"/>
              <a:round/>
              <a:headEnd type="oval" w="med" len="med"/>
              <a:tailEnd type="none"/>
            </a:ln>
            <a:effectLst/>
          </p:spPr>
          <p:txBody>
            <a:bodyPr tIns="0"/>
            <a:lstStyle/>
            <a:p>
              <a:pPr marL="0" marR="0" lvl="0" indent="0" defTabSz="1219170" eaLnBrk="1" fontAlgn="auto" latinLnBrk="0" hangingPunct="1">
                <a:lnSpc>
                  <a:spcPct val="90000"/>
                </a:lnSpc>
                <a:spcBef>
                  <a:spcPts val="0"/>
                </a:spcBef>
                <a:spcAft>
                  <a:spcPts val="800"/>
                </a:spcAft>
                <a:buClrTx/>
                <a:buSzTx/>
                <a:buFontTx/>
                <a:buNone/>
                <a:tabLst/>
                <a:defRPr/>
              </a:pPr>
              <a:endParaRPr kumimoji="0" lang="en-US" sz="2400" b="0" i="0" u="none" strike="noStrike" kern="0" cap="none" spc="0" normalizeH="0" baseline="0" noProof="0" dirty="0">
                <a:ln>
                  <a:noFill/>
                </a:ln>
                <a:solidFill>
                  <a:schemeClr val="tx2">
                    <a:lumMod val="60000"/>
                    <a:lumOff val="40000"/>
                  </a:schemeClr>
                </a:solidFill>
                <a:effectLst/>
                <a:uLnTx/>
                <a:uFillTx/>
              </a:endParaRPr>
            </a:p>
          </p:txBody>
        </p:sp>
      </p:grpSp>
      <p:grpSp>
        <p:nvGrpSpPr>
          <p:cNvPr id="44" name="Gruppieren 43"/>
          <p:cNvGrpSpPr/>
          <p:nvPr/>
        </p:nvGrpSpPr>
        <p:grpSpPr>
          <a:xfrm>
            <a:off x="7289664" y="1346200"/>
            <a:ext cx="1586486" cy="1764000"/>
            <a:chOff x="4276483" y="1695539"/>
            <a:chExt cx="1586486" cy="1764000"/>
          </a:xfrm>
        </p:grpSpPr>
        <p:sp>
          <p:nvSpPr>
            <p:cNvPr id="45" name="Text Box 24" descr="© INSCALE GmbH, 26.05.2010&#10;http://www.presentationload.com/"/>
            <p:cNvSpPr txBox="1">
              <a:spLocks noChangeArrowheads="1"/>
            </p:cNvSpPr>
            <p:nvPr/>
          </p:nvSpPr>
          <p:spPr bwMode="gray">
            <a:xfrm>
              <a:off x="4276483" y="1721253"/>
              <a:ext cx="1586486" cy="738664"/>
            </a:xfrm>
            <a:prstGeom prst="rect">
              <a:avLst/>
            </a:prstGeom>
            <a:noFill/>
            <a:ln w="9525">
              <a:noFill/>
              <a:miter lim="800000"/>
              <a:headEnd/>
              <a:tailEnd/>
            </a:ln>
            <a:effectLst/>
          </p:spPr>
          <p:txBody>
            <a:bodyPr lIns="108000" tIns="0" rIns="0" bIns="0">
              <a:spAutoFit/>
            </a:bodyPr>
            <a:lstStyle/>
            <a:p>
              <a:pPr defTabSz="1219170"/>
              <a:r>
                <a:rPr lang="en-US" sz="1600" b="1" dirty="0">
                  <a:solidFill>
                    <a:schemeClr val="tx2">
                      <a:lumMod val="75000"/>
                    </a:schemeClr>
                  </a:solidFill>
                  <a:cs typeface="Arial" charset="0"/>
                </a:rPr>
                <a:t>Invoicing &amp; Settlement</a:t>
              </a:r>
              <a:br>
                <a:rPr lang="en-US" sz="1600" b="1" dirty="0">
                  <a:solidFill>
                    <a:schemeClr val="tx2">
                      <a:lumMod val="75000"/>
                    </a:schemeClr>
                  </a:solidFill>
                  <a:cs typeface="Arial" charset="0"/>
                </a:rPr>
              </a:br>
              <a:endParaRPr lang="en-US" sz="1600" dirty="0">
                <a:solidFill>
                  <a:schemeClr val="tx2">
                    <a:lumMod val="75000"/>
                  </a:schemeClr>
                </a:solidFill>
                <a:cs typeface="Arial" charset="0"/>
              </a:endParaRPr>
            </a:p>
          </p:txBody>
        </p:sp>
        <p:sp>
          <p:nvSpPr>
            <p:cNvPr id="46" name="Line 55" descr="© INSCALE GmbH, 26.05.2010&#10;http://www.presentationload.com/"/>
            <p:cNvSpPr>
              <a:spLocks noChangeShapeType="1"/>
            </p:cNvSpPr>
            <p:nvPr/>
          </p:nvSpPr>
          <p:spPr bwMode="gray">
            <a:xfrm flipV="1">
              <a:off x="4276483" y="1695539"/>
              <a:ext cx="0" cy="1764000"/>
            </a:xfrm>
            <a:prstGeom prst="line">
              <a:avLst/>
            </a:prstGeom>
            <a:noFill/>
            <a:ln w="12700">
              <a:solidFill>
                <a:srgbClr val="5E5E5E"/>
              </a:solidFill>
              <a:prstDash val="solid"/>
              <a:round/>
              <a:headEnd type="oval" w="med" len="med"/>
              <a:tailEnd type="none"/>
            </a:ln>
            <a:effectLst/>
          </p:spPr>
          <p:txBody>
            <a:bodyPr tIns="0"/>
            <a:lstStyle/>
            <a:p>
              <a:pPr marL="0" marR="0" lvl="0" indent="0" defTabSz="1219170" eaLnBrk="1" fontAlgn="auto" latinLnBrk="0" hangingPunct="1">
                <a:lnSpc>
                  <a:spcPct val="90000"/>
                </a:lnSpc>
                <a:spcBef>
                  <a:spcPts val="0"/>
                </a:spcBef>
                <a:spcAft>
                  <a:spcPts val="800"/>
                </a:spcAft>
                <a:buClrTx/>
                <a:buSzTx/>
                <a:buFontTx/>
                <a:buNone/>
                <a:tabLst/>
                <a:defRPr/>
              </a:pPr>
              <a:endParaRPr kumimoji="0" lang="en-US" sz="2400" b="0" i="0" u="none" strike="noStrike" kern="0" cap="none" spc="0" normalizeH="0" baseline="0" noProof="0" dirty="0">
                <a:ln>
                  <a:noFill/>
                </a:ln>
                <a:solidFill>
                  <a:srgbClr val="5E5E5E">
                    <a:lumMod val="10000"/>
                  </a:srgbClr>
                </a:solidFill>
                <a:effectLst/>
                <a:uLnTx/>
                <a:uFillTx/>
              </a:endParaRPr>
            </a:p>
          </p:txBody>
        </p:sp>
      </p:grpSp>
      <p:grpSp>
        <p:nvGrpSpPr>
          <p:cNvPr id="53" name="Gruppieren 52"/>
          <p:cNvGrpSpPr/>
          <p:nvPr/>
        </p:nvGrpSpPr>
        <p:grpSpPr>
          <a:xfrm>
            <a:off x="4165600" y="3479803"/>
            <a:ext cx="3239399" cy="2285996"/>
            <a:chOff x="1250606" y="3701029"/>
            <a:chExt cx="1611762" cy="3291630"/>
          </a:xfrm>
        </p:grpSpPr>
        <p:sp>
          <p:nvSpPr>
            <p:cNvPr id="54" name="Text Box 24" descr="© INSCALE GmbH, 26.05.2010&#10;http://www.presentationload.com/"/>
            <p:cNvSpPr txBox="1">
              <a:spLocks noChangeArrowheads="1"/>
            </p:cNvSpPr>
            <p:nvPr/>
          </p:nvSpPr>
          <p:spPr bwMode="gray">
            <a:xfrm flipH="1">
              <a:off x="1275882" y="3998872"/>
              <a:ext cx="1586486" cy="2481757"/>
            </a:xfrm>
            <a:prstGeom prst="rect">
              <a:avLst/>
            </a:prstGeom>
            <a:noFill/>
            <a:ln w="9525">
              <a:noFill/>
              <a:miter lim="800000"/>
              <a:headEnd/>
              <a:tailEnd/>
            </a:ln>
            <a:effectLst/>
          </p:spPr>
          <p:txBody>
            <a:bodyPr wrap="square" lIns="108000" tIns="0" rIns="0" bIns="0" anchor="b" anchorCtr="0">
              <a:spAutoFit/>
            </a:bodyPr>
            <a:lstStyle/>
            <a:p>
              <a:pPr defTabSz="1219170"/>
              <a:r>
                <a:rPr lang="en-US" sz="1600" b="1" dirty="0">
                  <a:solidFill>
                    <a:srgbClr val="E6252E"/>
                  </a:solidFill>
                  <a:cs typeface="Arial" charset="0"/>
                </a:rPr>
                <a:t>Cost Driver:</a:t>
              </a:r>
            </a:p>
            <a:p>
              <a:pPr defTabSz="1219170"/>
              <a:r>
                <a:rPr lang="en-US" sz="1600" dirty="0">
                  <a:solidFill>
                    <a:srgbClr val="0078DC"/>
                  </a:solidFill>
                  <a:cs typeface="Arial" charset="0"/>
                </a:rPr>
                <a:t>Double booking &amp; reconciliation</a:t>
              </a:r>
            </a:p>
            <a:p>
              <a:pPr defTabSz="1219170"/>
              <a:endParaRPr lang="en-US" sz="1600" dirty="0">
                <a:solidFill>
                  <a:srgbClr val="0078DC"/>
                </a:solidFill>
                <a:cs typeface="Arial" charset="0"/>
              </a:endParaRPr>
            </a:p>
            <a:p>
              <a:pPr defTabSz="1219170"/>
              <a:r>
                <a:rPr lang="en-US" sz="1600" dirty="0">
                  <a:solidFill>
                    <a:srgbClr val="00B050"/>
                  </a:solidFill>
                  <a:cs typeface="Arial" charset="0"/>
                </a:rPr>
                <a:t>Blockchain opportunity: </a:t>
              </a:r>
            </a:p>
            <a:p>
              <a:pPr defTabSz="1219170"/>
              <a:r>
                <a:rPr lang="en-US" sz="1600" dirty="0">
                  <a:solidFill>
                    <a:srgbClr val="0078DC"/>
                  </a:solidFill>
                  <a:cs typeface="Arial" charset="0"/>
                </a:rPr>
                <a:t>Use shared data to minimize reconciliation and prevent double booking</a:t>
              </a:r>
            </a:p>
          </p:txBody>
        </p:sp>
        <p:sp>
          <p:nvSpPr>
            <p:cNvPr id="55" name="Line 55" descr="© INSCALE GmbH, 26.05.2010&#10;http://www.presentationload.com/"/>
            <p:cNvSpPr>
              <a:spLocks noChangeShapeType="1"/>
            </p:cNvSpPr>
            <p:nvPr/>
          </p:nvSpPr>
          <p:spPr bwMode="gray">
            <a:xfrm flipH="1" flipV="1">
              <a:off x="1250606" y="3701029"/>
              <a:ext cx="0" cy="3291630"/>
            </a:xfrm>
            <a:prstGeom prst="line">
              <a:avLst/>
            </a:prstGeom>
            <a:noFill/>
            <a:ln w="12700" cap="flat">
              <a:solidFill>
                <a:srgbClr val="5E5E5E"/>
              </a:solidFill>
              <a:prstDash val="solid"/>
              <a:round/>
              <a:headEnd type="none" w="med" len="med"/>
              <a:tailEnd type="oval"/>
            </a:ln>
            <a:effectLst/>
          </p:spPr>
          <p:txBody>
            <a:bodyPr bIns="0"/>
            <a:lstStyle/>
            <a:p>
              <a:pPr marL="0" marR="0" lvl="0" indent="0" defTabSz="1219170" eaLnBrk="1" fontAlgn="auto" latinLnBrk="0" hangingPunct="1">
                <a:lnSpc>
                  <a:spcPct val="90000"/>
                </a:lnSpc>
                <a:spcBef>
                  <a:spcPts val="0"/>
                </a:spcBef>
                <a:spcAft>
                  <a:spcPts val="800"/>
                </a:spcAft>
                <a:buClrTx/>
                <a:buSzTx/>
                <a:buFontTx/>
                <a:buNone/>
                <a:tabLst/>
                <a:defRPr/>
              </a:pPr>
              <a:endParaRPr kumimoji="0" lang="en-US" sz="2400" b="0" i="0" u="none" strike="noStrike" kern="0" cap="none" spc="0" normalizeH="0" baseline="0" noProof="0" dirty="0">
                <a:ln>
                  <a:noFill/>
                </a:ln>
                <a:solidFill>
                  <a:srgbClr val="5E5E5E">
                    <a:lumMod val="10000"/>
                  </a:srgbClr>
                </a:solidFill>
                <a:effectLst/>
                <a:uLnTx/>
                <a:uFillTx/>
              </a:endParaRPr>
            </a:p>
          </p:txBody>
        </p:sp>
      </p:grpSp>
      <p:sp>
        <p:nvSpPr>
          <p:cNvPr id="33" name="Pfeil nach rechts 6"/>
          <p:cNvSpPr/>
          <p:nvPr/>
        </p:nvSpPr>
        <p:spPr bwMode="gray">
          <a:xfrm>
            <a:off x="558799" y="2901476"/>
            <a:ext cx="1783907" cy="731806"/>
          </a:xfrm>
          <a:prstGeom prst="rightArrow">
            <a:avLst>
              <a:gd name="adj1" fmla="val 52527"/>
              <a:gd name="adj2" fmla="val 59234"/>
            </a:avLst>
          </a:prstGeom>
          <a:solidFill>
            <a:srgbClr val="B3B3B3"/>
          </a:solidFill>
          <a:ln w="12700">
            <a:noFill/>
            <a:round/>
            <a:headEnd/>
            <a:tailEnd/>
          </a:ln>
          <a:effectLst/>
        </p:spPr>
        <p:txBody>
          <a:bodyPr lIns="91438" tIns="45719" rIns="91438" bIns="45719" rtlCol="0" anchor="ct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rPr>
              <a:t>deal execution</a:t>
            </a:r>
          </a:p>
        </p:txBody>
      </p:sp>
      <p:grpSp>
        <p:nvGrpSpPr>
          <p:cNvPr id="34" name="Gruppieren 37"/>
          <p:cNvGrpSpPr/>
          <p:nvPr/>
        </p:nvGrpSpPr>
        <p:grpSpPr>
          <a:xfrm>
            <a:off x="558797" y="1353418"/>
            <a:ext cx="1721340" cy="1808073"/>
            <a:chOff x="562628" y="1568342"/>
            <a:chExt cx="1721340" cy="1808073"/>
          </a:xfrm>
        </p:grpSpPr>
        <p:sp>
          <p:nvSpPr>
            <p:cNvPr id="35" name="Text Box 24" descr="© INSCALE GmbH, 26.05.2010&#10;http://www.presentationload.com/"/>
            <p:cNvSpPr txBox="1">
              <a:spLocks noChangeArrowheads="1"/>
            </p:cNvSpPr>
            <p:nvPr/>
          </p:nvSpPr>
          <p:spPr bwMode="gray">
            <a:xfrm>
              <a:off x="562628" y="1568342"/>
              <a:ext cx="1721340" cy="492443"/>
            </a:xfrm>
            <a:prstGeom prst="rect">
              <a:avLst/>
            </a:prstGeom>
            <a:noFill/>
            <a:ln w="9525">
              <a:noFill/>
              <a:miter lim="800000"/>
              <a:headEnd/>
              <a:tailEnd/>
            </a:ln>
            <a:effectLst/>
          </p:spPr>
          <p:txBody>
            <a:bodyPr wrap="square" lIns="108000" tIns="0" rIns="0" bIns="0">
              <a:spAutoFit/>
            </a:bodyPr>
            <a:lstStyle/>
            <a:p>
              <a:pPr defTabSz="1219170"/>
              <a:r>
                <a:rPr lang="en-US" sz="1600" b="1" dirty="0">
                  <a:solidFill>
                    <a:schemeClr val="tx2">
                      <a:lumMod val="75000"/>
                    </a:schemeClr>
                  </a:solidFill>
                  <a:cs typeface="Arial" charset="0"/>
                </a:rPr>
                <a:t>Trade execution</a:t>
              </a:r>
              <a:br>
                <a:rPr lang="en-US" sz="1600" b="1" dirty="0">
                  <a:solidFill>
                    <a:schemeClr val="tx2">
                      <a:lumMod val="75000"/>
                    </a:schemeClr>
                  </a:solidFill>
                  <a:cs typeface="Arial" charset="0"/>
                </a:rPr>
              </a:br>
              <a:endParaRPr lang="en-US" sz="1600" dirty="0">
                <a:solidFill>
                  <a:schemeClr val="tx2">
                    <a:lumMod val="75000"/>
                  </a:schemeClr>
                </a:solidFill>
                <a:cs typeface="Arial" charset="0"/>
              </a:endParaRPr>
            </a:p>
          </p:txBody>
        </p:sp>
        <p:sp>
          <p:nvSpPr>
            <p:cNvPr id="36" name="Line 55" descr="© INSCALE GmbH, 26.05.2010&#10;http://www.presentationload.com/"/>
            <p:cNvSpPr>
              <a:spLocks noChangeShapeType="1"/>
            </p:cNvSpPr>
            <p:nvPr/>
          </p:nvSpPr>
          <p:spPr bwMode="gray">
            <a:xfrm flipV="1">
              <a:off x="562628" y="1612415"/>
              <a:ext cx="0" cy="1764000"/>
            </a:xfrm>
            <a:prstGeom prst="line">
              <a:avLst/>
            </a:prstGeom>
            <a:noFill/>
            <a:ln w="12700">
              <a:solidFill>
                <a:srgbClr val="5E5E5E"/>
              </a:solidFill>
              <a:prstDash val="solid"/>
              <a:round/>
              <a:headEnd type="oval" w="med" len="med"/>
              <a:tailEnd type="none"/>
            </a:ln>
            <a:effectLst/>
          </p:spPr>
          <p:txBody>
            <a:bodyPr tIns="0"/>
            <a:lstStyle/>
            <a:p>
              <a:pPr marL="0" marR="0" lvl="0" indent="0" defTabSz="1219170" eaLnBrk="1" fontAlgn="auto" latinLnBrk="0" hangingPunct="1">
                <a:lnSpc>
                  <a:spcPct val="90000"/>
                </a:lnSpc>
                <a:spcBef>
                  <a:spcPts val="0"/>
                </a:spcBef>
                <a:spcAft>
                  <a:spcPts val="800"/>
                </a:spcAft>
                <a:buClrTx/>
                <a:buSzTx/>
                <a:buFontTx/>
                <a:buNone/>
                <a:tabLst/>
                <a:defRPr/>
              </a:pPr>
              <a:endParaRPr kumimoji="0" lang="en-US" sz="1400" b="0" i="0" u="none" strike="noStrike" kern="0" cap="none" spc="0" normalizeH="0" baseline="0" noProof="0" dirty="0">
                <a:ln>
                  <a:noFill/>
                </a:ln>
                <a:solidFill>
                  <a:schemeClr val="tx2">
                    <a:lumMod val="50000"/>
                  </a:schemeClr>
                </a:solidFill>
                <a:effectLst/>
                <a:uLnTx/>
                <a:uFillTx/>
              </a:endParaRPr>
            </a:p>
          </p:txBody>
        </p:sp>
      </p:grpSp>
      <p:grpSp>
        <p:nvGrpSpPr>
          <p:cNvPr id="37" name="Gruppieren 48"/>
          <p:cNvGrpSpPr/>
          <p:nvPr/>
        </p:nvGrpSpPr>
        <p:grpSpPr>
          <a:xfrm>
            <a:off x="1250606" y="3502201"/>
            <a:ext cx="2000594" cy="2161999"/>
            <a:chOff x="1250606" y="3701029"/>
            <a:chExt cx="2000594" cy="2161999"/>
          </a:xfrm>
        </p:grpSpPr>
        <p:sp>
          <p:nvSpPr>
            <p:cNvPr id="47" name="Text Box 24" descr="© INSCALE GmbH, 26.05.2010&#10;http://www.presentationload.com/"/>
            <p:cNvSpPr txBox="1">
              <a:spLocks noChangeArrowheads="1"/>
            </p:cNvSpPr>
            <p:nvPr/>
          </p:nvSpPr>
          <p:spPr bwMode="gray">
            <a:xfrm flipH="1">
              <a:off x="1250606" y="3893258"/>
              <a:ext cx="2000594" cy="1969770"/>
            </a:xfrm>
            <a:prstGeom prst="rect">
              <a:avLst/>
            </a:prstGeom>
            <a:noFill/>
            <a:ln w="9525">
              <a:noFill/>
              <a:miter lim="800000"/>
              <a:headEnd/>
              <a:tailEnd/>
            </a:ln>
            <a:effectLst/>
          </p:spPr>
          <p:txBody>
            <a:bodyPr wrap="square" lIns="108000" tIns="0" rIns="0" bIns="0" anchor="b" anchorCtr="0">
              <a:spAutoFit/>
            </a:bodyPr>
            <a:lstStyle/>
            <a:p>
              <a:pPr defTabSz="1219170"/>
              <a:r>
                <a:rPr lang="en-US" sz="1600" b="1" dirty="0">
                  <a:solidFill>
                    <a:srgbClr val="E6252E"/>
                  </a:solidFill>
                  <a:cs typeface="Arial" charset="0"/>
                </a:rPr>
                <a:t>Cost Driver:</a:t>
              </a:r>
              <a:r>
                <a:rPr lang="en-US" sz="1600" b="1" dirty="0">
                  <a:solidFill>
                    <a:srgbClr val="69AB46">
                      <a:lumMod val="50000"/>
                    </a:srgbClr>
                  </a:solidFill>
                  <a:cs typeface="Arial" charset="0"/>
                </a:rPr>
                <a:t/>
              </a:r>
              <a:br>
                <a:rPr lang="en-US" sz="1600" b="1" dirty="0">
                  <a:solidFill>
                    <a:srgbClr val="69AB46">
                      <a:lumMod val="50000"/>
                    </a:srgbClr>
                  </a:solidFill>
                  <a:cs typeface="Arial" charset="0"/>
                </a:rPr>
              </a:br>
              <a:r>
                <a:rPr lang="en-US" sz="1600" dirty="0">
                  <a:solidFill>
                    <a:srgbClr val="0078DC"/>
                  </a:solidFill>
                  <a:cs typeface="Arial" charset="0"/>
                </a:rPr>
                <a:t>Fees</a:t>
              </a:r>
            </a:p>
            <a:p>
              <a:pPr defTabSz="1219170"/>
              <a:endParaRPr lang="en-US" sz="1600" dirty="0">
                <a:solidFill>
                  <a:srgbClr val="0078DC"/>
                </a:solidFill>
                <a:cs typeface="Arial" charset="0"/>
              </a:endParaRPr>
            </a:p>
            <a:p>
              <a:pPr defTabSz="1219170"/>
              <a:r>
                <a:rPr lang="en-US" sz="1600" dirty="0">
                  <a:solidFill>
                    <a:srgbClr val="00B050"/>
                  </a:solidFill>
                  <a:cs typeface="Arial" charset="0"/>
                </a:rPr>
                <a:t>Blockchain opportunity: </a:t>
              </a:r>
            </a:p>
            <a:p>
              <a:pPr defTabSz="1219170"/>
              <a:r>
                <a:rPr lang="en-US" sz="1600" dirty="0">
                  <a:solidFill>
                    <a:srgbClr val="0078DC"/>
                  </a:solidFill>
                  <a:cs typeface="Arial" charset="0"/>
                </a:rPr>
                <a:t>Disintermediation to reduce the fees</a:t>
              </a:r>
            </a:p>
            <a:p>
              <a:pPr defTabSz="1219170"/>
              <a:endParaRPr lang="en-US" sz="1600" dirty="0">
                <a:solidFill>
                  <a:srgbClr val="0078DC"/>
                </a:solidFill>
                <a:cs typeface="Arial" charset="0"/>
              </a:endParaRPr>
            </a:p>
          </p:txBody>
        </p:sp>
        <p:sp>
          <p:nvSpPr>
            <p:cNvPr id="48" name="Line 55" descr="© INSCALE GmbH, 26.05.2010&#10;http://www.presentationload.com/"/>
            <p:cNvSpPr>
              <a:spLocks noChangeShapeType="1"/>
            </p:cNvSpPr>
            <p:nvPr/>
          </p:nvSpPr>
          <p:spPr bwMode="gray">
            <a:xfrm flipH="1" flipV="1">
              <a:off x="1250606" y="3701029"/>
              <a:ext cx="0" cy="1907999"/>
            </a:xfrm>
            <a:prstGeom prst="line">
              <a:avLst/>
            </a:prstGeom>
            <a:noFill/>
            <a:ln w="12700" cap="flat">
              <a:solidFill>
                <a:srgbClr val="5E5E5E"/>
              </a:solidFill>
              <a:prstDash val="solid"/>
              <a:round/>
              <a:headEnd type="none" w="med" len="med"/>
              <a:tailEnd type="oval"/>
            </a:ln>
            <a:effectLst/>
          </p:spPr>
          <p:txBody>
            <a:bodyPr bIns="0"/>
            <a:lstStyle/>
            <a:p>
              <a:pPr marL="0" marR="0" lvl="0" indent="0" defTabSz="1219170" eaLnBrk="1" fontAlgn="auto" latinLnBrk="0" hangingPunct="1">
                <a:lnSpc>
                  <a:spcPct val="90000"/>
                </a:lnSpc>
                <a:spcBef>
                  <a:spcPts val="0"/>
                </a:spcBef>
                <a:spcAft>
                  <a:spcPts val="800"/>
                </a:spcAft>
                <a:buClrTx/>
                <a:buSzTx/>
                <a:buFontTx/>
                <a:buNone/>
                <a:tabLst/>
                <a:defRPr/>
              </a:pPr>
              <a:endParaRPr kumimoji="0" lang="en-US" sz="2400" b="0" i="0" u="none" strike="noStrike" kern="0" cap="none" spc="0" normalizeH="0" baseline="0" noProof="0" dirty="0">
                <a:ln>
                  <a:noFill/>
                </a:ln>
                <a:solidFill>
                  <a:srgbClr val="5E5E5E">
                    <a:lumMod val="10000"/>
                  </a:srgbClr>
                </a:solidFill>
                <a:effectLst/>
                <a:uLnTx/>
                <a:uFillTx/>
              </a:endParaRPr>
            </a:p>
          </p:txBody>
        </p:sp>
      </p:grpSp>
      <p:sp>
        <p:nvSpPr>
          <p:cNvPr id="59" name="TextBox 58"/>
          <p:cNvSpPr txBox="1"/>
          <p:nvPr/>
        </p:nvSpPr>
        <p:spPr>
          <a:xfrm>
            <a:off x="1433435" y="5797207"/>
            <a:ext cx="3275256" cy="230832"/>
          </a:xfrm>
          <a:prstGeom prst="rect">
            <a:avLst/>
          </a:prstGeom>
          <a:noFill/>
        </p:spPr>
        <p:txBody>
          <a:bodyPr wrap="square" rtlCol="0">
            <a:spAutoFit/>
          </a:bodyPr>
          <a:lstStyle/>
          <a:p>
            <a:r>
              <a:rPr lang="en-US" sz="900" dirty="0"/>
              <a:t>Sources: Uniper Global Commodities</a:t>
            </a:r>
            <a:endParaRPr lang="ru-RU" sz="900" dirty="0"/>
          </a:p>
        </p:txBody>
      </p:sp>
    </p:spTree>
    <p:extLst>
      <p:ext uri="{BB962C8B-B14F-4D97-AF65-F5344CB8AC3E}">
        <p14:creationId xmlns:p14="http://schemas.microsoft.com/office/powerpoint/2010/main" val="3260729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2"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55" name="Gruppieren 54"/>
          <p:cNvGrpSpPr/>
          <p:nvPr/>
        </p:nvGrpSpPr>
        <p:grpSpPr>
          <a:xfrm>
            <a:off x="4860032" y="908720"/>
            <a:ext cx="2898112" cy="1638863"/>
            <a:chOff x="631826" y="927100"/>
            <a:chExt cx="3286124" cy="2054225"/>
          </a:xfrm>
        </p:grpSpPr>
        <p:pic>
          <p:nvPicPr>
            <p:cNvPr id="56" name="Grafik 55"/>
            <p:cNvPicPr>
              <a:picLocks noChangeAspect="1"/>
            </p:cNvPicPr>
            <p:nvPr/>
          </p:nvPicPr>
          <p:blipFill rotWithShape="1">
            <a:blip r:embed="rId6"/>
            <a:srcRect l="1575" t="2377" r="1800" b="2316"/>
            <a:stretch/>
          </p:blipFill>
          <p:spPr>
            <a:xfrm>
              <a:off x="651297" y="950121"/>
              <a:ext cx="3239667" cy="2015289"/>
            </a:xfrm>
            <a:prstGeom prst="rect">
              <a:avLst/>
            </a:prstGeom>
          </p:spPr>
        </p:pic>
        <p:sp>
          <p:nvSpPr>
            <p:cNvPr id="57" name="Rechteck 56"/>
            <p:cNvSpPr/>
            <p:nvPr/>
          </p:nvSpPr>
          <p:spPr>
            <a:xfrm>
              <a:off x="631826" y="927100"/>
              <a:ext cx="3286124" cy="2054225"/>
            </a:xfrm>
            <a:prstGeom prst="rect">
              <a:avLst/>
            </a:prstGeom>
            <a:noFill/>
            <a:ln w="38100">
              <a:solidFill>
                <a:srgbClr val="0078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 name="Titel 1"/>
          <p:cNvSpPr>
            <a:spLocks noGrp="1"/>
          </p:cNvSpPr>
          <p:nvPr>
            <p:ph type="title"/>
          </p:nvPr>
        </p:nvSpPr>
        <p:spPr/>
        <p:txBody>
          <a:bodyPr/>
          <a:lstStyle/>
          <a:p>
            <a:r>
              <a:rPr lang="de-DE" sz="2400" dirty="0" err="1">
                <a:solidFill>
                  <a:srgbClr val="ED8C1C"/>
                </a:solidFill>
              </a:rPr>
              <a:t>Blockchains</a:t>
            </a:r>
            <a:r>
              <a:rPr lang="de-DE" sz="2400" dirty="0">
                <a:solidFill>
                  <a:srgbClr val="ED8C1C"/>
                </a:solidFill>
              </a:rPr>
              <a:t> in </a:t>
            </a:r>
            <a:r>
              <a:rPr lang="de-DE" sz="2400" dirty="0" err="1">
                <a:solidFill>
                  <a:srgbClr val="ED8C1C"/>
                </a:solidFill>
              </a:rPr>
              <a:t>the</a:t>
            </a:r>
            <a:r>
              <a:rPr lang="de-DE" sz="2400" dirty="0">
                <a:solidFill>
                  <a:srgbClr val="ED8C1C"/>
                </a:solidFill>
              </a:rPr>
              <a:t> </a:t>
            </a:r>
            <a:r>
              <a:rPr lang="de-DE" sz="2400" dirty="0" err="1">
                <a:solidFill>
                  <a:srgbClr val="ED8C1C"/>
                </a:solidFill>
              </a:rPr>
              <a:t>Energy</a:t>
            </a:r>
            <a:r>
              <a:rPr lang="de-DE" sz="2400" dirty="0">
                <a:solidFill>
                  <a:srgbClr val="ED8C1C"/>
                </a:solidFill>
              </a:rPr>
              <a:t> </a:t>
            </a:r>
            <a:r>
              <a:rPr lang="de-DE" sz="2400" dirty="0" err="1">
                <a:solidFill>
                  <a:srgbClr val="ED8C1C"/>
                </a:solidFill>
              </a:rPr>
              <a:t>Sector</a:t>
            </a:r>
            <a:endParaRPr lang="de-DE" sz="2400" dirty="0">
              <a:solidFill>
                <a:srgbClr val="ED8C1C"/>
              </a:solidFill>
            </a:endParaRPr>
          </a:p>
        </p:txBody>
      </p:sp>
      <p:sp>
        <p:nvSpPr>
          <p:cNvPr id="21" name="Oval 20"/>
          <p:cNvSpPr/>
          <p:nvPr/>
        </p:nvSpPr>
        <p:spPr>
          <a:xfrm>
            <a:off x="611560" y="913540"/>
            <a:ext cx="3616981" cy="2783673"/>
          </a:xfrm>
          <a:prstGeom prst="ellipse">
            <a:avLst/>
          </a:prstGeom>
          <a:solidFill>
            <a:srgbClr val="F2F2F2"/>
          </a:solidFill>
          <a:ln>
            <a:solidFill>
              <a:srgbClr val="B2B2B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2520000" rtlCol="0" anchor="t" anchorCtr="0"/>
          <a:lstStyle/>
          <a:p>
            <a:pPr algn="ctr"/>
            <a:r>
              <a:rPr lang="de-DE" sz="1600" dirty="0" err="1">
                <a:solidFill>
                  <a:srgbClr val="ED8C1C"/>
                </a:solidFill>
              </a:rPr>
              <a:t>Plattforms</a:t>
            </a:r>
            <a:endParaRPr lang="en-GB" sz="1600" dirty="0">
              <a:solidFill>
                <a:srgbClr val="EEB500"/>
              </a:solidFill>
            </a:endParaRPr>
          </a:p>
        </p:txBody>
      </p:sp>
      <p:sp>
        <p:nvSpPr>
          <p:cNvPr id="20" name="Oval 19"/>
          <p:cNvSpPr/>
          <p:nvPr/>
        </p:nvSpPr>
        <p:spPr>
          <a:xfrm>
            <a:off x="613125" y="3166277"/>
            <a:ext cx="3616981" cy="2783673"/>
          </a:xfrm>
          <a:prstGeom prst="ellipse">
            <a:avLst/>
          </a:prstGeom>
          <a:solidFill>
            <a:srgbClr val="F2F2F2"/>
          </a:solidFill>
          <a:ln>
            <a:solidFill>
              <a:srgbClr val="B2B2B2"/>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2520000" rtlCol="0" anchor="t" anchorCtr="0"/>
          <a:lstStyle/>
          <a:p>
            <a:pPr algn="ctr"/>
            <a:r>
              <a:rPr lang="de-DE" sz="1600" dirty="0" err="1">
                <a:solidFill>
                  <a:srgbClr val="ED8C1C"/>
                </a:solidFill>
              </a:rPr>
              <a:t>Processes</a:t>
            </a:r>
            <a:endParaRPr lang="en-GB" sz="1600" dirty="0">
              <a:solidFill>
                <a:srgbClr val="EEB500"/>
              </a:solidFill>
            </a:endParaRPr>
          </a:p>
        </p:txBody>
      </p:sp>
      <p:grpSp>
        <p:nvGrpSpPr>
          <p:cNvPr id="11" name="Group 10"/>
          <p:cNvGrpSpPr/>
          <p:nvPr/>
        </p:nvGrpSpPr>
        <p:grpSpPr>
          <a:xfrm>
            <a:off x="2346104" y="1206000"/>
            <a:ext cx="1518588" cy="1516372"/>
            <a:chOff x="1718374" y="27274"/>
            <a:chExt cx="1847018" cy="1844323"/>
          </a:xfrm>
        </p:grpSpPr>
        <p:sp>
          <p:nvSpPr>
            <p:cNvPr id="12" name="Oval 11"/>
            <p:cNvSpPr/>
            <p:nvPr/>
          </p:nvSpPr>
          <p:spPr>
            <a:xfrm>
              <a:off x="1718374" y="27274"/>
              <a:ext cx="1847018" cy="1844323"/>
            </a:xfrm>
            <a:prstGeom prst="ellipse">
              <a:avLst/>
            </a:prstGeom>
            <a:solidFill>
              <a:srgbClr val="29527A"/>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Oval 4"/>
            <p:cNvSpPr txBox="1"/>
            <p:nvPr/>
          </p:nvSpPr>
          <p:spPr>
            <a:xfrm>
              <a:off x="2031507" y="31721"/>
              <a:ext cx="1306038" cy="1304133"/>
            </a:xfrm>
            <a:prstGeom prst="rect">
              <a:avLst/>
            </a:prstGeom>
            <a:noFill/>
            <a:extLst>
              <a:ext uri="{909E8E84-426E-40DD-AFC4-6F175D3DCCD1}">
                <a14:hiddenFill xmlns:a14="http://schemas.microsoft.com/office/drawing/2010/main">
                  <a:solidFill>
                    <a:srgbClr val="29527A"/>
                  </a:solidFill>
                </a14:hiddenFill>
              </a:ext>
            </a:extLst>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r>
                <a:rPr lang="en-US" sz="2000" kern="1200" dirty="0"/>
                <a:t>Trading Platforms</a:t>
              </a:r>
            </a:p>
          </p:txBody>
        </p:sp>
      </p:grpSp>
      <p:grpSp>
        <p:nvGrpSpPr>
          <p:cNvPr id="8" name="Group 7"/>
          <p:cNvGrpSpPr/>
          <p:nvPr/>
        </p:nvGrpSpPr>
        <p:grpSpPr>
          <a:xfrm>
            <a:off x="773737" y="1425705"/>
            <a:ext cx="1801714" cy="1801138"/>
            <a:chOff x="-47985" y="473294"/>
            <a:chExt cx="2217915" cy="2217206"/>
          </a:xfrm>
        </p:grpSpPr>
        <p:sp>
          <p:nvSpPr>
            <p:cNvPr id="9" name="Oval 8"/>
            <p:cNvSpPr/>
            <p:nvPr/>
          </p:nvSpPr>
          <p:spPr>
            <a:xfrm>
              <a:off x="-47985" y="473294"/>
              <a:ext cx="2217915" cy="2217206"/>
            </a:xfrm>
            <a:prstGeom prst="ellipse">
              <a:avLst/>
            </a:prstGeom>
            <a:solidFill>
              <a:srgbClr val="0078DC"/>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0" name="Oval 4"/>
            <p:cNvSpPr txBox="1"/>
            <p:nvPr/>
          </p:nvSpPr>
          <p:spPr>
            <a:xfrm>
              <a:off x="276821" y="797996"/>
              <a:ext cx="1568303" cy="1567802"/>
            </a:xfrm>
            <a:prstGeom prst="rect">
              <a:avLst/>
            </a:prstGeom>
            <a:noFill/>
            <a:extLst>
              <a:ext uri="{909E8E84-426E-40DD-AFC4-6F175D3DCCD1}">
                <a14:hiddenFill xmlns:a14="http://schemas.microsoft.com/office/drawing/2010/main">
                  <a:solidFill>
                    <a:srgbClr val="0078DC"/>
                  </a:solidFill>
                </a14:hiddenFill>
              </a:ext>
            </a:extLst>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r>
                <a:rPr lang="en-US" sz="2800" kern="1200" dirty="0"/>
                <a:t>P2P Trading</a:t>
              </a:r>
            </a:p>
          </p:txBody>
        </p:sp>
      </p:grpSp>
      <p:grpSp>
        <p:nvGrpSpPr>
          <p:cNvPr id="14" name="Group 13"/>
          <p:cNvGrpSpPr/>
          <p:nvPr/>
        </p:nvGrpSpPr>
        <p:grpSpPr>
          <a:xfrm>
            <a:off x="2447054" y="2100568"/>
            <a:ext cx="1258412" cy="1258009"/>
            <a:chOff x="1662766" y="1514800"/>
            <a:chExt cx="1864687" cy="1864091"/>
          </a:xfrm>
        </p:grpSpPr>
        <p:sp>
          <p:nvSpPr>
            <p:cNvPr id="15" name="Oval 14"/>
            <p:cNvSpPr/>
            <p:nvPr/>
          </p:nvSpPr>
          <p:spPr>
            <a:xfrm>
              <a:off x="1662766" y="1514800"/>
              <a:ext cx="1864687" cy="1864091"/>
            </a:xfrm>
            <a:prstGeom prst="ellipse">
              <a:avLst/>
            </a:prstGeom>
            <a:solidFill>
              <a:srgbClr val="135B8B"/>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6" name="Oval 4"/>
            <p:cNvSpPr txBox="1"/>
            <p:nvPr/>
          </p:nvSpPr>
          <p:spPr>
            <a:xfrm>
              <a:off x="1935843" y="1787790"/>
              <a:ext cx="1318533" cy="1318111"/>
            </a:xfrm>
            <a:prstGeom prst="rect">
              <a:avLst/>
            </a:prstGeom>
            <a:noFill/>
            <a:extLst>
              <a:ext uri="{909E8E84-426E-40DD-AFC4-6F175D3DCCD1}">
                <a14:hiddenFill xmlns:a14="http://schemas.microsoft.com/office/drawing/2010/main">
                  <a:solidFill>
                    <a:srgbClr val="135B8B"/>
                  </a:solidFill>
                </a14:hiddenFill>
              </a:ext>
            </a:extLst>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noAutofit/>
            </a:bodyPr>
            <a:lstStyle/>
            <a:p>
              <a:pPr marL="0" lvl="0" indent="0" algn="ctr" defTabSz="666750">
                <a:lnSpc>
                  <a:spcPct val="90000"/>
                </a:lnSpc>
                <a:spcBef>
                  <a:spcPct val="0"/>
                </a:spcBef>
                <a:spcAft>
                  <a:spcPct val="35000"/>
                </a:spcAft>
                <a:buNone/>
              </a:pPr>
              <a:r>
                <a:rPr lang="en-US" sz="1500" kern="1200" dirty="0"/>
                <a:t>Decentralized</a:t>
              </a:r>
              <a:br>
                <a:rPr lang="en-US" sz="1500" kern="1200" dirty="0"/>
              </a:br>
              <a:r>
                <a:rPr lang="en-US" sz="1500" kern="1200" dirty="0"/>
                <a:t>Generation</a:t>
              </a:r>
            </a:p>
          </p:txBody>
        </p:sp>
      </p:grpSp>
      <p:grpSp>
        <p:nvGrpSpPr>
          <p:cNvPr id="22" name="Group 21"/>
          <p:cNvGrpSpPr/>
          <p:nvPr/>
        </p:nvGrpSpPr>
        <p:grpSpPr>
          <a:xfrm>
            <a:off x="3215974" y="4027133"/>
            <a:ext cx="869833" cy="869554"/>
            <a:chOff x="1662766" y="1514800"/>
            <a:chExt cx="1864687" cy="1864091"/>
          </a:xfrm>
        </p:grpSpPr>
        <p:sp>
          <p:nvSpPr>
            <p:cNvPr id="23" name="Oval 22"/>
            <p:cNvSpPr/>
            <p:nvPr/>
          </p:nvSpPr>
          <p:spPr>
            <a:xfrm>
              <a:off x="1662766" y="1514800"/>
              <a:ext cx="1864687" cy="1864091"/>
            </a:xfrm>
            <a:prstGeom prst="ellipse">
              <a:avLst/>
            </a:prstGeom>
            <a:solidFill>
              <a:srgbClr val="0097EE"/>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24" name="Oval 4"/>
            <p:cNvSpPr txBox="1"/>
            <p:nvPr/>
          </p:nvSpPr>
          <p:spPr>
            <a:xfrm>
              <a:off x="1935843" y="1787790"/>
              <a:ext cx="1318533" cy="1318111"/>
            </a:xfrm>
            <a:prstGeom prst="rect">
              <a:avLst/>
            </a:prstGeom>
            <a:noFill/>
            <a:extLst>
              <a:ext uri="{909E8E84-426E-40DD-AFC4-6F175D3DCCD1}">
                <a14:hiddenFill xmlns:a14="http://schemas.microsoft.com/office/drawing/2010/main">
                  <a:solidFill>
                    <a:srgbClr val="0097EE"/>
                  </a:solidFill>
                </a14:hiddenFill>
              </a:ext>
            </a:extLst>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noAutofit/>
            </a:bodyPr>
            <a:lstStyle/>
            <a:p>
              <a:pPr marL="0" lvl="0" indent="0" algn="ctr" defTabSz="666750">
                <a:lnSpc>
                  <a:spcPct val="90000"/>
                </a:lnSpc>
                <a:spcBef>
                  <a:spcPct val="0"/>
                </a:spcBef>
                <a:spcAft>
                  <a:spcPct val="35000"/>
                </a:spcAft>
                <a:buNone/>
              </a:pPr>
              <a:r>
                <a:rPr lang="en-US" sz="1300" kern="1200" dirty="0"/>
                <a:t>Automation</a:t>
              </a:r>
            </a:p>
          </p:txBody>
        </p:sp>
      </p:grpSp>
      <p:grpSp>
        <p:nvGrpSpPr>
          <p:cNvPr id="25" name="Group 24"/>
          <p:cNvGrpSpPr/>
          <p:nvPr/>
        </p:nvGrpSpPr>
        <p:grpSpPr>
          <a:xfrm>
            <a:off x="2805926" y="3264063"/>
            <a:ext cx="1052231" cy="1051893"/>
            <a:chOff x="1662766" y="1514800"/>
            <a:chExt cx="1864687" cy="1864091"/>
          </a:xfrm>
        </p:grpSpPr>
        <p:sp>
          <p:nvSpPr>
            <p:cNvPr id="26" name="Oval 25"/>
            <p:cNvSpPr/>
            <p:nvPr/>
          </p:nvSpPr>
          <p:spPr>
            <a:xfrm>
              <a:off x="1662766" y="1514800"/>
              <a:ext cx="1864687" cy="1864091"/>
            </a:xfrm>
            <a:prstGeom prst="ellipse">
              <a:avLst/>
            </a:prstGeom>
            <a:solidFill>
              <a:srgbClr val="0868A3"/>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27" name="Oval 4"/>
            <p:cNvSpPr txBox="1"/>
            <p:nvPr/>
          </p:nvSpPr>
          <p:spPr>
            <a:xfrm>
              <a:off x="1937470" y="1787533"/>
              <a:ext cx="1318533" cy="1318110"/>
            </a:xfrm>
            <a:prstGeom prst="rect">
              <a:avLst/>
            </a:prstGeom>
            <a:noFill/>
            <a:extLst>
              <a:ext uri="{909E8E84-426E-40DD-AFC4-6F175D3DCCD1}">
                <a14:hiddenFill xmlns:a14="http://schemas.microsoft.com/office/drawing/2010/main">
                  <a:solidFill>
                    <a:srgbClr val="0868A3"/>
                  </a:solidFill>
                </a14:hiddenFill>
              </a:ext>
            </a:extLst>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noAutofit/>
            </a:bodyPr>
            <a:lstStyle/>
            <a:p>
              <a:pPr marL="0" lvl="0" indent="0" algn="ctr" defTabSz="666750">
                <a:lnSpc>
                  <a:spcPct val="90000"/>
                </a:lnSpc>
                <a:spcBef>
                  <a:spcPct val="0"/>
                </a:spcBef>
                <a:spcAft>
                  <a:spcPct val="35000"/>
                </a:spcAft>
                <a:buNone/>
              </a:pPr>
              <a:r>
                <a:rPr lang="en-US" sz="1400" kern="1200" dirty="0"/>
                <a:t>Grid</a:t>
              </a:r>
            </a:p>
            <a:p>
              <a:pPr marL="0" lvl="0" indent="0" algn="ctr" defTabSz="666750">
                <a:lnSpc>
                  <a:spcPct val="90000"/>
                </a:lnSpc>
                <a:spcBef>
                  <a:spcPct val="0"/>
                </a:spcBef>
                <a:spcAft>
                  <a:spcPct val="35000"/>
                </a:spcAft>
                <a:buNone/>
              </a:pPr>
              <a:r>
                <a:rPr lang="en-US" sz="1400" dirty="0" err="1"/>
                <a:t>M</a:t>
              </a:r>
              <a:r>
                <a:rPr lang="en-US" sz="1400" kern="1200" dirty="0" err="1"/>
                <a:t>gmt</a:t>
              </a:r>
              <a:endParaRPr lang="en-US" sz="1400" kern="1200" dirty="0"/>
            </a:p>
          </p:txBody>
        </p:sp>
      </p:grpSp>
      <p:grpSp>
        <p:nvGrpSpPr>
          <p:cNvPr id="43" name="Group 42"/>
          <p:cNvGrpSpPr/>
          <p:nvPr/>
        </p:nvGrpSpPr>
        <p:grpSpPr>
          <a:xfrm>
            <a:off x="1026996" y="3432759"/>
            <a:ext cx="1083614" cy="1083266"/>
            <a:chOff x="1662766" y="1514800"/>
            <a:chExt cx="1864687" cy="1864091"/>
          </a:xfrm>
        </p:grpSpPr>
        <p:sp>
          <p:nvSpPr>
            <p:cNvPr id="44" name="Oval 43"/>
            <p:cNvSpPr/>
            <p:nvPr/>
          </p:nvSpPr>
          <p:spPr>
            <a:xfrm>
              <a:off x="1662766" y="1514800"/>
              <a:ext cx="1864687" cy="1864091"/>
            </a:xfrm>
            <a:prstGeom prst="ellipse">
              <a:avLst/>
            </a:prstGeom>
            <a:solidFill>
              <a:srgbClr val="E6F4FE"/>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45" name="Oval 4"/>
            <p:cNvSpPr txBox="1"/>
            <p:nvPr/>
          </p:nvSpPr>
          <p:spPr>
            <a:xfrm>
              <a:off x="1935843" y="1787790"/>
              <a:ext cx="1318533" cy="1318111"/>
            </a:xfrm>
            <a:prstGeom prst="rect">
              <a:avLst/>
            </a:prstGeom>
            <a:solidFill>
              <a:srgbClr val="E6F4FE"/>
            </a:solidFill>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5E5E5E"/>
                  </a:solidFill>
                </a:rPr>
                <a:t>Sales &amp;</a:t>
              </a:r>
            </a:p>
            <a:p>
              <a:pPr marL="0" lvl="0" indent="0" algn="ctr" defTabSz="666750">
                <a:lnSpc>
                  <a:spcPct val="90000"/>
                </a:lnSpc>
                <a:spcBef>
                  <a:spcPct val="0"/>
                </a:spcBef>
                <a:spcAft>
                  <a:spcPct val="35000"/>
                </a:spcAft>
                <a:buNone/>
              </a:pPr>
              <a:r>
                <a:rPr lang="en-US" sz="1500" dirty="0">
                  <a:solidFill>
                    <a:srgbClr val="5E5E5E"/>
                  </a:solidFill>
                </a:rPr>
                <a:t>Marketing</a:t>
              </a:r>
              <a:endParaRPr lang="en-US" sz="1500" kern="1200" dirty="0">
                <a:solidFill>
                  <a:srgbClr val="5E5E5E"/>
                </a:solidFill>
              </a:endParaRPr>
            </a:p>
          </p:txBody>
        </p:sp>
      </p:grpSp>
      <p:grpSp>
        <p:nvGrpSpPr>
          <p:cNvPr id="28" name="Group 27"/>
          <p:cNvGrpSpPr/>
          <p:nvPr/>
        </p:nvGrpSpPr>
        <p:grpSpPr>
          <a:xfrm>
            <a:off x="2294804" y="4477130"/>
            <a:ext cx="1273840" cy="1273431"/>
            <a:chOff x="1662766" y="1514800"/>
            <a:chExt cx="1864687" cy="1864091"/>
          </a:xfrm>
        </p:grpSpPr>
        <p:sp>
          <p:nvSpPr>
            <p:cNvPr id="29" name="Oval 28"/>
            <p:cNvSpPr/>
            <p:nvPr/>
          </p:nvSpPr>
          <p:spPr>
            <a:xfrm>
              <a:off x="1662766" y="1514800"/>
              <a:ext cx="1864687" cy="1864091"/>
            </a:xfrm>
            <a:prstGeom prst="ellipse">
              <a:avLst/>
            </a:prstGeom>
            <a:solidFill>
              <a:srgbClr val="00A7F0"/>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30" name="Oval 4"/>
            <p:cNvSpPr txBox="1"/>
            <p:nvPr/>
          </p:nvSpPr>
          <p:spPr>
            <a:xfrm>
              <a:off x="1935843" y="1787790"/>
              <a:ext cx="1318533" cy="1318111"/>
            </a:xfrm>
            <a:prstGeom prst="rect">
              <a:avLst/>
            </a:prstGeom>
            <a:noFill/>
            <a:extLst>
              <a:ext uri="{909E8E84-426E-40DD-AFC4-6F175D3DCCD1}">
                <a14:hiddenFill xmlns:a14="http://schemas.microsoft.com/office/drawing/2010/main">
                  <a:solidFill>
                    <a:srgbClr val="00A7F0"/>
                  </a:solidFill>
                </a14:hiddenFill>
              </a:ext>
            </a:extLst>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noAutofit/>
            </a:bodyPr>
            <a:lstStyle/>
            <a:p>
              <a:pPr marL="0" lvl="0" indent="0" algn="ctr" defTabSz="666750">
                <a:lnSpc>
                  <a:spcPct val="90000"/>
                </a:lnSpc>
                <a:spcBef>
                  <a:spcPct val="0"/>
                </a:spcBef>
                <a:spcAft>
                  <a:spcPct val="35000"/>
                </a:spcAft>
                <a:buNone/>
              </a:pPr>
              <a:r>
                <a:rPr lang="en-US" sz="2400" kern="1200" dirty="0"/>
                <a:t>Billing</a:t>
              </a:r>
              <a:endParaRPr lang="en-US" sz="1500" kern="1200" dirty="0"/>
            </a:p>
          </p:txBody>
        </p:sp>
      </p:grpSp>
      <p:grpSp>
        <p:nvGrpSpPr>
          <p:cNvPr id="31" name="Group 30"/>
          <p:cNvGrpSpPr/>
          <p:nvPr/>
        </p:nvGrpSpPr>
        <p:grpSpPr>
          <a:xfrm>
            <a:off x="2121176" y="3701511"/>
            <a:ext cx="886899" cy="886614"/>
            <a:chOff x="1662766" y="1514800"/>
            <a:chExt cx="1864687" cy="1864091"/>
          </a:xfrm>
        </p:grpSpPr>
        <p:sp>
          <p:nvSpPr>
            <p:cNvPr id="32" name="Oval 31"/>
            <p:cNvSpPr/>
            <p:nvPr/>
          </p:nvSpPr>
          <p:spPr>
            <a:xfrm>
              <a:off x="1662766" y="1514800"/>
              <a:ext cx="1864687" cy="1864091"/>
            </a:xfrm>
            <a:prstGeom prst="ellipse">
              <a:avLst/>
            </a:prstGeom>
            <a:solidFill>
              <a:srgbClr val="0875BB"/>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33" name="Oval 4"/>
            <p:cNvSpPr txBox="1"/>
            <p:nvPr/>
          </p:nvSpPr>
          <p:spPr>
            <a:xfrm>
              <a:off x="1935843" y="1787790"/>
              <a:ext cx="1318533" cy="1318111"/>
            </a:xfrm>
            <a:prstGeom prst="rect">
              <a:avLst/>
            </a:prstGeom>
            <a:noFill/>
            <a:extLst>
              <a:ext uri="{909E8E84-426E-40DD-AFC4-6F175D3DCCD1}">
                <a14:hiddenFill xmlns:a14="http://schemas.microsoft.com/office/drawing/2010/main">
                  <a:solidFill>
                    <a:srgbClr val="0875BB"/>
                  </a:solidFill>
                </a14:hiddenFill>
              </a:ext>
            </a:extLst>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noAutofit/>
            </a:bodyPr>
            <a:lstStyle/>
            <a:p>
              <a:pPr marL="0" lvl="0" indent="0" algn="ctr" defTabSz="666750">
                <a:lnSpc>
                  <a:spcPct val="90000"/>
                </a:lnSpc>
                <a:spcBef>
                  <a:spcPct val="0"/>
                </a:spcBef>
                <a:spcAft>
                  <a:spcPct val="35000"/>
                </a:spcAft>
                <a:buNone/>
              </a:pPr>
              <a:r>
                <a:rPr lang="en-US" kern="1200" dirty="0"/>
                <a:t>Mobility</a:t>
              </a:r>
              <a:endParaRPr lang="en-US" sz="1200" kern="1200" dirty="0"/>
            </a:p>
          </p:txBody>
        </p:sp>
      </p:grpSp>
      <p:grpSp>
        <p:nvGrpSpPr>
          <p:cNvPr id="34" name="Group 33"/>
          <p:cNvGrpSpPr/>
          <p:nvPr/>
        </p:nvGrpSpPr>
        <p:grpSpPr>
          <a:xfrm>
            <a:off x="1438195" y="4232188"/>
            <a:ext cx="886899" cy="886614"/>
            <a:chOff x="1662766" y="1514800"/>
            <a:chExt cx="1864687" cy="1864091"/>
          </a:xfrm>
        </p:grpSpPr>
        <p:sp>
          <p:nvSpPr>
            <p:cNvPr id="35" name="Oval 34"/>
            <p:cNvSpPr/>
            <p:nvPr/>
          </p:nvSpPr>
          <p:spPr>
            <a:xfrm>
              <a:off x="1662766" y="1514800"/>
              <a:ext cx="1864687" cy="1864091"/>
            </a:xfrm>
            <a:prstGeom prst="ellipse">
              <a:avLst/>
            </a:prstGeom>
            <a:solidFill>
              <a:srgbClr val="C1E3FC"/>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36" name="Oval 4"/>
            <p:cNvSpPr txBox="1"/>
            <p:nvPr/>
          </p:nvSpPr>
          <p:spPr>
            <a:xfrm>
              <a:off x="1935843" y="1787790"/>
              <a:ext cx="1318533" cy="1318111"/>
            </a:xfrm>
            <a:prstGeom prst="rect">
              <a:avLst/>
            </a:prstGeom>
            <a:noFill/>
            <a:extLst>
              <a:ext uri="{909E8E84-426E-40DD-AFC4-6F175D3DCCD1}">
                <a14:hiddenFill xmlns:a14="http://schemas.microsoft.com/office/drawing/2010/main">
                  <a:solidFill>
                    <a:srgbClr val="C1E3FC"/>
                  </a:solidFill>
                </a14:hiddenFill>
              </a:ext>
            </a:extLst>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noAutofit/>
            </a:bodyPr>
            <a:lstStyle/>
            <a:p>
              <a:pPr marL="0" lvl="0" indent="0" algn="ctr" defTabSz="666750">
                <a:lnSpc>
                  <a:spcPct val="90000"/>
                </a:lnSpc>
                <a:spcBef>
                  <a:spcPct val="0"/>
                </a:spcBef>
                <a:spcAft>
                  <a:spcPct val="35000"/>
                </a:spcAft>
                <a:buNone/>
              </a:pPr>
              <a:r>
                <a:rPr lang="de-DE" sz="1200" dirty="0" err="1">
                  <a:solidFill>
                    <a:srgbClr val="5E5E5E"/>
                  </a:solidFill>
                </a:rPr>
                <a:t>Commu</a:t>
              </a:r>
              <a:r>
                <a:rPr lang="de-DE" sz="1200" dirty="0">
                  <a:solidFill>
                    <a:srgbClr val="5E5E5E"/>
                  </a:solidFill>
                </a:rPr>
                <a:t>-</a:t>
              </a:r>
            </a:p>
            <a:p>
              <a:pPr marL="0" lvl="0" indent="0" algn="ctr" defTabSz="666750">
                <a:lnSpc>
                  <a:spcPct val="90000"/>
                </a:lnSpc>
                <a:spcBef>
                  <a:spcPct val="0"/>
                </a:spcBef>
                <a:spcAft>
                  <a:spcPct val="35000"/>
                </a:spcAft>
                <a:buNone/>
              </a:pPr>
              <a:r>
                <a:rPr lang="de-DE" sz="1200" dirty="0" err="1">
                  <a:solidFill>
                    <a:srgbClr val="5E5E5E"/>
                  </a:solidFill>
                </a:rPr>
                <a:t>nication</a:t>
              </a:r>
              <a:endParaRPr lang="en-US" sz="1000" kern="1200" dirty="0">
                <a:solidFill>
                  <a:srgbClr val="5E5E5E"/>
                </a:solidFill>
              </a:endParaRPr>
            </a:p>
          </p:txBody>
        </p:sp>
      </p:grpSp>
      <p:grpSp>
        <p:nvGrpSpPr>
          <p:cNvPr id="37" name="Group 36"/>
          <p:cNvGrpSpPr/>
          <p:nvPr/>
        </p:nvGrpSpPr>
        <p:grpSpPr>
          <a:xfrm>
            <a:off x="1477179" y="4893355"/>
            <a:ext cx="948202" cy="947898"/>
            <a:chOff x="1662766" y="1514800"/>
            <a:chExt cx="1864687" cy="1864091"/>
          </a:xfrm>
        </p:grpSpPr>
        <p:sp>
          <p:nvSpPr>
            <p:cNvPr id="38" name="Oval 37"/>
            <p:cNvSpPr/>
            <p:nvPr/>
          </p:nvSpPr>
          <p:spPr>
            <a:xfrm>
              <a:off x="1662766" y="1514800"/>
              <a:ext cx="1864687" cy="1864091"/>
            </a:xfrm>
            <a:prstGeom prst="ellipse">
              <a:avLst/>
            </a:prstGeom>
            <a:solidFill>
              <a:srgbClr val="5CBCF5"/>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39" name="Oval 4"/>
            <p:cNvSpPr txBox="1"/>
            <p:nvPr/>
          </p:nvSpPr>
          <p:spPr>
            <a:xfrm>
              <a:off x="1935843" y="1787790"/>
              <a:ext cx="1318533" cy="1318111"/>
            </a:xfrm>
            <a:prstGeom prst="rect">
              <a:avLst/>
            </a:prstGeom>
            <a:noFill/>
            <a:extLst>
              <a:ext uri="{909E8E84-426E-40DD-AFC4-6F175D3DCCD1}">
                <a14:hiddenFill xmlns:a14="http://schemas.microsoft.com/office/drawing/2010/main">
                  <a:solidFill>
                    <a:srgbClr val="5CBCF5"/>
                  </a:solidFill>
                </a14:hiddenFill>
              </a:ext>
            </a:extLst>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noAutofit/>
            </a:bodyPr>
            <a:lstStyle/>
            <a:p>
              <a:pPr marL="0" lvl="0" indent="0" algn="ctr" defTabSz="666750">
                <a:lnSpc>
                  <a:spcPct val="90000"/>
                </a:lnSpc>
                <a:spcBef>
                  <a:spcPct val="0"/>
                </a:spcBef>
                <a:spcAft>
                  <a:spcPct val="35000"/>
                </a:spcAft>
                <a:buNone/>
              </a:pPr>
              <a:r>
                <a:rPr lang="de-DE" sz="1200" dirty="0" err="1">
                  <a:solidFill>
                    <a:srgbClr val="5E5E5E"/>
                  </a:solidFill>
                </a:rPr>
                <a:t>Metering</a:t>
              </a:r>
              <a:endParaRPr lang="de-DE" sz="1200" dirty="0">
                <a:solidFill>
                  <a:srgbClr val="5E5E5E"/>
                </a:solidFill>
              </a:endParaRPr>
            </a:p>
            <a:p>
              <a:pPr marL="0" lvl="0" indent="0" algn="ctr" defTabSz="666750">
                <a:lnSpc>
                  <a:spcPct val="90000"/>
                </a:lnSpc>
                <a:spcBef>
                  <a:spcPct val="0"/>
                </a:spcBef>
                <a:spcAft>
                  <a:spcPct val="35000"/>
                </a:spcAft>
                <a:buNone/>
              </a:pPr>
              <a:r>
                <a:rPr lang="de-DE" sz="1200" kern="1200" dirty="0">
                  <a:solidFill>
                    <a:srgbClr val="5E5E5E"/>
                  </a:solidFill>
                </a:rPr>
                <a:t>&amp; </a:t>
              </a:r>
              <a:r>
                <a:rPr lang="de-DE" sz="1200" dirty="0">
                  <a:solidFill>
                    <a:srgbClr val="5E5E5E"/>
                  </a:solidFill>
                </a:rPr>
                <a:t>D</a:t>
              </a:r>
              <a:r>
                <a:rPr lang="de-DE" sz="1200" kern="1200" dirty="0">
                  <a:solidFill>
                    <a:srgbClr val="5E5E5E"/>
                  </a:solidFill>
                </a:rPr>
                <a:t>ata</a:t>
              </a:r>
            </a:p>
            <a:p>
              <a:pPr marL="0" lvl="0" indent="0" algn="ctr" defTabSz="666750">
                <a:lnSpc>
                  <a:spcPct val="90000"/>
                </a:lnSpc>
                <a:spcBef>
                  <a:spcPct val="0"/>
                </a:spcBef>
                <a:spcAft>
                  <a:spcPct val="35000"/>
                </a:spcAft>
                <a:buNone/>
              </a:pPr>
              <a:r>
                <a:rPr lang="de-DE" sz="1200" dirty="0">
                  <a:solidFill>
                    <a:srgbClr val="5E5E5E"/>
                  </a:solidFill>
                </a:rPr>
                <a:t>Transfer</a:t>
              </a:r>
              <a:endParaRPr lang="en-US" sz="1000" kern="1200" dirty="0">
                <a:solidFill>
                  <a:srgbClr val="5E5E5E"/>
                </a:solidFill>
              </a:endParaRPr>
            </a:p>
          </p:txBody>
        </p:sp>
      </p:grpSp>
      <p:grpSp>
        <p:nvGrpSpPr>
          <p:cNvPr id="40" name="Group 39"/>
          <p:cNvGrpSpPr/>
          <p:nvPr/>
        </p:nvGrpSpPr>
        <p:grpSpPr>
          <a:xfrm>
            <a:off x="827456" y="4638673"/>
            <a:ext cx="728865" cy="728631"/>
            <a:chOff x="1662766" y="1514800"/>
            <a:chExt cx="1864687" cy="1864091"/>
          </a:xfrm>
        </p:grpSpPr>
        <p:sp>
          <p:nvSpPr>
            <p:cNvPr id="41" name="Oval 40"/>
            <p:cNvSpPr/>
            <p:nvPr/>
          </p:nvSpPr>
          <p:spPr>
            <a:xfrm>
              <a:off x="1662766" y="1514800"/>
              <a:ext cx="1864687" cy="1864091"/>
            </a:xfrm>
            <a:prstGeom prst="ellipse">
              <a:avLst/>
            </a:prstGeom>
            <a:solidFill>
              <a:srgbClr val="8CCCF7"/>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42" name="Oval 4"/>
            <p:cNvSpPr txBox="1"/>
            <p:nvPr/>
          </p:nvSpPr>
          <p:spPr>
            <a:xfrm>
              <a:off x="1935843" y="1787790"/>
              <a:ext cx="1318533" cy="1318111"/>
            </a:xfrm>
            <a:prstGeom prst="rect">
              <a:avLst/>
            </a:prstGeom>
            <a:noFill/>
            <a:extLst>
              <a:ext uri="{909E8E84-426E-40DD-AFC4-6F175D3DCCD1}">
                <a14:hiddenFill xmlns:a14="http://schemas.microsoft.com/office/drawing/2010/main">
                  <a:solidFill>
                    <a:srgbClr val="8CCCF7"/>
                  </a:solidFill>
                </a14:hiddenFill>
              </a:ext>
            </a:extLst>
          </p:spPr>
          <p:style>
            <a:lnRef idx="0">
              <a:scrgbClr r="0" g="0" b="0"/>
            </a:lnRef>
            <a:fillRef idx="0">
              <a:scrgbClr r="0" g="0" b="0"/>
            </a:fillRef>
            <a:effectRef idx="0">
              <a:scrgbClr r="0" g="0" b="0"/>
            </a:effectRef>
            <a:fontRef idx="minor">
              <a:schemeClr val="lt1"/>
            </a:fontRef>
          </p:style>
          <p:txBody>
            <a:bodyPr spcFirstLastPara="0" vert="horz" wrap="none" lIns="0" tIns="0" rIns="0" bIns="0" numCol="1" spcCol="1270" anchor="ctr" anchorCtr="0">
              <a:noAutofit/>
            </a:bodyPr>
            <a:lstStyle/>
            <a:p>
              <a:pPr marL="0" lvl="0" indent="0" algn="ctr" defTabSz="666750">
                <a:lnSpc>
                  <a:spcPct val="90000"/>
                </a:lnSpc>
                <a:spcBef>
                  <a:spcPct val="0"/>
                </a:spcBef>
                <a:spcAft>
                  <a:spcPct val="35000"/>
                </a:spcAft>
                <a:buNone/>
              </a:pPr>
              <a:r>
                <a:rPr lang="de-DE" sz="1200" dirty="0">
                  <a:solidFill>
                    <a:srgbClr val="5E5E5E"/>
                  </a:solidFill>
                </a:rPr>
                <a:t>Security</a:t>
              </a:r>
              <a:endParaRPr lang="en-US" sz="1000" kern="1200" dirty="0">
                <a:solidFill>
                  <a:srgbClr val="5E5E5E"/>
                </a:solidFill>
              </a:endParaRPr>
            </a:p>
          </p:txBody>
        </p:sp>
      </p:grpSp>
      <p:grpSp>
        <p:nvGrpSpPr>
          <p:cNvPr id="49" name="Gruppieren 48"/>
          <p:cNvGrpSpPr/>
          <p:nvPr/>
        </p:nvGrpSpPr>
        <p:grpSpPr>
          <a:xfrm>
            <a:off x="5649470" y="4363475"/>
            <a:ext cx="2898112" cy="1638863"/>
            <a:chOff x="5213350" y="4022725"/>
            <a:chExt cx="3305173" cy="1929386"/>
          </a:xfrm>
        </p:grpSpPr>
        <p:pic>
          <p:nvPicPr>
            <p:cNvPr id="50" name="Grafik 49"/>
            <p:cNvPicPr>
              <a:picLocks noChangeAspect="1"/>
            </p:cNvPicPr>
            <p:nvPr/>
          </p:nvPicPr>
          <p:blipFill rotWithShape="1">
            <a:blip r:embed="rId7"/>
            <a:srcRect l="1278" t="2446" r="1826" b="2640"/>
            <a:stretch/>
          </p:blipFill>
          <p:spPr>
            <a:xfrm>
              <a:off x="5233988" y="4050506"/>
              <a:ext cx="3252787" cy="1878807"/>
            </a:xfrm>
            <a:prstGeom prst="rect">
              <a:avLst/>
            </a:prstGeom>
          </p:spPr>
        </p:pic>
        <p:sp>
          <p:nvSpPr>
            <p:cNvPr id="51" name="Rechteck 50"/>
            <p:cNvSpPr/>
            <p:nvPr/>
          </p:nvSpPr>
          <p:spPr>
            <a:xfrm>
              <a:off x="5213350" y="4022725"/>
              <a:ext cx="3305173" cy="1929386"/>
            </a:xfrm>
            <a:prstGeom prst="rect">
              <a:avLst/>
            </a:prstGeom>
            <a:noFill/>
            <a:ln w="38100">
              <a:solidFill>
                <a:srgbClr val="0078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3" name="Grafik 2"/>
          <p:cNvPicPr>
            <a:picLocks noChangeAspect="1"/>
          </p:cNvPicPr>
          <p:nvPr/>
        </p:nvPicPr>
        <p:blipFill>
          <a:blip r:embed="rId8"/>
          <a:stretch>
            <a:fillRect/>
          </a:stretch>
        </p:blipFill>
        <p:spPr>
          <a:xfrm>
            <a:off x="3203848" y="5865837"/>
            <a:ext cx="1409700" cy="371475"/>
          </a:xfrm>
          <a:prstGeom prst="rect">
            <a:avLst/>
          </a:prstGeom>
        </p:spPr>
      </p:pic>
      <p:sp>
        <p:nvSpPr>
          <p:cNvPr id="6" name="TextBox 5"/>
          <p:cNvSpPr txBox="1"/>
          <p:nvPr/>
        </p:nvSpPr>
        <p:spPr>
          <a:xfrm rot="19494386">
            <a:off x="610021" y="1171630"/>
            <a:ext cx="1313180" cy="369332"/>
          </a:xfrm>
          <a:prstGeom prst="rect">
            <a:avLst/>
          </a:prstGeom>
          <a:noFill/>
        </p:spPr>
        <p:txBody>
          <a:bodyPr wrap="none" rtlCol="0">
            <a:prstTxWarp prst="textArchUp">
              <a:avLst/>
            </a:prstTxWarp>
            <a:spAutoFit/>
          </a:bodyPr>
          <a:lstStyle/>
          <a:p>
            <a:r>
              <a:rPr lang="en-GB" b="1" dirty="0">
                <a:solidFill>
                  <a:srgbClr val="B2B2B2"/>
                </a:solidFill>
              </a:rPr>
              <a:t>Use</a:t>
            </a:r>
            <a:r>
              <a:rPr lang="en-GB" b="1" dirty="0">
                <a:solidFill>
                  <a:srgbClr val="0078DC"/>
                </a:solidFill>
              </a:rPr>
              <a:t> </a:t>
            </a:r>
            <a:r>
              <a:rPr lang="en-GB" b="1" dirty="0">
                <a:solidFill>
                  <a:srgbClr val="B2B2B2"/>
                </a:solidFill>
              </a:rPr>
              <a:t>Cases</a:t>
            </a:r>
          </a:p>
        </p:txBody>
      </p:sp>
      <p:grpSp>
        <p:nvGrpSpPr>
          <p:cNvPr id="17" name="Group 16"/>
          <p:cNvGrpSpPr/>
          <p:nvPr/>
        </p:nvGrpSpPr>
        <p:grpSpPr>
          <a:xfrm>
            <a:off x="4601902" y="2858268"/>
            <a:ext cx="2898112" cy="1599272"/>
            <a:chOff x="4601902" y="2858268"/>
            <a:chExt cx="2898112" cy="1599272"/>
          </a:xfrm>
        </p:grpSpPr>
        <p:grpSp>
          <p:nvGrpSpPr>
            <p:cNvPr id="46" name="Gruppieren 45"/>
            <p:cNvGrpSpPr/>
            <p:nvPr/>
          </p:nvGrpSpPr>
          <p:grpSpPr>
            <a:xfrm>
              <a:off x="4601902" y="2858268"/>
              <a:ext cx="2898112" cy="1599272"/>
              <a:chOff x="611505" y="4022726"/>
              <a:chExt cx="3335656" cy="1882776"/>
            </a:xfrm>
          </p:grpSpPr>
          <p:pic>
            <p:nvPicPr>
              <p:cNvPr id="47" name="Grafik 46"/>
              <p:cNvPicPr>
                <a:picLocks noChangeAspect="1"/>
              </p:cNvPicPr>
              <p:nvPr/>
            </p:nvPicPr>
            <p:blipFill rotWithShape="1">
              <a:blip r:embed="rId9"/>
              <a:srcRect l="1190" t="2064" r="1763" b="2695"/>
              <a:stretch/>
            </p:blipFill>
            <p:spPr>
              <a:xfrm>
                <a:off x="611505" y="4046159"/>
                <a:ext cx="3335656" cy="1859342"/>
              </a:xfrm>
              <a:prstGeom prst="rect">
                <a:avLst/>
              </a:prstGeom>
            </p:spPr>
          </p:pic>
          <p:sp>
            <p:nvSpPr>
              <p:cNvPr id="48" name="Rechteck 47"/>
              <p:cNvSpPr/>
              <p:nvPr/>
            </p:nvSpPr>
            <p:spPr>
              <a:xfrm>
                <a:off x="619995" y="4022726"/>
                <a:ext cx="3304305" cy="1882776"/>
              </a:xfrm>
              <a:prstGeom prst="rect">
                <a:avLst/>
              </a:prstGeom>
              <a:noFill/>
              <a:ln w="38100">
                <a:solidFill>
                  <a:srgbClr val="0078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66" name="Grafik 46"/>
            <p:cNvPicPr>
              <a:picLocks noChangeAspect="1"/>
            </p:cNvPicPr>
            <p:nvPr/>
          </p:nvPicPr>
          <p:blipFill rotWithShape="1">
            <a:blip r:embed="rId9"/>
            <a:srcRect l="46763" t="2064" r="5379" b="71141"/>
            <a:stretch/>
          </p:blipFill>
          <p:spPr>
            <a:xfrm>
              <a:off x="5985468" y="2982868"/>
              <a:ext cx="1429194" cy="444333"/>
            </a:xfrm>
            <a:prstGeom prst="rect">
              <a:avLst/>
            </a:prstGeom>
          </p:spPr>
        </p:pic>
      </p:grpSp>
      <p:grpSp>
        <p:nvGrpSpPr>
          <p:cNvPr id="18" name="Group 17"/>
          <p:cNvGrpSpPr/>
          <p:nvPr/>
        </p:nvGrpSpPr>
        <p:grpSpPr>
          <a:xfrm>
            <a:off x="5720526" y="2504394"/>
            <a:ext cx="2824026" cy="642657"/>
            <a:chOff x="5720526" y="2504394"/>
            <a:chExt cx="2824026" cy="642657"/>
          </a:xfrm>
        </p:grpSpPr>
        <p:sp>
          <p:nvSpPr>
            <p:cNvPr id="64" name="Rechteck 53"/>
            <p:cNvSpPr/>
            <p:nvPr/>
          </p:nvSpPr>
          <p:spPr>
            <a:xfrm>
              <a:off x="5720526" y="2504394"/>
              <a:ext cx="2823488" cy="642657"/>
            </a:xfrm>
            <a:prstGeom prst="rect">
              <a:avLst/>
            </a:prstGeom>
            <a:solidFill>
              <a:schemeClr val="bg1"/>
            </a:solidFill>
            <a:ln w="38100">
              <a:solidFill>
                <a:srgbClr val="0078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2" name="Grafik 52"/>
            <p:cNvPicPr>
              <a:picLocks noChangeAspect="1"/>
            </p:cNvPicPr>
            <p:nvPr/>
          </p:nvPicPr>
          <p:blipFill rotWithShape="1">
            <a:blip r:embed="rId10"/>
            <a:srcRect l="9094" t="6881" r="2380" b="53761"/>
            <a:stretch/>
          </p:blipFill>
          <p:spPr>
            <a:xfrm>
              <a:off x="5782282" y="2542221"/>
              <a:ext cx="1529585" cy="604830"/>
            </a:xfrm>
            <a:prstGeom prst="rect">
              <a:avLst/>
            </a:prstGeom>
          </p:spPr>
        </p:pic>
        <p:pic>
          <p:nvPicPr>
            <p:cNvPr id="63" name="Grafik 52"/>
            <p:cNvPicPr>
              <a:picLocks noChangeAspect="1"/>
            </p:cNvPicPr>
            <p:nvPr/>
          </p:nvPicPr>
          <p:blipFill rotWithShape="1">
            <a:blip r:embed="rId10"/>
            <a:srcRect l="10098" t="48083" r="17361" b="17829"/>
            <a:stretch/>
          </p:blipFill>
          <p:spPr>
            <a:xfrm>
              <a:off x="7190792" y="2566052"/>
              <a:ext cx="1253417" cy="523849"/>
            </a:xfrm>
            <a:prstGeom prst="rect">
              <a:avLst/>
            </a:prstGeom>
          </p:spPr>
        </p:pic>
        <p:sp>
          <p:nvSpPr>
            <p:cNvPr id="61" name="Rechteck 53"/>
            <p:cNvSpPr/>
            <p:nvPr/>
          </p:nvSpPr>
          <p:spPr>
            <a:xfrm>
              <a:off x="5721064" y="2505010"/>
              <a:ext cx="2823488" cy="642041"/>
            </a:xfrm>
            <a:prstGeom prst="rect">
              <a:avLst/>
            </a:prstGeom>
            <a:noFill/>
            <a:ln w="38100">
              <a:solidFill>
                <a:srgbClr val="0078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58" name="TextBox 57"/>
          <p:cNvSpPr txBox="1"/>
          <p:nvPr/>
        </p:nvSpPr>
        <p:spPr>
          <a:xfrm>
            <a:off x="1397858" y="6335226"/>
            <a:ext cx="4646856" cy="230832"/>
          </a:xfrm>
          <a:prstGeom prst="rect">
            <a:avLst/>
          </a:prstGeom>
          <a:noFill/>
        </p:spPr>
        <p:txBody>
          <a:bodyPr wrap="square" rtlCol="0">
            <a:spAutoFit/>
          </a:bodyPr>
          <a:lstStyle/>
          <a:p>
            <a:r>
              <a:rPr lang="en-US" sz="900" dirty="0"/>
              <a:t>Sources: ESMT Berlin, Dena German Energy Agency, Uniper Global Commodities</a:t>
            </a:r>
            <a:endParaRPr lang="ru-RU" sz="900" dirty="0"/>
          </a:p>
        </p:txBody>
      </p:sp>
    </p:spTree>
    <p:extLst>
      <p:ext uri="{BB962C8B-B14F-4D97-AF65-F5344CB8AC3E}">
        <p14:creationId xmlns:p14="http://schemas.microsoft.com/office/powerpoint/2010/main" val="3864723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4000" y="306000"/>
            <a:ext cx="8233600" cy="900000"/>
          </a:xfrm>
        </p:spPr>
        <p:txBody>
          <a:bodyPr/>
          <a:lstStyle/>
          <a:p>
            <a:r>
              <a:rPr lang="en-US" sz="2400" dirty="0">
                <a:solidFill>
                  <a:srgbClr val="ED8C1C"/>
                </a:solidFill>
              </a:rPr>
              <a:t>Platforms: use of blockchain in energy trading (1/2)</a:t>
            </a:r>
            <a:endParaRPr lang="ru-RU" sz="2400" dirty="0">
              <a:solidFill>
                <a:srgbClr val="ED8C1C"/>
              </a:solidFill>
            </a:endParaRPr>
          </a:p>
        </p:txBody>
      </p:sp>
      <p:sp>
        <p:nvSpPr>
          <p:cNvPr id="3" name="Inhaltsplatzhalter 2"/>
          <p:cNvSpPr>
            <a:spLocks noGrp="1"/>
          </p:cNvSpPr>
          <p:nvPr>
            <p:ph idx="1"/>
          </p:nvPr>
        </p:nvSpPr>
        <p:spPr>
          <a:xfrm>
            <a:off x="504000" y="889000"/>
            <a:ext cx="3915600" cy="4470400"/>
          </a:xfrm>
        </p:spPr>
        <p:txBody>
          <a:bodyPr/>
          <a:lstStyle/>
          <a:p>
            <a:pPr lvl="1"/>
            <a:r>
              <a:rPr lang="en-US" sz="1400" dirty="0"/>
              <a:t>The VAKT platform is a digital ecosystem for physical post-trade processing</a:t>
            </a:r>
          </a:p>
          <a:p>
            <a:pPr lvl="1"/>
            <a:r>
              <a:rPr lang="en-US" sz="1400" dirty="0"/>
              <a:t>Using blockchain technologies, it will eliminate reconciliation and paper-based processes, enhance efficiency and create new trade finance opportunities ​</a:t>
            </a:r>
          </a:p>
          <a:p>
            <a:pPr lvl="1"/>
            <a:r>
              <a:rPr lang="en-US" sz="1400" dirty="0"/>
              <a:t>Technology to solve a business problem NOT a technology one  - only in as much as it served the business problem</a:t>
            </a:r>
          </a:p>
          <a:p>
            <a:pPr lvl="1"/>
            <a:endParaRPr lang="en-US" sz="1400" dirty="0"/>
          </a:p>
        </p:txBody>
      </p:sp>
      <p:sp>
        <p:nvSpPr>
          <p:cNvPr id="4" name="Foliennummernplatzhalter 3"/>
          <p:cNvSpPr>
            <a:spLocks noGrp="1"/>
          </p:cNvSpPr>
          <p:nvPr>
            <p:ph type="sldNum" sz="quarter" idx="12"/>
          </p:nvPr>
        </p:nvSpPr>
        <p:spPr/>
        <p:txBody>
          <a:bodyPr/>
          <a:lstStyle/>
          <a:p>
            <a:fld id="{9D543ADB-E95E-4587-963D-D3C6AB2E96C0}" type="slidenum">
              <a:rPr lang="ru-RU" smtClean="0"/>
              <a:pPr/>
              <a:t>9</a:t>
            </a:fld>
            <a:endParaRPr lang="ru-RU" dirty="0"/>
          </a:p>
        </p:txBody>
      </p:sp>
      <p:sp>
        <p:nvSpPr>
          <p:cNvPr id="9" name="TextBox 8"/>
          <p:cNvSpPr txBox="1"/>
          <p:nvPr/>
        </p:nvSpPr>
        <p:spPr>
          <a:xfrm>
            <a:off x="1345544" y="6255738"/>
            <a:ext cx="3275256" cy="230832"/>
          </a:xfrm>
          <a:prstGeom prst="rect">
            <a:avLst/>
          </a:prstGeom>
          <a:noFill/>
        </p:spPr>
        <p:txBody>
          <a:bodyPr wrap="square" rtlCol="0">
            <a:spAutoFit/>
          </a:bodyPr>
          <a:lstStyle/>
          <a:p>
            <a:r>
              <a:rPr lang="en-US" sz="900" dirty="0"/>
              <a:t>Sources: </a:t>
            </a:r>
            <a:r>
              <a:rPr lang="en-US" sz="900" dirty="0" err="1"/>
              <a:t>Vakt</a:t>
            </a:r>
            <a:r>
              <a:rPr lang="en-US" sz="900" dirty="0"/>
              <a:t> </a:t>
            </a:r>
            <a:endParaRPr lang="ru-RU" sz="900" dirty="0"/>
          </a:p>
        </p:txBody>
      </p:sp>
      <p:pic>
        <p:nvPicPr>
          <p:cNvPr id="7" name="Picture 6"/>
          <p:cNvPicPr>
            <a:picLocks noChangeAspect="1"/>
          </p:cNvPicPr>
          <p:nvPr/>
        </p:nvPicPr>
        <p:blipFill>
          <a:blip r:embed="rId2"/>
          <a:stretch>
            <a:fillRect/>
          </a:stretch>
        </p:blipFill>
        <p:spPr>
          <a:xfrm>
            <a:off x="4775200" y="1824213"/>
            <a:ext cx="3415600" cy="1399489"/>
          </a:xfrm>
          <a:prstGeom prst="rect">
            <a:avLst/>
          </a:prstGeom>
        </p:spPr>
      </p:pic>
      <p:sp>
        <p:nvSpPr>
          <p:cNvPr id="10" name="Inhaltsplatzhalter 2"/>
          <p:cNvSpPr txBox="1">
            <a:spLocks/>
          </p:cNvSpPr>
          <p:nvPr/>
        </p:nvSpPr>
        <p:spPr>
          <a:xfrm>
            <a:off x="4564303" y="889000"/>
            <a:ext cx="4123596" cy="4368800"/>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pPr lvl="1"/>
            <a:r>
              <a:rPr lang="en-US" sz="1400" dirty="0"/>
              <a:t>VAKT is driven by nine leading energy companies and banks who have chosen to use blockchain technology and develop an industry-wide solution to every day problems</a:t>
            </a:r>
          </a:p>
          <a:p>
            <a:pPr lvl="1"/>
            <a:endParaRPr lang="en-US" sz="1400" dirty="0"/>
          </a:p>
        </p:txBody>
      </p:sp>
      <p:sp>
        <p:nvSpPr>
          <p:cNvPr id="5" name="Rectangle 4"/>
          <p:cNvSpPr/>
          <p:nvPr/>
        </p:nvSpPr>
        <p:spPr>
          <a:xfrm>
            <a:off x="804850" y="3775125"/>
            <a:ext cx="2195251" cy="1938992"/>
          </a:xfrm>
          <a:prstGeom prst="rect">
            <a:avLst/>
          </a:prstGeom>
        </p:spPr>
        <p:txBody>
          <a:bodyPr wrap="square">
            <a:spAutoFit/>
          </a:bodyPr>
          <a:lstStyle/>
          <a:p>
            <a:pPr marL="203200" indent="-203200" algn="just">
              <a:buClr>
                <a:srgbClr val="0078DC"/>
              </a:buClr>
              <a:buSzPct val="100000"/>
              <a:buFont typeface="Wingdings" panose="05000000000000000000" pitchFamily="2" charset="2"/>
              <a:buChar char=""/>
            </a:pPr>
            <a:r>
              <a:rPr lang="en-US" sz="1200" b="1" dirty="0"/>
              <a:t>secure platform</a:t>
            </a:r>
            <a:r>
              <a:rPr lang="en-US" sz="1200" dirty="0"/>
              <a:t>.  All trade data is </a:t>
            </a:r>
            <a:r>
              <a:rPr lang="en-US" sz="1200" b="1" dirty="0"/>
              <a:t>fully encrypted</a:t>
            </a:r>
            <a:endParaRPr lang="en-US" sz="1200" dirty="0"/>
          </a:p>
          <a:p>
            <a:pPr marL="203200" indent="-203200" algn="just">
              <a:buClr>
                <a:srgbClr val="0078DC"/>
              </a:buClr>
              <a:buSzPct val="100000"/>
              <a:buFont typeface="Wingdings" panose="05000000000000000000" pitchFamily="2" charset="2"/>
              <a:buChar char=""/>
            </a:pPr>
            <a:endParaRPr lang="en-US" sz="1200" dirty="0"/>
          </a:p>
          <a:p>
            <a:pPr marL="203200" indent="-203200" algn="just">
              <a:buClr>
                <a:srgbClr val="0078DC"/>
              </a:buClr>
              <a:buSzPct val="100000"/>
              <a:buFont typeface="Wingdings" panose="05000000000000000000" pitchFamily="2" charset="2"/>
              <a:buChar char=""/>
            </a:pPr>
            <a:r>
              <a:rPr lang="en-US" sz="1200" dirty="0"/>
              <a:t>the only parties with access to the data are the counterparties themselves, and they will have an </a:t>
            </a:r>
            <a:r>
              <a:rPr lang="en-US" sz="1200" b="1" dirty="0"/>
              <a:t>immutable ledger </a:t>
            </a:r>
            <a:r>
              <a:rPr lang="en-US" sz="1200" dirty="0"/>
              <a:t>of their activity</a:t>
            </a:r>
          </a:p>
        </p:txBody>
      </p:sp>
      <p:sp>
        <p:nvSpPr>
          <p:cNvPr id="11" name="Rectangle 10"/>
          <p:cNvSpPr/>
          <p:nvPr/>
        </p:nvSpPr>
        <p:spPr>
          <a:xfrm>
            <a:off x="3048000" y="3724325"/>
            <a:ext cx="2749002" cy="2123658"/>
          </a:xfrm>
          <a:prstGeom prst="rect">
            <a:avLst/>
          </a:prstGeom>
        </p:spPr>
        <p:txBody>
          <a:bodyPr wrap="square">
            <a:spAutoFit/>
          </a:bodyPr>
          <a:lstStyle/>
          <a:p>
            <a:pPr marL="203200" indent="-203200" algn="just">
              <a:buClr>
                <a:srgbClr val="0078DC"/>
              </a:buClr>
              <a:buSzPct val="100000"/>
              <a:buFont typeface="Wingdings" panose="05000000000000000000" pitchFamily="2" charset="2"/>
              <a:buChar char=""/>
            </a:pPr>
            <a:r>
              <a:rPr lang="en-US" sz="1200" dirty="0"/>
              <a:t>counterparties have a </a:t>
            </a:r>
            <a:r>
              <a:rPr lang="en-US" sz="1200" b="1" dirty="0"/>
              <a:t>single source of operational data</a:t>
            </a:r>
            <a:r>
              <a:rPr lang="en-US" sz="1200" dirty="0"/>
              <a:t>, i.e. errors will be eliminated &amp; greater visibility on logistics data, resulting in improved scheduling  and decision making</a:t>
            </a:r>
          </a:p>
          <a:p>
            <a:pPr marL="203200" indent="-203200" algn="just">
              <a:buClr>
                <a:srgbClr val="0078DC"/>
              </a:buClr>
              <a:buSzPct val="100000"/>
              <a:buFont typeface="Wingdings" panose="05000000000000000000" pitchFamily="2" charset="2"/>
              <a:buChar char=""/>
            </a:pPr>
            <a:endParaRPr lang="en-US" sz="1200" dirty="0"/>
          </a:p>
          <a:p>
            <a:pPr marL="203200" indent="-203200" algn="just">
              <a:buClr>
                <a:srgbClr val="0078DC"/>
              </a:buClr>
              <a:buSzPct val="100000"/>
              <a:buFont typeface="Wingdings" panose="05000000000000000000" pitchFamily="2" charset="2"/>
              <a:buChar char=""/>
            </a:pPr>
            <a:r>
              <a:rPr lang="en-US" sz="1200" dirty="0"/>
              <a:t>digitalization of post trade processing to unlock up to 40% savings across operations, accounting, settlements &amp; IT</a:t>
            </a:r>
          </a:p>
        </p:txBody>
      </p:sp>
      <p:sp>
        <p:nvSpPr>
          <p:cNvPr id="12" name="Rectangle 11"/>
          <p:cNvSpPr/>
          <p:nvPr/>
        </p:nvSpPr>
        <p:spPr>
          <a:xfrm>
            <a:off x="6004112" y="3683467"/>
            <a:ext cx="2631888" cy="2123658"/>
          </a:xfrm>
          <a:prstGeom prst="rect">
            <a:avLst/>
          </a:prstGeom>
        </p:spPr>
        <p:txBody>
          <a:bodyPr wrap="square">
            <a:spAutoFit/>
          </a:bodyPr>
          <a:lstStyle/>
          <a:p>
            <a:pPr marL="203200" indent="-203200" algn="just">
              <a:buClr>
                <a:srgbClr val="0078DC"/>
              </a:buClr>
              <a:buSzPct val="100000"/>
              <a:buFont typeface="Wingdings" panose="05000000000000000000" pitchFamily="2" charset="2"/>
              <a:buChar char=""/>
            </a:pPr>
            <a:r>
              <a:rPr lang="en-US" sz="1200" b="1" dirty="0"/>
              <a:t>partnering with banks </a:t>
            </a:r>
            <a:r>
              <a:rPr lang="en-US" sz="1200" dirty="0"/>
              <a:t>to create a marketplace for trade finance, ensuring banks compete to provide </a:t>
            </a:r>
            <a:r>
              <a:rPr lang="en-US" sz="1200" b="1" dirty="0"/>
              <a:t>cost-effective financing options  </a:t>
            </a:r>
          </a:p>
          <a:p>
            <a:pPr marL="203200" indent="-203200" algn="just">
              <a:buClr>
                <a:srgbClr val="0078DC"/>
              </a:buClr>
              <a:buSzPct val="100000"/>
              <a:buFont typeface="Wingdings" panose="05000000000000000000" pitchFamily="2" charset="2"/>
              <a:buChar char=""/>
            </a:pPr>
            <a:r>
              <a:rPr lang="en-US" sz="1200" dirty="0"/>
              <a:t>customers will be able to provide banks with direct </a:t>
            </a:r>
            <a:r>
              <a:rPr lang="en-US" sz="1200" b="1" dirty="0"/>
              <a:t>visibility</a:t>
            </a:r>
            <a:r>
              <a:rPr lang="en-US" sz="1200" dirty="0"/>
              <a:t> of relevant data for </a:t>
            </a:r>
            <a:r>
              <a:rPr lang="en-US" sz="1200" b="1" dirty="0"/>
              <a:t>each trade </a:t>
            </a:r>
          </a:p>
          <a:p>
            <a:pPr marL="203200" indent="-203200" algn="just">
              <a:buClr>
                <a:srgbClr val="0078DC"/>
              </a:buClr>
              <a:buSzPct val="100000"/>
              <a:buFont typeface="Wingdings" panose="05000000000000000000" pitchFamily="2" charset="2"/>
              <a:buChar char=""/>
            </a:pPr>
            <a:r>
              <a:rPr lang="en-US" sz="1200" dirty="0"/>
              <a:t>banks can optimize operations, i.e. </a:t>
            </a:r>
            <a:r>
              <a:rPr lang="en-US" sz="1200" b="1" dirty="0"/>
              <a:t>lower premiums &amp; faster settlements</a:t>
            </a:r>
          </a:p>
        </p:txBody>
      </p:sp>
      <p:sp>
        <p:nvSpPr>
          <p:cNvPr id="18" name="Content Placeholder 2"/>
          <p:cNvSpPr txBox="1">
            <a:spLocks/>
          </p:cNvSpPr>
          <p:nvPr/>
        </p:nvSpPr>
        <p:spPr>
          <a:xfrm>
            <a:off x="804850" y="3511183"/>
            <a:ext cx="7835150" cy="2369949"/>
          </a:xfrm>
          <a:prstGeom prst="rect">
            <a:avLst/>
          </a:prstGeom>
          <a:ln w="12700">
            <a:solidFill>
              <a:schemeClr val="accent1"/>
            </a:solidFill>
          </a:ln>
        </p:spPr>
        <p:txBody>
          <a:bodyPr vert="horz" lIns="0" tIns="0" rIns="0" bIns="0" rtlCol="0">
            <a:noAutofit/>
          </a:bodyPr>
          <a:lstStyle>
            <a:lvl1pPr marL="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1pPr>
            <a:lvl2pPr marL="207963" indent="-206375"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2pPr>
            <a:lvl3pPr marL="209550"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3pPr>
            <a:lvl4pPr marL="412750" indent="-201613"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4pPr>
            <a:lvl5pPr marL="414338" indent="0" algn="l" defTabSz="914400" rtl="0" eaLnBrk="1" latinLnBrk="0" hangingPunct="1">
              <a:spcBef>
                <a:spcPts val="0"/>
              </a:spcBef>
              <a:spcAft>
                <a:spcPts val="600"/>
              </a:spcAft>
              <a:buFont typeface="Arial" pitchFamily="34" charset="0"/>
              <a:buNone/>
              <a:defRPr sz="1800" kern="1200">
                <a:solidFill>
                  <a:srgbClr val="5E5E5E"/>
                </a:solidFill>
                <a:latin typeface="+mn-lt"/>
                <a:ea typeface="+mn-ea"/>
                <a:cs typeface="+mn-cs"/>
              </a:defRPr>
            </a:lvl5pPr>
            <a:lvl6pPr marL="617538" indent="-203200" algn="l" defTabSz="914400" rtl="0" eaLnBrk="1" latinLnBrk="0" hangingPunct="1">
              <a:spcBef>
                <a:spcPts val="0"/>
              </a:spcBef>
              <a:spcAft>
                <a:spcPts val="600"/>
              </a:spcAft>
              <a:buClr>
                <a:srgbClr val="0078DC"/>
              </a:buClr>
              <a:buFont typeface="Wingdings" pitchFamily="2" charset="2"/>
              <a:buChar char=""/>
              <a:defRPr sz="1800" kern="1200">
                <a:solidFill>
                  <a:srgbClr val="5E5E5E"/>
                </a:solidFill>
                <a:latin typeface="+mn-lt"/>
                <a:ea typeface="+mn-ea"/>
                <a:cs typeface="+mn-cs"/>
              </a:defRPr>
            </a:lvl6pPr>
            <a:lvl7pPr marL="6175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7pPr>
            <a:lvl8pPr marL="820738" indent="-203200" algn="l" defTabSz="914400" rtl="0" eaLnBrk="1" latinLnBrk="0" hangingPunct="1">
              <a:spcBef>
                <a:spcPts val="0"/>
              </a:spcBef>
              <a:buClr>
                <a:srgbClr val="0078DC"/>
              </a:buClr>
              <a:buFont typeface="Wingdings" pitchFamily="2" charset="2"/>
              <a:buChar char=""/>
              <a:defRPr sz="1800" kern="1200">
                <a:solidFill>
                  <a:srgbClr val="5E5E5E"/>
                </a:solidFill>
                <a:latin typeface="+mn-lt"/>
                <a:ea typeface="+mn-ea"/>
                <a:cs typeface="+mn-cs"/>
              </a:defRPr>
            </a:lvl8pPr>
            <a:lvl9pPr marL="820738" indent="0" algn="l" defTabSz="914400" rtl="0" eaLnBrk="1" latinLnBrk="0" hangingPunct="1">
              <a:spcBef>
                <a:spcPts val="0"/>
              </a:spcBef>
              <a:buFont typeface="Arial" pitchFamily="34" charset="0"/>
              <a:buNone/>
              <a:defRPr sz="1800" kern="1200">
                <a:solidFill>
                  <a:srgbClr val="5E5E5E"/>
                </a:solidFill>
                <a:latin typeface="+mn-lt"/>
                <a:ea typeface="+mn-ea"/>
                <a:cs typeface="+mn-cs"/>
              </a:defRPr>
            </a:lvl9pPr>
          </a:lstStyle>
          <a:p>
            <a:pPr marL="1588" lvl="1" indent="0">
              <a:buFont typeface="Wingdings" pitchFamily="2" charset="2"/>
              <a:buNone/>
            </a:pPr>
            <a:r>
              <a:rPr lang="en-US" sz="1200"/>
              <a:t>  </a:t>
            </a:r>
            <a:endParaRPr lang="ru-RU" sz="1200" dirty="0"/>
          </a:p>
        </p:txBody>
      </p:sp>
      <p:sp>
        <p:nvSpPr>
          <p:cNvPr id="19" name="TextBox 18"/>
          <p:cNvSpPr txBox="1"/>
          <p:nvPr/>
        </p:nvSpPr>
        <p:spPr>
          <a:xfrm>
            <a:off x="914400" y="3327400"/>
            <a:ext cx="1727200" cy="369332"/>
          </a:xfrm>
          <a:prstGeom prst="rect">
            <a:avLst/>
          </a:prstGeom>
          <a:solidFill>
            <a:schemeClr val="bg1"/>
          </a:solidFill>
        </p:spPr>
        <p:txBody>
          <a:bodyPr wrap="square" rtlCol="0">
            <a:spAutoFit/>
          </a:bodyPr>
          <a:lstStyle/>
          <a:p>
            <a:r>
              <a:rPr lang="en-US" dirty="0">
                <a:solidFill>
                  <a:schemeClr val="tx2"/>
                </a:solidFill>
              </a:rPr>
              <a:t>Cyber Security</a:t>
            </a:r>
            <a:endParaRPr lang="ru-RU" dirty="0">
              <a:solidFill>
                <a:schemeClr val="tx2"/>
              </a:solidFill>
            </a:endParaRPr>
          </a:p>
        </p:txBody>
      </p:sp>
      <p:sp>
        <p:nvSpPr>
          <p:cNvPr id="20" name="TextBox 19"/>
          <p:cNvSpPr txBox="1"/>
          <p:nvPr/>
        </p:nvSpPr>
        <p:spPr>
          <a:xfrm>
            <a:off x="3759200" y="3327400"/>
            <a:ext cx="1167948" cy="369332"/>
          </a:xfrm>
          <a:prstGeom prst="rect">
            <a:avLst/>
          </a:prstGeom>
          <a:solidFill>
            <a:schemeClr val="bg1"/>
          </a:solidFill>
        </p:spPr>
        <p:txBody>
          <a:bodyPr wrap="none" rtlCol="0">
            <a:spAutoFit/>
          </a:bodyPr>
          <a:lstStyle/>
          <a:p>
            <a:r>
              <a:rPr lang="en-US" dirty="0">
                <a:solidFill>
                  <a:schemeClr val="tx2"/>
                </a:solidFill>
              </a:rPr>
              <a:t>Efficiency</a:t>
            </a:r>
            <a:endParaRPr lang="ru-RU" dirty="0">
              <a:solidFill>
                <a:schemeClr val="tx2"/>
              </a:solidFill>
            </a:endParaRPr>
          </a:p>
        </p:txBody>
      </p:sp>
      <p:sp>
        <p:nvSpPr>
          <p:cNvPr id="21" name="TextBox 20"/>
          <p:cNvSpPr txBox="1"/>
          <p:nvPr/>
        </p:nvSpPr>
        <p:spPr>
          <a:xfrm>
            <a:off x="6248852" y="3327400"/>
            <a:ext cx="1727781" cy="369332"/>
          </a:xfrm>
          <a:prstGeom prst="rect">
            <a:avLst/>
          </a:prstGeom>
          <a:solidFill>
            <a:schemeClr val="bg1"/>
          </a:solidFill>
        </p:spPr>
        <p:txBody>
          <a:bodyPr wrap="none" rtlCol="0">
            <a:spAutoFit/>
          </a:bodyPr>
          <a:lstStyle/>
          <a:p>
            <a:r>
              <a:rPr lang="en-US" dirty="0">
                <a:solidFill>
                  <a:schemeClr val="tx2"/>
                </a:solidFill>
              </a:rPr>
              <a:t>Trade Finance</a:t>
            </a:r>
            <a:endParaRPr lang="ru-RU" dirty="0">
              <a:solidFill>
                <a:schemeClr val="tx2"/>
              </a:solidFill>
            </a:endParaRPr>
          </a:p>
        </p:txBody>
      </p:sp>
    </p:spTree>
    <p:extLst>
      <p:ext uri="{BB962C8B-B14F-4D97-AF65-F5344CB8AC3E}">
        <p14:creationId xmlns:p14="http://schemas.microsoft.com/office/powerpoint/2010/main" val="15543300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ERSION" val="1.02"/>
  <p:tag name="BASIS" val="UniperVorlag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per">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Uniper">
  <a:themeElements>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fontScheme name="Unipe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Uniper_1">
        <a:dk1>
          <a:srgbClr val="5E5E5E"/>
        </a:dk1>
        <a:lt1>
          <a:srgbClr val="FFFFFF"/>
        </a:lt1>
        <a:dk2>
          <a:srgbClr val="0078DC"/>
        </a:dk2>
        <a:lt2>
          <a:srgbClr val="FFFFFF"/>
        </a:lt2>
        <a:accent1>
          <a:srgbClr val="C1E3FC"/>
        </a:accent1>
        <a:accent2>
          <a:srgbClr val="00A7F0"/>
        </a:accent2>
        <a:accent3>
          <a:srgbClr val="0875B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a">
        <a:dk1>
          <a:srgbClr val="5E5E5E"/>
        </a:dk1>
        <a:lt1>
          <a:srgbClr val="FFFFFF"/>
        </a:lt1>
        <a:dk2>
          <a:srgbClr val="0078DC"/>
        </a:dk2>
        <a:lt2>
          <a:srgbClr val="FFFFFF"/>
        </a:lt2>
        <a:accent1>
          <a:srgbClr val="C1E3FC"/>
        </a:accent1>
        <a:accent2>
          <a:srgbClr val="00A7F0"/>
        </a:accent2>
        <a:accent3>
          <a:srgbClr val="ED8C1C"/>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b">
        <a:dk1>
          <a:srgbClr val="5E5E5E"/>
        </a:dk1>
        <a:lt1>
          <a:srgbClr val="FFFFFF"/>
        </a:lt1>
        <a:dk2>
          <a:srgbClr val="0078DC"/>
        </a:dk2>
        <a:lt2>
          <a:srgbClr val="FFFFFF"/>
        </a:lt2>
        <a:accent1>
          <a:srgbClr val="C1E3FC"/>
        </a:accent1>
        <a:accent2>
          <a:srgbClr val="00A7F0"/>
        </a:accent2>
        <a:accent3>
          <a:srgbClr val="FFEA00"/>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2c">
        <a:dk1>
          <a:srgbClr val="5E5E5E"/>
        </a:dk1>
        <a:lt1>
          <a:srgbClr val="FFFFFF"/>
        </a:lt1>
        <a:dk2>
          <a:srgbClr val="0078DC"/>
        </a:dk2>
        <a:lt2>
          <a:srgbClr val="FFFFFF"/>
        </a:lt2>
        <a:accent1>
          <a:srgbClr val="C1E3FC"/>
        </a:accent1>
        <a:accent2>
          <a:srgbClr val="00A7F0"/>
        </a:accent2>
        <a:accent3>
          <a:srgbClr val="B5D45B"/>
        </a:accent3>
        <a:accent4>
          <a:srgbClr val="29527A"/>
        </a:accent4>
        <a:accent5>
          <a:srgbClr val="0097EE"/>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3">
        <a:dk1>
          <a:srgbClr val="5E5E5E"/>
        </a:dk1>
        <a:lt1>
          <a:srgbClr val="FFFFFF"/>
        </a:lt1>
        <a:dk2>
          <a:srgbClr val="0078DC"/>
        </a:dk2>
        <a:lt2>
          <a:srgbClr val="FFFFFF"/>
        </a:lt2>
        <a:accent1>
          <a:srgbClr val="C1E3FC"/>
        </a:accent1>
        <a:accent2>
          <a:srgbClr val="ED8C1C"/>
        </a:accent2>
        <a:accent3>
          <a:srgbClr val="5CBCF5"/>
        </a:accent3>
        <a:accent4>
          <a:srgbClr val="B5D45B"/>
        </a:accent4>
        <a:accent5>
          <a:srgbClr val="29527A"/>
        </a:accent5>
        <a:accent6>
          <a:srgbClr val="8CCCF7"/>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4">
        <a:dk1>
          <a:srgbClr val="5E5E5E"/>
        </a:dk1>
        <a:lt1>
          <a:srgbClr val="FFFFFF"/>
        </a:lt1>
        <a:dk2>
          <a:srgbClr val="0078DC"/>
        </a:dk2>
        <a:lt2>
          <a:srgbClr val="FFFFFF"/>
        </a:lt2>
        <a:accent1>
          <a:srgbClr val="29527A"/>
        </a:accent1>
        <a:accent2>
          <a:srgbClr val="FFEA00"/>
        </a:accent2>
        <a:accent3>
          <a:srgbClr val="C1E3FC"/>
        </a:accent3>
        <a:accent4>
          <a:srgbClr val="B5D45B"/>
        </a:accent4>
        <a:accent5>
          <a:srgbClr val="ED8C1C"/>
        </a:accent5>
        <a:accent6>
          <a:srgbClr val="5CBCF5"/>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5">
        <a:dk1>
          <a:srgbClr val="5E5E5E"/>
        </a:dk1>
        <a:lt1>
          <a:srgbClr val="FFFFFF"/>
        </a:lt1>
        <a:dk2>
          <a:srgbClr val="0078DC"/>
        </a:dk2>
        <a:lt2>
          <a:srgbClr val="FFFFFF"/>
        </a:lt2>
        <a:accent1>
          <a:srgbClr val="E3D4BC"/>
        </a:accent1>
        <a:accent2>
          <a:srgbClr val="5CBCF5"/>
        </a:accent2>
        <a:accent3>
          <a:srgbClr val="5E5E5E"/>
        </a:accent3>
        <a:accent4>
          <a:srgbClr val="135B8B"/>
        </a:accent4>
        <a:accent5>
          <a:srgbClr val="B3B3B3"/>
        </a:accent5>
        <a:accent6>
          <a:srgbClr val="876C59"/>
        </a:accent6>
        <a:hlink>
          <a:srgbClr val="B3B3B3"/>
        </a:hlink>
        <a:folHlink>
          <a:srgbClr val="5E5E5E"/>
        </a:folHlink>
      </a:clrScheme>
      <a:clrMap bg1="lt1" tx1="dk1" bg2="lt2" tx2="dk2" accent1="accent1" accent2="accent2" accent3="accent3" accent4="accent4" accent5="accent5" accent6="accent6" hlink="hlink" folHlink="folHlink"/>
    </a:extraClrScheme>
    <a:extraClrScheme>
      <a:clrScheme name="Uniper_6">
        <a:dk1>
          <a:srgbClr val="5E5E5E"/>
        </a:dk1>
        <a:lt1>
          <a:srgbClr val="FFFFFF"/>
        </a:lt1>
        <a:dk2>
          <a:srgbClr val="0078DC"/>
        </a:dk2>
        <a:lt2>
          <a:srgbClr val="FFFFFF"/>
        </a:lt2>
        <a:accent1>
          <a:srgbClr val="C1E3FC"/>
        </a:accent1>
        <a:accent2>
          <a:srgbClr val="0078DC"/>
        </a:accent2>
        <a:accent3>
          <a:srgbClr val="E3D4BC"/>
        </a:accent3>
        <a:accent4>
          <a:srgbClr val="876C59"/>
        </a:accent4>
        <a:accent5>
          <a:srgbClr val="5CBCF5"/>
        </a:accent5>
        <a:accent6>
          <a:srgbClr val="135B8B"/>
        </a:accent6>
        <a:hlink>
          <a:srgbClr val="B3B3B3"/>
        </a:hlink>
        <a:folHlink>
          <a:srgbClr val="5E5E5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niper</Template>
  <TotalTime>1</TotalTime>
  <Words>1518</Words>
  <Application>Microsoft Office PowerPoint</Application>
  <PresentationFormat>Экран (4:3)</PresentationFormat>
  <Paragraphs>244</Paragraphs>
  <Slides>16</Slides>
  <Notes>4</Notes>
  <HiddenSlides>0</HiddenSlides>
  <MMClips>0</MMClips>
  <ScaleCrop>false</ScaleCrop>
  <HeadingPairs>
    <vt:vector size="6" baseType="variant">
      <vt:variant>
        <vt:lpstr>Тема</vt:lpstr>
      </vt:variant>
      <vt:variant>
        <vt:i4>2</vt:i4>
      </vt:variant>
      <vt:variant>
        <vt:lpstr>Внедренные серверы OLE</vt:lpstr>
      </vt:variant>
      <vt:variant>
        <vt:i4>1</vt:i4>
      </vt:variant>
      <vt:variant>
        <vt:lpstr>Заголовки слайдов</vt:lpstr>
      </vt:variant>
      <vt:variant>
        <vt:i4>16</vt:i4>
      </vt:variant>
    </vt:vector>
  </HeadingPairs>
  <TitlesOfParts>
    <vt:vector size="19" baseType="lpstr">
      <vt:lpstr>Uniper</vt:lpstr>
      <vt:lpstr>1_Uniper</vt:lpstr>
      <vt:lpstr>think-cell Slide</vt:lpstr>
      <vt:lpstr>Use of blockchain in gas trading /  Использование технологий блокчейна в газовом трейдинге</vt:lpstr>
      <vt:lpstr>We are Uniper</vt:lpstr>
      <vt:lpstr>Uniper – At a glance</vt:lpstr>
      <vt:lpstr>Global Commodities – Strong asset base along the entire gas value chain</vt:lpstr>
      <vt:lpstr>Changing world  </vt:lpstr>
      <vt:lpstr>Data exchange over the blockchain</vt:lpstr>
      <vt:lpstr>Cost drivers differ along the trade lifecycle</vt:lpstr>
      <vt:lpstr>Blockchains in the Energy Sector</vt:lpstr>
      <vt:lpstr>Platforms: use of blockchain in energy trading (1/2)</vt:lpstr>
      <vt:lpstr>Platforms: use of blockchain in energy trading (2/2)</vt:lpstr>
      <vt:lpstr>Commodity Trading Firms (CTFs) Perform Essential Economic Functions</vt:lpstr>
      <vt:lpstr>Business case “small scale LNG”: a growing market</vt:lpstr>
      <vt:lpstr>Business case “small scale LNG”: growth potential must be tackled by managing complexity</vt:lpstr>
      <vt:lpstr>Processes: Shipping industry. Why blockchain? </vt:lpstr>
      <vt:lpstr>Processes: blockchain in deal management for use in shipping industry and small scale LNG</vt:lpstr>
      <vt:lpstr>Thank you!</vt:lpstr>
    </vt:vector>
  </TitlesOfParts>
  <Company>Unip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per Presentation</dc:title>
  <dc:creator>Rakovich, Igor</dc:creator>
  <cp:lastModifiedBy>user 316-2</cp:lastModifiedBy>
  <cp:revision>64</cp:revision>
  <cp:lastPrinted>2018-03-15T12:16:09Z</cp:lastPrinted>
  <dcterms:created xsi:type="dcterms:W3CDTF">2018-03-01T14:00:13Z</dcterms:created>
  <dcterms:modified xsi:type="dcterms:W3CDTF">2018-09-17T09:52:26Z</dcterms:modified>
</cp:coreProperties>
</file>